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notesSlides/notesSlide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4.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5.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6.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7.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8.xml" ContentType="application/vnd.openxmlformats-officedocument.presentationml.notesSlide+xml"/>
  <Override PartName="/ppt/tags/tag98.xml" ContentType="application/vnd.openxmlformats-officedocument.presentationml.tags+xml"/>
  <Override PartName="/ppt/notesSlides/notesSlide9.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2.xml" ContentType="application/vnd.openxmlformats-officedocument.presentationml.notesSlide+xml"/>
  <Override PartName="/ppt/charts/chart13.xml" ContentType="application/vnd.openxmlformats-officedocument.drawingml.chart+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charts/chart14.xml" ContentType="application/vnd.openxmlformats-officedocument.drawingml.chart+xml"/>
  <Override PartName="/ppt/tags/tag176.xml" ContentType="application/vnd.openxmlformats-officedocument.presentationml.tags+xml"/>
  <Override PartName="/ppt/notesSlides/notesSlide13.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14.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15.xml" ContentType="application/vnd.openxmlformats-officedocument.presentationml.notesSlide+xml"/>
  <Override PartName="/ppt/tags/tag182.xml" ContentType="application/vnd.openxmlformats-officedocument.presentationml.tags+xml"/>
  <Override PartName="/ppt/notesSlides/notesSlide16.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17.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notesSlides/notesSlide18.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notesSlides/notesSlide19.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20.xml" ContentType="application/vnd.openxmlformats-officedocument.presentationml.notesSlide+xml"/>
  <Override PartName="/ppt/charts/chart15.xml" ContentType="application/vnd.openxmlformats-officedocument.drawingml.chart+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21.xml" ContentType="application/vnd.openxmlformats-officedocument.presentationml.notesSlide+xml"/>
  <Override PartName="/ppt/charts/chart16.xml" ContentType="application/vnd.openxmlformats-officedocument.drawingml.chart+xml"/>
  <Override PartName="/ppt/tags/tag232.xml" ContentType="application/vnd.openxmlformats-officedocument.presentationml.tags+xml"/>
  <Override PartName="/ppt/tags/tag233.xml" ContentType="application/vnd.openxmlformats-officedocument.presentationml.tags+xml"/>
  <Override PartName="/ppt/notesSlides/notesSlide22.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notesSlides/notesSlide23.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notesSlides/notesSlide24.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25.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26.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27.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28.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29.xml" ContentType="application/vnd.openxmlformats-officedocument.presentationml.notesSlide+xml"/>
  <Override PartName="/ppt/tags/tag253.xml" ContentType="application/vnd.openxmlformats-officedocument.presentationml.tags+xml"/>
  <Override PartName="/ppt/notesSlides/notesSlide30.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notesSlides/notesSlide31.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notesSlides/notesSlide32.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33.xml" ContentType="application/vnd.openxmlformats-officedocument.presentationml.notesSlide+xml"/>
  <Override PartName="/ppt/charts/chart17.xml" ContentType="application/vnd.openxmlformats-officedocument.drawingml.chart+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34.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35.xml" ContentType="application/vnd.openxmlformats-officedocument.presentationml.notesSlid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36.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37.xml" ContentType="application/vnd.openxmlformats-officedocument.presentationml.notesSlide+xml"/>
  <Override PartName="/ppt/charts/chart20.xml" ContentType="application/vnd.openxmlformats-officedocument.drawingml.chart+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38.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39.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notesSlides/notesSlide40.xml" ContentType="application/vnd.openxmlformats-officedocument.presentationml.notesSlide+xml"/>
  <Override PartName="/ppt/charts/chart23.xml" ContentType="application/vnd.openxmlformats-officedocument.drawingml.chart+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notesSlides/notesSlide41.xml" ContentType="application/vnd.openxmlformats-officedocument.presentationml.notesSlide+xml"/>
  <Override PartName="/ppt/charts/chart24.xml" ContentType="application/vnd.openxmlformats-officedocument.drawingml.chart+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42.xml" ContentType="application/vnd.openxmlformats-officedocument.presentationml.notesSlide+xml"/>
  <Override PartName="/ppt/charts/chart25.xml" ContentType="application/vnd.openxmlformats-officedocument.drawingml.chart+xml"/>
  <Override PartName="/ppt/tags/tag382.xml" ContentType="application/vnd.openxmlformats-officedocument.presentationml.tags+xml"/>
  <Override PartName="/ppt/tags/tag383.xml" ContentType="application/vnd.openxmlformats-officedocument.presentationml.tags+xml"/>
  <Override PartName="/ppt/notesSlides/notesSlide43.xml" ContentType="application/vnd.openxmlformats-officedocument.presentationml.notesSlid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notesSlides/notesSlide44.xml" ContentType="application/vnd.openxmlformats-officedocument.presentationml.notesSlide+xml"/>
  <Override PartName="/ppt/charts/chart26.xml" ContentType="application/vnd.openxmlformats-officedocument.drawingml.chart+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notesSlides/notesSlide45.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46.xml" ContentType="application/vnd.openxmlformats-officedocument.presentationml.notesSlide+xml"/>
  <Override PartName="/ppt/charts/chart29.xml" ContentType="application/vnd.openxmlformats-officedocument.drawingml.chart+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notesSlides/notesSlide47.xml" ContentType="application/vnd.openxmlformats-officedocument.presentationml.notesSlide+xml"/>
  <Override PartName="/ppt/charts/chart30.xml" ContentType="application/vnd.openxmlformats-officedocument.drawingml.chart+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notesSlides/notesSlide48.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notesSlides/notesSlide49.xml" ContentType="application/vnd.openxmlformats-officedocument.presentationml.notesSlide+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notesSlides/notesSlide50.xml" ContentType="application/vnd.openxmlformats-officedocument.presentationml.notesSlide+xml"/>
  <Override PartName="/ppt/charts/chart33.xml" ContentType="application/vnd.openxmlformats-officedocument.drawingml.chart+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notesSlides/notesSlide51.xml" ContentType="application/vnd.openxmlformats-officedocument.presentationml.notesSlide+xml"/>
  <Override PartName="/ppt/charts/chart34.xml" ContentType="application/vnd.openxmlformats-officedocument.drawingml.chart+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52.xml" ContentType="application/vnd.openxmlformats-officedocument.presentationml.notesSlide+xml"/>
  <Override PartName="/ppt/charts/chart35.xml" ContentType="application/vnd.openxmlformats-officedocument.drawingml.chart+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notesSlides/notesSlide53.xml" ContentType="application/vnd.openxmlformats-officedocument.presentationml.notesSlide+xml"/>
  <Override PartName="/ppt/charts/chart36.xml" ContentType="application/vnd.openxmlformats-officedocument.drawingml.chart+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notesSlides/notesSlide54.xml" ContentType="application/vnd.openxmlformats-officedocument.presentationml.notesSlide+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notesSlides/notesSlide55.xml" ContentType="application/vnd.openxmlformats-officedocument.presentationml.notesSlide+xml"/>
  <Override PartName="/ppt/charts/chart37.xml" ContentType="application/vnd.openxmlformats-officedocument.drawingml.chart+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notesSlides/notesSlide56.xml" ContentType="application/vnd.openxmlformats-officedocument.presentationml.notesSlide+xml"/>
  <Override PartName="/ppt/charts/chart38.xml" ContentType="application/vnd.openxmlformats-officedocument.drawingml.chart+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notesSlides/notesSlide57.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notesSlides/notesSlide58.xml" ContentType="application/vnd.openxmlformats-officedocument.presentationml.notesSlide+xml"/>
  <Override PartName="/ppt/charts/chart41.xml" ContentType="application/vnd.openxmlformats-officedocument.drawingml.chart+xml"/>
  <Override PartName="/ppt/tags/tag668.xml" ContentType="application/vnd.openxmlformats-officedocument.presentationml.tags+xml"/>
  <Override PartName="/ppt/tags/tag669.xml" ContentType="application/vnd.openxmlformats-officedocument.presentationml.tags+xml"/>
  <Override PartName="/ppt/notesSlides/notesSlide59.xml" ContentType="application/vnd.openxmlformats-officedocument.presentationml.notesSlide+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notesSlides/notesSlide60.xml" ContentType="application/vnd.openxmlformats-officedocument.presentationml.notesSlide+xml"/>
  <Override PartName="/ppt/charts/chart42.xml" ContentType="application/vnd.openxmlformats-officedocument.drawingml.chart+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notesSlides/notesSlide61.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notesSlides/notesSlide62.xml" ContentType="application/vnd.openxmlformats-officedocument.presentationml.notesSlide+xml"/>
  <Override PartName="/ppt/charts/chart45.xml" ContentType="application/vnd.openxmlformats-officedocument.drawingml.chart+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notesSlides/notesSlide63.xml" ContentType="application/vnd.openxmlformats-officedocument.presentationml.notesSlide+xml"/>
  <Override PartName="/ppt/charts/chart46.xml" ContentType="application/vnd.openxmlformats-officedocument.drawingml.chart+xml"/>
  <Override PartName="/ppt/charts/chart47.xml" ContentType="application/vnd.openxmlformats-officedocument.drawingml.chart+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notesSlides/notesSlide64.xml" ContentType="application/vnd.openxmlformats-officedocument.presentationml.notesSlide+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notesSlides/notesSlide65.xml" ContentType="application/vnd.openxmlformats-officedocument.presentationml.notesSlide+xml"/>
  <Override PartName="/ppt/charts/chart48.xml" ContentType="application/vnd.openxmlformats-officedocument.drawingml.chart+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notesSlides/notesSlide66.xml" ContentType="application/vnd.openxmlformats-officedocument.presentationml.notesSlide+xml"/>
  <Override PartName="/ppt/charts/chart49.xml" ContentType="application/vnd.openxmlformats-officedocument.drawingml.chart+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notesSlides/notesSlide67.xml" ContentType="application/vnd.openxmlformats-officedocument.presentationml.notesSlide+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notesSlides/notesSlide68.xml" ContentType="application/vnd.openxmlformats-officedocument.presentationml.notesSlide+xml"/>
  <Override PartName="/ppt/charts/chart50.xml" ContentType="application/vnd.openxmlformats-officedocument.drawingml.chart+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notesSlides/notesSlide69.xml" ContentType="application/vnd.openxmlformats-officedocument.presentationml.notesSlide+xml"/>
  <Override PartName="/ppt/tags/tag837.xml" ContentType="application/vnd.openxmlformats-officedocument.presentationml.tags+xml"/>
  <Override PartName="/ppt/tags/tag838.xml" ContentType="application/vnd.openxmlformats-officedocument.presentationml.tags+xml"/>
  <Override PartName="/ppt/notesSlides/notesSlide70.xml" ContentType="application/vnd.openxmlformats-officedocument.presentationml.notesSlide+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notesSlides/notesSlide71.xml" ContentType="application/vnd.openxmlformats-officedocument.presentationml.notesSlide+xml"/>
  <Override PartName="/ppt/charts/chart51.xml" ContentType="application/vnd.openxmlformats-officedocument.drawingml.chart+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notesSlides/notesSlide72.xml" ContentType="application/vnd.openxmlformats-officedocument.presentationml.notesSlide+xml"/>
  <Override PartName="/ppt/charts/chart52.xml" ContentType="application/vnd.openxmlformats-officedocument.drawingml.chart+xml"/>
  <Override PartName="/ppt/charts/chart53.xml" ContentType="application/vnd.openxmlformats-officedocument.drawingml.chart+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notesSlides/notesSlide73.xml" ContentType="application/vnd.openxmlformats-officedocument.presentationml.notesSlide+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notesSlides/notesSlide74.xml" ContentType="application/vnd.openxmlformats-officedocument.presentationml.notesSlide+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notesSlides/notesSlide75.xml" ContentType="application/vnd.openxmlformats-officedocument.presentationml.notesSlide+xml"/>
  <Override PartName="/ppt/charts/chart54.xml" ContentType="application/vnd.openxmlformats-officedocument.drawingml.chart+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notesSlides/notesSlide76.xml" ContentType="application/vnd.openxmlformats-officedocument.presentationml.notesSlide+xml"/>
  <Override PartName="/ppt/charts/chart55.xml" ContentType="application/vnd.openxmlformats-officedocument.drawingml.chart+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notesSlides/notesSlide77.xml" ContentType="application/vnd.openxmlformats-officedocument.presentationml.notesSlide+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notesSlides/notesSlide78.xml" ContentType="application/vnd.openxmlformats-officedocument.presentationml.notesSlide+xml"/>
  <Override PartName="/ppt/charts/chart56.xml" ContentType="application/vnd.openxmlformats-officedocument.drawingml.chart+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notesSlides/notesSlide79.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notesSlides/notesSlide80.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notesSlides/notesSlide81.xml" ContentType="application/vnd.openxmlformats-officedocument.presentationml.notesSlide+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notesSlides/notesSlide82.xml" ContentType="application/vnd.openxmlformats-officedocument.presentationml.notesSlide+xml"/>
  <Override PartName="/ppt/charts/chart64.xml" ContentType="application/vnd.openxmlformats-officedocument.drawingml.chart+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notesSlides/notesSlide83.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notesSlides/notesSlide84.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notesSlides/notesSlide85.xml" ContentType="application/vnd.openxmlformats-officedocument.presentationml.notesSlide+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notesSlides/notesSlide86.xml" ContentType="application/vnd.openxmlformats-officedocument.presentationml.notesSlide+xml"/>
  <Override PartName="/ppt/charts/chart72.xml" ContentType="application/vnd.openxmlformats-officedocument.drawingml.chart+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notesSlides/notesSlide87.xml" ContentType="application/vnd.openxmlformats-officedocument.presentationml.notesSlide+xml"/>
  <Override PartName="/ppt/charts/chart73.xml" ContentType="application/vnd.openxmlformats-officedocument.drawingml.chart+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notesSlides/notesSlide88.xml" ContentType="application/vnd.openxmlformats-officedocument.presentationml.notesSlide+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notesSlides/notesSlide89.xml" ContentType="application/vnd.openxmlformats-officedocument.presentationml.notesSlide+xml"/>
  <Override PartName="/ppt/charts/chart74.xml" ContentType="application/vnd.openxmlformats-officedocument.drawingml.chart+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notesSlides/notesSlide90.xml" ContentType="application/vnd.openxmlformats-officedocument.presentationml.notesSlid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notesSlides/notesSlide91.xml" ContentType="application/vnd.openxmlformats-officedocument.presentationml.notesSlide+xml"/>
  <Override PartName="/ppt/charts/chart75.xml" ContentType="application/vnd.openxmlformats-officedocument.drawingml.chart+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notesSlides/notesSlide92.xml" ContentType="application/vnd.openxmlformats-officedocument.presentationml.notesSlide+xml"/>
  <Override PartName="/ppt/charts/chart76.xml" ContentType="application/vnd.openxmlformats-officedocument.drawingml.chart+xml"/>
  <Override PartName="/ppt/charts/chart77.xml" ContentType="application/vnd.openxmlformats-officedocument.drawingml.chart+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notesSlides/notesSlide93.xml" ContentType="application/vnd.openxmlformats-officedocument.presentationml.notesSlide+xml"/>
  <Override PartName="/ppt/charts/chart78.xml" ContentType="application/vnd.openxmlformats-officedocument.drawingml.chart+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notesSlides/notesSlide94.xml" ContentType="application/vnd.openxmlformats-officedocument.presentationml.notesSlide+xml"/>
  <Override PartName="/ppt/charts/chart79.xml" ContentType="application/vnd.openxmlformats-officedocument.drawingml.chart+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notesSlides/notesSlide95.xml" ContentType="application/vnd.openxmlformats-officedocument.presentationml.notesSlide+xml"/>
  <Override PartName="/ppt/charts/chart80.xml" ContentType="application/vnd.openxmlformats-officedocument.drawingml.chart+xml"/>
  <Override PartName="/ppt/charts/chart81.xml" ContentType="application/vnd.openxmlformats-officedocument.drawingml.chart+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notesSlides/notesSlide96.xml" ContentType="application/vnd.openxmlformats-officedocument.presentationml.notesSlide+xml"/>
  <Override PartName="/ppt/charts/chart82.xml" ContentType="application/vnd.openxmlformats-officedocument.drawingml.chart+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notesSlides/notesSlide97.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notesSlides/notesSlide98.xml" ContentType="application/vnd.openxmlformats-officedocument.presentationml.notesSlide+xml"/>
  <Override PartName="/ppt/charts/chart85.xml" ContentType="application/vnd.openxmlformats-officedocument.drawingml.chart+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notesSlides/notesSlide99.xml" ContentType="application/vnd.openxmlformats-officedocument.presentationml.notesSlide+xml"/>
  <Override PartName="/ppt/charts/chart86.xml" ContentType="application/vnd.openxmlformats-officedocument.drawingml.chart+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notesSlides/notesSlide100.xml" ContentType="application/vnd.openxmlformats-officedocument.presentationml.notesSlide+xml"/>
  <Override PartName="/ppt/charts/chart87.xml" ContentType="application/vnd.openxmlformats-officedocument.drawingml.chart+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notesSlides/notesSlide101.xml" ContentType="application/vnd.openxmlformats-officedocument.presentationml.notesSlide+xml"/>
  <Override PartName="/ppt/charts/chart88.xml" ContentType="application/vnd.openxmlformats-officedocument.drawingml.chart+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notesSlides/notesSlide10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notesSlides/notesSlide103.xml" ContentType="application/vnd.openxmlformats-officedocument.presentationml.notesSlide+xml"/>
  <Override PartName="/ppt/charts/chart91.xml" ContentType="application/vnd.openxmlformats-officedocument.drawingml.chart+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notesSlides/notesSlide104.xml" ContentType="application/vnd.openxmlformats-officedocument.presentationml.notesSlide+xml"/>
  <Override PartName="/ppt/charts/chart92.xml" ContentType="application/vnd.openxmlformats-officedocument.drawingml.chart+xml"/>
  <Override PartName="/ppt/charts/chart93.xml" ContentType="application/vnd.openxmlformats-officedocument.drawingml.chart+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notesSlides/notesSlide105.xml" ContentType="application/vnd.openxmlformats-officedocument.presentationml.notesSlide+xml"/>
  <Override PartName="/ppt/charts/chart94.xml" ContentType="application/vnd.openxmlformats-officedocument.drawingml.chart+xml"/>
  <Override PartName="/ppt/tags/tag1442.xml" ContentType="application/vnd.openxmlformats-officedocument.presentationml.tags+xml"/>
  <Override PartName="/ppt/tags/tag1443.xml" ContentType="application/vnd.openxmlformats-officedocument.presentationml.tags+xml"/>
  <Override PartName="/ppt/notesSlides/notesSlide106.xml" ContentType="application/vnd.openxmlformats-officedocument.presentationml.notesSlide+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notesSlides/notesSlide107.xml" ContentType="application/vnd.openxmlformats-officedocument.presentationml.notesSlide+xml"/>
  <Override PartName="/ppt/charts/chart95.xml" ContentType="application/vnd.openxmlformats-officedocument.drawingml.chart+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notesSlides/notesSlide108.xml" ContentType="application/vnd.openxmlformats-officedocument.presentationml.notesSlide+xml"/>
  <Override PartName="/ppt/charts/chart96.xml" ContentType="application/vnd.openxmlformats-officedocument.drawingml.chart+xml"/>
  <Override PartName="/ppt/charts/chart97.xml" ContentType="application/vnd.openxmlformats-officedocument.drawingml.chart+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notesSlides/notesSlide109.xml" ContentType="application/vnd.openxmlformats-officedocument.presentationml.notesSlide+xml"/>
  <Override PartName="/ppt/charts/chart98.xml" ContentType="application/vnd.openxmlformats-officedocument.drawingml.chart+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notesSlides/notesSlide110.xml" ContentType="application/vnd.openxmlformats-officedocument.presentationml.notesSlide+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notesSlides/notesSlide111.xml" ContentType="application/vnd.openxmlformats-officedocument.presentationml.notesSlide+xml"/>
  <Override PartName="/ppt/charts/chart99.xml" ContentType="application/vnd.openxmlformats-officedocument.drawingml.chart+xml"/>
  <Override PartName="/ppt/tags/tag1518.xml" ContentType="application/vnd.openxmlformats-officedocument.presentationml.tags+xml"/>
  <Override PartName="/ppt/notesSlides/notesSlide112.xml" ContentType="application/vnd.openxmlformats-officedocument.presentationml.notesSlide+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notesSlides/notesSlide113.xml" ContentType="application/vnd.openxmlformats-officedocument.presentationml.notesSlide+xml"/>
  <Override PartName="/ppt/charts/chart100.xml" ContentType="application/vnd.openxmlformats-officedocument.drawingml.chart+xml"/>
  <Override PartName="/ppt/charts/chart101.xml" ContentType="application/vnd.openxmlformats-officedocument.drawingml.chart+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notesSlides/notesSlide114.xml" ContentType="application/vnd.openxmlformats-officedocument.presentationml.notesSlide+xml"/>
  <Override PartName="/ppt/charts/chart102.xml" ContentType="application/vnd.openxmlformats-officedocument.drawingml.chart+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notesSlides/notesSlide11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notesSlides/notesSlide116.xml" ContentType="application/vnd.openxmlformats-officedocument.presentationml.notesSlide+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notesSlides/notesSlide117.xml" ContentType="application/vnd.openxmlformats-officedocument.presentationml.notesSlide+xml"/>
  <Override PartName="/ppt/charts/chart105.xml" ContentType="application/vnd.openxmlformats-officedocument.drawingml.chart+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notesSlides/notesSlide118.xml" ContentType="application/vnd.openxmlformats-officedocument.presentationml.notesSlide+xml"/>
  <Override PartName="/ppt/charts/chart106.xml" ContentType="application/vnd.openxmlformats-officedocument.drawingml.chart+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notesSlides/notesSlide119.xml" ContentType="application/vnd.openxmlformats-officedocument.presentationml.notesSlide+xml"/>
  <Override PartName="/ppt/charts/chart107.xml" ContentType="application/vnd.openxmlformats-officedocument.drawingml.chart+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notesSlides/notesSlide120.xml" ContentType="application/vnd.openxmlformats-officedocument.presentationml.notesSlide+xml"/>
  <Override PartName="/ppt/charts/chart108.xml" ContentType="application/vnd.openxmlformats-officedocument.drawingml.chart+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notesSlides/notesSlide121.xml" ContentType="application/vnd.openxmlformats-officedocument.presentationml.notesSlide+xml"/>
  <Override PartName="/ppt/charts/chart109.xml" ContentType="application/vnd.openxmlformats-officedocument.drawingml.chart+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notesSlides/notesSlide122.xml" ContentType="application/vnd.openxmlformats-officedocument.presentationml.notesSlide+xml"/>
  <Override PartName="/ppt/charts/chart110.xml" ContentType="application/vnd.openxmlformats-officedocument.drawingml.chart+xml"/>
  <Override PartName="/ppt/charts/chart111.xml" ContentType="application/vnd.openxmlformats-officedocument.drawingml.chart+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notesSlides/notesSlide123.xml" ContentType="application/vnd.openxmlformats-officedocument.presentationml.notesSlide+xml"/>
  <Override PartName="/ppt/charts/chart112.xml" ContentType="application/vnd.openxmlformats-officedocument.drawingml.chart+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notesSlides/notesSlide124.xml" ContentType="application/vnd.openxmlformats-officedocument.presentationml.notesSlide+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notesSlides/notesSlide125.xml" ContentType="application/vnd.openxmlformats-officedocument.presentationml.notesSlide+xml"/>
  <Override PartName="/ppt/charts/chart113.xml" ContentType="application/vnd.openxmlformats-officedocument.drawingml.chart+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notesSlides/notesSlide126.xml" ContentType="application/vnd.openxmlformats-officedocument.presentationml.notesSlide+xml"/>
  <Override PartName="/ppt/charts/chart114.xml" ContentType="application/vnd.openxmlformats-officedocument.drawingml.chart+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notesSlides/notesSlide127.xml" ContentType="application/vnd.openxmlformats-officedocument.presentationml.notesSlide+xml"/>
  <Override PartName="/ppt/charts/chart115.xml" ContentType="application/vnd.openxmlformats-officedocument.drawingml.chart+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notesSlides/notesSlide128.xml" ContentType="application/vnd.openxmlformats-officedocument.presentationml.notesSlide+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notesSlides/notesSlide129.xml" ContentType="application/vnd.openxmlformats-officedocument.presentationml.notesSlide+xml"/>
  <Override PartName="/ppt/charts/chart116.xml" ContentType="application/vnd.openxmlformats-officedocument.drawingml.chart+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notesSlides/notesSlide130.xml" ContentType="application/vnd.openxmlformats-officedocument.presentationml.notesSlide+xml"/>
  <Override PartName="/ppt/tags/tag1800.xml" ContentType="application/vnd.openxmlformats-officedocument.presentationml.tags+xml"/>
  <Override PartName="/ppt/notesSlides/notesSlide131.xml" ContentType="application/vnd.openxmlformats-officedocument.presentationml.notesSlide+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notesSlides/notesSlide132.xml" ContentType="application/vnd.openxmlformats-officedocument.presentationml.notesSlide+xml"/>
  <Override PartName="/ppt/charts/chart117.xml" ContentType="application/vnd.openxmlformats-officedocument.drawingml.chart+xml"/>
  <Override PartName="/ppt/tags/tag18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5" r:id="rId2"/>
  </p:sldMasterIdLst>
  <p:notesMasterIdLst>
    <p:notesMasterId r:id="rId154"/>
  </p:notesMasterIdLst>
  <p:handoutMasterIdLst>
    <p:handoutMasterId r:id="rId155"/>
  </p:handoutMasterIdLst>
  <p:sldIdLst>
    <p:sldId id="256" r:id="rId3"/>
    <p:sldId id="827" r:id="rId4"/>
    <p:sldId id="1569" r:id="rId5"/>
    <p:sldId id="802" r:id="rId6"/>
    <p:sldId id="10723" r:id="rId7"/>
    <p:sldId id="10656" r:id="rId8"/>
    <p:sldId id="2141412083" r:id="rId9"/>
    <p:sldId id="2141412073" r:id="rId10"/>
    <p:sldId id="753" r:id="rId11"/>
    <p:sldId id="2144447199" r:id="rId12"/>
    <p:sldId id="2144447129" r:id="rId13"/>
    <p:sldId id="632" r:id="rId14"/>
    <p:sldId id="262" r:id="rId15"/>
    <p:sldId id="911" r:id="rId16"/>
    <p:sldId id="912" r:id="rId17"/>
    <p:sldId id="10722" r:id="rId18"/>
    <p:sldId id="10772" r:id="rId19"/>
    <p:sldId id="2144447143" r:id="rId20"/>
    <p:sldId id="754" r:id="rId21"/>
    <p:sldId id="467" r:id="rId22"/>
    <p:sldId id="10665" r:id="rId23"/>
    <p:sldId id="2144447184" r:id="rId24"/>
    <p:sldId id="2144447185" r:id="rId25"/>
    <p:sldId id="2144447183" r:id="rId26"/>
    <p:sldId id="2146847095" r:id="rId27"/>
    <p:sldId id="2146847096" r:id="rId28"/>
    <p:sldId id="2144447144" r:id="rId29"/>
    <p:sldId id="2144447145" r:id="rId30"/>
    <p:sldId id="2144447146" r:id="rId31"/>
    <p:sldId id="2146847100" r:id="rId32"/>
    <p:sldId id="2146847101" r:id="rId33"/>
    <p:sldId id="2146847102" r:id="rId34"/>
    <p:sldId id="2144447159" r:id="rId35"/>
    <p:sldId id="10661" r:id="rId36"/>
    <p:sldId id="258" r:id="rId37"/>
    <p:sldId id="2146847109" r:id="rId38"/>
    <p:sldId id="2146847110" r:id="rId39"/>
    <p:sldId id="755" r:id="rId40"/>
    <p:sldId id="429" r:id="rId41"/>
    <p:sldId id="436" r:id="rId42"/>
    <p:sldId id="2144447196" r:id="rId43"/>
    <p:sldId id="2144447197" r:id="rId44"/>
    <p:sldId id="437" r:id="rId45"/>
    <p:sldId id="2144447193" r:id="rId46"/>
    <p:sldId id="2141412071" r:id="rId47"/>
    <p:sldId id="2144447151" r:id="rId48"/>
    <p:sldId id="2144447131" r:id="rId49"/>
    <p:sldId id="2144447194" r:id="rId50"/>
    <p:sldId id="2144447200" r:id="rId51"/>
    <p:sldId id="2146847085" r:id="rId52"/>
    <p:sldId id="277" r:id="rId53"/>
    <p:sldId id="795" r:id="rId54"/>
    <p:sldId id="1068" r:id="rId55"/>
    <p:sldId id="797" r:id="rId56"/>
    <p:sldId id="1551" r:id="rId57"/>
    <p:sldId id="2141411917" r:id="rId58"/>
    <p:sldId id="2141412059" r:id="rId59"/>
    <p:sldId id="2146847086" r:id="rId60"/>
    <p:sldId id="2144447209" r:id="rId61"/>
    <p:sldId id="2141412091" r:id="rId62"/>
    <p:sldId id="2141412092" r:id="rId63"/>
    <p:sldId id="2141412093" r:id="rId64"/>
    <p:sldId id="2144447210" r:id="rId65"/>
    <p:sldId id="2141412013" r:id="rId66"/>
    <p:sldId id="2144447132" r:id="rId67"/>
    <p:sldId id="2141412015" r:id="rId68"/>
    <p:sldId id="2144447211" r:id="rId69"/>
    <p:sldId id="2144447190" r:id="rId70"/>
    <p:sldId id="458" r:id="rId71"/>
    <p:sldId id="546" r:id="rId72"/>
    <p:sldId id="2144447167" r:id="rId73"/>
    <p:sldId id="2144447188" r:id="rId74"/>
    <p:sldId id="2144447187" r:id="rId75"/>
    <p:sldId id="2144447195" r:id="rId76"/>
    <p:sldId id="2144447212" r:id="rId77"/>
    <p:sldId id="2144447213" r:id="rId78"/>
    <p:sldId id="2146847054" r:id="rId79"/>
    <p:sldId id="2141412095" r:id="rId80"/>
    <p:sldId id="2144447198" r:id="rId81"/>
    <p:sldId id="2141411985" r:id="rId82"/>
    <p:sldId id="2141411995" r:id="rId83"/>
    <p:sldId id="2141411997" r:id="rId84"/>
    <p:sldId id="2144447134" r:id="rId85"/>
    <p:sldId id="2146847111" r:id="rId86"/>
    <p:sldId id="2146847055" r:id="rId87"/>
    <p:sldId id="2146847056" r:id="rId88"/>
    <p:sldId id="2141411982" r:id="rId89"/>
    <p:sldId id="2141411987" r:id="rId90"/>
    <p:sldId id="763" r:id="rId91"/>
    <p:sldId id="549" r:id="rId92"/>
    <p:sldId id="2141412034" r:id="rId93"/>
    <p:sldId id="2141412064" r:id="rId94"/>
    <p:sldId id="1096" r:id="rId95"/>
    <p:sldId id="1097" r:id="rId96"/>
    <p:sldId id="1098" r:id="rId97"/>
    <p:sldId id="2144447135" r:id="rId98"/>
    <p:sldId id="2146847065" r:id="rId99"/>
    <p:sldId id="1101" r:id="rId100"/>
    <p:sldId id="2144447136" r:id="rId101"/>
    <p:sldId id="2146847057" r:id="rId102"/>
    <p:sldId id="2146847066" r:id="rId103"/>
    <p:sldId id="2146847068" r:id="rId104"/>
    <p:sldId id="2146847069" r:id="rId105"/>
    <p:sldId id="2146847058" r:id="rId106"/>
    <p:sldId id="2141411999" r:id="rId107"/>
    <p:sldId id="2144447214" r:id="rId108"/>
    <p:sldId id="2144447215" r:id="rId109"/>
    <p:sldId id="2144447216" r:id="rId110"/>
    <p:sldId id="10739" r:id="rId111"/>
    <p:sldId id="2146847059" r:id="rId112"/>
    <p:sldId id="2141412000" r:id="rId113"/>
    <p:sldId id="2144447207" r:id="rId114"/>
    <p:sldId id="2146847060" r:id="rId115"/>
    <p:sldId id="1039" r:id="rId116"/>
    <p:sldId id="2144447206" r:id="rId117"/>
    <p:sldId id="2144447205" r:id="rId118"/>
    <p:sldId id="2144447204" r:id="rId119"/>
    <p:sldId id="2144447203" r:id="rId120"/>
    <p:sldId id="2146847061" r:id="rId121"/>
    <p:sldId id="2141411983" r:id="rId122"/>
    <p:sldId id="1088" r:id="rId123"/>
    <p:sldId id="1070" r:id="rId124"/>
    <p:sldId id="1089" r:id="rId125"/>
    <p:sldId id="2144447139" r:id="rId126"/>
    <p:sldId id="2146847112" r:id="rId127"/>
    <p:sldId id="2146847067" r:id="rId128"/>
    <p:sldId id="2141411984" r:id="rId129"/>
    <p:sldId id="2141411909" r:id="rId130"/>
    <p:sldId id="1086" r:id="rId131"/>
    <p:sldId id="10785" r:id="rId132"/>
    <p:sldId id="2144447140" r:id="rId133"/>
    <p:sldId id="2146847088" r:id="rId134"/>
    <p:sldId id="2146847103" r:id="rId135"/>
    <p:sldId id="2146847104" r:id="rId136"/>
    <p:sldId id="2146847106" r:id="rId137"/>
    <p:sldId id="2146847097" r:id="rId138"/>
    <p:sldId id="2141411986" r:id="rId139"/>
    <p:sldId id="1093" r:id="rId140"/>
    <p:sldId id="1072" r:id="rId141"/>
    <p:sldId id="1094" r:id="rId142"/>
    <p:sldId id="2144447141" r:id="rId143"/>
    <p:sldId id="2146847090" r:id="rId144"/>
    <p:sldId id="2141412019" r:id="rId145"/>
    <p:sldId id="2146847070" r:id="rId146"/>
    <p:sldId id="2146847071" r:id="rId147"/>
    <p:sldId id="2146847094" r:id="rId148"/>
    <p:sldId id="2146847073" r:id="rId149"/>
    <p:sldId id="2146847074" r:id="rId150"/>
    <p:sldId id="2146847075" r:id="rId151"/>
    <p:sldId id="2146847113" r:id="rId152"/>
    <p:sldId id="2141412096" r:id="rId153"/>
  </p:sldIdLst>
  <p:sldSz cx="12192000" cy="6858000"/>
  <p:notesSz cx="6950075" cy="9236075"/>
  <p:custShowLst>
    <p:custShow name="Format Guide Workshop" id="0">
      <p:sldLst/>
    </p:custShow>
  </p:custShowLst>
  <p:custDataLst>
    <p:tags r:id="rId1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in, Nikhil" initials="JN" lastIdx="1" clrIdx="0">
    <p:extLst>
      <p:ext uri="{19B8F6BF-5375-455C-9EA6-DF929625EA0E}">
        <p15:presenceInfo xmlns:p15="http://schemas.microsoft.com/office/powerpoint/2012/main" userId="Jain, Nikhi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BA74"/>
    <a:srgbClr val="C9E7CA"/>
    <a:srgbClr val="2093A6"/>
    <a:srgbClr val="9A9A9A"/>
    <a:srgbClr val="F5C5D0"/>
    <a:srgbClr val="EEE89A"/>
    <a:srgbClr val="FF5050"/>
    <a:srgbClr val="C41300"/>
    <a:srgbClr val="EBC5D0"/>
    <a:srgbClr val="D4D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329" autoAdjust="0"/>
    <p:restoredTop sz="93628" autoAdjust="0"/>
  </p:normalViewPr>
  <p:slideViewPr>
    <p:cSldViewPr snapToGrid="0">
      <p:cViewPr>
        <p:scale>
          <a:sx n="52" d="100"/>
          <a:sy n="52" d="100"/>
        </p:scale>
        <p:origin x="416" y="280"/>
      </p:cViewPr>
      <p:guideLst>
        <p:guide orient="horz" pos="2160"/>
        <p:guide pos="3840"/>
      </p:guideLst>
    </p:cSldViewPr>
  </p:slideViewPr>
  <p:outlineViewPr>
    <p:cViewPr>
      <p:scale>
        <a:sx n="33" d="100"/>
        <a:sy n="33" d="100"/>
      </p:scale>
      <p:origin x="0" y="-2338"/>
    </p:cViewPr>
  </p:outlineViewPr>
  <p:notesTextViewPr>
    <p:cViewPr>
      <p:scale>
        <a:sx n="3" d="2"/>
        <a:sy n="3" d="2"/>
      </p:scale>
      <p:origin x="0" y="0"/>
    </p:cViewPr>
  </p:notesTextViewPr>
  <p:sorterViewPr>
    <p:cViewPr varScale="1">
      <p:scale>
        <a:sx n="1" d="1"/>
        <a:sy n="1" d="1"/>
      </p:scale>
      <p:origin x="0" y="-18284"/>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slide" Target="slides/slide136.xml"/><Relationship Id="rId154" Type="http://schemas.openxmlformats.org/officeDocument/2006/relationships/notesMaster" Target="notesMasters/notesMaster1.xml"/><Relationship Id="rId159" Type="http://schemas.openxmlformats.org/officeDocument/2006/relationships/viewProps" Target="viewProps.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144" Type="http://schemas.openxmlformats.org/officeDocument/2006/relationships/slide" Target="slides/slide142.xml"/><Relationship Id="rId149" Type="http://schemas.openxmlformats.org/officeDocument/2006/relationships/slide" Target="slides/slide147.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160" Type="http://schemas.openxmlformats.org/officeDocument/2006/relationships/theme" Target="theme/theme1.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slide" Target="slides/slide148.xml"/><Relationship Id="rId155" Type="http://schemas.openxmlformats.org/officeDocument/2006/relationships/handoutMaster" Target="handoutMasters/handoutMaster1.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slide" Target="slides/slide127.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40" Type="http://schemas.openxmlformats.org/officeDocument/2006/relationships/slide" Target="slides/slide138.xml"/><Relationship Id="rId145" Type="http://schemas.openxmlformats.org/officeDocument/2006/relationships/slide" Target="slides/slide143.xml"/><Relationship Id="rId153" Type="http://schemas.openxmlformats.org/officeDocument/2006/relationships/slide" Target="slides/slide151.xml"/><Relationship Id="rId16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143" Type="http://schemas.openxmlformats.org/officeDocument/2006/relationships/slide" Target="slides/slide141.xml"/><Relationship Id="rId148" Type="http://schemas.openxmlformats.org/officeDocument/2006/relationships/slide" Target="slides/slide146.xml"/><Relationship Id="rId151" Type="http://schemas.openxmlformats.org/officeDocument/2006/relationships/slide" Target="slides/slide149.xml"/><Relationship Id="rId156"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157" Type="http://schemas.openxmlformats.org/officeDocument/2006/relationships/commentAuthors" Target="commentAuthors.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slide" Target="slides/slide15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Binary_Worksheet98.xlsb"/></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Binary_Worksheet99.xlsb"/></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Binary_Worksheet100.xlsb"/></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Binary_Worksheet101.xlsb"/></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Binary_Worksheet102.xlsb"/></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Binary_Worksheet103.xlsb"/></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Binary_Worksheet104.xlsb"/></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Binary_Worksheet105.xlsb"/></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Binary_Worksheet106.xlsb"/></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Binary_Worksheet107.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Binary_Worksheet108.xlsb"/></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Binary_Worksheet109.xlsb"/></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Binary_Worksheet110.xlsb"/></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Binary_Worksheet111.xlsb"/></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Binary_Worksheet112.xlsb"/></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Binary_Worksheet113.xlsb"/></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Binary_Worksheet114.xlsb"/></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Binary_Worksheet115.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Binary_Worksheet69.xlsb"/></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Binary_Worksheet71.xlsb"/></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Binary_Worksheet72.xlsb"/></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Binary_Worksheet73.xlsb"/></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4.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75.xlsb"/></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Binary_Worksheet76.xlsb"/></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Binary_Worksheet77.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Binary_Worksheet78.xlsb"/></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Binary_Worksheet81.xlsb"/></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Binary_Worksheet82.xlsb"/></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Binary_Worksheet83.xlsb"/></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Binary_Worksheet84.xlsb"/></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Binary_Worksheet85.xlsb"/></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Binary_Worksheet86.xlsb"/></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Binary_Worksheet8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Binary_Worksheet88.xlsb"/></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Binary_Worksheet89.xlsb"/></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Binary_Worksheet90.xlsb"/></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Binary_Worksheet91.xlsb"/></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Binary_Worksheet92.xlsb"/></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Binary_Worksheet93.xlsb"/></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Binary_Worksheet94.xlsb"/></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Binary_Worksheet95.xlsb"/></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Binary_Worksheet96.xlsb"/></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Binary_Worksheet9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461756373937678E-2"/>
          <c:y val="2.9461756373937678E-2"/>
          <c:w val="0.94107648725212467"/>
          <c:h val="0.94107648725212467"/>
        </c:manualLayout>
      </c:layout>
      <c:pieChart>
        <c:varyColors val="0"/>
        <c:ser>
          <c:idx val="0"/>
          <c:order val="0"/>
          <c:dPt>
            <c:idx val="0"/>
            <c:bubble3D val="0"/>
            <c:spPr>
              <a:solidFill>
                <a:srgbClr val="295E7E"/>
              </a:solidFill>
              <a:ln>
                <a:noFill/>
              </a:ln>
            </c:spPr>
            <c:extLst>
              <c:ext xmlns:c16="http://schemas.microsoft.com/office/drawing/2014/chart" uri="{C3380CC4-5D6E-409C-BE32-E72D297353CC}">
                <c16:uniqueId val="{00000000-D4AE-4079-85D7-2B757BE3D96F}"/>
              </c:ext>
            </c:extLst>
          </c:dPt>
          <c:dPt>
            <c:idx val="1"/>
            <c:bubble3D val="0"/>
            <c:spPr>
              <a:solidFill>
                <a:srgbClr val="2E3558"/>
              </a:solidFill>
              <a:ln>
                <a:noFill/>
              </a:ln>
            </c:spPr>
            <c:extLst>
              <c:ext xmlns:c16="http://schemas.microsoft.com/office/drawing/2014/chart" uri="{C3380CC4-5D6E-409C-BE32-E72D297353CC}">
                <c16:uniqueId val="{00000001-D4AE-4079-85D7-2B757BE3D96F}"/>
              </c:ext>
            </c:extLst>
          </c:dPt>
          <c:dPt>
            <c:idx val="2"/>
            <c:bubble3D val="0"/>
            <c:spPr>
              <a:solidFill>
                <a:schemeClr val="accent6"/>
              </a:solidFill>
              <a:ln>
                <a:noFill/>
              </a:ln>
            </c:spPr>
            <c:extLst>
              <c:ext xmlns:c16="http://schemas.microsoft.com/office/drawing/2014/chart" uri="{C3380CC4-5D6E-409C-BE32-E72D297353CC}">
                <c16:uniqueId val="{00000002-D4AE-4079-85D7-2B757BE3D96F}"/>
              </c:ext>
            </c:extLst>
          </c:dPt>
          <c:dPt>
            <c:idx val="3"/>
            <c:bubble3D val="0"/>
            <c:spPr>
              <a:solidFill>
                <a:srgbClr val="18798F"/>
              </a:solidFill>
              <a:ln>
                <a:noFill/>
              </a:ln>
            </c:spPr>
            <c:extLst>
              <c:ext xmlns:c16="http://schemas.microsoft.com/office/drawing/2014/chart" uri="{C3380CC4-5D6E-409C-BE32-E72D297353CC}">
                <c16:uniqueId val="{00000003-D4AE-4079-85D7-2B757BE3D96F}"/>
              </c:ext>
            </c:extLst>
          </c:dPt>
          <c:dPt>
            <c:idx val="4"/>
            <c:bubble3D val="0"/>
            <c:spPr>
              <a:solidFill>
                <a:srgbClr val="008AC2"/>
              </a:solidFill>
              <a:ln>
                <a:noFill/>
              </a:ln>
            </c:spPr>
            <c:extLst>
              <c:ext xmlns:c16="http://schemas.microsoft.com/office/drawing/2014/chart" uri="{C3380CC4-5D6E-409C-BE32-E72D297353CC}">
                <c16:uniqueId val="{00000004-D4AE-4079-85D7-2B757BE3D96F}"/>
              </c:ext>
            </c:extLst>
          </c:dPt>
          <c:dPt>
            <c:idx val="5"/>
            <c:bubble3D val="0"/>
            <c:spPr>
              <a:solidFill>
                <a:srgbClr val="30C1D7"/>
              </a:solidFill>
              <a:ln>
                <a:noFill/>
              </a:ln>
            </c:spPr>
            <c:extLst>
              <c:ext xmlns:c16="http://schemas.microsoft.com/office/drawing/2014/chart" uri="{C3380CC4-5D6E-409C-BE32-E72D297353CC}">
                <c16:uniqueId val="{00000005-D4AE-4079-85D7-2B757BE3D96F}"/>
              </c:ext>
            </c:extLst>
          </c:dPt>
          <c:dPt>
            <c:idx val="6"/>
            <c:bubble3D val="0"/>
            <c:spPr>
              <a:solidFill>
                <a:srgbClr val="837F7F"/>
              </a:solidFill>
              <a:ln>
                <a:noFill/>
              </a:ln>
            </c:spPr>
            <c:extLst>
              <c:ext xmlns:c16="http://schemas.microsoft.com/office/drawing/2014/chart" uri="{C3380CC4-5D6E-409C-BE32-E72D297353CC}">
                <c16:uniqueId val="{00000006-D4AE-4079-85D7-2B757BE3D96F}"/>
              </c:ext>
            </c:extLst>
          </c:dPt>
          <c:dPt>
            <c:idx val="7"/>
            <c:bubble3D val="0"/>
            <c:spPr>
              <a:solidFill>
                <a:srgbClr val="C8C8C8"/>
              </a:solidFill>
              <a:ln>
                <a:noFill/>
              </a:ln>
            </c:spPr>
            <c:extLst>
              <c:ext xmlns:c16="http://schemas.microsoft.com/office/drawing/2014/chart" uri="{C3380CC4-5D6E-409C-BE32-E72D297353CC}">
                <c16:uniqueId val="{00000007-D4AE-4079-85D7-2B757BE3D96F}"/>
              </c:ext>
            </c:extLst>
          </c:dPt>
          <c:dLbls>
            <c:dLbl>
              <c:idx val="0"/>
              <c:layout>
                <c:manualLayout>
                  <c:x val="0.10141643059490085"/>
                  <c:y val="-0.13484419263456091"/>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AE-4079-85D7-2B757BE3D96F}"/>
                </c:ext>
              </c:extLst>
            </c:dLbl>
            <c:dLbl>
              <c:idx val="1"/>
              <c:layout>
                <c:manualLayout>
                  <c:x val="0.14050991501416429"/>
                  <c:y val="8.8951841359773368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AE-4079-85D7-2B757BE3D96F}"/>
                </c:ext>
              </c:extLst>
            </c:dLbl>
            <c:dLbl>
              <c:idx val="2"/>
              <c:layout>
                <c:manualLayout>
                  <c:x val="-2.7762039660056657E-2"/>
                  <c:y val="0.18130311614730879"/>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AE-4079-85D7-2B757BE3D96F}"/>
                </c:ext>
              </c:extLst>
            </c:dLbl>
            <c:dLbl>
              <c:idx val="3"/>
              <c:layout>
                <c:manualLayout>
                  <c:x val="-0.10198300283286119"/>
                  <c:y val="0.1478753541076487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AE-4079-85D7-2B757BE3D96F}"/>
                </c:ext>
              </c:extLst>
            </c:dLbl>
            <c:dLbl>
              <c:idx val="4"/>
              <c:layout>
                <c:manualLayout>
                  <c:x val="-0.1359773371104816"/>
                  <c:y val="0.11161473087818696"/>
                </c:manualLayout>
              </c:layout>
              <c:numFmt formatCode="#,##0&quot;%&quot;;&quot;-&quot;#,##0&quot;%&quot;" sourceLinked="0"/>
              <c:spPr>
                <a:noFill/>
                <a:ln>
                  <a:noFill/>
                </a:ln>
              </c:spPr>
              <c:txPr>
                <a:bodyPr wrap="none"/>
                <a:lstStyle/>
                <a:p>
                  <a:pPr>
                    <a:defRPr sz="1400" b="1"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AE-4079-85D7-2B757BE3D96F}"/>
                </c:ext>
              </c:extLst>
            </c:dLbl>
            <c:dLbl>
              <c:idx val="6"/>
              <c:layout>
                <c:manualLayout>
                  <c:x val="-0.17960339943342776"/>
                  <c:y val="3.6260623229461754E-2"/>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4AE-4079-85D7-2B757BE3D96F}"/>
                </c:ext>
              </c:extLst>
            </c:dLbl>
            <c:dLbl>
              <c:idx val="7"/>
              <c:layout>
                <c:manualLayout>
                  <c:x val="-0.11954674220963173"/>
                  <c:y val="-0.1167138810198300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AE-4079-85D7-2B757BE3D9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20.549999999999997</c:v>
                </c:pt>
                <c:pt idx="1">
                  <c:v>26.919999999999998</c:v>
                </c:pt>
                <c:pt idx="2">
                  <c:v>9.9500000000000011</c:v>
                </c:pt>
                <c:pt idx="3">
                  <c:v>4.3999999999999995</c:v>
                </c:pt>
                <c:pt idx="4">
                  <c:v>4.5699999999999994</c:v>
                </c:pt>
                <c:pt idx="5">
                  <c:v>2.77</c:v>
                </c:pt>
                <c:pt idx="6">
                  <c:v>5.38</c:v>
                </c:pt>
                <c:pt idx="7">
                  <c:v>25.45</c:v>
                </c:pt>
              </c:numCache>
            </c:numRef>
          </c:val>
          <c:extLst>
            <c:ext xmlns:c16="http://schemas.microsoft.com/office/drawing/2014/chart" uri="{C3380CC4-5D6E-409C-BE32-E72D297353CC}">
              <c16:uniqueId val="{00000008-D4AE-4079-85D7-2B757BE3D96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670F31"/>
            </a:solidFill>
            <a:ln>
              <a:noFill/>
            </a:ln>
          </c:spPr>
          <c:invertIfNegative val="0"/>
          <c:val>
            <c:numRef>
              <c:f>Sheet1!$A$1</c:f>
              <c:numCache>
                <c:formatCode>General</c:formatCode>
                <c:ptCount val="1"/>
                <c:pt idx="0">
                  <c:v>61.47</c:v>
                </c:pt>
              </c:numCache>
            </c:numRef>
          </c:val>
          <c:extLst>
            <c:ext xmlns:c16="http://schemas.microsoft.com/office/drawing/2014/chart" uri="{C3380CC4-5D6E-409C-BE32-E72D297353CC}">
              <c16:uniqueId val="{00000000-8321-4FC0-BC10-4E2D80DBC230}"/>
            </c:ext>
          </c:extLst>
        </c:ser>
        <c:ser>
          <c:idx val="1"/>
          <c:order val="1"/>
          <c:spPr>
            <a:solidFill>
              <a:srgbClr val="C8C8C8"/>
            </a:solidFill>
            <a:ln>
              <a:noFill/>
            </a:ln>
          </c:spPr>
          <c:invertIfNegative val="0"/>
          <c:val>
            <c:numRef>
              <c:f>Sheet1!$A$2</c:f>
              <c:numCache>
                <c:formatCode>General</c:formatCode>
                <c:ptCount val="1"/>
                <c:pt idx="0">
                  <c:v>38.53</c:v>
                </c:pt>
              </c:numCache>
            </c:numRef>
          </c:val>
          <c:extLst>
            <c:ext xmlns:c16="http://schemas.microsoft.com/office/drawing/2014/chart" uri="{C3380CC4-5D6E-409C-BE32-E72D297353CC}">
              <c16:uniqueId val="{00000001-8321-4FC0-BC10-4E2D80DBC230}"/>
            </c:ext>
          </c:extLst>
        </c:ser>
        <c:dLbls>
          <c:showLegendKey val="0"/>
          <c:showVal val="0"/>
          <c:showCatName val="0"/>
          <c:showSerName val="0"/>
          <c:showPercent val="0"/>
          <c:showBubbleSize val="0"/>
        </c:dLbls>
        <c:gapWidth val="60"/>
        <c:overlap val="100"/>
        <c:axId val="107817327"/>
        <c:axId val="1"/>
      </c:barChart>
      <c:catAx>
        <c:axId val="107817327"/>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07817327"/>
        <c:crosses val="max"/>
        <c:crossBetween val="between"/>
      </c:valAx>
    </c:plotArea>
    <c:plotVisOnly val="0"/>
    <c:dispBlanksAs val="gap"/>
    <c:showDLblsOverMax val="1"/>
  </c:chart>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933444259567387E-2"/>
          <c:y val="5.1741293532338306E-2"/>
          <c:w val="0.92013311148086518"/>
          <c:h val="0.74228855721393039"/>
        </c:manualLayout>
      </c:layout>
      <c:barChart>
        <c:barDir val="bar"/>
        <c:grouping val="stacked"/>
        <c:varyColors val="0"/>
        <c:ser>
          <c:idx val="0"/>
          <c:order val="0"/>
          <c:spPr>
            <a:solidFill>
              <a:srgbClr val="197A56"/>
            </a:solidFill>
            <a:ln>
              <a:noFill/>
            </a:ln>
          </c:spPr>
          <c:invertIfNegative val="0"/>
          <c:val>
            <c:numRef>
              <c:f>Sheet1!$A$1:$B$1</c:f>
              <c:numCache>
                <c:formatCode>General</c:formatCode>
                <c:ptCount val="2"/>
                <c:pt idx="0">
                  <c:v>6.3</c:v>
                </c:pt>
                <c:pt idx="1">
                  <c:v>6.7100000000000009</c:v>
                </c:pt>
              </c:numCache>
            </c:numRef>
          </c:val>
          <c:extLst>
            <c:ext xmlns:c16="http://schemas.microsoft.com/office/drawing/2014/chart" uri="{C3380CC4-5D6E-409C-BE32-E72D297353CC}">
              <c16:uniqueId val="{00000000-ED96-4855-8371-56595B412FCB}"/>
            </c:ext>
          </c:extLst>
        </c:ser>
        <c:ser>
          <c:idx val="1"/>
          <c:order val="1"/>
          <c:spPr>
            <a:solidFill>
              <a:schemeClr val="tx2"/>
            </a:solidFill>
            <a:ln>
              <a:noFill/>
            </a:ln>
          </c:spPr>
          <c:invertIfNegative val="0"/>
          <c:val>
            <c:numRef>
              <c:f>Sheet1!$A$2:$B$2</c:f>
              <c:numCache>
                <c:formatCode>General</c:formatCode>
                <c:ptCount val="2"/>
                <c:pt idx="0">
                  <c:v>67.190000000000012</c:v>
                </c:pt>
                <c:pt idx="1">
                  <c:v>80.78</c:v>
                </c:pt>
              </c:numCache>
            </c:numRef>
          </c:val>
          <c:extLst>
            <c:ext xmlns:c16="http://schemas.microsoft.com/office/drawing/2014/chart" uri="{C3380CC4-5D6E-409C-BE32-E72D297353CC}">
              <c16:uniqueId val="{00000001-ED96-4855-8371-56595B412FCB}"/>
            </c:ext>
          </c:extLst>
        </c:ser>
        <c:ser>
          <c:idx val="2"/>
          <c:order val="2"/>
          <c:spPr>
            <a:solidFill>
              <a:srgbClr val="837F7F"/>
            </a:solidFill>
            <a:ln>
              <a:noFill/>
            </a:ln>
          </c:spPr>
          <c:invertIfNegative val="0"/>
          <c:val>
            <c:numRef>
              <c:f>Sheet1!$A$3:$B$3</c:f>
              <c:numCache>
                <c:formatCode>General</c:formatCode>
                <c:ptCount val="2"/>
                <c:pt idx="0">
                  <c:v>25.6</c:v>
                </c:pt>
                <c:pt idx="1">
                  <c:v>11.680000000000001</c:v>
                </c:pt>
              </c:numCache>
            </c:numRef>
          </c:val>
          <c:extLst>
            <c:ext xmlns:c16="http://schemas.microsoft.com/office/drawing/2014/chart" uri="{C3380CC4-5D6E-409C-BE32-E72D297353CC}">
              <c16:uniqueId val="{00000002-ED96-4855-8371-56595B412FCB}"/>
            </c:ext>
          </c:extLst>
        </c:ser>
        <c:ser>
          <c:idx val="3"/>
          <c:order val="3"/>
          <c:spPr>
            <a:solidFill>
              <a:srgbClr val="565656"/>
            </a:solidFill>
            <a:ln>
              <a:noFill/>
            </a:ln>
          </c:spPr>
          <c:invertIfNegative val="0"/>
          <c:val>
            <c:numRef>
              <c:f>Sheet1!$A$4:$B$4</c:f>
              <c:numCache>
                <c:formatCode>General</c:formatCode>
                <c:ptCount val="2"/>
                <c:pt idx="0">
                  <c:v>0.9100000000000108</c:v>
                </c:pt>
                <c:pt idx="1">
                  <c:v>0.82999999999999741</c:v>
                </c:pt>
              </c:numCache>
            </c:numRef>
          </c:val>
          <c:extLst>
            <c:ext xmlns:c16="http://schemas.microsoft.com/office/drawing/2014/chart" uri="{C3380CC4-5D6E-409C-BE32-E72D297353CC}">
              <c16:uniqueId val="{00000003-ED96-4855-8371-56595B412FCB}"/>
            </c:ext>
          </c:extLst>
        </c:ser>
        <c:dLbls>
          <c:showLegendKey val="0"/>
          <c:showVal val="0"/>
          <c:showCatName val="0"/>
          <c:showSerName val="0"/>
          <c:showPercent val="0"/>
          <c:showBubbleSize val="0"/>
        </c:dLbls>
        <c:gapWidth val="60"/>
        <c:overlap val="100"/>
        <c:axId val="1358832120"/>
        <c:axId val="1"/>
      </c:barChart>
      <c:catAx>
        <c:axId val="1358832120"/>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58832120"/>
        <c:crosses val="max"/>
        <c:crossBetween val="between"/>
        <c:majorUnit val="20"/>
      </c:valAx>
    </c:plotArea>
    <c:plotVisOnly val="0"/>
    <c:dispBlanksAs val="gap"/>
    <c:showDLblsOverMax val="1"/>
  </c:chart>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933444259567387E-2"/>
          <c:y val="8.0370942812983001E-2"/>
          <c:w val="0.92013311148086518"/>
          <c:h val="0.59969088098918089"/>
        </c:manualLayout>
      </c:layout>
      <c:barChart>
        <c:barDir val="bar"/>
        <c:grouping val="stacked"/>
        <c:varyColors val="0"/>
        <c:ser>
          <c:idx val="0"/>
          <c:order val="0"/>
          <c:spPr>
            <a:solidFill>
              <a:schemeClr val="tx2"/>
            </a:solidFill>
            <a:ln>
              <a:noFill/>
            </a:ln>
          </c:spPr>
          <c:invertIfNegative val="0"/>
          <c:val>
            <c:numRef>
              <c:f>Sheet1!$A$1</c:f>
              <c:numCache>
                <c:formatCode>General</c:formatCode>
                <c:ptCount val="1"/>
                <c:pt idx="0">
                  <c:v>59.5</c:v>
                </c:pt>
              </c:numCache>
            </c:numRef>
          </c:val>
          <c:extLst>
            <c:ext xmlns:c16="http://schemas.microsoft.com/office/drawing/2014/chart" uri="{C3380CC4-5D6E-409C-BE32-E72D297353CC}">
              <c16:uniqueId val="{00000000-ECCE-4581-917A-883421C2CD86}"/>
            </c:ext>
          </c:extLst>
        </c:ser>
        <c:ser>
          <c:idx val="1"/>
          <c:order val="1"/>
          <c:spPr>
            <a:solidFill>
              <a:srgbClr val="837F7F"/>
            </a:solidFill>
            <a:ln>
              <a:noFill/>
            </a:ln>
          </c:spPr>
          <c:invertIfNegative val="0"/>
          <c:val>
            <c:numRef>
              <c:f>Sheet1!$A$2</c:f>
              <c:numCache>
                <c:formatCode>General</c:formatCode>
                <c:ptCount val="1"/>
                <c:pt idx="0">
                  <c:v>38.359999999999992</c:v>
                </c:pt>
              </c:numCache>
            </c:numRef>
          </c:val>
          <c:extLst>
            <c:ext xmlns:c16="http://schemas.microsoft.com/office/drawing/2014/chart" uri="{C3380CC4-5D6E-409C-BE32-E72D297353CC}">
              <c16:uniqueId val="{00000001-ECCE-4581-917A-883421C2CD86}"/>
            </c:ext>
          </c:extLst>
        </c:ser>
        <c:ser>
          <c:idx val="2"/>
          <c:order val="2"/>
          <c:spPr>
            <a:solidFill>
              <a:srgbClr val="565656"/>
            </a:solidFill>
            <a:ln>
              <a:noFill/>
            </a:ln>
          </c:spPr>
          <c:invertIfNegative val="0"/>
          <c:val>
            <c:numRef>
              <c:f>Sheet1!$A$3</c:f>
              <c:numCache>
                <c:formatCode>General</c:formatCode>
                <c:ptCount val="1"/>
                <c:pt idx="0">
                  <c:v>2.1399999999999975</c:v>
                </c:pt>
              </c:numCache>
            </c:numRef>
          </c:val>
          <c:extLst>
            <c:ext xmlns:c16="http://schemas.microsoft.com/office/drawing/2014/chart" uri="{C3380CC4-5D6E-409C-BE32-E72D297353CC}">
              <c16:uniqueId val="{00000002-ECCE-4581-917A-883421C2CD86}"/>
            </c:ext>
          </c:extLst>
        </c:ser>
        <c:dLbls>
          <c:showLegendKey val="0"/>
          <c:showVal val="0"/>
          <c:showCatName val="0"/>
          <c:showSerName val="0"/>
          <c:showPercent val="0"/>
          <c:showBubbleSize val="0"/>
        </c:dLbls>
        <c:gapWidth val="60"/>
        <c:overlap val="100"/>
        <c:axId val="2124588088"/>
        <c:axId val="1"/>
      </c:barChart>
      <c:catAx>
        <c:axId val="2124588088"/>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2124588088"/>
        <c:crosses val="max"/>
        <c:crossBetween val="between"/>
        <c:majorUnit val="20"/>
      </c:valAx>
    </c:plotArea>
    <c:plotVisOnly val="0"/>
    <c:dispBlanksAs val="gap"/>
    <c:showDLblsOverMax val="1"/>
  </c:chart>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209205020920501E-2"/>
          <c:y val="3.075103489059728E-2"/>
          <c:w val="0.89958158995815896"/>
          <c:h val="0.84683619160260204"/>
        </c:manualLayout>
      </c:layout>
      <c:barChart>
        <c:barDir val="bar"/>
        <c:grouping val="stacked"/>
        <c:varyColors val="0"/>
        <c:ser>
          <c:idx val="0"/>
          <c:order val="0"/>
          <c:spPr>
            <a:solidFill>
              <a:schemeClr val="tx2"/>
            </a:solidFill>
            <a:ln>
              <a:noFill/>
            </a:ln>
          </c:spPr>
          <c:invertIfNegative val="0"/>
          <c:dLbls>
            <c:dLbl>
              <c:idx val="0"/>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C55-450B-850E-3B4AD6D51F0F}"/>
                </c:ext>
              </c:extLst>
            </c:dLbl>
            <c:dLbl>
              <c:idx val="1"/>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C55-450B-850E-3B4AD6D51F0F}"/>
                </c:ext>
              </c:extLst>
            </c:dLbl>
            <c:dLbl>
              <c:idx val="2"/>
              <c:layout>
                <c:manualLayout>
                  <c:x val="-2.9886431560071725E-4"/>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C55-450B-850E-3B4AD6D51F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1.78</c:v>
                </c:pt>
                <c:pt idx="1">
                  <c:v>25.330000000000002</c:v>
                </c:pt>
                <c:pt idx="2">
                  <c:v>19.11</c:v>
                </c:pt>
              </c:numCache>
            </c:numRef>
          </c:val>
          <c:extLst>
            <c:ext xmlns:c16="http://schemas.microsoft.com/office/drawing/2014/chart" uri="{C3380CC4-5D6E-409C-BE32-E72D297353CC}">
              <c16:uniqueId val="{00000003-AC55-450B-850E-3B4AD6D51F0F}"/>
            </c:ext>
          </c:extLst>
        </c:ser>
        <c:ser>
          <c:idx val="1"/>
          <c:order val="1"/>
          <c:spPr>
            <a:solidFill>
              <a:schemeClr val="accent2"/>
            </a:solidFill>
            <a:ln>
              <a:noFill/>
            </a:ln>
          </c:spPr>
          <c:invertIfNegative val="0"/>
          <c:dLbls>
            <c:dLbl>
              <c:idx val="0"/>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C55-450B-850E-3B4AD6D51F0F}"/>
                </c:ext>
              </c:extLst>
            </c:dLbl>
            <c:dLbl>
              <c:idx val="1"/>
              <c:layout>
                <c:manualLayout>
                  <c:x val="-2.9886431560071725E-4"/>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C55-450B-850E-3B4AD6D51F0F}"/>
                </c:ext>
              </c:extLst>
            </c:dLbl>
            <c:dLbl>
              <c:idx val="2"/>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C55-450B-850E-3B4AD6D51F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1.980000000000004</c:v>
                </c:pt>
                <c:pt idx="1">
                  <c:v>44.41</c:v>
                </c:pt>
                <c:pt idx="2">
                  <c:v>36.99</c:v>
                </c:pt>
              </c:numCache>
            </c:numRef>
          </c:val>
          <c:extLst>
            <c:ext xmlns:c16="http://schemas.microsoft.com/office/drawing/2014/chart" uri="{C3380CC4-5D6E-409C-BE32-E72D297353CC}">
              <c16:uniqueId val="{00000007-AC55-450B-850E-3B4AD6D51F0F}"/>
            </c:ext>
          </c:extLst>
        </c:ser>
        <c:ser>
          <c:idx val="2"/>
          <c:order val="2"/>
          <c:spPr>
            <a:solidFill>
              <a:srgbClr val="C8C8C8"/>
            </a:solidFill>
            <a:ln>
              <a:noFill/>
            </a:ln>
          </c:spPr>
          <c:invertIfNegative val="0"/>
          <c:dLbls>
            <c:dLbl>
              <c:idx val="0"/>
              <c:layout>
                <c:manualLayout>
                  <c:x val="-2.9886431560071725E-4"/>
                  <c:y val="-1.774098166765227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C55-450B-850E-3B4AD6D51F0F}"/>
                </c:ext>
              </c:extLst>
            </c:dLbl>
            <c:dLbl>
              <c:idx val="1"/>
              <c:layout>
                <c:manualLayout>
                  <c:x val="0"/>
                  <c:y val="-1.774098166765227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C55-450B-850E-3B4AD6D51F0F}"/>
                </c:ext>
              </c:extLst>
            </c:dLbl>
            <c:dLbl>
              <c:idx val="2"/>
              <c:layout>
                <c:manualLayout>
                  <c:x val="0"/>
                  <c:y val="-1.774098166765227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C55-450B-850E-3B4AD6D51F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6.040000000000006</c:v>
                </c:pt>
                <c:pt idx="1">
                  <c:v>20.72</c:v>
                </c:pt>
                <c:pt idx="2">
                  <c:v>26.259999999999998</c:v>
                </c:pt>
              </c:numCache>
            </c:numRef>
          </c:val>
          <c:extLst>
            <c:ext xmlns:c16="http://schemas.microsoft.com/office/drawing/2014/chart" uri="{C3380CC4-5D6E-409C-BE32-E72D297353CC}">
              <c16:uniqueId val="{0000000B-AC55-450B-850E-3B4AD6D51F0F}"/>
            </c:ext>
          </c:extLst>
        </c:ser>
        <c:ser>
          <c:idx val="3"/>
          <c:order val="3"/>
          <c:spPr>
            <a:solidFill>
              <a:srgbClr val="ABA8B3"/>
            </a:solidFill>
            <a:ln>
              <a:noFill/>
            </a:ln>
          </c:spPr>
          <c:invertIfNegative val="0"/>
          <c:dLbls>
            <c:dLbl>
              <c:idx val="0"/>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C55-450B-850E-3B4AD6D51F0F}"/>
                </c:ext>
              </c:extLst>
            </c:dLbl>
            <c:dLbl>
              <c:idx val="1"/>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C55-450B-850E-3B4AD6D51F0F}"/>
                </c:ext>
              </c:extLst>
            </c:dLbl>
            <c:dLbl>
              <c:idx val="2"/>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C55-450B-850E-3B4AD6D51F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7.2000000000000028</c:v>
                </c:pt>
                <c:pt idx="1">
                  <c:v>7.0799999999999983</c:v>
                </c:pt>
                <c:pt idx="2">
                  <c:v>13.079999999999998</c:v>
                </c:pt>
              </c:numCache>
            </c:numRef>
          </c:val>
          <c:extLst>
            <c:ext xmlns:c16="http://schemas.microsoft.com/office/drawing/2014/chart" uri="{C3380CC4-5D6E-409C-BE32-E72D297353CC}">
              <c16:uniqueId val="{0000000F-AC55-450B-850E-3B4AD6D51F0F}"/>
            </c:ext>
          </c:extLst>
        </c:ser>
        <c:ser>
          <c:idx val="4"/>
          <c:order val="4"/>
          <c:spPr>
            <a:solidFill>
              <a:srgbClr val="837F7F"/>
            </a:solidFill>
            <a:ln>
              <a:noFill/>
            </a:ln>
          </c:spPr>
          <c:invertIfNegative val="0"/>
          <c:dLbls>
            <c:dLbl>
              <c:idx val="0"/>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C55-450B-850E-3B4AD6D51F0F}"/>
                </c:ext>
              </c:extLst>
            </c:dLbl>
            <c:dLbl>
              <c:idx val="1"/>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C55-450B-850E-3B4AD6D51F0F}"/>
                </c:ext>
              </c:extLst>
            </c:dLbl>
            <c:dLbl>
              <c:idx val="2"/>
              <c:layout>
                <c:manualLayout>
                  <c:x val="0"/>
                  <c:y val="-1.774098166765227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C55-450B-850E-3B4AD6D51F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3</c:v>
                </c:pt>
                <c:pt idx="1">
                  <c:v>2.4599999999999937</c:v>
                </c:pt>
                <c:pt idx="2">
                  <c:v>4.5600000000000023</c:v>
                </c:pt>
              </c:numCache>
            </c:numRef>
          </c:val>
          <c:extLst>
            <c:ext xmlns:c16="http://schemas.microsoft.com/office/drawing/2014/chart" uri="{C3380CC4-5D6E-409C-BE32-E72D297353CC}">
              <c16:uniqueId val="{00000013-AC55-450B-850E-3B4AD6D51F0F}"/>
            </c:ext>
          </c:extLst>
        </c:ser>
        <c:dLbls>
          <c:showLegendKey val="0"/>
          <c:showVal val="0"/>
          <c:showCatName val="0"/>
          <c:showSerName val="0"/>
          <c:showPercent val="0"/>
          <c:showBubbleSize val="0"/>
        </c:dLbls>
        <c:gapWidth val="60"/>
        <c:overlap val="100"/>
        <c:axId val="1354144408"/>
        <c:axId val="1"/>
      </c:barChart>
      <c:catAx>
        <c:axId val="1354144408"/>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54144408"/>
        <c:crosses val="max"/>
        <c:crossBetween val="between"/>
        <c:majorUnit val="20"/>
      </c:valAx>
    </c:plotArea>
    <c:plotVisOnly val="0"/>
    <c:dispBlanksAs val="gap"/>
    <c:showDLblsOverMax val="1"/>
  </c:chart>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20787746170679E-2"/>
          <c:y val="5.4826254826254826E-2"/>
          <c:w val="0.92210065645514228"/>
          <c:h val="0.88957528957528953"/>
        </c:manualLayout>
      </c:layout>
      <c:barChart>
        <c:barDir val="col"/>
        <c:grouping val="clustered"/>
        <c:varyColors val="0"/>
        <c:ser>
          <c:idx val="0"/>
          <c:order val="0"/>
          <c:spPr>
            <a:solidFill>
              <a:srgbClr val="295E7E"/>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795-48C8-8D2A-CC6FADF71E41}"/>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795-48C8-8D2A-CC6FADF71E4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2</c:v>
                </c:pt>
                <c:pt idx="1">
                  <c:v>50</c:v>
                </c:pt>
              </c:numCache>
            </c:numRef>
          </c:val>
          <c:extLst>
            <c:ext xmlns:c16="http://schemas.microsoft.com/office/drawing/2014/chart" uri="{C3380CC4-5D6E-409C-BE32-E72D297353CC}">
              <c16:uniqueId val="{00000002-1795-48C8-8D2A-CC6FADF71E41}"/>
            </c:ext>
          </c:extLst>
        </c:ser>
        <c:ser>
          <c:idx val="1"/>
          <c:order val="1"/>
          <c:spPr>
            <a:solidFill>
              <a:srgbClr val="008AC2"/>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795-48C8-8D2A-CC6FADF71E41}"/>
                </c:ext>
              </c:extLst>
            </c:dLbl>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795-48C8-8D2A-CC6FADF71E41}"/>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795-48C8-8D2A-CC6FADF71E4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54</c:v>
                </c:pt>
                <c:pt idx="1">
                  <c:v>57</c:v>
                </c:pt>
                <c:pt idx="2">
                  <c:v>63</c:v>
                </c:pt>
              </c:numCache>
            </c:numRef>
          </c:val>
          <c:extLst>
            <c:ext xmlns:c16="http://schemas.microsoft.com/office/drawing/2014/chart" uri="{C3380CC4-5D6E-409C-BE32-E72D297353CC}">
              <c16:uniqueId val="{00000006-1795-48C8-8D2A-CC6FADF71E41}"/>
            </c:ext>
          </c:extLst>
        </c:ser>
        <c:ser>
          <c:idx val="2"/>
          <c:order val="2"/>
          <c:spPr>
            <a:solidFill>
              <a:srgbClr val="2BD5D9"/>
            </a:solidFill>
            <a:ln>
              <a:noFill/>
            </a:ln>
          </c:spPr>
          <c:invertIfNegative val="0"/>
          <c:dLbls>
            <c:dLbl>
              <c:idx val="0"/>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795-48C8-8D2A-CC6FADF71E41}"/>
                </c:ext>
              </c:extLst>
            </c:dLbl>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795-48C8-8D2A-CC6FADF71E41}"/>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795-48C8-8D2A-CC6FADF71E4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4.92</c:v>
                </c:pt>
                <c:pt idx="1">
                  <c:v>63.78</c:v>
                </c:pt>
                <c:pt idx="2">
                  <c:v>67.16</c:v>
                </c:pt>
              </c:numCache>
            </c:numRef>
          </c:val>
          <c:extLst>
            <c:ext xmlns:c16="http://schemas.microsoft.com/office/drawing/2014/chart" uri="{C3380CC4-5D6E-409C-BE32-E72D297353CC}">
              <c16:uniqueId val="{0000000A-1795-48C8-8D2A-CC6FADF71E41}"/>
            </c:ext>
          </c:extLst>
        </c:ser>
        <c:dLbls>
          <c:showLegendKey val="0"/>
          <c:showVal val="0"/>
          <c:showCatName val="0"/>
          <c:showSerName val="0"/>
          <c:showPercent val="0"/>
          <c:showBubbleSize val="0"/>
        </c:dLbls>
        <c:gapWidth val="150"/>
        <c:axId val="1369393664"/>
        <c:axId val="1"/>
      </c:barChart>
      <c:catAx>
        <c:axId val="1369393664"/>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69393664"/>
        <c:crosses val="min"/>
        <c:crossBetween val="between"/>
        <c:majorUnit val="50"/>
      </c:valAx>
    </c:plotArea>
    <c:plotVisOnly val="0"/>
    <c:dispBlanksAs val="gap"/>
    <c:showDLblsOverMax val="1"/>
  </c:chart>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24250214224508E-2"/>
          <c:y val="5.4826254826254826E-2"/>
          <c:w val="0.92373607540702651"/>
          <c:h val="0.88957528957528953"/>
        </c:manualLayout>
      </c:layout>
      <c:barChart>
        <c:barDir val="col"/>
        <c:grouping val="clustered"/>
        <c:varyColors val="0"/>
        <c:ser>
          <c:idx val="0"/>
          <c:order val="0"/>
          <c:spPr>
            <a:solidFill>
              <a:srgbClr val="6E6F73"/>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E3C-48AE-B7CB-5CA32AACDA11}"/>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E3C-48AE-B7CB-5CA32AACDA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8</c:v>
                </c:pt>
                <c:pt idx="1">
                  <c:v>67</c:v>
                </c:pt>
              </c:numCache>
            </c:numRef>
          </c:val>
          <c:extLst>
            <c:ext xmlns:c16="http://schemas.microsoft.com/office/drawing/2014/chart" uri="{C3380CC4-5D6E-409C-BE32-E72D297353CC}">
              <c16:uniqueId val="{00000002-2E3C-48AE-B7CB-5CA32AACDA11}"/>
            </c:ext>
          </c:extLst>
        </c:ser>
        <c:ser>
          <c:idx val="1"/>
          <c:order val="1"/>
          <c:spPr>
            <a:solidFill>
              <a:srgbClr val="ABA8B3"/>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E3C-48AE-B7CB-5CA32AACDA11}"/>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E3C-48AE-B7CB-5CA32AACDA11}"/>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E3C-48AE-B7CB-5CA32AACDA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0</c:v>
                </c:pt>
                <c:pt idx="1">
                  <c:v>72</c:v>
                </c:pt>
                <c:pt idx="2">
                  <c:v>72</c:v>
                </c:pt>
              </c:numCache>
            </c:numRef>
          </c:val>
          <c:extLst>
            <c:ext xmlns:c16="http://schemas.microsoft.com/office/drawing/2014/chart" uri="{C3380CC4-5D6E-409C-BE32-E72D297353CC}">
              <c16:uniqueId val="{00000006-2E3C-48AE-B7CB-5CA32AACDA11}"/>
            </c:ext>
          </c:extLst>
        </c:ser>
        <c:ser>
          <c:idx val="2"/>
          <c:order val="2"/>
          <c:spPr>
            <a:solidFill>
              <a:srgbClr val="C8C8C8"/>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E3C-48AE-B7CB-5CA32AACDA11}"/>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E3C-48AE-B7CB-5CA32AACDA11}"/>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E3C-48AE-B7CB-5CA32AACDA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7.49</c:v>
                </c:pt>
                <c:pt idx="1">
                  <c:v>74.63</c:v>
                </c:pt>
                <c:pt idx="2">
                  <c:v>80.42</c:v>
                </c:pt>
              </c:numCache>
            </c:numRef>
          </c:val>
          <c:extLst>
            <c:ext xmlns:c16="http://schemas.microsoft.com/office/drawing/2014/chart" uri="{C3380CC4-5D6E-409C-BE32-E72D297353CC}">
              <c16:uniqueId val="{0000000A-2E3C-48AE-B7CB-5CA32AACDA11}"/>
            </c:ext>
          </c:extLst>
        </c:ser>
        <c:dLbls>
          <c:showLegendKey val="0"/>
          <c:showVal val="0"/>
          <c:showCatName val="0"/>
          <c:showSerName val="0"/>
          <c:showPercent val="0"/>
          <c:showBubbleSize val="0"/>
        </c:dLbls>
        <c:gapWidth val="150"/>
        <c:axId val="1358825888"/>
        <c:axId val="1"/>
      </c:barChart>
      <c:catAx>
        <c:axId val="1358825888"/>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58825888"/>
        <c:crosses val="min"/>
        <c:crossBetween val="between"/>
        <c:majorUnit val="50"/>
      </c:valAx>
    </c:plotArea>
    <c:plotVisOnly val="0"/>
    <c:dispBlanksAs val="gap"/>
    <c:showDLblsOverMax val="1"/>
  </c:chart>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33547695605574E-2"/>
          <c:y val="7.1330589849108367E-2"/>
          <c:w val="0.97213290460878887"/>
          <c:h val="0.85733882030178321"/>
        </c:manualLayout>
      </c:layout>
      <c:barChart>
        <c:barDir val="bar"/>
        <c:grouping val="stacked"/>
        <c:varyColors val="0"/>
        <c:ser>
          <c:idx val="0"/>
          <c:order val="0"/>
          <c:spPr>
            <a:solidFill>
              <a:srgbClr val="A1E26F"/>
            </a:solidFill>
            <a:ln>
              <a:noFill/>
            </a:ln>
          </c:spPr>
          <c:invertIfNegative val="0"/>
          <c:dLbls>
            <c:dLbl>
              <c:idx val="0"/>
              <c:layout>
                <c:manualLayout>
                  <c:x val="0"/>
                  <c:y val="-4.1152263374485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3D9-4C44-BD50-0960B53C9B35}"/>
                </c:ext>
              </c:extLst>
            </c:dLbl>
            <c:dLbl>
              <c:idx val="1"/>
              <c:layout>
                <c:manualLayout>
                  <c:x val="0"/>
                  <c:y val="-4.1152263374485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D9-4C44-BD50-0960B53C9B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117647058823529</c:v>
                </c:pt>
                <c:pt idx="1">
                  <c:v>24</c:v>
                </c:pt>
              </c:numCache>
            </c:numRef>
          </c:val>
          <c:extLst>
            <c:ext xmlns:c16="http://schemas.microsoft.com/office/drawing/2014/chart" uri="{C3380CC4-5D6E-409C-BE32-E72D297353CC}">
              <c16:uniqueId val="{00000002-53D9-4C44-BD50-0960B53C9B35}"/>
            </c:ext>
          </c:extLst>
        </c:ser>
        <c:ser>
          <c:idx val="1"/>
          <c:order val="1"/>
          <c:spPr>
            <a:solidFill>
              <a:srgbClr val="C8C8C8"/>
            </a:solidFill>
            <a:ln>
              <a:noFill/>
            </a:ln>
          </c:spPr>
          <c:invertIfNegative val="0"/>
          <c:dLbls>
            <c:dLbl>
              <c:idx val="0"/>
              <c:layout>
                <c:manualLayout>
                  <c:x val="0"/>
                  <c:y val="-4.1152263374485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3D9-4C44-BD50-0960B53C9B35}"/>
                </c:ext>
              </c:extLst>
            </c:dLbl>
            <c:dLbl>
              <c:idx val="1"/>
              <c:layout>
                <c:manualLayout>
                  <c:x val="0"/>
                  <c:y val="-4.1152263374485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3D9-4C44-BD50-0960B53C9B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6.47058823529412</c:v>
                </c:pt>
                <c:pt idx="1">
                  <c:v>28.000000000000004</c:v>
                </c:pt>
              </c:numCache>
            </c:numRef>
          </c:val>
          <c:extLst>
            <c:ext xmlns:c16="http://schemas.microsoft.com/office/drawing/2014/chart" uri="{C3380CC4-5D6E-409C-BE32-E72D297353CC}">
              <c16:uniqueId val="{00000005-53D9-4C44-BD50-0960B53C9B35}"/>
            </c:ext>
          </c:extLst>
        </c:ser>
        <c:ser>
          <c:idx val="2"/>
          <c:order val="2"/>
          <c:spPr>
            <a:solidFill>
              <a:srgbClr val="837F7F"/>
            </a:solidFill>
            <a:ln>
              <a:noFill/>
            </a:ln>
          </c:spPr>
          <c:invertIfNegative val="0"/>
          <c:dLbls>
            <c:dLbl>
              <c:idx val="0"/>
              <c:layout>
                <c:manualLayout>
                  <c:x val="0"/>
                  <c:y val="-4.1152263374485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3D9-4C44-BD50-0960B53C9B35}"/>
                </c:ext>
              </c:extLst>
            </c:dLbl>
            <c:dLbl>
              <c:idx val="1"/>
              <c:layout>
                <c:manualLayout>
                  <c:x val="0"/>
                  <c:y val="-4.1152263374485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3D9-4C44-BD50-0960B53C9B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69.411764705882348</c:v>
                </c:pt>
                <c:pt idx="1">
                  <c:v>48</c:v>
                </c:pt>
              </c:numCache>
            </c:numRef>
          </c:val>
          <c:extLst>
            <c:ext xmlns:c16="http://schemas.microsoft.com/office/drawing/2014/chart" uri="{C3380CC4-5D6E-409C-BE32-E72D297353CC}">
              <c16:uniqueId val="{00000008-53D9-4C44-BD50-0960B53C9B35}"/>
            </c:ext>
          </c:extLst>
        </c:ser>
        <c:dLbls>
          <c:showLegendKey val="0"/>
          <c:showVal val="0"/>
          <c:showCatName val="0"/>
          <c:showSerName val="0"/>
          <c:showPercent val="0"/>
          <c:showBubbleSize val="0"/>
        </c:dLbls>
        <c:gapWidth val="60"/>
        <c:overlap val="100"/>
        <c:axId val="1144234224"/>
        <c:axId val="1"/>
      </c:barChart>
      <c:catAx>
        <c:axId val="1144234224"/>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144234224"/>
        <c:crosses val="max"/>
        <c:crossBetween val="between"/>
      </c:valAx>
    </c:plotArea>
    <c:plotVisOnly val="0"/>
    <c:dispBlanksAs val="gap"/>
    <c:showDLblsOverMax val="1"/>
  </c:chart>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09D5-45C8-8350-635516B5752B}"/>
              </c:ext>
            </c:extLst>
          </c:dPt>
          <c:dPt>
            <c:idx val="1"/>
            <c:bubble3D val="0"/>
            <c:spPr>
              <a:solidFill>
                <a:schemeClr val="accent2"/>
              </a:solidFill>
              <a:ln>
                <a:noFill/>
              </a:ln>
            </c:spPr>
            <c:extLst>
              <c:ext xmlns:c16="http://schemas.microsoft.com/office/drawing/2014/chart" uri="{C3380CC4-5D6E-409C-BE32-E72D297353CC}">
                <c16:uniqueId val="{00000001-09D5-45C8-8350-635516B5752B}"/>
              </c:ext>
            </c:extLst>
          </c:dPt>
          <c:dPt>
            <c:idx val="2"/>
            <c:bubble3D val="0"/>
            <c:spPr>
              <a:solidFill>
                <a:srgbClr val="C8C8C8"/>
              </a:solidFill>
              <a:ln>
                <a:noFill/>
              </a:ln>
            </c:spPr>
            <c:extLst>
              <c:ext xmlns:c16="http://schemas.microsoft.com/office/drawing/2014/chart" uri="{C3380CC4-5D6E-409C-BE32-E72D297353CC}">
                <c16:uniqueId val="{00000002-09D5-45C8-8350-635516B5752B}"/>
              </c:ext>
            </c:extLst>
          </c:dPt>
          <c:dPt>
            <c:idx val="3"/>
            <c:bubble3D val="0"/>
            <c:spPr>
              <a:solidFill>
                <a:srgbClr val="ABA8B3"/>
              </a:solidFill>
              <a:ln>
                <a:noFill/>
              </a:ln>
            </c:spPr>
            <c:extLst>
              <c:ext xmlns:c16="http://schemas.microsoft.com/office/drawing/2014/chart" uri="{C3380CC4-5D6E-409C-BE32-E72D297353CC}">
                <c16:uniqueId val="{00000003-09D5-45C8-8350-635516B5752B}"/>
              </c:ext>
            </c:extLst>
          </c:dPt>
          <c:dPt>
            <c:idx val="4"/>
            <c:bubble3D val="0"/>
            <c:spPr>
              <a:solidFill>
                <a:srgbClr val="837F7F"/>
              </a:solidFill>
              <a:ln>
                <a:noFill/>
              </a:ln>
            </c:spPr>
            <c:extLst>
              <c:ext xmlns:c16="http://schemas.microsoft.com/office/drawing/2014/chart" uri="{C3380CC4-5D6E-409C-BE32-E72D297353CC}">
                <c16:uniqueId val="{00000004-09D5-45C8-8350-635516B5752B}"/>
              </c:ext>
            </c:extLst>
          </c:dPt>
          <c:val>
            <c:numRef>
              <c:f>Sheet1!$A$1:$A$5</c:f>
              <c:numCache>
                <c:formatCode>General</c:formatCode>
                <c:ptCount val="5"/>
                <c:pt idx="0">
                  <c:v>11.43</c:v>
                </c:pt>
                <c:pt idx="1">
                  <c:v>49.519999999999996</c:v>
                </c:pt>
                <c:pt idx="2">
                  <c:v>27.62</c:v>
                </c:pt>
                <c:pt idx="3">
                  <c:v>9.5200000000000014</c:v>
                </c:pt>
                <c:pt idx="4">
                  <c:v>0.92999999999999994</c:v>
                </c:pt>
              </c:numCache>
            </c:numRef>
          </c:val>
          <c:extLst>
            <c:ext xmlns:c16="http://schemas.microsoft.com/office/drawing/2014/chart" uri="{C3380CC4-5D6E-409C-BE32-E72D297353CC}">
              <c16:uniqueId val="{00000005-09D5-45C8-8350-635516B5752B}"/>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287581699346407E-2"/>
          <c:y val="2.7296587926509186E-2"/>
          <c:w val="0.89542483660130723"/>
          <c:h val="0.86404199475065613"/>
        </c:manualLayout>
      </c:layout>
      <c:barChart>
        <c:barDir val="bar"/>
        <c:grouping val="stacked"/>
        <c:varyColors val="0"/>
        <c:ser>
          <c:idx val="0"/>
          <c:order val="0"/>
          <c:spPr>
            <a:solidFill>
              <a:schemeClr val="tx2"/>
            </a:solidFill>
            <a:ln>
              <a:noFill/>
            </a:ln>
          </c:spPr>
          <c:invertIfNegative val="0"/>
          <c:dLbls>
            <c:dLbl>
              <c:idx val="0"/>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EC-4E9C-9054-79AE5F016E31}"/>
                </c:ext>
              </c:extLst>
            </c:dLbl>
            <c:dLbl>
              <c:idx val="1"/>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EC-4E9C-9054-79AE5F016E31}"/>
                </c:ext>
              </c:extLst>
            </c:dLbl>
            <c:dLbl>
              <c:idx val="2"/>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EC-4E9C-9054-79AE5F016E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9.09</c:v>
                </c:pt>
                <c:pt idx="1">
                  <c:v>12.94</c:v>
                </c:pt>
                <c:pt idx="2">
                  <c:v>10.59</c:v>
                </c:pt>
              </c:numCache>
            </c:numRef>
          </c:val>
          <c:extLst>
            <c:ext xmlns:c16="http://schemas.microsoft.com/office/drawing/2014/chart" uri="{C3380CC4-5D6E-409C-BE32-E72D297353CC}">
              <c16:uniqueId val="{00000003-88EC-4E9C-9054-79AE5F016E31}"/>
            </c:ext>
          </c:extLst>
        </c:ser>
        <c:ser>
          <c:idx val="1"/>
          <c:order val="1"/>
          <c:spPr>
            <a:solidFill>
              <a:srgbClr val="197A56"/>
            </a:solidFill>
            <a:ln>
              <a:noFill/>
            </a:ln>
          </c:spPr>
          <c:invertIfNegative val="0"/>
          <c:dLbls>
            <c:dLbl>
              <c:idx val="0"/>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EC-4E9C-9054-79AE5F016E31}"/>
                </c:ext>
              </c:extLst>
            </c:dLbl>
            <c:dLbl>
              <c:idx val="1"/>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8EC-4E9C-9054-79AE5F016E31}"/>
                </c:ext>
              </c:extLst>
            </c:dLbl>
            <c:dLbl>
              <c:idx val="2"/>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8EC-4E9C-9054-79AE5F016E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53.25</c:v>
                </c:pt>
                <c:pt idx="1">
                  <c:v>48.24</c:v>
                </c:pt>
                <c:pt idx="2">
                  <c:v>49.41</c:v>
                </c:pt>
              </c:numCache>
            </c:numRef>
          </c:val>
          <c:extLst>
            <c:ext xmlns:c16="http://schemas.microsoft.com/office/drawing/2014/chart" uri="{C3380CC4-5D6E-409C-BE32-E72D297353CC}">
              <c16:uniqueId val="{00000007-88EC-4E9C-9054-79AE5F016E31}"/>
            </c:ext>
          </c:extLst>
        </c:ser>
        <c:ser>
          <c:idx val="2"/>
          <c:order val="2"/>
          <c:spPr>
            <a:solidFill>
              <a:srgbClr val="C8C8C8"/>
            </a:solidFill>
            <a:ln>
              <a:noFill/>
            </a:ln>
          </c:spPr>
          <c:invertIfNegative val="0"/>
          <c:dLbls>
            <c:dLbl>
              <c:idx val="0"/>
              <c:layout>
                <c:manualLayout>
                  <c:x val="0"/>
                  <c:y val="-1.5748031496062992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8EC-4E9C-9054-79AE5F016E31}"/>
                </c:ext>
              </c:extLst>
            </c:dLbl>
            <c:dLbl>
              <c:idx val="1"/>
              <c:layout>
                <c:manualLayout>
                  <c:x val="0"/>
                  <c:y val="-1.5748031496062992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8EC-4E9C-9054-79AE5F016E31}"/>
                </c:ext>
              </c:extLst>
            </c:dLbl>
            <c:dLbl>
              <c:idx val="2"/>
              <c:layout>
                <c:manualLayout>
                  <c:x val="0"/>
                  <c:y val="-1.5748031496062992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8EC-4E9C-9054-79AE5F016E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5.97</c:v>
                </c:pt>
                <c:pt idx="1">
                  <c:v>27.050000000000004</c:v>
                </c:pt>
                <c:pt idx="2">
                  <c:v>28.239999999999995</c:v>
                </c:pt>
              </c:numCache>
            </c:numRef>
          </c:val>
          <c:extLst>
            <c:ext xmlns:c16="http://schemas.microsoft.com/office/drawing/2014/chart" uri="{C3380CC4-5D6E-409C-BE32-E72D297353CC}">
              <c16:uniqueId val="{0000000B-88EC-4E9C-9054-79AE5F016E31}"/>
            </c:ext>
          </c:extLst>
        </c:ser>
        <c:ser>
          <c:idx val="3"/>
          <c:order val="3"/>
          <c:spPr>
            <a:solidFill>
              <a:srgbClr val="ABA8B3"/>
            </a:solidFill>
            <a:ln>
              <a:noFill/>
            </a:ln>
          </c:spPr>
          <c:invertIfNegative val="0"/>
          <c:dLbls>
            <c:dLbl>
              <c:idx val="0"/>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8EC-4E9C-9054-79AE5F016E31}"/>
                </c:ext>
              </c:extLst>
            </c:dLbl>
            <c:dLbl>
              <c:idx val="1"/>
              <c:layout>
                <c:manualLayout>
                  <c:x val="-3.1123560535325243E-4"/>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8EC-4E9C-9054-79AE5F016E31}"/>
                </c:ext>
              </c:extLst>
            </c:dLbl>
            <c:dLbl>
              <c:idx val="2"/>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8EC-4E9C-9054-79AE5F016E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7.7900000000000063</c:v>
                </c:pt>
                <c:pt idx="1">
                  <c:v>7.0600000000000023</c:v>
                </c:pt>
                <c:pt idx="2">
                  <c:v>9.4099999999999966</c:v>
                </c:pt>
              </c:numCache>
            </c:numRef>
          </c:val>
          <c:extLst>
            <c:ext xmlns:c16="http://schemas.microsoft.com/office/drawing/2014/chart" uri="{C3380CC4-5D6E-409C-BE32-E72D297353CC}">
              <c16:uniqueId val="{0000000F-88EC-4E9C-9054-79AE5F016E31}"/>
            </c:ext>
          </c:extLst>
        </c:ser>
        <c:ser>
          <c:idx val="4"/>
          <c:order val="4"/>
          <c:spPr>
            <a:solidFill>
              <a:srgbClr val="837F7F"/>
            </a:solidFill>
            <a:ln>
              <a:noFill/>
            </a:ln>
          </c:spPr>
          <c:invertIfNegative val="0"/>
          <c:dLbls>
            <c:dLbl>
              <c:idx val="0"/>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8EC-4E9C-9054-79AE5F016E31}"/>
                </c:ext>
              </c:extLst>
            </c:dLbl>
            <c:dLbl>
              <c:idx val="1"/>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8EC-4E9C-9054-79AE5F016E31}"/>
                </c:ext>
              </c:extLst>
            </c:dLbl>
            <c:dLbl>
              <c:idx val="2"/>
              <c:layout>
                <c:manualLayout>
                  <c:x val="0"/>
                  <c:y val="-1.574803149606299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8EC-4E9C-9054-79AE5F016E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3.9000000000000057</c:v>
                </c:pt>
                <c:pt idx="1">
                  <c:v>4.7099999999999937</c:v>
                </c:pt>
                <c:pt idx="2">
                  <c:v>2.3499999999999943</c:v>
                </c:pt>
              </c:numCache>
            </c:numRef>
          </c:val>
          <c:extLst>
            <c:ext xmlns:c16="http://schemas.microsoft.com/office/drawing/2014/chart" uri="{C3380CC4-5D6E-409C-BE32-E72D297353CC}">
              <c16:uniqueId val="{00000013-88EC-4E9C-9054-79AE5F016E31}"/>
            </c:ext>
          </c:extLst>
        </c:ser>
        <c:dLbls>
          <c:showLegendKey val="0"/>
          <c:showVal val="0"/>
          <c:showCatName val="0"/>
          <c:showSerName val="0"/>
          <c:showPercent val="0"/>
          <c:showBubbleSize val="0"/>
        </c:dLbls>
        <c:gapWidth val="60"/>
        <c:overlap val="100"/>
        <c:axId val="23644399"/>
        <c:axId val="1"/>
      </c:barChart>
      <c:catAx>
        <c:axId val="23644399"/>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23644399"/>
        <c:crosses val="max"/>
        <c:crossBetween val="between"/>
        <c:majorUnit val="20"/>
      </c:valAx>
    </c:plotArea>
    <c:plotVisOnly val="0"/>
    <c:dispBlanksAs val="gap"/>
    <c:showDLblsOverMax val="1"/>
  </c:chart>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066184294530752E-2"/>
          <c:y val="9.2198581560283682E-2"/>
          <c:w val="0.97786763141093846"/>
          <c:h val="0.81560283687943258"/>
        </c:manualLayout>
      </c:layout>
      <c:barChart>
        <c:barDir val="bar"/>
        <c:grouping val="stacked"/>
        <c:varyColors val="0"/>
        <c:ser>
          <c:idx val="0"/>
          <c:order val="0"/>
          <c:spPr>
            <a:solidFill>
              <a:srgbClr val="A1E26F"/>
            </a:solidFill>
            <a:ln>
              <a:noFill/>
            </a:ln>
          </c:spPr>
          <c:invertIfNegative val="0"/>
          <c:dLbls>
            <c:dLbl>
              <c:idx val="0"/>
              <c:layout>
                <c:manualLayout>
                  <c:x val="-2.1281123643328368E-4"/>
                  <c:y val="-5.319148936170212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84-414A-82E3-915F685133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2.222222222222221</c:v>
                </c:pt>
              </c:numCache>
            </c:numRef>
          </c:val>
          <c:extLst>
            <c:ext xmlns:c16="http://schemas.microsoft.com/office/drawing/2014/chart" uri="{C3380CC4-5D6E-409C-BE32-E72D297353CC}">
              <c16:uniqueId val="{00000001-E484-414A-82E3-915F68513355}"/>
            </c:ext>
          </c:extLst>
        </c:ser>
        <c:ser>
          <c:idx val="1"/>
          <c:order val="1"/>
          <c:spPr>
            <a:solidFill>
              <a:srgbClr val="C8C8C8"/>
            </a:solidFill>
            <a:ln>
              <a:noFill/>
            </a:ln>
          </c:spPr>
          <c:invertIfNegative val="0"/>
          <c:dLbls>
            <c:dLbl>
              <c:idx val="0"/>
              <c:layout>
                <c:manualLayout>
                  <c:x val="-2.1281123643328368E-4"/>
                  <c:y val="-5.319148936170212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84-414A-82E3-915F685133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2.222222222222221</c:v>
                </c:pt>
              </c:numCache>
            </c:numRef>
          </c:val>
          <c:extLst>
            <c:ext xmlns:c16="http://schemas.microsoft.com/office/drawing/2014/chart" uri="{C3380CC4-5D6E-409C-BE32-E72D297353CC}">
              <c16:uniqueId val="{00000003-E484-414A-82E3-915F68513355}"/>
            </c:ext>
          </c:extLst>
        </c:ser>
        <c:ser>
          <c:idx val="2"/>
          <c:order val="2"/>
          <c:spPr>
            <a:solidFill>
              <a:srgbClr val="837F7F"/>
            </a:solidFill>
            <a:ln>
              <a:noFill/>
            </a:ln>
          </c:spPr>
          <c:invertIfNegative val="0"/>
          <c:dLbls>
            <c:dLbl>
              <c:idx val="0"/>
              <c:layout>
                <c:manualLayout>
                  <c:x val="-2.1281123643328368E-4"/>
                  <c:y val="-5.319148936170212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84-414A-82E3-915F685133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5.555555555555557</c:v>
                </c:pt>
              </c:numCache>
            </c:numRef>
          </c:val>
          <c:extLst>
            <c:ext xmlns:c16="http://schemas.microsoft.com/office/drawing/2014/chart" uri="{C3380CC4-5D6E-409C-BE32-E72D297353CC}">
              <c16:uniqueId val="{00000005-E484-414A-82E3-915F68513355}"/>
            </c:ext>
          </c:extLst>
        </c:ser>
        <c:dLbls>
          <c:showLegendKey val="0"/>
          <c:showVal val="0"/>
          <c:showCatName val="0"/>
          <c:showSerName val="0"/>
          <c:showPercent val="0"/>
          <c:showBubbleSize val="0"/>
        </c:dLbls>
        <c:gapWidth val="60"/>
        <c:overlap val="100"/>
        <c:axId val="1208727936"/>
        <c:axId val="1"/>
      </c:barChart>
      <c:catAx>
        <c:axId val="120872793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208727936"/>
        <c:crosses val="max"/>
        <c:crossBetween val="between"/>
      </c:valAx>
    </c:plotArea>
    <c:plotVisOnly val="0"/>
    <c:dispBlanksAs val="gap"/>
    <c:showDLblsOverMax val="1"/>
  </c:chart>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B14B-467C-9C5D-FBB0DA5F7B52}"/>
              </c:ext>
            </c:extLst>
          </c:dPt>
          <c:dPt>
            <c:idx val="1"/>
            <c:bubble3D val="0"/>
            <c:spPr>
              <a:solidFill>
                <a:schemeClr val="accent2"/>
              </a:solidFill>
              <a:ln>
                <a:noFill/>
              </a:ln>
            </c:spPr>
            <c:extLst>
              <c:ext xmlns:c16="http://schemas.microsoft.com/office/drawing/2014/chart" uri="{C3380CC4-5D6E-409C-BE32-E72D297353CC}">
                <c16:uniqueId val="{00000001-B14B-467C-9C5D-FBB0DA5F7B52}"/>
              </c:ext>
            </c:extLst>
          </c:dPt>
          <c:dPt>
            <c:idx val="2"/>
            <c:bubble3D val="0"/>
            <c:spPr>
              <a:solidFill>
                <a:srgbClr val="C8C8C8"/>
              </a:solidFill>
              <a:ln>
                <a:noFill/>
              </a:ln>
            </c:spPr>
            <c:extLst>
              <c:ext xmlns:c16="http://schemas.microsoft.com/office/drawing/2014/chart" uri="{C3380CC4-5D6E-409C-BE32-E72D297353CC}">
                <c16:uniqueId val="{00000002-B14B-467C-9C5D-FBB0DA5F7B52}"/>
              </c:ext>
            </c:extLst>
          </c:dPt>
          <c:dPt>
            <c:idx val="3"/>
            <c:bubble3D val="0"/>
            <c:spPr>
              <a:solidFill>
                <a:srgbClr val="ABA8B3"/>
              </a:solidFill>
              <a:ln>
                <a:noFill/>
              </a:ln>
            </c:spPr>
            <c:extLst>
              <c:ext xmlns:c16="http://schemas.microsoft.com/office/drawing/2014/chart" uri="{C3380CC4-5D6E-409C-BE32-E72D297353CC}">
                <c16:uniqueId val="{00000003-B14B-467C-9C5D-FBB0DA5F7B52}"/>
              </c:ext>
            </c:extLst>
          </c:dPt>
          <c:dPt>
            <c:idx val="4"/>
            <c:bubble3D val="0"/>
            <c:spPr>
              <a:solidFill>
                <a:srgbClr val="837F7F"/>
              </a:solidFill>
              <a:ln>
                <a:noFill/>
              </a:ln>
            </c:spPr>
            <c:extLst>
              <c:ext xmlns:c16="http://schemas.microsoft.com/office/drawing/2014/chart" uri="{C3380CC4-5D6E-409C-BE32-E72D297353CC}">
                <c16:uniqueId val="{00000004-B14B-467C-9C5D-FBB0DA5F7B52}"/>
              </c:ext>
            </c:extLst>
          </c:dPt>
          <c:val>
            <c:numRef>
              <c:f>Sheet1!$A$1:$A$5</c:f>
              <c:numCache>
                <c:formatCode>General</c:formatCode>
                <c:ptCount val="5"/>
                <c:pt idx="0">
                  <c:v>25.11</c:v>
                </c:pt>
                <c:pt idx="1">
                  <c:v>51.99</c:v>
                </c:pt>
                <c:pt idx="2">
                  <c:v>18.66</c:v>
                </c:pt>
                <c:pt idx="3">
                  <c:v>3.3099999999999996</c:v>
                </c:pt>
                <c:pt idx="4">
                  <c:v>0.92999999999999994</c:v>
                </c:pt>
              </c:numCache>
            </c:numRef>
          </c:val>
          <c:extLst>
            <c:ext xmlns:c16="http://schemas.microsoft.com/office/drawing/2014/chart" uri="{C3380CC4-5D6E-409C-BE32-E72D297353CC}">
              <c16:uniqueId val="{00000005-B14B-467C-9C5D-FBB0DA5F7B52}"/>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D4DF33"/>
            </a:solidFill>
            <a:ln>
              <a:noFill/>
            </a:ln>
          </c:spPr>
          <c:invertIfNegative val="0"/>
          <c:val>
            <c:numRef>
              <c:f>Sheet1!$A$1</c:f>
              <c:numCache>
                <c:formatCode>General</c:formatCode>
                <c:ptCount val="1"/>
                <c:pt idx="0">
                  <c:v>51.239999999999995</c:v>
                </c:pt>
              </c:numCache>
            </c:numRef>
          </c:val>
          <c:extLst>
            <c:ext xmlns:c16="http://schemas.microsoft.com/office/drawing/2014/chart" uri="{C3380CC4-5D6E-409C-BE32-E72D297353CC}">
              <c16:uniqueId val="{00000000-FB60-44AE-BE0A-D3EDDD8A7834}"/>
            </c:ext>
          </c:extLst>
        </c:ser>
        <c:ser>
          <c:idx val="1"/>
          <c:order val="1"/>
          <c:spPr>
            <a:solidFill>
              <a:srgbClr val="C8C8C8"/>
            </a:solidFill>
            <a:ln>
              <a:noFill/>
            </a:ln>
          </c:spPr>
          <c:invertIfNegative val="0"/>
          <c:val>
            <c:numRef>
              <c:f>Sheet1!$A$2</c:f>
              <c:numCache>
                <c:formatCode>General</c:formatCode>
                <c:ptCount val="1"/>
                <c:pt idx="0">
                  <c:v>48.760000000000005</c:v>
                </c:pt>
              </c:numCache>
            </c:numRef>
          </c:val>
          <c:extLst>
            <c:ext xmlns:c16="http://schemas.microsoft.com/office/drawing/2014/chart" uri="{C3380CC4-5D6E-409C-BE32-E72D297353CC}">
              <c16:uniqueId val="{00000001-FB60-44AE-BE0A-D3EDDD8A7834}"/>
            </c:ext>
          </c:extLst>
        </c:ser>
        <c:dLbls>
          <c:showLegendKey val="0"/>
          <c:showVal val="0"/>
          <c:showCatName val="0"/>
          <c:showSerName val="0"/>
          <c:showPercent val="0"/>
          <c:showBubbleSize val="0"/>
        </c:dLbls>
        <c:gapWidth val="60"/>
        <c:overlap val="100"/>
        <c:axId val="1531612272"/>
        <c:axId val="1"/>
      </c:barChart>
      <c:catAx>
        <c:axId val="1531612272"/>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531612272"/>
        <c:crosses val="max"/>
        <c:crossBetween val="between"/>
      </c:valAx>
    </c:plotArea>
    <c:plotVisOnly val="0"/>
    <c:dispBlanksAs val="gap"/>
    <c:showDLblsOverMax val="1"/>
  </c:chart>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18B-4DF5-9AB6-E720F9C475AF}"/>
              </c:ext>
            </c:extLst>
          </c:dPt>
          <c:dPt>
            <c:idx val="1"/>
            <c:bubble3D val="0"/>
            <c:spPr>
              <a:solidFill>
                <a:schemeClr val="accent2"/>
              </a:solidFill>
              <a:ln>
                <a:noFill/>
              </a:ln>
            </c:spPr>
            <c:extLst>
              <c:ext xmlns:c16="http://schemas.microsoft.com/office/drawing/2014/chart" uri="{C3380CC4-5D6E-409C-BE32-E72D297353CC}">
                <c16:uniqueId val="{00000001-D18B-4DF5-9AB6-E720F9C475AF}"/>
              </c:ext>
            </c:extLst>
          </c:dPt>
          <c:dPt>
            <c:idx val="2"/>
            <c:bubble3D val="0"/>
            <c:spPr>
              <a:solidFill>
                <a:srgbClr val="C8C8C8"/>
              </a:solidFill>
              <a:ln>
                <a:noFill/>
              </a:ln>
            </c:spPr>
            <c:extLst>
              <c:ext xmlns:c16="http://schemas.microsoft.com/office/drawing/2014/chart" uri="{C3380CC4-5D6E-409C-BE32-E72D297353CC}">
                <c16:uniqueId val="{00000002-D18B-4DF5-9AB6-E720F9C475AF}"/>
              </c:ext>
            </c:extLst>
          </c:dPt>
          <c:dPt>
            <c:idx val="3"/>
            <c:bubble3D val="0"/>
            <c:spPr>
              <a:solidFill>
                <a:srgbClr val="ABA8B3"/>
              </a:solidFill>
              <a:ln>
                <a:noFill/>
              </a:ln>
            </c:spPr>
            <c:extLst>
              <c:ext xmlns:c16="http://schemas.microsoft.com/office/drawing/2014/chart" uri="{C3380CC4-5D6E-409C-BE32-E72D297353CC}">
                <c16:uniqueId val="{00000003-D18B-4DF5-9AB6-E720F9C475AF}"/>
              </c:ext>
            </c:extLst>
          </c:dPt>
          <c:dPt>
            <c:idx val="4"/>
            <c:bubble3D val="0"/>
            <c:spPr>
              <a:solidFill>
                <a:srgbClr val="837F7F"/>
              </a:solidFill>
              <a:ln>
                <a:noFill/>
              </a:ln>
            </c:spPr>
            <c:extLst>
              <c:ext xmlns:c16="http://schemas.microsoft.com/office/drawing/2014/chart" uri="{C3380CC4-5D6E-409C-BE32-E72D297353CC}">
                <c16:uniqueId val="{00000004-D18B-4DF5-9AB6-E720F9C475AF}"/>
              </c:ext>
            </c:extLst>
          </c:dPt>
          <c:val>
            <c:numRef>
              <c:f>Sheet1!$A$1:$A$5</c:f>
              <c:numCache>
                <c:formatCode>General</c:formatCode>
                <c:ptCount val="5"/>
                <c:pt idx="0">
                  <c:v>28.01</c:v>
                </c:pt>
                <c:pt idx="1">
                  <c:v>53.680000000000007</c:v>
                </c:pt>
                <c:pt idx="2">
                  <c:v>15.65</c:v>
                </c:pt>
                <c:pt idx="3">
                  <c:v>2.35</c:v>
                </c:pt>
                <c:pt idx="4">
                  <c:v>0.31</c:v>
                </c:pt>
              </c:numCache>
            </c:numRef>
          </c:val>
          <c:extLst>
            <c:ext xmlns:c16="http://schemas.microsoft.com/office/drawing/2014/chart" uri="{C3380CC4-5D6E-409C-BE32-E72D297353CC}">
              <c16:uniqueId val="{00000005-D18B-4DF5-9AB6-E720F9C475AF}"/>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C764-46F9-8744-56A1CE4F4DFC}"/>
              </c:ext>
            </c:extLst>
          </c:dPt>
          <c:dPt>
            <c:idx val="1"/>
            <c:bubble3D val="0"/>
            <c:spPr>
              <a:solidFill>
                <a:schemeClr val="accent2"/>
              </a:solidFill>
              <a:ln>
                <a:noFill/>
              </a:ln>
            </c:spPr>
            <c:extLst>
              <c:ext xmlns:c16="http://schemas.microsoft.com/office/drawing/2014/chart" uri="{C3380CC4-5D6E-409C-BE32-E72D297353CC}">
                <c16:uniqueId val="{00000001-C764-46F9-8744-56A1CE4F4DFC}"/>
              </c:ext>
            </c:extLst>
          </c:dPt>
          <c:dPt>
            <c:idx val="2"/>
            <c:bubble3D val="0"/>
            <c:spPr>
              <a:solidFill>
                <a:srgbClr val="C8C8C8"/>
              </a:solidFill>
              <a:ln>
                <a:noFill/>
              </a:ln>
            </c:spPr>
            <c:extLst>
              <c:ext xmlns:c16="http://schemas.microsoft.com/office/drawing/2014/chart" uri="{C3380CC4-5D6E-409C-BE32-E72D297353CC}">
                <c16:uniqueId val="{00000002-C764-46F9-8744-56A1CE4F4DFC}"/>
              </c:ext>
            </c:extLst>
          </c:dPt>
          <c:dPt>
            <c:idx val="3"/>
            <c:bubble3D val="0"/>
            <c:spPr>
              <a:solidFill>
                <a:srgbClr val="ABA8B3"/>
              </a:solidFill>
              <a:ln>
                <a:noFill/>
              </a:ln>
            </c:spPr>
            <c:extLst>
              <c:ext xmlns:c16="http://schemas.microsoft.com/office/drawing/2014/chart" uri="{C3380CC4-5D6E-409C-BE32-E72D297353CC}">
                <c16:uniqueId val="{00000003-C764-46F9-8744-56A1CE4F4DFC}"/>
              </c:ext>
            </c:extLst>
          </c:dPt>
          <c:dPt>
            <c:idx val="4"/>
            <c:bubble3D val="0"/>
            <c:spPr>
              <a:solidFill>
                <a:srgbClr val="837F7F"/>
              </a:solidFill>
              <a:ln>
                <a:noFill/>
              </a:ln>
            </c:spPr>
            <c:extLst>
              <c:ext xmlns:c16="http://schemas.microsoft.com/office/drawing/2014/chart" uri="{C3380CC4-5D6E-409C-BE32-E72D297353CC}">
                <c16:uniqueId val="{00000004-C764-46F9-8744-56A1CE4F4DFC}"/>
              </c:ext>
            </c:extLst>
          </c:dPt>
          <c:val>
            <c:numRef>
              <c:f>Sheet1!$A$1:$A$5</c:f>
              <c:numCache>
                <c:formatCode>General</c:formatCode>
                <c:ptCount val="5"/>
                <c:pt idx="0">
                  <c:v>21.67</c:v>
                </c:pt>
                <c:pt idx="1">
                  <c:v>50</c:v>
                </c:pt>
                <c:pt idx="2">
                  <c:v>22.220000000000002</c:v>
                </c:pt>
                <c:pt idx="3">
                  <c:v>4.4400000000000004</c:v>
                </c:pt>
                <c:pt idx="4">
                  <c:v>1.67</c:v>
                </c:pt>
              </c:numCache>
            </c:numRef>
          </c:val>
          <c:extLst>
            <c:ext xmlns:c16="http://schemas.microsoft.com/office/drawing/2014/chart" uri="{C3380CC4-5D6E-409C-BE32-E72D297353CC}">
              <c16:uniqueId val="{00000005-C764-46F9-8744-56A1CE4F4DF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819864281307831E-2"/>
          <c:y val="2.4832855778414518E-2"/>
          <c:w val="0.88741517581739671"/>
          <c:h val="0.87631327602674303"/>
        </c:manualLayout>
      </c:layout>
      <c:barChart>
        <c:barDir val="bar"/>
        <c:grouping val="stacked"/>
        <c:varyColors val="0"/>
        <c:ser>
          <c:idx val="0"/>
          <c:order val="0"/>
          <c:spPr>
            <a:solidFill>
              <a:schemeClr val="tx2"/>
            </a:solidFill>
            <a:ln>
              <a:noFill/>
            </a:ln>
          </c:spPr>
          <c:invertIfNegative val="0"/>
          <c:dLbls>
            <c:dLbl>
              <c:idx val="0"/>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95-4014-9E9A-4233930FFE09}"/>
                </c:ext>
              </c:extLst>
            </c:dLbl>
            <c:dLbl>
              <c:idx val="1"/>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95-4014-9E9A-4233930FFE09}"/>
                </c:ext>
              </c:extLst>
            </c:dLbl>
            <c:dLbl>
              <c:idx val="2"/>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95-4014-9E9A-4233930FFE09}"/>
                </c:ext>
              </c:extLst>
            </c:dLbl>
            <c:dLbl>
              <c:idx val="3"/>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95-4014-9E9A-4233930FFE09}"/>
                </c:ext>
              </c:extLst>
            </c:dLbl>
            <c:dLbl>
              <c:idx val="4"/>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95-4014-9E9A-4233930FFE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3.450000000000003</c:v>
                </c:pt>
                <c:pt idx="1">
                  <c:v>28.000000000000004</c:v>
                </c:pt>
                <c:pt idx="2">
                  <c:v>25.11</c:v>
                </c:pt>
                <c:pt idx="3">
                  <c:v>23.66</c:v>
                </c:pt>
                <c:pt idx="4">
                  <c:v>20.75</c:v>
                </c:pt>
              </c:numCache>
            </c:numRef>
          </c:val>
          <c:extLst>
            <c:ext xmlns:c16="http://schemas.microsoft.com/office/drawing/2014/chart" uri="{C3380CC4-5D6E-409C-BE32-E72D297353CC}">
              <c16:uniqueId val="{00000005-DF95-4014-9E9A-4233930FFE09}"/>
            </c:ext>
          </c:extLst>
        </c:ser>
        <c:ser>
          <c:idx val="1"/>
          <c:order val="1"/>
          <c:spPr>
            <a:solidFill>
              <a:srgbClr val="197A56"/>
            </a:solidFill>
            <a:ln>
              <a:noFill/>
            </a:ln>
          </c:spPr>
          <c:invertIfNegative val="0"/>
          <c:dLbls>
            <c:dLbl>
              <c:idx val="0"/>
              <c:layout>
                <c:manualLayout>
                  <c:x val="-3.0845157310302283E-4"/>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F95-4014-9E9A-4233930FFE09}"/>
                </c:ext>
              </c:extLst>
            </c:dLbl>
            <c:dLbl>
              <c:idx val="1"/>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F95-4014-9E9A-4233930FFE09}"/>
                </c:ext>
              </c:extLst>
            </c:dLbl>
            <c:dLbl>
              <c:idx val="2"/>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F95-4014-9E9A-4233930FFE09}"/>
                </c:ext>
              </c:extLst>
            </c:dLbl>
            <c:dLbl>
              <c:idx val="3"/>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F95-4014-9E9A-4233930FFE09}"/>
                </c:ext>
              </c:extLst>
            </c:dLbl>
            <c:dLbl>
              <c:idx val="4"/>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F95-4014-9E9A-4233930FFE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7.78</c:v>
                </c:pt>
                <c:pt idx="1">
                  <c:v>50.680000000000007</c:v>
                </c:pt>
                <c:pt idx="2">
                  <c:v>51.989999999999995</c:v>
                </c:pt>
                <c:pt idx="3">
                  <c:v>53.190000000000012</c:v>
                </c:pt>
                <c:pt idx="4">
                  <c:v>47.650000000000006</c:v>
                </c:pt>
              </c:numCache>
            </c:numRef>
          </c:val>
          <c:extLst>
            <c:ext xmlns:c16="http://schemas.microsoft.com/office/drawing/2014/chart" uri="{C3380CC4-5D6E-409C-BE32-E72D297353CC}">
              <c16:uniqueId val="{0000000B-DF95-4014-9E9A-4233930FFE09}"/>
            </c:ext>
          </c:extLst>
        </c:ser>
        <c:ser>
          <c:idx val="2"/>
          <c:order val="2"/>
          <c:spPr>
            <a:solidFill>
              <a:srgbClr val="C8C8C8"/>
            </a:solidFill>
            <a:ln>
              <a:noFill/>
            </a:ln>
          </c:spPr>
          <c:invertIfNegative val="0"/>
          <c:dLbls>
            <c:dLbl>
              <c:idx val="0"/>
              <c:layout>
                <c:manualLayout>
                  <c:x val="0"/>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F95-4014-9E9A-4233930FFE09}"/>
                </c:ext>
              </c:extLst>
            </c:dLbl>
            <c:dLbl>
              <c:idx val="1"/>
              <c:layout>
                <c:manualLayout>
                  <c:x val="0"/>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F95-4014-9E9A-4233930FFE09}"/>
                </c:ext>
              </c:extLst>
            </c:dLbl>
            <c:dLbl>
              <c:idx val="2"/>
              <c:layout>
                <c:manualLayout>
                  <c:x val="-3.0845157310302283E-4"/>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F95-4014-9E9A-4233930FFE09}"/>
                </c:ext>
              </c:extLst>
            </c:dLbl>
            <c:dLbl>
              <c:idx val="3"/>
              <c:layout>
                <c:manualLayout>
                  <c:x val="0"/>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F95-4014-9E9A-4233930FFE09}"/>
                </c:ext>
              </c:extLst>
            </c:dLbl>
            <c:dLbl>
              <c:idx val="4"/>
              <c:layout>
                <c:manualLayout>
                  <c:x val="0"/>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F95-4014-9E9A-4233930FFE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6.549999999999997</c:v>
                </c:pt>
                <c:pt idx="1">
                  <c:v>18.150000000000006</c:v>
                </c:pt>
                <c:pt idx="2">
                  <c:v>18.659999999999997</c:v>
                </c:pt>
                <c:pt idx="3">
                  <c:v>20.429999999999993</c:v>
                </c:pt>
                <c:pt idx="4">
                  <c:v>28.86</c:v>
                </c:pt>
              </c:numCache>
            </c:numRef>
          </c:val>
          <c:extLst>
            <c:ext xmlns:c16="http://schemas.microsoft.com/office/drawing/2014/chart" uri="{C3380CC4-5D6E-409C-BE32-E72D297353CC}">
              <c16:uniqueId val="{00000011-DF95-4014-9E9A-4233930FFE09}"/>
            </c:ext>
          </c:extLst>
        </c:ser>
        <c:ser>
          <c:idx val="3"/>
          <c:order val="3"/>
          <c:spPr>
            <a:solidFill>
              <a:srgbClr val="ABA8B3"/>
            </a:solidFill>
            <a:ln>
              <a:noFill/>
            </a:ln>
          </c:spPr>
          <c:invertIfNegative val="0"/>
          <c:dLbls>
            <c:dLbl>
              <c:idx val="0"/>
              <c:layout>
                <c:manualLayout>
                  <c:x val="2.9302899444787169E-2"/>
                  <c:y val="2.0057306590257881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F95-4014-9E9A-4233930FFE09}"/>
                </c:ext>
              </c:extLst>
            </c:dLbl>
            <c:dLbl>
              <c:idx val="1"/>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F95-4014-9E9A-4233930FFE09}"/>
                </c:ext>
              </c:extLst>
            </c:dLbl>
            <c:dLbl>
              <c:idx val="2"/>
              <c:layout>
                <c:manualLayout>
                  <c:x val="-3.0845157310302283E-4"/>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F95-4014-9E9A-4233930FFE09}"/>
                </c:ext>
              </c:extLst>
            </c:dLbl>
            <c:dLbl>
              <c:idx val="3"/>
              <c:layout>
                <c:manualLayout>
                  <c:x val="0"/>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F95-4014-9E9A-4233930FFE09}"/>
                </c:ext>
              </c:extLst>
            </c:dLbl>
            <c:dLbl>
              <c:idx val="4"/>
              <c:layout>
                <c:manualLayout>
                  <c:x val="-3.0845157310302283E-4"/>
                  <c:y val="-1.432664756446991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F95-4014-9E9A-4233930FFE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1.5400000000000063</c:v>
                </c:pt>
                <c:pt idx="1">
                  <c:v>2.4000000000000057</c:v>
                </c:pt>
                <c:pt idx="2">
                  <c:v>3.3100000000000023</c:v>
                </c:pt>
                <c:pt idx="3">
                  <c:v>1.8700000000000045</c:v>
                </c:pt>
                <c:pt idx="4">
                  <c:v>2.1299999999999955</c:v>
                </c:pt>
              </c:numCache>
            </c:numRef>
          </c:val>
          <c:extLst>
            <c:ext xmlns:c16="http://schemas.microsoft.com/office/drawing/2014/chart" uri="{C3380CC4-5D6E-409C-BE32-E72D297353CC}">
              <c16:uniqueId val="{00000017-DF95-4014-9E9A-4233930FFE09}"/>
            </c:ext>
          </c:extLst>
        </c:ser>
        <c:ser>
          <c:idx val="4"/>
          <c:order val="4"/>
          <c:spPr>
            <a:solidFill>
              <a:srgbClr val="837F7F"/>
            </a:solidFill>
            <a:ln>
              <a:noFill/>
            </a:ln>
          </c:spPr>
          <c:invertIfNegative val="0"/>
          <c:dLbls>
            <c:dLbl>
              <c:idx val="0"/>
              <c:layout>
                <c:manualLayout>
                  <c:x val="4.719309068476249E-2"/>
                  <c:y val="2.0057306590257881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F95-4014-9E9A-4233930FFE09}"/>
                </c:ext>
              </c:extLst>
            </c:dLbl>
            <c:dLbl>
              <c:idx val="1"/>
              <c:layout>
                <c:manualLayout>
                  <c:x val="1.9740900678593461E-2"/>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F95-4014-9E9A-4233930FFE09}"/>
                </c:ext>
              </c:extLst>
            </c:dLbl>
            <c:dLbl>
              <c:idx val="2"/>
              <c:layout>
                <c:manualLayout>
                  <c:x val="2.0357803824799507E-2"/>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F95-4014-9E9A-4233930FFE09}"/>
                </c:ext>
              </c:extLst>
            </c:dLbl>
            <c:dLbl>
              <c:idx val="3"/>
              <c:layout>
                <c:manualLayout>
                  <c:x val="2.0049352251696483E-2"/>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F95-4014-9E9A-4233930FFE09}"/>
                </c:ext>
              </c:extLst>
            </c:dLbl>
            <c:dLbl>
              <c:idx val="4"/>
              <c:layout>
                <c:manualLayout>
                  <c:x val="1.9123997532387416E-2"/>
                  <c:y val="-1.4326647564469914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F95-4014-9E9A-4233930FFE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0.68000000000000682</c:v>
                </c:pt>
                <c:pt idx="1">
                  <c:v>0.76999999999999602</c:v>
                </c:pt>
                <c:pt idx="2">
                  <c:v>0.93000000000000682</c:v>
                </c:pt>
                <c:pt idx="3">
                  <c:v>0.84999999999999432</c:v>
                </c:pt>
                <c:pt idx="4">
                  <c:v>0.60999999999999943</c:v>
                </c:pt>
              </c:numCache>
            </c:numRef>
          </c:val>
          <c:extLst>
            <c:ext xmlns:c16="http://schemas.microsoft.com/office/drawing/2014/chart" uri="{C3380CC4-5D6E-409C-BE32-E72D297353CC}">
              <c16:uniqueId val="{0000001D-DF95-4014-9E9A-4233930FFE09}"/>
            </c:ext>
          </c:extLst>
        </c:ser>
        <c:dLbls>
          <c:showLegendKey val="0"/>
          <c:showVal val="0"/>
          <c:showCatName val="0"/>
          <c:showSerName val="0"/>
          <c:showPercent val="0"/>
          <c:showBubbleSize val="0"/>
        </c:dLbls>
        <c:gapWidth val="60"/>
        <c:overlap val="100"/>
        <c:axId val="1252039384"/>
        <c:axId val="1"/>
      </c:barChart>
      <c:catAx>
        <c:axId val="1252039384"/>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252039384"/>
        <c:crosses val="max"/>
        <c:crossBetween val="between"/>
        <c:majorUnit val="20"/>
      </c:valAx>
    </c:plotArea>
    <c:plotVisOnly val="0"/>
    <c:dispBlanksAs val="gap"/>
    <c:showDLblsOverMax val="1"/>
  </c:chart>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009951302138471E-2"/>
          <c:y val="9.33572710951526E-2"/>
          <c:w val="0.977980097395723"/>
          <c:h val="0.81328545780969475"/>
        </c:manualLayout>
      </c:layout>
      <c:barChart>
        <c:barDir val="bar"/>
        <c:grouping val="stacked"/>
        <c:varyColors val="0"/>
        <c:ser>
          <c:idx val="0"/>
          <c:order val="0"/>
          <c:spPr>
            <a:solidFill>
              <a:srgbClr val="A1E26F"/>
            </a:solidFill>
            <a:ln>
              <a:noFill/>
            </a:ln>
          </c:spPr>
          <c:invertIfNegative val="0"/>
          <c:dLbls>
            <c:dLbl>
              <c:idx val="0"/>
              <c:layout>
                <c:manualLayout>
                  <c:x val="0"/>
                  <c:y val="-5.385996409335727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BF-4BEF-AD2E-C12CF7BEA7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0.303030303030305</c:v>
                </c:pt>
              </c:numCache>
            </c:numRef>
          </c:val>
          <c:extLst>
            <c:ext xmlns:c16="http://schemas.microsoft.com/office/drawing/2014/chart" uri="{C3380CC4-5D6E-409C-BE32-E72D297353CC}">
              <c16:uniqueId val="{00000001-D4BF-4BEF-AD2E-C12CF7BEA7D7}"/>
            </c:ext>
          </c:extLst>
        </c:ser>
        <c:ser>
          <c:idx val="1"/>
          <c:order val="1"/>
          <c:spPr>
            <a:solidFill>
              <a:srgbClr val="C8C8C8"/>
            </a:solidFill>
            <a:ln>
              <a:noFill/>
            </a:ln>
          </c:spPr>
          <c:invertIfNegative val="0"/>
          <c:dLbls>
            <c:dLbl>
              <c:idx val="0"/>
              <c:layout>
                <c:manualLayout>
                  <c:x val="0"/>
                  <c:y val="-5.385996409335727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BF-4BEF-AD2E-C12CF7BEA7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28282828282828</c:v>
                </c:pt>
              </c:numCache>
            </c:numRef>
          </c:val>
          <c:extLst>
            <c:ext xmlns:c16="http://schemas.microsoft.com/office/drawing/2014/chart" uri="{C3380CC4-5D6E-409C-BE32-E72D297353CC}">
              <c16:uniqueId val="{00000003-D4BF-4BEF-AD2E-C12CF7BEA7D7}"/>
            </c:ext>
          </c:extLst>
        </c:ser>
        <c:ser>
          <c:idx val="2"/>
          <c:order val="2"/>
          <c:spPr>
            <a:solidFill>
              <a:srgbClr val="837F7F"/>
            </a:solidFill>
            <a:ln>
              <a:noFill/>
            </a:ln>
          </c:spPr>
          <c:invertIfNegative val="0"/>
          <c:dLbls>
            <c:dLbl>
              <c:idx val="0"/>
              <c:layout>
                <c:manualLayout>
                  <c:x val="-2.1172983273343214E-4"/>
                  <c:y val="-5.385996409335727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BF-4BEF-AD2E-C12CF7BEA7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1.414141414141412</c:v>
                </c:pt>
              </c:numCache>
            </c:numRef>
          </c:val>
          <c:extLst>
            <c:ext xmlns:c16="http://schemas.microsoft.com/office/drawing/2014/chart" uri="{C3380CC4-5D6E-409C-BE32-E72D297353CC}">
              <c16:uniqueId val="{00000005-D4BF-4BEF-AD2E-C12CF7BEA7D7}"/>
            </c:ext>
          </c:extLst>
        </c:ser>
        <c:dLbls>
          <c:showLegendKey val="0"/>
          <c:showVal val="0"/>
          <c:showCatName val="0"/>
          <c:showSerName val="0"/>
          <c:showPercent val="0"/>
          <c:showBubbleSize val="0"/>
        </c:dLbls>
        <c:gapWidth val="60"/>
        <c:overlap val="100"/>
        <c:axId val="1438054576"/>
        <c:axId val="1"/>
      </c:barChart>
      <c:catAx>
        <c:axId val="143805457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438054576"/>
        <c:crosses val="max"/>
        <c:crossBetween val="between"/>
      </c:valAx>
    </c:plotArea>
    <c:plotVisOnly val="0"/>
    <c:dispBlanksAs val="gap"/>
    <c:showDLblsOverMax val="1"/>
  </c:chart>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4ABC-4905-86BF-55B5AF09FA26}"/>
              </c:ext>
            </c:extLst>
          </c:dPt>
          <c:dPt>
            <c:idx val="1"/>
            <c:bubble3D val="0"/>
            <c:spPr>
              <a:solidFill>
                <a:schemeClr val="accent2"/>
              </a:solidFill>
              <a:ln>
                <a:noFill/>
              </a:ln>
            </c:spPr>
            <c:extLst>
              <c:ext xmlns:c16="http://schemas.microsoft.com/office/drawing/2014/chart" uri="{C3380CC4-5D6E-409C-BE32-E72D297353CC}">
                <c16:uniqueId val="{00000001-4ABC-4905-86BF-55B5AF09FA26}"/>
              </c:ext>
            </c:extLst>
          </c:dPt>
          <c:dPt>
            <c:idx val="2"/>
            <c:bubble3D val="0"/>
            <c:spPr>
              <a:solidFill>
                <a:srgbClr val="C8C8C8"/>
              </a:solidFill>
              <a:ln>
                <a:noFill/>
              </a:ln>
            </c:spPr>
            <c:extLst>
              <c:ext xmlns:c16="http://schemas.microsoft.com/office/drawing/2014/chart" uri="{C3380CC4-5D6E-409C-BE32-E72D297353CC}">
                <c16:uniqueId val="{00000002-4ABC-4905-86BF-55B5AF09FA26}"/>
              </c:ext>
            </c:extLst>
          </c:dPt>
          <c:dPt>
            <c:idx val="3"/>
            <c:bubble3D val="0"/>
            <c:spPr>
              <a:solidFill>
                <a:srgbClr val="ABA8B3"/>
              </a:solidFill>
              <a:ln>
                <a:noFill/>
              </a:ln>
            </c:spPr>
            <c:extLst>
              <c:ext xmlns:c16="http://schemas.microsoft.com/office/drawing/2014/chart" uri="{C3380CC4-5D6E-409C-BE32-E72D297353CC}">
                <c16:uniqueId val="{00000003-4ABC-4905-86BF-55B5AF09FA26}"/>
              </c:ext>
            </c:extLst>
          </c:dPt>
          <c:dPt>
            <c:idx val="4"/>
            <c:bubble3D val="0"/>
            <c:spPr>
              <a:solidFill>
                <a:srgbClr val="837F7F"/>
              </a:solidFill>
              <a:ln>
                <a:noFill/>
              </a:ln>
            </c:spPr>
            <c:extLst>
              <c:ext xmlns:c16="http://schemas.microsoft.com/office/drawing/2014/chart" uri="{C3380CC4-5D6E-409C-BE32-E72D297353CC}">
                <c16:uniqueId val="{00000004-4ABC-4905-86BF-55B5AF09FA26}"/>
              </c:ext>
            </c:extLst>
          </c:dPt>
          <c:val>
            <c:numRef>
              <c:f>Sheet1!$A$1:$A$5</c:f>
              <c:numCache>
                <c:formatCode>General</c:formatCode>
                <c:ptCount val="5"/>
                <c:pt idx="0">
                  <c:v>16</c:v>
                </c:pt>
                <c:pt idx="1">
                  <c:v>50</c:v>
                </c:pt>
                <c:pt idx="2">
                  <c:v>28.000000000000004</c:v>
                </c:pt>
                <c:pt idx="3">
                  <c:v>5</c:v>
                </c:pt>
                <c:pt idx="4">
                  <c:v>0</c:v>
                </c:pt>
              </c:numCache>
            </c:numRef>
          </c:val>
          <c:extLst>
            <c:ext xmlns:c16="http://schemas.microsoft.com/office/drawing/2014/chart" uri="{C3380CC4-5D6E-409C-BE32-E72D297353CC}">
              <c16:uniqueId val="{00000005-4ABC-4905-86BF-55B5AF09FA26}"/>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557168784029036E-2"/>
          <c:y val="2.0858403529883673E-2"/>
          <c:w val="0.91288566243194191"/>
          <c:h val="0.89610910549538714"/>
        </c:manualLayout>
      </c:layout>
      <c:barChart>
        <c:barDir val="bar"/>
        <c:grouping val="stacked"/>
        <c:varyColors val="0"/>
        <c:ser>
          <c:idx val="0"/>
          <c:order val="0"/>
          <c:spPr>
            <a:solidFill>
              <a:schemeClr val="tx2"/>
            </a:solidFill>
            <a:ln>
              <a:noFill/>
            </a:ln>
          </c:spPr>
          <c:invertIfNegative val="0"/>
          <c:dLbls>
            <c:dLbl>
              <c:idx val="0"/>
              <c:layout>
                <c:manualLayout>
                  <c:x val="-2.5926886180969663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57-4817-BF25-05DFE44B49EA}"/>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57-4817-BF25-05DFE44B49EA}"/>
                </c:ext>
              </c:extLst>
            </c:dLbl>
            <c:dLbl>
              <c:idx val="2"/>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57-4817-BF25-05DFE44B49EA}"/>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A57-4817-BF25-05DFE44B49EA}"/>
                </c:ext>
              </c:extLst>
            </c:dLbl>
            <c:dLbl>
              <c:idx val="4"/>
              <c:layout>
                <c:manualLayout>
                  <c:x val="-2.5926886180969663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57-4817-BF25-05DFE44B49EA}"/>
                </c:ext>
              </c:extLst>
            </c:dLbl>
            <c:dLbl>
              <c:idx val="5"/>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A57-4817-BF25-05DFE44B49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97.72999999999999</c:v>
                </c:pt>
                <c:pt idx="1">
                  <c:v>92.58</c:v>
                </c:pt>
                <c:pt idx="2">
                  <c:v>79.710000000000008</c:v>
                </c:pt>
                <c:pt idx="3">
                  <c:v>72.58</c:v>
                </c:pt>
                <c:pt idx="4">
                  <c:v>62</c:v>
                </c:pt>
                <c:pt idx="5">
                  <c:v>57.999999999999993</c:v>
                </c:pt>
              </c:numCache>
            </c:numRef>
          </c:val>
          <c:extLst>
            <c:ext xmlns:c16="http://schemas.microsoft.com/office/drawing/2014/chart" uri="{C3380CC4-5D6E-409C-BE32-E72D297353CC}">
              <c16:uniqueId val="{00000006-CA57-4817-BF25-05DFE44B49EA}"/>
            </c:ext>
          </c:extLst>
        </c:ser>
        <c:ser>
          <c:idx val="1"/>
          <c:order val="1"/>
          <c:spPr>
            <a:solidFill>
              <a:srgbClr val="C8C8C8"/>
            </a:solidFill>
            <a:ln>
              <a:noFill/>
            </a:ln>
          </c:spPr>
          <c:invertIfNegative val="0"/>
          <c:dLbls>
            <c:dLbl>
              <c:idx val="0"/>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A57-4817-BF25-05DFE44B49EA}"/>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A57-4817-BF25-05DFE44B49EA}"/>
                </c:ext>
              </c:extLst>
            </c:dLbl>
            <c:dLbl>
              <c:idx val="2"/>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A57-4817-BF25-05DFE44B49EA}"/>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A57-4817-BF25-05DFE44B49EA}"/>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A57-4817-BF25-05DFE44B49EA}"/>
                </c:ext>
              </c:extLst>
            </c:dLbl>
            <c:dLbl>
              <c:idx val="5"/>
              <c:layout>
                <c:manualLayout>
                  <c:x val="-2.5926886180969663E-4"/>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A57-4817-BF25-05DFE44B49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269999999999996</c:v>
                </c:pt>
                <c:pt idx="1">
                  <c:v>7.4200000000000017</c:v>
                </c:pt>
                <c:pt idx="2">
                  <c:v>20.289999999999992</c:v>
                </c:pt>
                <c:pt idx="3">
                  <c:v>27.42</c:v>
                </c:pt>
                <c:pt idx="4">
                  <c:v>38</c:v>
                </c:pt>
                <c:pt idx="5">
                  <c:v>42.000000000000007</c:v>
                </c:pt>
              </c:numCache>
            </c:numRef>
          </c:val>
          <c:extLst>
            <c:ext xmlns:c16="http://schemas.microsoft.com/office/drawing/2014/chart" uri="{C3380CC4-5D6E-409C-BE32-E72D297353CC}">
              <c16:uniqueId val="{0000000D-CA57-4817-BF25-05DFE44B49EA}"/>
            </c:ext>
          </c:extLst>
        </c:ser>
        <c:dLbls>
          <c:showLegendKey val="0"/>
          <c:showVal val="0"/>
          <c:showCatName val="0"/>
          <c:showSerName val="0"/>
          <c:showPercent val="0"/>
          <c:showBubbleSize val="0"/>
        </c:dLbls>
        <c:gapWidth val="60"/>
        <c:overlap val="100"/>
        <c:axId val="1320288520"/>
        <c:axId val="1"/>
      </c:barChart>
      <c:catAx>
        <c:axId val="1320288520"/>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20288520"/>
        <c:crosses val="max"/>
        <c:crossBetween val="between"/>
        <c:majorUnit val="20"/>
      </c:valAx>
    </c:plotArea>
    <c:plotVisOnly val="0"/>
    <c:dispBlanksAs val="gap"/>
    <c:showDLblsOverMax val="1"/>
  </c:chart>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209205020920501E-2"/>
          <c:y val="2.0858403529883673E-2"/>
          <c:w val="0.89958158995815896"/>
          <c:h val="0.89610910549538714"/>
        </c:manualLayout>
      </c:layout>
      <c:barChart>
        <c:barDir val="bar"/>
        <c:grouping val="stacked"/>
        <c:varyColors val="0"/>
        <c:ser>
          <c:idx val="0"/>
          <c:order val="0"/>
          <c:spPr>
            <a:solidFill>
              <a:schemeClr val="tx2"/>
            </a:solidFill>
            <a:ln>
              <a:noFill/>
            </a:ln>
          </c:spPr>
          <c:invertIfNegative val="0"/>
          <c:dLbls>
            <c:dLbl>
              <c:idx val="0"/>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72-4D65-A7F0-69DD42786877}"/>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72-4D65-A7F0-69DD42786877}"/>
                </c:ext>
              </c:extLst>
            </c:dLbl>
            <c:dLbl>
              <c:idx val="2"/>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72-4D65-A7F0-69DD42786877}"/>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72-4D65-A7F0-69DD42786877}"/>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72-4D65-A7F0-69DD42786877}"/>
                </c:ext>
              </c:extLst>
            </c:dLbl>
            <c:dLbl>
              <c:idx val="5"/>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72-4D65-A7F0-69DD427868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3</c:v>
                </c:pt>
                <c:pt idx="1">
                  <c:v>18</c:v>
                </c:pt>
                <c:pt idx="2">
                  <c:v>19</c:v>
                </c:pt>
                <c:pt idx="3">
                  <c:v>15</c:v>
                </c:pt>
                <c:pt idx="4">
                  <c:v>18</c:v>
                </c:pt>
                <c:pt idx="5">
                  <c:v>10</c:v>
                </c:pt>
              </c:numCache>
            </c:numRef>
          </c:val>
          <c:extLst>
            <c:ext xmlns:c16="http://schemas.microsoft.com/office/drawing/2014/chart" uri="{C3380CC4-5D6E-409C-BE32-E72D297353CC}">
              <c16:uniqueId val="{00000006-F572-4D65-A7F0-69DD42786877}"/>
            </c:ext>
          </c:extLst>
        </c:ser>
        <c:ser>
          <c:idx val="1"/>
          <c:order val="1"/>
          <c:spPr>
            <a:solidFill>
              <a:schemeClr val="accent2"/>
            </a:solidFill>
            <a:ln>
              <a:noFill/>
            </a:ln>
          </c:spPr>
          <c:invertIfNegative val="0"/>
          <c:dLbls>
            <c:dLbl>
              <c:idx val="0"/>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72-4D65-A7F0-69DD42786877}"/>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572-4D65-A7F0-69DD42786877}"/>
                </c:ext>
              </c:extLst>
            </c:dLbl>
            <c:dLbl>
              <c:idx val="2"/>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572-4D65-A7F0-69DD42786877}"/>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572-4D65-A7F0-69DD42786877}"/>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572-4D65-A7F0-69DD42786877}"/>
                </c:ext>
              </c:extLst>
            </c:dLbl>
            <c:dLbl>
              <c:idx val="5"/>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572-4D65-A7F0-69DD427868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4</c:v>
                </c:pt>
                <c:pt idx="1">
                  <c:v>42</c:v>
                </c:pt>
                <c:pt idx="2">
                  <c:v>39</c:v>
                </c:pt>
                <c:pt idx="3">
                  <c:v>37</c:v>
                </c:pt>
                <c:pt idx="4">
                  <c:v>33</c:v>
                </c:pt>
                <c:pt idx="5">
                  <c:v>26</c:v>
                </c:pt>
              </c:numCache>
            </c:numRef>
          </c:val>
          <c:extLst>
            <c:ext xmlns:c16="http://schemas.microsoft.com/office/drawing/2014/chart" uri="{C3380CC4-5D6E-409C-BE32-E72D297353CC}">
              <c16:uniqueId val="{0000000D-F572-4D65-A7F0-69DD42786877}"/>
            </c:ext>
          </c:extLst>
        </c:ser>
        <c:ser>
          <c:idx val="2"/>
          <c:order val="2"/>
          <c:spPr>
            <a:solidFill>
              <a:srgbClr val="C8C8C8"/>
            </a:solidFill>
            <a:ln>
              <a:noFill/>
            </a:ln>
          </c:spPr>
          <c:invertIfNegative val="0"/>
          <c:dLbls>
            <c:dLbl>
              <c:idx val="0"/>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572-4D65-A7F0-69DD42786877}"/>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572-4D65-A7F0-69DD42786877}"/>
                </c:ext>
              </c:extLst>
            </c:dLbl>
            <c:dLbl>
              <c:idx val="2"/>
              <c:layout>
                <c:manualLayout>
                  <c:x val="-2.9886431560071725E-4"/>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572-4D65-A7F0-69DD42786877}"/>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572-4D65-A7F0-69DD42786877}"/>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572-4D65-A7F0-69DD42786877}"/>
                </c:ext>
              </c:extLst>
            </c:dLbl>
            <c:dLbl>
              <c:idx val="5"/>
              <c:layout>
                <c:manualLayout>
                  <c:x val="0"/>
                  <c:y val="-1.2033694344163659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572-4D65-A7F0-69DD427868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0</c:v>
                </c:pt>
                <c:pt idx="1">
                  <c:v>25</c:v>
                </c:pt>
                <c:pt idx="2">
                  <c:v>34</c:v>
                </c:pt>
                <c:pt idx="3">
                  <c:v>36</c:v>
                </c:pt>
                <c:pt idx="4">
                  <c:v>27</c:v>
                </c:pt>
                <c:pt idx="5">
                  <c:v>30</c:v>
                </c:pt>
              </c:numCache>
            </c:numRef>
          </c:val>
          <c:extLst>
            <c:ext xmlns:c16="http://schemas.microsoft.com/office/drawing/2014/chart" uri="{C3380CC4-5D6E-409C-BE32-E72D297353CC}">
              <c16:uniqueId val="{00000014-F572-4D65-A7F0-69DD42786877}"/>
            </c:ext>
          </c:extLst>
        </c:ser>
        <c:ser>
          <c:idx val="3"/>
          <c:order val="3"/>
          <c:spPr>
            <a:solidFill>
              <a:srgbClr val="ABA8B3"/>
            </a:solidFill>
            <a:ln>
              <a:noFill/>
            </a:ln>
          </c:spPr>
          <c:invertIfNegative val="0"/>
          <c:dLbls>
            <c:dLbl>
              <c:idx val="0"/>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572-4D65-A7F0-69DD42786877}"/>
                </c:ext>
              </c:extLst>
            </c:dLbl>
            <c:dLbl>
              <c:idx val="1"/>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572-4D65-A7F0-69DD42786877}"/>
                </c:ext>
              </c:extLst>
            </c:dLbl>
            <c:dLbl>
              <c:idx val="2"/>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572-4D65-A7F0-69DD42786877}"/>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572-4D65-A7F0-69DD42786877}"/>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572-4D65-A7F0-69DD42786877}"/>
                </c:ext>
              </c:extLst>
            </c:dLbl>
            <c:dLbl>
              <c:idx val="5"/>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572-4D65-A7F0-69DD427868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3</c:v>
                </c:pt>
                <c:pt idx="1">
                  <c:v>13</c:v>
                </c:pt>
                <c:pt idx="2">
                  <c:v>7</c:v>
                </c:pt>
                <c:pt idx="3">
                  <c:v>9</c:v>
                </c:pt>
                <c:pt idx="4">
                  <c:v>18</c:v>
                </c:pt>
                <c:pt idx="5">
                  <c:v>28</c:v>
                </c:pt>
              </c:numCache>
            </c:numRef>
          </c:val>
          <c:extLst>
            <c:ext xmlns:c16="http://schemas.microsoft.com/office/drawing/2014/chart" uri="{C3380CC4-5D6E-409C-BE32-E72D297353CC}">
              <c16:uniqueId val="{0000001B-F572-4D65-A7F0-69DD42786877}"/>
            </c:ext>
          </c:extLst>
        </c:ser>
        <c:ser>
          <c:idx val="4"/>
          <c:order val="4"/>
          <c:spPr>
            <a:solidFill>
              <a:srgbClr val="837F7F"/>
            </a:solidFill>
            <a:ln>
              <a:noFill/>
            </a:ln>
          </c:spPr>
          <c:invertIfNegative val="0"/>
          <c:dLbls>
            <c:dLbl>
              <c:idx val="1"/>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572-4D65-A7F0-69DD42786877}"/>
                </c:ext>
              </c:extLst>
            </c:dLbl>
            <c:dLbl>
              <c:idx val="3"/>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572-4D65-A7F0-69DD42786877}"/>
                </c:ext>
              </c:extLst>
            </c:dLbl>
            <c:dLbl>
              <c:idx val="4"/>
              <c:layout>
                <c:manualLayout>
                  <c:x val="0"/>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572-4D65-A7F0-69DD42786877}"/>
                </c:ext>
              </c:extLst>
            </c:dLbl>
            <c:dLbl>
              <c:idx val="5"/>
              <c:layout>
                <c:manualLayout>
                  <c:x val="-2.9886431560071725E-4"/>
                  <c:y val="-1.203369434416365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572-4D65-A7F0-69DD427868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0</c:v>
                </c:pt>
                <c:pt idx="1">
                  <c:v>2</c:v>
                </c:pt>
                <c:pt idx="2">
                  <c:v>1</c:v>
                </c:pt>
                <c:pt idx="3">
                  <c:v>3</c:v>
                </c:pt>
                <c:pt idx="4">
                  <c:v>4</c:v>
                </c:pt>
                <c:pt idx="5">
                  <c:v>6</c:v>
                </c:pt>
              </c:numCache>
            </c:numRef>
          </c:val>
          <c:extLst>
            <c:ext xmlns:c16="http://schemas.microsoft.com/office/drawing/2014/chart" uri="{C3380CC4-5D6E-409C-BE32-E72D297353CC}">
              <c16:uniqueId val="{00000020-F572-4D65-A7F0-69DD42786877}"/>
            </c:ext>
          </c:extLst>
        </c:ser>
        <c:dLbls>
          <c:showLegendKey val="0"/>
          <c:showVal val="0"/>
          <c:showCatName val="0"/>
          <c:showSerName val="0"/>
          <c:showPercent val="0"/>
          <c:showBubbleSize val="0"/>
        </c:dLbls>
        <c:gapWidth val="60"/>
        <c:overlap val="100"/>
        <c:axId val="1366946152"/>
        <c:axId val="1"/>
      </c:barChart>
      <c:catAx>
        <c:axId val="1366946152"/>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66946152"/>
        <c:crosses val="max"/>
        <c:crossBetween val="between"/>
        <c:majorUnit val="20"/>
      </c:valAx>
    </c:plotArea>
    <c:plotVisOnly val="0"/>
    <c:dispBlanksAs val="gap"/>
    <c:showDLblsOverMax val="1"/>
  </c:chart>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066184294530752E-2"/>
          <c:y val="9.2198581560283682E-2"/>
          <c:w val="0.97786763141093846"/>
          <c:h val="0.81560283687943258"/>
        </c:manualLayout>
      </c:layout>
      <c:barChart>
        <c:barDir val="bar"/>
        <c:grouping val="stacked"/>
        <c:varyColors val="0"/>
        <c:ser>
          <c:idx val="0"/>
          <c:order val="0"/>
          <c:spPr>
            <a:solidFill>
              <a:srgbClr val="A1E26F"/>
            </a:solidFill>
            <a:ln>
              <a:noFill/>
            </a:ln>
          </c:spPr>
          <c:invertIfNegative val="0"/>
          <c:dLbls>
            <c:dLbl>
              <c:idx val="0"/>
              <c:layout>
                <c:manualLayout>
                  <c:x val="0"/>
                  <c:y val="-5.319148936170212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DE-4C3B-8A36-ECED6492C9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416666666666666</c:v>
                </c:pt>
              </c:numCache>
            </c:numRef>
          </c:val>
          <c:extLst>
            <c:ext xmlns:c16="http://schemas.microsoft.com/office/drawing/2014/chart" uri="{C3380CC4-5D6E-409C-BE32-E72D297353CC}">
              <c16:uniqueId val="{00000001-37DE-4C3B-8A36-ECED6492C934}"/>
            </c:ext>
          </c:extLst>
        </c:ser>
        <c:ser>
          <c:idx val="1"/>
          <c:order val="1"/>
          <c:spPr>
            <a:solidFill>
              <a:srgbClr val="C8C8C8"/>
            </a:solidFill>
            <a:ln>
              <a:noFill/>
            </a:ln>
          </c:spPr>
          <c:invertIfNegative val="0"/>
          <c:dLbls>
            <c:dLbl>
              <c:idx val="0"/>
              <c:layout>
                <c:manualLayout>
                  <c:x val="0"/>
                  <c:y val="-5.319148936170212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DE-4C3B-8A36-ECED6492C9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1.666666666666664</c:v>
                </c:pt>
              </c:numCache>
            </c:numRef>
          </c:val>
          <c:extLst>
            <c:ext xmlns:c16="http://schemas.microsoft.com/office/drawing/2014/chart" uri="{C3380CC4-5D6E-409C-BE32-E72D297353CC}">
              <c16:uniqueId val="{00000003-37DE-4C3B-8A36-ECED6492C934}"/>
            </c:ext>
          </c:extLst>
        </c:ser>
        <c:ser>
          <c:idx val="2"/>
          <c:order val="2"/>
          <c:spPr>
            <a:solidFill>
              <a:srgbClr val="837F7F"/>
            </a:solidFill>
            <a:ln>
              <a:noFill/>
            </a:ln>
          </c:spPr>
          <c:invertIfNegative val="0"/>
          <c:dLbls>
            <c:dLbl>
              <c:idx val="0"/>
              <c:layout>
                <c:manualLayout>
                  <c:x val="0"/>
                  <c:y val="-5.319148936170212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DE-4C3B-8A36-ECED6492C9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7.916666666666664</c:v>
                </c:pt>
              </c:numCache>
            </c:numRef>
          </c:val>
          <c:extLst>
            <c:ext xmlns:c16="http://schemas.microsoft.com/office/drawing/2014/chart" uri="{C3380CC4-5D6E-409C-BE32-E72D297353CC}">
              <c16:uniqueId val="{00000005-37DE-4C3B-8A36-ECED6492C934}"/>
            </c:ext>
          </c:extLst>
        </c:ser>
        <c:dLbls>
          <c:showLegendKey val="0"/>
          <c:showVal val="0"/>
          <c:showCatName val="0"/>
          <c:showSerName val="0"/>
          <c:showPercent val="0"/>
          <c:showBubbleSize val="0"/>
        </c:dLbls>
        <c:gapWidth val="60"/>
        <c:overlap val="100"/>
        <c:axId val="1715460936"/>
        <c:axId val="1"/>
      </c:barChart>
      <c:catAx>
        <c:axId val="171546093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99.999999999999986"/>
          <c:min val="0"/>
        </c:scaling>
        <c:delete val="1"/>
        <c:axPos val="b"/>
        <c:numFmt formatCode="General" sourceLinked="1"/>
        <c:majorTickMark val="out"/>
        <c:minorTickMark val="none"/>
        <c:tickLblPos val="nextTo"/>
        <c:crossAx val="1715460936"/>
        <c:crosses val="max"/>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E71C57"/>
            </a:solidFill>
            <a:ln>
              <a:noFill/>
            </a:ln>
          </c:spPr>
          <c:invertIfNegative val="0"/>
          <c:val>
            <c:numRef>
              <c:f>Sheet1!$A$1</c:f>
              <c:numCache>
                <c:formatCode>General</c:formatCode>
                <c:ptCount val="1"/>
                <c:pt idx="0">
                  <c:v>49.32</c:v>
                </c:pt>
              </c:numCache>
            </c:numRef>
          </c:val>
          <c:extLst>
            <c:ext xmlns:c16="http://schemas.microsoft.com/office/drawing/2014/chart" uri="{C3380CC4-5D6E-409C-BE32-E72D297353CC}">
              <c16:uniqueId val="{00000000-A6EB-4C42-98A7-F7F12FA8E6EC}"/>
            </c:ext>
          </c:extLst>
        </c:ser>
        <c:ser>
          <c:idx val="1"/>
          <c:order val="1"/>
          <c:spPr>
            <a:solidFill>
              <a:srgbClr val="C8C8C8"/>
            </a:solidFill>
            <a:ln>
              <a:noFill/>
            </a:ln>
          </c:spPr>
          <c:invertIfNegative val="0"/>
          <c:val>
            <c:numRef>
              <c:f>Sheet1!$A$2</c:f>
              <c:numCache>
                <c:formatCode>General</c:formatCode>
                <c:ptCount val="1"/>
                <c:pt idx="0">
                  <c:v>50.699999999999989</c:v>
                </c:pt>
              </c:numCache>
            </c:numRef>
          </c:val>
          <c:extLst>
            <c:ext xmlns:c16="http://schemas.microsoft.com/office/drawing/2014/chart" uri="{C3380CC4-5D6E-409C-BE32-E72D297353CC}">
              <c16:uniqueId val="{00000001-A6EB-4C42-98A7-F7F12FA8E6EC}"/>
            </c:ext>
          </c:extLst>
        </c:ser>
        <c:dLbls>
          <c:showLegendKey val="0"/>
          <c:showVal val="0"/>
          <c:showCatName val="0"/>
          <c:showSerName val="0"/>
          <c:showPercent val="0"/>
          <c:showBubbleSize val="0"/>
        </c:dLbls>
        <c:gapWidth val="60"/>
        <c:overlap val="100"/>
        <c:axId val="351036743"/>
        <c:axId val="1"/>
      </c:barChart>
      <c:catAx>
        <c:axId val="351036743"/>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02"/>
          <c:min val="0"/>
        </c:scaling>
        <c:delete val="1"/>
        <c:axPos val="b"/>
        <c:numFmt formatCode="General" sourceLinked="1"/>
        <c:majorTickMark val="out"/>
        <c:minorTickMark val="none"/>
        <c:tickLblPos val="nextTo"/>
        <c:crossAx val="351036743"/>
        <c:crosses val="max"/>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25966850828729E-2"/>
          <c:y val="2.2298456260720412E-2"/>
          <c:w val="0.89325966850828731"/>
          <c:h val="0.87650085763293306"/>
        </c:manualLayout>
      </c:layout>
      <c:barChart>
        <c:barDir val="bar"/>
        <c:grouping val="clustered"/>
        <c:varyColors val="0"/>
        <c:ser>
          <c:idx val="0"/>
          <c:order val="0"/>
          <c:spPr>
            <a:solidFill>
              <a:srgbClr val="29BA74"/>
            </a:solidFill>
            <a:ln>
              <a:noFill/>
            </a:ln>
          </c:spPr>
          <c:invertIfNegative val="0"/>
          <c:dLbls>
            <c:dLbl>
              <c:idx val="0"/>
              <c:layout>
                <c:manualLayout>
                  <c:x val="-2.2099447513812155E-4"/>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C6-454B-9A06-21874DE9F166}"/>
                </c:ext>
              </c:extLst>
            </c:dLbl>
            <c:dLbl>
              <c:idx val="1"/>
              <c:layout>
                <c:manualLayout>
                  <c:x val="-2.2099447513812155E-4"/>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C6-454B-9A06-21874DE9F166}"/>
                </c:ext>
              </c:extLst>
            </c:dLbl>
            <c:dLbl>
              <c:idx val="2"/>
              <c:layout>
                <c:manualLayout>
                  <c:x val="-2.2099447513812155E-4"/>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C6-454B-9A06-21874DE9F166}"/>
                </c:ext>
              </c:extLst>
            </c:dLbl>
            <c:dLbl>
              <c:idx val="3"/>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0C6-454B-9A06-21874DE9F1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40</c:v>
                </c:pt>
                <c:pt idx="1">
                  <c:v>348</c:v>
                </c:pt>
                <c:pt idx="2">
                  <c:v>242</c:v>
                </c:pt>
                <c:pt idx="3">
                  <c:v>397</c:v>
                </c:pt>
              </c:numCache>
            </c:numRef>
          </c:val>
          <c:extLst>
            <c:ext xmlns:c16="http://schemas.microsoft.com/office/drawing/2014/chart" uri="{C3380CC4-5D6E-409C-BE32-E72D297353CC}">
              <c16:uniqueId val="{00000004-70C6-454B-9A06-21874DE9F166}"/>
            </c:ext>
          </c:extLst>
        </c:ser>
        <c:ser>
          <c:idx val="1"/>
          <c:order val="1"/>
          <c:spPr>
            <a:solidFill>
              <a:srgbClr val="C8C8C8"/>
            </a:solidFill>
            <a:ln>
              <a:noFill/>
            </a:ln>
          </c:spPr>
          <c:invertIfNegative val="0"/>
          <c:dLbls>
            <c:dLbl>
              <c:idx val="0"/>
              <c:layout>
                <c:manualLayout>
                  <c:x val="-2.2099447513812155E-4"/>
                  <c:y val="0"/>
                </c:manualLayout>
              </c:layout>
              <c:numFmt formatCode="#,##0;&quot;-&quot;#,##0"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0C6-454B-9A06-21874DE9F166}"/>
                </c:ext>
              </c:extLst>
            </c:dLbl>
            <c:dLbl>
              <c:idx val="1"/>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0C6-454B-9A06-21874DE9F166}"/>
                </c:ext>
              </c:extLst>
            </c:dLbl>
            <c:dLbl>
              <c:idx val="2"/>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0C6-454B-9A06-21874DE9F166}"/>
                </c:ext>
              </c:extLst>
            </c:dLbl>
            <c:dLbl>
              <c:idx val="3"/>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0C6-454B-9A06-21874DE9F1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922</c:v>
                </c:pt>
                <c:pt idx="1">
                  <c:v>990</c:v>
                </c:pt>
                <c:pt idx="2">
                  <c:v>693</c:v>
                </c:pt>
                <c:pt idx="3">
                  <c:v>1338</c:v>
                </c:pt>
              </c:numCache>
            </c:numRef>
          </c:val>
          <c:extLst>
            <c:ext xmlns:c16="http://schemas.microsoft.com/office/drawing/2014/chart" uri="{C3380CC4-5D6E-409C-BE32-E72D297353CC}">
              <c16:uniqueId val="{00000009-70C6-454B-9A06-21874DE9F166}"/>
            </c:ext>
          </c:extLst>
        </c:ser>
        <c:ser>
          <c:idx val="2"/>
          <c:order val="2"/>
          <c:spPr>
            <a:solidFill>
              <a:srgbClr val="30C1D7"/>
            </a:solidFill>
            <a:ln>
              <a:noFill/>
            </a:ln>
          </c:spPr>
          <c:invertIfNegative val="0"/>
          <c:dLbls>
            <c:dLbl>
              <c:idx val="0"/>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0C6-454B-9A06-21874DE9F166}"/>
                </c:ext>
              </c:extLst>
            </c:dLbl>
            <c:dLbl>
              <c:idx val="1"/>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0C6-454B-9A06-21874DE9F166}"/>
                </c:ext>
              </c:extLst>
            </c:dLbl>
            <c:dLbl>
              <c:idx val="2"/>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0C6-454B-9A06-21874DE9F166}"/>
                </c:ext>
              </c:extLst>
            </c:dLbl>
            <c:dLbl>
              <c:idx val="3"/>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0C6-454B-9A06-21874DE9F1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262</c:v>
                </c:pt>
                <c:pt idx="1">
                  <c:v>1338</c:v>
                </c:pt>
                <c:pt idx="2">
                  <c:v>935</c:v>
                </c:pt>
                <c:pt idx="3">
                  <c:v>1735</c:v>
                </c:pt>
              </c:numCache>
            </c:numRef>
          </c:val>
          <c:extLst>
            <c:ext xmlns:c16="http://schemas.microsoft.com/office/drawing/2014/chart" uri="{C3380CC4-5D6E-409C-BE32-E72D297353CC}">
              <c16:uniqueId val="{0000000E-70C6-454B-9A06-21874DE9F166}"/>
            </c:ext>
          </c:extLst>
        </c:ser>
        <c:dLbls>
          <c:showLegendKey val="0"/>
          <c:showVal val="0"/>
          <c:showCatName val="0"/>
          <c:showSerName val="0"/>
          <c:showPercent val="0"/>
          <c:showBubbleSize val="0"/>
        </c:dLbls>
        <c:gapWidth val="60"/>
        <c:axId val="351151215"/>
        <c:axId val="1"/>
      </c:barChart>
      <c:catAx>
        <c:axId val="351151215"/>
        <c:scaling>
          <c:orientation val="maxMin"/>
        </c:scaling>
        <c:delete val="0"/>
        <c:axPos val="l"/>
        <c:majorGridlines>
          <c:spPr>
            <a:ln>
              <a:noFill/>
            </a:ln>
          </c:spPr>
        </c:majorGridlines>
        <c:majorTickMark val="out"/>
        <c:minorTickMark val="none"/>
        <c:tickLblPos val="none"/>
        <c:spPr>
          <a:ln w="9525" cap="flat" algn="ctr">
            <a:solidFill>
              <a:srgbClr val="7F7F7F"/>
            </a:solidFill>
            <a:prstDash val="solid"/>
          </a:ln>
        </c:spPr>
        <c:txPr>
          <a:bodyPr wrap="none"/>
          <a:lstStyle/>
          <a:p>
            <a:pPr>
              <a:defRPr sz="14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400" kern="1200">
                <a:solidFill>
                  <a:schemeClr val="tx1"/>
                </a:solidFill>
                <a:latin typeface="+mn-lt"/>
                <a:ea typeface="+mn-ea"/>
                <a:cs typeface="+mn-cs"/>
                <a:sym typeface="+mn-lt"/>
              </a:defRPr>
            </a:pPr>
            <a:endParaRPr lang="en-US"/>
          </a:p>
        </c:txPr>
        <c:crossAx val="351151215"/>
        <c:crosses val="max"/>
        <c:crossBetween val="between"/>
        <c:majorUnit val="50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269982238010662E-2"/>
          <c:y val="3.5381026438569205E-2"/>
          <c:w val="0.91718472468916523"/>
          <c:h val="0.92923794712286156"/>
        </c:manualLayout>
      </c:layout>
      <c:lineChart>
        <c:grouping val="standard"/>
        <c:varyColors val="0"/>
        <c:ser>
          <c:idx val="0"/>
          <c:order val="0"/>
          <c:spPr>
            <a:ln w="28575" cap="flat" algn="ctr">
              <a:solidFill>
                <a:srgbClr val="D4DF33"/>
              </a:solidFill>
              <a:prstDash val="solid"/>
            </a:ln>
          </c:spPr>
          <c:marker>
            <c:symbol val="none"/>
          </c:marker>
          <c:val>
            <c:numRef>
              <c:f>Sheet1!$A$1:$I$1</c:f>
              <c:numCache>
                <c:formatCode>General</c:formatCode>
                <c:ptCount val="9"/>
                <c:pt idx="0">
                  <c:v>22</c:v>
                </c:pt>
                <c:pt idx="1">
                  <c:v>18.64</c:v>
                </c:pt>
                <c:pt idx="2">
                  <c:v>21.41</c:v>
                </c:pt>
                <c:pt idx="3">
                  <c:v>22.87</c:v>
                </c:pt>
                <c:pt idx="4">
                  <c:v>24.72</c:v>
                </c:pt>
                <c:pt idx="5">
                  <c:v>19.28</c:v>
                </c:pt>
                <c:pt idx="6">
                  <c:v>18</c:v>
                </c:pt>
                <c:pt idx="7">
                  <c:v>23</c:v>
                </c:pt>
                <c:pt idx="8">
                  <c:v>27</c:v>
                </c:pt>
              </c:numCache>
            </c:numRef>
          </c:val>
          <c:smooth val="0"/>
          <c:extLst>
            <c:ext xmlns:c16="http://schemas.microsoft.com/office/drawing/2014/chart" uri="{C3380CC4-5D6E-409C-BE32-E72D297353CC}">
              <c16:uniqueId val="{00000000-E22D-4F76-B5D6-9D23CF671FA8}"/>
            </c:ext>
          </c:extLst>
        </c:ser>
        <c:ser>
          <c:idx val="1"/>
          <c:order val="1"/>
          <c:spPr>
            <a:ln w="28575" cap="flat" algn="ctr">
              <a:solidFill>
                <a:srgbClr val="30C1D7"/>
              </a:solidFill>
              <a:prstDash val="solid"/>
            </a:ln>
          </c:spPr>
          <c:marker>
            <c:symbol val="none"/>
          </c:marker>
          <c:val>
            <c:numRef>
              <c:f>Sheet1!$A$2:$I$2</c:f>
              <c:numCache>
                <c:formatCode>General</c:formatCode>
                <c:ptCount val="9"/>
                <c:pt idx="0">
                  <c:v>25</c:v>
                </c:pt>
                <c:pt idx="1">
                  <c:v>22.85</c:v>
                </c:pt>
                <c:pt idx="2">
                  <c:v>25.94</c:v>
                </c:pt>
                <c:pt idx="3">
                  <c:v>24.38</c:v>
                </c:pt>
                <c:pt idx="4">
                  <c:v>29</c:v>
                </c:pt>
                <c:pt idx="5">
                  <c:v>27.51</c:v>
                </c:pt>
                <c:pt idx="6">
                  <c:v>27</c:v>
                </c:pt>
                <c:pt idx="7">
                  <c:v>28</c:v>
                </c:pt>
                <c:pt idx="8">
                  <c:v>26</c:v>
                </c:pt>
              </c:numCache>
            </c:numRef>
          </c:val>
          <c:smooth val="0"/>
          <c:extLst>
            <c:ext xmlns:c16="http://schemas.microsoft.com/office/drawing/2014/chart" uri="{C3380CC4-5D6E-409C-BE32-E72D297353CC}">
              <c16:uniqueId val="{00000001-E22D-4F76-B5D6-9D23CF671FA8}"/>
            </c:ext>
          </c:extLst>
        </c:ser>
        <c:ser>
          <c:idx val="2"/>
          <c:order val="2"/>
          <c:spPr>
            <a:ln w="28575" cap="flat" algn="ctr">
              <a:solidFill>
                <a:srgbClr val="60DB65"/>
              </a:solidFill>
              <a:prstDash val="solid"/>
            </a:ln>
          </c:spPr>
          <c:marker>
            <c:symbol val="none"/>
          </c:marker>
          <c:val>
            <c:numRef>
              <c:f>Sheet1!$A$3:$I$3</c:f>
              <c:numCache>
                <c:formatCode>General</c:formatCode>
                <c:ptCount val="9"/>
                <c:pt idx="0">
                  <c:v>26</c:v>
                </c:pt>
                <c:pt idx="1">
                  <c:v>19.88</c:v>
                </c:pt>
                <c:pt idx="2">
                  <c:v>23.21</c:v>
                </c:pt>
                <c:pt idx="3">
                  <c:v>27.58</c:v>
                </c:pt>
                <c:pt idx="4">
                  <c:v>25.81</c:v>
                </c:pt>
                <c:pt idx="5">
                  <c:v>22.5</c:v>
                </c:pt>
                <c:pt idx="6">
                  <c:v>22</c:v>
                </c:pt>
                <c:pt idx="7">
                  <c:v>23</c:v>
                </c:pt>
                <c:pt idx="8">
                  <c:v>23</c:v>
                </c:pt>
              </c:numCache>
            </c:numRef>
          </c:val>
          <c:smooth val="0"/>
          <c:extLst>
            <c:ext xmlns:c16="http://schemas.microsoft.com/office/drawing/2014/chart" uri="{C3380CC4-5D6E-409C-BE32-E72D297353CC}">
              <c16:uniqueId val="{00000002-E22D-4F76-B5D6-9D23CF671FA8}"/>
            </c:ext>
          </c:extLst>
        </c:ser>
        <c:ser>
          <c:idx val="3"/>
          <c:order val="3"/>
          <c:spPr>
            <a:ln w="28575" cap="flat" algn="ctr">
              <a:solidFill>
                <a:srgbClr val="E15846"/>
              </a:solidFill>
              <a:prstDash val="solid"/>
            </a:ln>
          </c:spPr>
          <c:marker>
            <c:symbol val="none"/>
          </c:marker>
          <c:val>
            <c:numRef>
              <c:f>Sheet1!$A$4:$I$4</c:f>
              <c:numCache>
                <c:formatCode>General</c:formatCode>
                <c:ptCount val="9"/>
                <c:pt idx="0">
                  <c:v>30</c:v>
                </c:pt>
                <c:pt idx="1">
                  <c:v>21.36</c:v>
                </c:pt>
                <c:pt idx="2">
                  <c:v>21.82</c:v>
                </c:pt>
                <c:pt idx="3">
                  <c:v>25.32</c:v>
                </c:pt>
                <c:pt idx="4">
                  <c:v>28.53</c:v>
                </c:pt>
                <c:pt idx="5">
                  <c:v>26.16</c:v>
                </c:pt>
                <c:pt idx="6">
                  <c:v>24</c:v>
                </c:pt>
                <c:pt idx="7">
                  <c:v>24</c:v>
                </c:pt>
                <c:pt idx="8">
                  <c:v>26</c:v>
                </c:pt>
              </c:numCache>
            </c:numRef>
          </c:val>
          <c:smooth val="0"/>
          <c:extLst>
            <c:ext xmlns:c16="http://schemas.microsoft.com/office/drawing/2014/chart" uri="{C3380CC4-5D6E-409C-BE32-E72D297353CC}">
              <c16:uniqueId val="{00000003-E22D-4F76-B5D6-9D23CF671FA8}"/>
            </c:ext>
          </c:extLst>
        </c:ser>
        <c:ser>
          <c:idx val="4"/>
          <c:order val="4"/>
          <c:spPr>
            <a:ln w="28575" cap="flat" algn="ctr">
              <a:solidFill>
                <a:srgbClr val="000000"/>
              </a:solidFill>
              <a:prstDash val="solid"/>
            </a:ln>
          </c:spPr>
          <c:marker>
            <c:symbol val="none"/>
          </c:marker>
          <c:val>
            <c:numRef>
              <c:f>Sheet1!$A$5:$I$5</c:f>
              <c:numCache>
                <c:formatCode>General</c:formatCode>
                <c:ptCount val="9"/>
                <c:pt idx="0">
                  <c:v>26</c:v>
                </c:pt>
                <c:pt idx="1">
                  <c:v>21</c:v>
                </c:pt>
                <c:pt idx="2">
                  <c:v>23</c:v>
                </c:pt>
                <c:pt idx="3">
                  <c:v>25</c:v>
                </c:pt>
                <c:pt idx="4">
                  <c:v>27</c:v>
                </c:pt>
                <c:pt idx="5">
                  <c:v>24</c:v>
                </c:pt>
                <c:pt idx="6">
                  <c:v>23</c:v>
                </c:pt>
                <c:pt idx="7">
                  <c:v>24</c:v>
                </c:pt>
                <c:pt idx="8">
                  <c:v>25</c:v>
                </c:pt>
              </c:numCache>
            </c:numRef>
          </c:val>
          <c:smooth val="0"/>
          <c:extLst>
            <c:ext xmlns:c16="http://schemas.microsoft.com/office/drawing/2014/chart" uri="{C3380CC4-5D6E-409C-BE32-E72D297353CC}">
              <c16:uniqueId val="{00000004-E22D-4F76-B5D6-9D23CF671FA8}"/>
            </c:ext>
          </c:extLst>
        </c:ser>
        <c:dLbls>
          <c:showLegendKey val="0"/>
          <c:showVal val="0"/>
          <c:showCatName val="0"/>
          <c:showSerName val="0"/>
          <c:showPercent val="0"/>
          <c:showBubbleSize val="0"/>
        </c:dLbls>
        <c:smooth val="0"/>
        <c:axId val="266559855"/>
        <c:axId val="1"/>
      </c:lineChart>
      <c:catAx>
        <c:axId val="266559855"/>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30"/>
          <c:min val="0"/>
        </c:scaling>
        <c:delete val="0"/>
        <c:axPos val="l"/>
        <c:majorGridlines>
          <c:spPr>
            <a:ln w="9525" cap="flat" algn="ctr">
              <a:solidFill>
                <a:srgbClr val="C8C8C8"/>
              </a:solidFill>
              <a:prstDash val="solid"/>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600" kern="1200">
                <a:solidFill>
                  <a:schemeClr val="tx1"/>
                </a:solidFill>
                <a:latin typeface="+mn-lt"/>
                <a:ea typeface="+mn-ea"/>
                <a:cs typeface="+mn-cs"/>
                <a:sym typeface="+mn-lt"/>
              </a:defRPr>
            </a:pPr>
            <a:endParaRPr lang="en-US"/>
          </a:p>
        </c:txPr>
        <c:crossAx val="266559855"/>
        <c:crosses val="min"/>
        <c:crossBetween val="midCat"/>
        <c:majorUnit val="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56153107422143E-2"/>
          <c:y val="2.9937228392081121E-2"/>
          <c:w val="0.9565098093016875"/>
          <c:h val="0.94012554321583774"/>
        </c:manualLayout>
      </c:layout>
      <c:barChart>
        <c:barDir val="col"/>
        <c:grouping val="clustered"/>
        <c:varyColors val="0"/>
        <c:ser>
          <c:idx val="0"/>
          <c:order val="0"/>
          <c:spPr>
            <a:solidFill>
              <a:srgbClr val="6E6F73"/>
            </a:solidFill>
            <a:ln w="19050" cap="flat"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E5A-48A9-9198-FA29A2106B56}"/>
                </c:ext>
              </c:extLst>
            </c:dLbl>
            <c:dLbl>
              <c:idx val="1"/>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E5A-48A9-9198-FA29A2106B56}"/>
                </c:ext>
              </c:extLst>
            </c:dLbl>
            <c:dLbl>
              <c:idx val="4"/>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E5A-48A9-9198-FA29A2106B56}"/>
                </c:ext>
              </c:extLst>
            </c:dLbl>
            <c:dLbl>
              <c:idx val="5"/>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E5A-48A9-9198-FA29A2106B56}"/>
                </c:ext>
              </c:extLst>
            </c:dLbl>
            <c:dLbl>
              <c:idx val="6"/>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E5A-48A9-9198-FA29A2106B56}"/>
                </c:ext>
              </c:extLst>
            </c:dLbl>
            <c:dLbl>
              <c:idx val="7"/>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E5A-48A9-9198-FA29A2106B56}"/>
                </c:ext>
              </c:extLst>
            </c:dLbl>
            <c:dLbl>
              <c:idx val="9"/>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E5A-48A9-9198-FA29A2106B56}"/>
                </c:ext>
              </c:extLst>
            </c:dLbl>
            <c:dLbl>
              <c:idx val="1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E5A-48A9-9198-FA29A2106B56}"/>
                </c:ext>
              </c:extLst>
            </c:dLbl>
            <c:dLbl>
              <c:idx val="12"/>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E5A-48A9-9198-FA29A2106B56}"/>
                </c:ext>
              </c:extLst>
            </c:dLbl>
            <c:dLbl>
              <c:idx val="13"/>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E5A-48A9-9198-FA29A2106B56}"/>
                </c:ext>
              </c:extLst>
            </c:dLbl>
            <c:dLbl>
              <c:idx val="14"/>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E5A-48A9-9198-FA29A2106B56}"/>
                </c:ext>
              </c:extLst>
            </c:dLbl>
            <c:dLbl>
              <c:idx val="15"/>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E5A-48A9-9198-FA29A2106B56}"/>
                </c:ext>
              </c:extLst>
            </c:dLbl>
            <c:dLbl>
              <c:idx val="16"/>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E5A-48A9-9198-FA29A2106B56}"/>
                </c:ext>
              </c:extLst>
            </c:dLbl>
            <c:dLbl>
              <c:idx val="17"/>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E5A-48A9-9198-FA29A2106B56}"/>
                </c:ext>
              </c:extLst>
            </c:dLbl>
            <c:dLbl>
              <c:idx val="18"/>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E5A-48A9-9198-FA29A2106B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81</c:v>
                </c:pt>
                <c:pt idx="1">
                  <c:v>59</c:v>
                </c:pt>
                <c:pt idx="4">
                  <c:v>68</c:v>
                </c:pt>
                <c:pt idx="5">
                  <c:v>85</c:v>
                </c:pt>
                <c:pt idx="6">
                  <c:v>56.000000000000007</c:v>
                </c:pt>
                <c:pt idx="7">
                  <c:v>90</c:v>
                </c:pt>
                <c:pt idx="9">
                  <c:v>82</c:v>
                </c:pt>
                <c:pt idx="10">
                  <c:v>53</c:v>
                </c:pt>
                <c:pt idx="12">
                  <c:v>56.000000000000007</c:v>
                </c:pt>
                <c:pt idx="13">
                  <c:v>53</c:v>
                </c:pt>
                <c:pt idx="14">
                  <c:v>78</c:v>
                </c:pt>
                <c:pt idx="15">
                  <c:v>51</c:v>
                </c:pt>
                <c:pt idx="16">
                  <c:v>77</c:v>
                </c:pt>
                <c:pt idx="17">
                  <c:v>85</c:v>
                </c:pt>
                <c:pt idx="18">
                  <c:v>70</c:v>
                </c:pt>
              </c:numCache>
            </c:numRef>
          </c:val>
          <c:extLst>
            <c:ext xmlns:c16="http://schemas.microsoft.com/office/drawing/2014/chart" uri="{C3380CC4-5D6E-409C-BE32-E72D297353CC}">
              <c16:uniqueId val="{0000000F-1E5A-48A9-9198-FA29A2106B56}"/>
            </c:ext>
          </c:extLst>
        </c:ser>
        <c:ser>
          <c:idx val="1"/>
          <c:order val="1"/>
          <c:spPr>
            <a:solidFill>
              <a:srgbClr val="C8C8C8"/>
            </a:solidFill>
            <a:ln w="19050" cap="flat"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E5A-48A9-9198-FA29A2106B56}"/>
                </c:ext>
              </c:extLst>
            </c:dLbl>
            <c:dLbl>
              <c:idx val="1"/>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E5A-48A9-9198-FA29A2106B56}"/>
                </c:ext>
              </c:extLst>
            </c:dLbl>
            <c:dLbl>
              <c:idx val="2"/>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E5A-48A9-9198-FA29A2106B56}"/>
                </c:ext>
              </c:extLst>
            </c:dLbl>
            <c:dLbl>
              <c:idx val="3"/>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E5A-48A9-9198-FA29A2106B56}"/>
                </c:ext>
              </c:extLst>
            </c:dLbl>
            <c:dLbl>
              <c:idx val="4"/>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E5A-48A9-9198-FA29A2106B56}"/>
                </c:ext>
              </c:extLst>
            </c:dLbl>
            <c:dLbl>
              <c:idx val="5"/>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E5A-48A9-9198-FA29A2106B56}"/>
                </c:ext>
              </c:extLst>
            </c:dLbl>
            <c:dLbl>
              <c:idx val="6"/>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E5A-48A9-9198-FA29A2106B56}"/>
                </c:ext>
              </c:extLst>
            </c:dLbl>
            <c:dLbl>
              <c:idx val="7"/>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E5A-48A9-9198-FA29A2106B56}"/>
                </c:ext>
              </c:extLst>
            </c:dLbl>
            <c:dLbl>
              <c:idx val="8"/>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E5A-48A9-9198-FA29A2106B56}"/>
                </c:ext>
              </c:extLst>
            </c:dLbl>
            <c:dLbl>
              <c:idx val="9"/>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E5A-48A9-9198-FA29A2106B56}"/>
                </c:ext>
              </c:extLst>
            </c:dLbl>
            <c:dLbl>
              <c:idx val="10"/>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E5A-48A9-9198-FA29A2106B56}"/>
                </c:ext>
              </c:extLst>
            </c:dLbl>
            <c:dLbl>
              <c:idx val="11"/>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E5A-48A9-9198-FA29A2106B56}"/>
                </c:ext>
              </c:extLst>
            </c:dLbl>
            <c:dLbl>
              <c:idx val="12"/>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E5A-48A9-9198-FA29A2106B56}"/>
                </c:ext>
              </c:extLst>
            </c:dLbl>
            <c:dLbl>
              <c:idx val="13"/>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E5A-48A9-9198-FA29A2106B56}"/>
                </c:ext>
              </c:extLst>
            </c:dLbl>
            <c:dLbl>
              <c:idx val="14"/>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E5A-48A9-9198-FA29A2106B56}"/>
                </c:ext>
              </c:extLst>
            </c:dLbl>
            <c:dLbl>
              <c:idx val="15"/>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E5A-48A9-9198-FA29A2106B56}"/>
                </c:ext>
              </c:extLst>
            </c:dLbl>
            <c:dLbl>
              <c:idx val="16"/>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E5A-48A9-9198-FA29A2106B56}"/>
                </c:ext>
              </c:extLst>
            </c:dLbl>
            <c:dLbl>
              <c:idx val="17"/>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E5A-48A9-9198-FA29A2106B56}"/>
                </c:ext>
              </c:extLst>
            </c:dLbl>
            <c:dLbl>
              <c:idx val="18"/>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E5A-48A9-9198-FA29A2106B56}"/>
                </c:ext>
              </c:extLst>
            </c:dLbl>
            <c:dLbl>
              <c:idx val="19"/>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E5A-48A9-9198-FA29A2106B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81</c:v>
                </c:pt>
                <c:pt idx="1">
                  <c:v>74</c:v>
                </c:pt>
                <c:pt idx="2">
                  <c:v>68</c:v>
                </c:pt>
                <c:pt idx="3">
                  <c:v>79</c:v>
                </c:pt>
                <c:pt idx="4">
                  <c:v>71</c:v>
                </c:pt>
                <c:pt idx="5">
                  <c:v>85</c:v>
                </c:pt>
                <c:pt idx="6">
                  <c:v>67</c:v>
                </c:pt>
                <c:pt idx="7">
                  <c:v>91</c:v>
                </c:pt>
                <c:pt idx="8">
                  <c:v>75</c:v>
                </c:pt>
                <c:pt idx="9">
                  <c:v>82</c:v>
                </c:pt>
                <c:pt idx="10">
                  <c:v>68</c:v>
                </c:pt>
                <c:pt idx="11">
                  <c:v>86</c:v>
                </c:pt>
                <c:pt idx="12">
                  <c:v>70</c:v>
                </c:pt>
                <c:pt idx="13">
                  <c:v>56.999999999999993</c:v>
                </c:pt>
                <c:pt idx="14">
                  <c:v>84</c:v>
                </c:pt>
                <c:pt idx="15">
                  <c:v>46</c:v>
                </c:pt>
                <c:pt idx="16">
                  <c:v>75</c:v>
                </c:pt>
                <c:pt idx="17">
                  <c:v>83</c:v>
                </c:pt>
                <c:pt idx="18">
                  <c:v>76</c:v>
                </c:pt>
                <c:pt idx="19">
                  <c:v>92</c:v>
                </c:pt>
              </c:numCache>
            </c:numRef>
          </c:val>
          <c:extLst>
            <c:ext xmlns:c16="http://schemas.microsoft.com/office/drawing/2014/chart" uri="{C3380CC4-5D6E-409C-BE32-E72D297353CC}">
              <c16:uniqueId val="{00000024-1E5A-48A9-9198-FA29A2106B56}"/>
            </c:ext>
          </c:extLst>
        </c:ser>
        <c:ser>
          <c:idx val="2"/>
          <c:order val="2"/>
          <c:spPr>
            <a:solidFill>
              <a:srgbClr val="837F7F"/>
            </a:solidFill>
            <a:ln w="19050" cap="flat" algn="ctr">
              <a:solidFill>
                <a:schemeClr val="bg1"/>
              </a:solidFill>
              <a:prstDash val="solid"/>
            </a:ln>
          </c:spPr>
          <c:invertIfNegative val="0"/>
          <c:dLbls>
            <c:dLbl>
              <c:idx val="0"/>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E5A-48A9-9198-FA29A2106B56}"/>
                </c:ext>
              </c:extLst>
            </c:dLbl>
            <c:dLbl>
              <c:idx val="1"/>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E5A-48A9-9198-FA29A2106B56}"/>
                </c:ext>
              </c:extLst>
            </c:dLbl>
            <c:dLbl>
              <c:idx val="2"/>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1E5A-48A9-9198-FA29A2106B56}"/>
                </c:ext>
              </c:extLst>
            </c:dLbl>
            <c:dLbl>
              <c:idx val="3"/>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1E5A-48A9-9198-FA29A2106B56}"/>
                </c:ext>
              </c:extLst>
            </c:dLbl>
            <c:dLbl>
              <c:idx val="4"/>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1E5A-48A9-9198-FA29A2106B56}"/>
                </c:ext>
              </c:extLst>
            </c:dLbl>
            <c:dLbl>
              <c:idx val="5"/>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1E5A-48A9-9198-FA29A2106B56}"/>
                </c:ext>
              </c:extLst>
            </c:dLbl>
            <c:dLbl>
              <c:idx val="6"/>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1E5A-48A9-9198-FA29A2106B56}"/>
                </c:ext>
              </c:extLst>
            </c:dLbl>
            <c:dLbl>
              <c:idx val="7"/>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1E5A-48A9-9198-FA29A2106B56}"/>
                </c:ext>
              </c:extLst>
            </c:dLbl>
            <c:dLbl>
              <c:idx val="8"/>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1E5A-48A9-9198-FA29A2106B56}"/>
                </c:ext>
              </c:extLst>
            </c:dLbl>
            <c:dLbl>
              <c:idx val="9"/>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1E5A-48A9-9198-FA29A2106B56}"/>
                </c:ext>
              </c:extLst>
            </c:dLbl>
            <c:dLbl>
              <c:idx val="1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1E5A-48A9-9198-FA29A2106B56}"/>
                </c:ext>
              </c:extLst>
            </c:dLbl>
            <c:dLbl>
              <c:idx val="11"/>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1E5A-48A9-9198-FA29A2106B56}"/>
                </c:ext>
              </c:extLst>
            </c:dLbl>
            <c:dLbl>
              <c:idx val="12"/>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1E5A-48A9-9198-FA29A2106B56}"/>
                </c:ext>
              </c:extLst>
            </c:dLbl>
            <c:dLbl>
              <c:idx val="13"/>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1E5A-48A9-9198-FA29A2106B56}"/>
                </c:ext>
              </c:extLst>
            </c:dLbl>
            <c:dLbl>
              <c:idx val="14"/>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1E5A-48A9-9198-FA29A2106B56}"/>
                </c:ext>
              </c:extLst>
            </c:dLbl>
            <c:dLbl>
              <c:idx val="15"/>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1E5A-48A9-9198-FA29A2106B56}"/>
                </c:ext>
              </c:extLst>
            </c:dLbl>
            <c:dLbl>
              <c:idx val="16"/>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1E5A-48A9-9198-FA29A2106B56}"/>
                </c:ext>
              </c:extLst>
            </c:dLbl>
            <c:dLbl>
              <c:idx val="17"/>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1E5A-48A9-9198-FA29A2106B56}"/>
                </c:ext>
              </c:extLst>
            </c:dLbl>
            <c:dLbl>
              <c:idx val="18"/>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1E5A-48A9-9198-FA29A2106B56}"/>
                </c:ext>
              </c:extLst>
            </c:dLbl>
            <c:dLbl>
              <c:idx val="19"/>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1E5A-48A9-9198-FA29A2106B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T$3</c:f>
              <c:numCache>
                <c:formatCode>General</c:formatCode>
                <c:ptCount val="20"/>
                <c:pt idx="0">
                  <c:v>78</c:v>
                </c:pt>
                <c:pt idx="1">
                  <c:v>75</c:v>
                </c:pt>
                <c:pt idx="2">
                  <c:v>72</c:v>
                </c:pt>
                <c:pt idx="3">
                  <c:v>82</c:v>
                </c:pt>
                <c:pt idx="4">
                  <c:v>73</c:v>
                </c:pt>
                <c:pt idx="5">
                  <c:v>85</c:v>
                </c:pt>
                <c:pt idx="6">
                  <c:v>68</c:v>
                </c:pt>
                <c:pt idx="7">
                  <c:v>93</c:v>
                </c:pt>
                <c:pt idx="8">
                  <c:v>75</c:v>
                </c:pt>
                <c:pt idx="9">
                  <c:v>85</c:v>
                </c:pt>
                <c:pt idx="10">
                  <c:v>75</c:v>
                </c:pt>
                <c:pt idx="11">
                  <c:v>83</c:v>
                </c:pt>
                <c:pt idx="12">
                  <c:v>69</c:v>
                </c:pt>
                <c:pt idx="13">
                  <c:v>52</c:v>
                </c:pt>
                <c:pt idx="14">
                  <c:v>86</c:v>
                </c:pt>
                <c:pt idx="15">
                  <c:v>52</c:v>
                </c:pt>
                <c:pt idx="16">
                  <c:v>76</c:v>
                </c:pt>
                <c:pt idx="17">
                  <c:v>88</c:v>
                </c:pt>
                <c:pt idx="18">
                  <c:v>79</c:v>
                </c:pt>
                <c:pt idx="19">
                  <c:v>94</c:v>
                </c:pt>
              </c:numCache>
            </c:numRef>
          </c:val>
          <c:extLst>
            <c:ext xmlns:c16="http://schemas.microsoft.com/office/drawing/2014/chart" uri="{C3380CC4-5D6E-409C-BE32-E72D297353CC}">
              <c16:uniqueId val="{00000039-1E5A-48A9-9198-FA29A2106B56}"/>
            </c:ext>
          </c:extLst>
        </c:ser>
        <c:dLbls>
          <c:showLegendKey val="0"/>
          <c:showVal val="0"/>
          <c:showCatName val="0"/>
          <c:showSerName val="0"/>
          <c:showPercent val="0"/>
          <c:showBubbleSize val="0"/>
        </c:dLbls>
        <c:gapWidth val="60"/>
        <c:axId val="1200951872"/>
        <c:axId val="1"/>
      </c:barChart>
      <c:catAx>
        <c:axId val="1200951872"/>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000" kern="1200">
                <a:solidFill>
                  <a:schemeClr val="tx1"/>
                </a:solidFill>
                <a:latin typeface="+mn-lt"/>
                <a:ea typeface="+mn-ea"/>
                <a:cs typeface="+mn-cs"/>
              </a:defRPr>
            </a:pPr>
            <a:endParaRPr lang="en-US"/>
          </a:p>
        </c:txPr>
        <c:crossAx val="1200951872"/>
        <c:crosses val="min"/>
        <c:crossBetween val="between"/>
        <c:majorUnit val="2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56153107422143E-2"/>
          <c:y val="2.9937228392081121E-2"/>
          <c:w val="0.9565098093016875"/>
          <c:h val="0.94012554321583774"/>
        </c:manualLayout>
      </c:layout>
      <c:barChart>
        <c:barDir val="col"/>
        <c:grouping val="clustered"/>
        <c:varyColors val="0"/>
        <c:ser>
          <c:idx val="0"/>
          <c:order val="0"/>
          <c:spPr>
            <a:solidFill>
              <a:srgbClr val="6E6F73"/>
            </a:solidFill>
            <a:ln w="19050"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448-4853-89E9-381017E38B97}"/>
                </c:ext>
              </c:extLst>
            </c:dLbl>
            <c:dLbl>
              <c:idx val="4"/>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448-4853-89E9-381017E38B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8</c:v>
                </c:pt>
                <c:pt idx="4">
                  <c:v>76</c:v>
                </c:pt>
              </c:numCache>
            </c:numRef>
          </c:val>
          <c:extLst>
            <c:ext xmlns:c16="http://schemas.microsoft.com/office/drawing/2014/chart" uri="{C3380CC4-5D6E-409C-BE32-E72D297353CC}">
              <c16:uniqueId val="{00000002-5448-4853-89E9-381017E38B97}"/>
            </c:ext>
          </c:extLst>
        </c:ser>
        <c:ser>
          <c:idx val="1"/>
          <c:order val="1"/>
          <c:spPr>
            <a:solidFill>
              <a:srgbClr val="C8C8C8"/>
            </a:solidFill>
            <a:ln w="19050"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448-4853-89E9-381017E38B97}"/>
                </c:ext>
              </c:extLst>
            </c:dLbl>
            <c:dLbl>
              <c:idx val="1"/>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448-4853-89E9-381017E38B97}"/>
                </c:ext>
              </c:extLst>
            </c:dLbl>
            <c:dLbl>
              <c:idx val="2"/>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448-4853-89E9-381017E38B97}"/>
                </c:ext>
              </c:extLst>
            </c:dLbl>
            <c:dLbl>
              <c:idx val="3"/>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448-4853-89E9-381017E38B97}"/>
                </c:ext>
              </c:extLst>
            </c:dLbl>
            <c:dLbl>
              <c:idx val="4"/>
              <c:layout>
                <c:manualLayout>
                  <c:x val="0"/>
                  <c:y val="9.6571704490584255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448-4853-89E9-381017E38B97}"/>
                </c:ext>
              </c:extLst>
            </c:dLbl>
            <c:dLbl>
              <c:idx val="5"/>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448-4853-89E9-381017E38B97}"/>
                </c:ext>
              </c:extLst>
            </c:dLbl>
            <c:dLbl>
              <c:idx val="6"/>
              <c:layout>
                <c:manualLayout>
                  <c:x val="0"/>
                  <c:y val="4.828585224529212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448-4853-89E9-381017E38B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75</c:v>
                </c:pt>
                <c:pt idx="1">
                  <c:v>67</c:v>
                </c:pt>
                <c:pt idx="2">
                  <c:v>61</c:v>
                </c:pt>
                <c:pt idx="3">
                  <c:v>84</c:v>
                </c:pt>
                <c:pt idx="4">
                  <c:v>79</c:v>
                </c:pt>
                <c:pt idx="5">
                  <c:v>78</c:v>
                </c:pt>
                <c:pt idx="6">
                  <c:v>70</c:v>
                </c:pt>
              </c:numCache>
            </c:numRef>
          </c:val>
          <c:extLst>
            <c:ext xmlns:c16="http://schemas.microsoft.com/office/drawing/2014/chart" uri="{C3380CC4-5D6E-409C-BE32-E72D297353CC}">
              <c16:uniqueId val="{0000000A-5448-4853-89E9-381017E38B97}"/>
            </c:ext>
          </c:extLst>
        </c:ser>
        <c:ser>
          <c:idx val="2"/>
          <c:order val="2"/>
          <c:spPr>
            <a:solidFill>
              <a:srgbClr val="837F7F"/>
            </a:solidFill>
            <a:ln w="19050" algn="ctr">
              <a:solidFill>
                <a:schemeClr val="bg1"/>
              </a:solidFill>
              <a:prstDash val="solid"/>
            </a:ln>
          </c:spPr>
          <c:invertIfNegative val="0"/>
          <c:dLbls>
            <c:dLbl>
              <c:idx val="0"/>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448-4853-89E9-381017E38B97}"/>
                </c:ext>
              </c:extLst>
            </c:dLbl>
            <c:dLbl>
              <c:idx val="1"/>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448-4853-89E9-381017E38B97}"/>
                </c:ext>
              </c:extLst>
            </c:dLbl>
            <c:dLbl>
              <c:idx val="2"/>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448-4853-89E9-381017E38B97}"/>
                </c:ext>
              </c:extLst>
            </c:dLbl>
            <c:dLbl>
              <c:idx val="3"/>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448-4853-89E9-381017E38B97}"/>
                </c:ext>
              </c:extLst>
            </c:dLbl>
            <c:dLbl>
              <c:idx val="4"/>
              <c:layout>
                <c:manualLayout>
                  <c:x val="0"/>
                  <c:y val="4.828585224529212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448-4853-89E9-381017E38B97}"/>
                </c:ext>
              </c:extLst>
            </c:dLbl>
            <c:dLbl>
              <c:idx val="5"/>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448-4853-89E9-381017E38B97}"/>
                </c:ext>
              </c:extLst>
            </c:dLbl>
            <c:dLbl>
              <c:idx val="6"/>
              <c:layout>
                <c:manualLayout>
                  <c:x val="0"/>
                  <c:y val="9.657170449058425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448-4853-89E9-381017E38B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65</c:v>
                </c:pt>
                <c:pt idx="1">
                  <c:v>64</c:v>
                </c:pt>
                <c:pt idx="2">
                  <c:v>61</c:v>
                </c:pt>
                <c:pt idx="3">
                  <c:v>86</c:v>
                </c:pt>
                <c:pt idx="4">
                  <c:v>82</c:v>
                </c:pt>
                <c:pt idx="5">
                  <c:v>80</c:v>
                </c:pt>
                <c:pt idx="6">
                  <c:v>75</c:v>
                </c:pt>
              </c:numCache>
            </c:numRef>
          </c:val>
          <c:extLst>
            <c:ext xmlns:c16="http://schemas.microsoft.com/office/drawing/2014/chart" uri="{C3380CC4-5D6E-409C-BE32-E72D297353CC}">
              <c16:uniqueId val="{00000012-5448-4853-89E9-381017E38B97}"/>
            </c:ext>
          </c:extLst>
        </c:ser>
        <c:dLbls>
          <c:showLegendKey val="0"/>
          <c:showVal val="0"/>
          <c:showCatName val="0"/>
          <c:showSerName val="0"/>
          <c:showPercent val="0"/>
          <c:showBubbleSize val="0"/>
        </c:dLbls>
        <c:gapWidth val="60"/>
        <c:axId val="829600480"/>
        <c:axId val="1"/>
      </c:barChart>
      <c:catAx>
        <c:axId val="82960048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000" kern="1200">
                <a:solidFill>
                  <a:schemeClr val="tx1"/>
                </a:solidFill>
                <a:latin typeface="+mn-lt"/>
                <a:ea typeface="+mn-ea"/>
                <a:cs typeface="+mn-cs"/>
              </a:defRPr>
            </a:pPr>
            <a:endParaRPr lang="en-US"/>
          </a:p>
        </c:txPr>
        <c:crossAx val="829600480"/>
        <c:crosses val="min"/>
        <c:crossBetween val="between"/>
        <c:majorUnit val="2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F34-4EB6-A84C-8BEC42D0A19D}"/>
              </c:ext>
            </c:extLst>
          </c:dPt>
          <c:dPt>
            <c:idx val="1"/>
            <c:bubble3D val="0"/>
            <c:spPr>
              <a:solidFill>
                <a:schemeClr val="accent2"/>
              </a:solidFill>
              <a:ln>
                <a:noFill/>
              </a:ln>
            </c:spPr>
            <c:extLst>
              <c:ext xmlns:c16="http://schemas.microsoft.com/office/drawing/2014/chart" uri="{C3380CC4-5D6E-409C-BE32-E72D297353CC}">
                <c16:uniqueId val="{00000001-DF34-4EB6-A84C-8BEC42D0A19D}"/>
              </c:ext>
            </c:extLst>
          </c:dPt>
          <c:dPt>
            <c:idx val="2"/>
            <c:bubble3D val="0"/>
            <c:spPr>
              <a:solidFill>
                <a:srgbClr val="C8C8C8"/>
              </a:solidFill>
              <a:ln>
                <a:noFill/>
              </a:ln>
            </c:spPr>
            <c:extLst>
              <c:ext xmlns:c16="http://schemas.microsoft.com/office/drawing/2014/chart" uri="{C3380CC4-5D6E-409C-BE32-E72D297353CC}">
                <c16:uniqueId val="{00000002-DF34-4EB6-A84C-8BEC42D0A19D}"/>
              </c:ext>
            </c:extLst>
          </c:dPt>
          <c:dPt>
            <c:idx val="3"/>
            <c:bubble3D val="0"/>
            <c:spPr>
              <a:solidFill>
                <a:srgbClr val="ABA8B3"/>
              </a:solidFill>
              <a:ln>
                <a:noFill/>
              </a:ln>
            </c:spPr>
            <c:extLst>
              <c:ext xmlns:c16="http://schemas.microsoft.com/office/drawing/2014/chart" uri="{C3380CC4-5D6E-409C-BE32-E72D297353CC}">
                <c16:uniqueId val="{00000003-DF34-4EB6-A84C-8BEC42D0A19D}"/>
              </c:ext>
            </c:extLst>
          </c:dPt>
          <c:dPt>
            <c:idx val="4"/>
            <c:bubble3D val="0"/>
            <c:spPr>
              <a:solidFill>
                <a:srgbClr val="837F7F"/>
              </a:solidFill>
              <a:ln>
                <a:noFill/>
              </a:ln>
            </c:spPr>
            <c:extLst>
              <c:ext xmlns:c16="http://schemas.microsoft.com/office/drawing/2014/chart" uri="{C3380CC4-5D6E-409C-BE32-E72D297353CC}">
                <c16:uniqueId val="{00000004-DF34-4EB6-A84C-8BEC42D0A19D}"/>
              </c:ext>
            </c:extLst>
          </c:dPt>
          <c:val>
            <c:numRef>
              <c:f>Sheet1!$A$1:$A$5</c:f>
              <c:numCache>
                <c:formatCode>General</c:formatCode>
                <c:ptCount val="5"/>
                <c:pt idx="0">
                  <c:v>31.269999999999996</c:v>
                </c:pt>
                <c:pt idx="1">
                  <c:v>53.73</c:v>
                </c:pt>
                <c:pt idx="2">
                  <c:v>10.7</c:v>
                </c:pt>
                <c:pt idx="3">
                  <c:v>3.54</c:v>
                </c:pt>
                <c:pt idx="4">
                  <c:v>0.75</c:v>
                </c:pt>
              </c:numCache>
            </c:numRef>
          </c:val>
          <c:extLst>
            <c:ext xmlns:c16="http://schemas.microsoft.com/office/drawing/2014/chart" uri="{C3380CC4-5D6E-409C-BE32-E72D297353CC}">
              <c16:uniqueId val="{00000005-DF34-4EB6-A84C-8BEC42D0A19D}"/>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1673-4533-B5A8-066B12F4D0FB}"/>
              </c:ext>
            </c:extLst>
          </c:dPt>
          <c:dPt>
            <c:idx val="1"/>
            <c:bubble3D val="0"/>
            <c:spPr>
              <a:solidFill>
                <a:schemeClr val="accent2"/>
              </a:solidFill>
              <a:ln>
                <a:noFill/>
              </a:ln>
            </c:spPr>
            <c:extLst>
              <c:ext xmlns:c16="http://schemas.microsoft.com/office/drawing/2014/chart" uri="{C3380CC4-5D6E-409C-BE32-E72D297353CC}">
                <c16:uniqueId val="{00000001-1673-4533-B5A8-066B12F4D0FB}"/>
              </c:ext>
            </c:extLst>
          </c:dPt>
          <c:dPt>
            <c:idx val="2"/>
            <c:bubble3D val="0"/>
            <c:spPr>
              <a:solidFill>
                <a:srgbClr val="C8C8C8"/>
              </a:solidFill>
              <a:ln>
                <a:noFill/>
              </a:ln>
            </c:spPr>
            <c:extLst>
              <c:ext xmlns:c16="http://schemas.microsoft.com/office/drawing/2014/chart" uri="{C3380CC4-5D6E-409C-BE32-E72D297353CC}">
                <c16:uniqueId val="{00000002-1673-4533-B5A8-066B12F4D0FB}"/>
              </c:ext>
            </c:extLst>
          </c:dPt>
          <c:dPt>
            <c:idx val="3"/>
            <c:bubble3D val="0"/>
            <c:spPr>
              <a:solidFill>
                <a:srgbClr val="ABA8B3"/>
              </a:solidFill>
              <a:ln>
                <a:noFill/>
              </a:ln>
            </c:spPr>
            <c:extLst>
              <c:ext xmlns:c16="http://schemas.microsoft.com/office/drawing/2014/chart" uri="{C3380CC4-5D6E-409C-BE32-E72D297353CC}">
                <c16:uniqueId val="{00000003-1673-4533-B5A8-066B12F4D0FB}"/>
              </c:ext>
            </c:extLst>
          </c:dPt>
          <c:dPt>
            <c:idx val="4"/>
            <c:bubble3D val="0"/>
            <c:spPr>
              <a:solidFill>
                <a:srgbClr val="837F7F"/>
              </a:solidFill>
              <a:ln>
                <a:noFill/>
              </a:ln>
            </c:spPr>
            <c:extLst>
              <c:ext xmlns:c16="http://schemas.microsoft.com/office/drawing/2014/chart" uri="{C3380CC4-5D6E-409C-BE32-E72D297353CC}">
                <c16:uniqueId val="{00000004-1673-4533-B5A8-066B12F4D0FB}"/>
              </c:ext>
            </c:extLst>
          </c:dPt>
          <c:val>
            <c:numRef>
              <c:f>Sheet1!$A$1:$A$5</c:f>
              <c:numCache>
                <c:formatCode>General</c:formatCode>
                <c:ptCount val="5"/>
                <c:pt idx="0">
                  <c:v>24.959999999999997</c:v>
                </c:pt>
                <c:pt idx="1">
                  <c:v>53.83</c:v>
                </c:pt>
                <c:pt idx="2">
                  <c:v>13.87</c:v>
                </c:pt>
                <c:pt idx="3">
                  <c:v>6.04</c:v>
                </c:pt>
                <c:pt idx="4">
                  <c:v>1.31</c:v>
                </c:pt>
              </c:numCache>
            </c:numRef>
          </c:val>
          <c:extLst>
            <c:ext xmlns:c16="http://schemas.microsoft.com/office/drawing/2014/chart" uri="{C3380CC4-5D6E-409C-BE32-E72D297353CC}">
              <c16:uniqueId val="{00000005-1673-4533-B5A8-066B12F4D0FB}"/>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8AAF-4D4C-BDBB-DC9E2A88224E}"/>
              </c:ext>
            </c:extLst>
          </c:dPt>
          <c:dPt>
            <c:idx val="1"/>
            <c:bubble3D val="0"/>
            <c:spPr>
              <a:solidFill>
                <a:schemeClr val="accent2"/>
              </a:solidFill>
              <a:ln>
                <a:noFill/>
              </a:ln>
            </c:spPr>
            <c:extLst>
              <c:ext xmlns:c16="http://schemas.microsoft.com/office/drawing/2014/chart" uri="{C3380CC4-5D6E-409C-BE32-E72D297353CC}">
                <c16:uniqueId val="{00000001-8AAF-4D4C-BDBB-DC9E2A88224E}"/>
              </c:ext>
            </c:extLst>
          </c:dPt>
          <c:dPt>
            <c:idx val="2"/>
            <c:bubble3D val="0"/>
            <c:spPr>
              <a:solidFill>
                <a:srgbClr val="C8C8C8"/>
              </a:solidFill>
              <a:ln>
                <a:noFill/>
              </a:ln>
            </c:spPr>
            <c:extLst>
              <c:ext xmlns:c16="http://schemas.microsoft.com/office/drawing/2014/chart" uri="{C3380CC4-5D6E-409C-BE32-E72D297353CC}">
                <c16:uniqueId val="{00000002-8AAF-4D4C-BDBB-DC9E2A88224E}"/>
              </c:ext>
            </c:extLst>
          </c:dPt>
          <c:dPt>
            <c:idx val="3"/>
            <c:bubble3D val="0"/>
            <c:spPr>
              <a:solidFill>
                <a:srgbClr val="ABA8B3"/>
              </a:solidFill>
              <a:ln>
                <a:noFill/>
              </a:ln>
            </c:spPr>
            <c:extLst>
              <c:ext xmlns:c16="http://schemas.microsoft.com/office/drawing/2014/chart" uri="{C3380CC4-5D6E-409C-BE32-E72D297353CC}">
                <c16:uniqueId val="{00000003-8AAF-4D4C-BDBB-DC9E2A88224E}"/>
              </c:ext>
            </c:extLst>
          </c:dPt>
          <c:dPt>
            <c:idx val="4"/>
            <c:bubble3D val="0"/>
            <c:spPr>
              <a:solidFill>
                <a:srgbClr val="837F7F"/>
              </a:solidFill>
              <a:ln>
                <a:noFill/>
              </a:ln>
            </c:spPr>
            <c:extLst>
              <c:ext xmlns:c16="http://schemas.microsoft.com/office/drawing/2014/chart" uri="{C3380CC4-5D6E-409C-BE32-E72D297353CC}">
                <c16:uniqueId val="{00000004-8AAF-4D4C-BDBB-DC9E2A88224E}"/>
              </c:ext>
            </c:extLst>
          </c:dPt>
          <c:val>
            <c:numRef>
              <c:f>Sheet1!$A$1:$A$5</c:f>
              <c:numCache>
                <c:formatCode>General</c:formatCode>
                <c:ptCount val="5"/>
                <c:pt idx="0">
                  <c:v>53.64</c:v>
                </c:pt>
                <c:pt idx="1">
                  <c:v>36.69</c:v>
                </c:pt>
                <c:pt idx="2">
                  <c:v>7.9799999999999995</c:v>
                </c:pt>
                <c:pt idx="3">
                  <c:v>1.4000000000000001</c:v>
                </c:pt>
                <c:pt idx="4">
                  <c:v>0.27999999999999997</c:v>
                </c:pt>
              </c:numCache>
            </c:numRef>
          </c:val>
          <c:extLst>
            <c:ext xmlns:c16="http://schemas.microsoft.com/office/drawing/2014/chart" uri="{C3380CC4-5D6E-409C-BE32-E72D297353CC}">
              <c16:uniqueId val="{00000005-8AAF-4D4C-BDBB-DC9E2A88224E}"/>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840947546531303E-2"/>
          <c:y val="2.9461756373937678E-2"/>
          <c:w val="0.93683023124647491"/>
          <c:h val="0.94107648725212467"/>
        </c:manualLayout>
      </c:layout>
      <c:pieChart>
        <c:varyColors val="0"/>
        <c:ser>
          <c:idx val="0"/>
          <c:order val="0"/>
          <c:dPt>
            <c:idx val="0"/>
            <c:bubble3D val="0"/>
            <c:spPr>
              <a:solidFill>
                <a:srgbClr val="295E7E"/>
              </a:solidFill>
              <a:ln>
                <a:noFill/>
              </a:ln>
            </c:spPr>
            <c:extLst>
              <c:ext xmlns:c16="http://schemas.microsoft.com/office/drawing/2014/chart" uri="{C3380CC4-5D6E-409C-BE32-E72D297353CC}">
                <c16:uniqueId val="{00000000-C7F7-4380-90B9-B936EA19DD0E}"/>
              </c:ext>
            </c:extLst>
          </c:dPt>
          <c:dPt>
            <c:idx val="1"/>
            <c:bubble3D val="0"/>
            <c:spPr>
              <a:solidFill>
                <a:srgbClr val="2E3558"/>
              </a:solidFill>
              <a:ln>
                <a:noFill/>
              </a:ln>
            </c:spPr>
            <c:extLst>
              <c:ext xmlns:c16="http://schemas.microsoft.com/office/drawing/2014/chart" uri="{C3380CC4-5D6E-409C-BE32-E72D297353CC}">
                <c16:uniqueId val="{00000001-C7F7-4380-90B9-B936EA19DD0E}"/>
              </c:ext>
            </c:extLst>
          </c:dPt>
          <c:dLbls>
            <c:dLbl>
              <c:idx val="1"/>
              <c:layout>
                <c:manualLayout>
                  <c:x val="-0.17202481669486747"/>
                  <c:y val="2.0396600566572238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F7-4380-90B9-B936EA19DD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46.19</c:v>
                </c:pt>
                <c:pt idx="1">
                  <c:v>53.81</c:v>
                </c:pt>
              </c:numCache>
            </c:numRef>
          </c:val>
          <c:extLst>
            <c:ext xmlns:c16="http://schemas.microsoft.com/office/drawing/2014/chart" uri="{C3380CC4-5D6E-409C-BE32-E72D297353CC}">
              <c16:uniqueId val="{00000002-C7F7-4380-90B9-B936EA19DD0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80327868852458E-2"/>
          <c:y val="5.4803352675693098E-2"/>
          <c:w val="0.90163934426229508"/>
          <c:h val="0.81173436492585427"/>
        </c:manualLayout>
      </c:layout>
      <c:barChart>
        <c:barDir val="bar"/>
        <c:grouping val="stacked"/>
        <c:varyColors val="0"/>
        <c:ser>
          <c:idx val="0"/>
          <c:order val="0"/>
          <c:spPr>
            <a:solidFill>
              <a:schemeClr val="tx2"/>
            </a:solidFill>
            <a:ln>
              <a:noFill/>
            </a:ln>
          </c:spPr>
          <c:invertIfNegative val="0"/>
          <c:dLbls>
            <c:dLbl>
              <c:idx val="0"/>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2E4-42AF-A8D1-9301FC42ADAA}"/>
                </c:ext>
              </c:extLst>
            </c:dLbl>
            <c:dLbl>
              <c:idx val="1"/>
              <c:layout>
                <c:manualLayout>
                  <c:x val="-2.9274004683840749E-4"/>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2E4-42AF-A8D1-9301FC42ADAA}"/>
                </c:ext>
              </c:extLst>
            </c:dLbl>
            <c:dLbl>
              <c:idx val="2"/>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2E4-42AF-A8D1-9301FC42ADAA}"/>
                </c:ext>
              </c:extLst>
            </c:dLbl>
            <c:dLbl>
              <c:idx val="3"/>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2E4-42AF-A8D1-9301FC42AD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9.64</c:v>
                </c:pt>
                <c:pt idx="1">
                  <c:v>40.489999999999995</c:v>
                </c:pt>
                <c:pt idx="2">
                  <c:v>30.470000000000002</c:v>
                </c:pt>
                <c:pt idx="3">
                  <c:v>21.709999999999997</c:v>
                </c:pt>
              </c:numCache>
            </c:numRef>
          </c:val>
          <c:extLst>
            <c:ext xmlns:c16="http://schemas.microsoft.com/office/drawing/2014/chart" uri="{C3380CC4-5D6E-409C-BE32-E72D297353CC}">
              <c16:uniqueId val="{00000004-42E4-42AF-A8D1-9301FC42ADAA}"/>
            </c:ext>
          </c:extLst>
        </c:ser>
        <c:ser>
          <c:idx val="1"/>
          <c:order val="1"/>
          <c:spPr>
            <a:solidFill>
              <a:schemeClr val="accent2"/>
            </a:solidFill>
            <a:ln>
              <a:noFill/>
            </a:ln>
          </c:spPr>
          <c:invertIfNegative val="0"/>
          <c:dLbls>
            <c:dLbl>
              <c:idx val="0"/>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2E4-42AF-A8D1-9301FC42ADAA}"/>
                </c:ext>
              </c:extLst>
            </c:dLbl>
            <c:dLbl>
              <c:idx val="1"/>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2E4-42AF-A8D1-9301FC42ADAA}"/>
                </c:ext>
              </c:extLst>
            </c:dLbl>
            <c:dLbl>
              <c:idx val="2"/>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2E4-42AF-A8D1-9301FC42ADAA}"/>
                </c:ext>
              </c:extLst>
            </c:dLbl>
            <c:dLbl>
              <c:idx val="3"/>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2E4-42AF-A8D1-9301FC42AD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7.11</c:v>
                </c:pt>
                <c:pt idx="1">
                  <c:v>43.230000000000004</c:v>
                </c:pt>
                <c:pt idx="2">
                  <c:v>41.86</c:v>
                </c:pt>
                <c:pt idx="3">
                  <c:v>39.240000000000009</c:v>
                </c:pt>
              </c:numCache>
            </c:numRef>
          </c:val>
          <c:extLst>
            <c:ext xmlns:c16="http://schemas.microsoft.com/office/drawing/2014/chart" uri="{C3380CC4-5D6E-409C-BE32-E72D297353CC}">
              <c16:uniqueId val="{00000009-42E4-42AF-A8D1-9301FC42ADAA}"/>
            </c:ext>
          </c:extLst>
        </c:ser>
        <c:ser>
          <c:idx val="2"/>
          <c:order val="2"/>
          <c:spPr>
            <a:solidFill>
              <a:srgbClr val="C8C8C8"/>
            </a:solidFill>
            <a:ln>
              <a:noFill/>
            </a:ln>
          </c:spPr>
          <c:invertIfNegative val="0"/>
          <c:dLbls>
            <c:dLbl>
              <c:idx val="0"/>
              <c:layout>
                <c:manualLayout>
                  <c:x val="0"/>
                  <c:y val="-1.9342359767891683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2E4-42AF-A8D1-9301FC42ADAA}"/>
                </c:ext>
              </c:extLst>
            </c:dLbl>
            <c:dLbl>
              <c:idx val="1"/>
              <c:layout>
                <c:manualLayout>
                  <c:x val="0"/>
                  <c:y val="-1.934235976789168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2E4-42AF-A8D1-9301FC42ADAA}"/>
                </c:ext>
              </c:extLst>
            </c:dLbl>
            <c:dLbl>
              <c:idx val="2"/>
              <c:layout>
                <c:manualLayout>
                  <c:x val="-2.9274004683840749E-4"/>
                  <c:y val="-1.934235976789168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2E4-42AF-A8D1-9301FC42ADAA}"/>
                </c:ext>
              </c:extLst>
            </c:dLbl>
            <c:dLbl>
              <c:idx val="3"/>
              <c:layout>
                <c:manualLayout>
                  <c:x val="0"/>
                  <c:y val="-1.934235976789168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2E4-42AF-A8D1-9301FC42AD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4099999999999966</c:v>
                </c:pt>
                <c:pt idx="1">
                  <c:v>10.420000000000002</c:v>
                </c:pt>
                <c:pt idx="2">
                  <c:v>19.079999999999998</c:v>
                </c:pt>
                <c:pt idx="3">
                  <c:v>29.08</c:v>
                </c:pt>
              </c:numCache>
            </c:numRef>
          </c:val>
          <c:extLst>
            <c:ext xmlns:c16="http://schemas.microsoft.com/office/drawing/2014/chart" uri="{C3380CC4-5D6E-409C-BE32-E72D297353CC}">
              <c16:uniqueId val="{0000000E-42E4-42AF-A8D1-9301FC42ADAA}"/>
            </c:ext>
          </c:extLst>
        </c:ser>
        <c:ser>
          <c:idx val="3"/>
          <c:order val="3"/>
          <c:spPr>
            <a:solidFill>
              <a:srgbClr val="ABA8B3"/>
            </a:solidFill>
            <a:ln>
              <a:noFill/>
            </a:ln>
          </c:spPr>
          <c:invertIfNegative val="0"/>
          <c:dLbls>
            <c:dLbl>
              <c:idx val="0"/>
              <c:layout>
                <c:manualLayout>
                  <c:x val="-2.9274004683840749E-4"/>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2E4-42AF-A8D1-9301FC42ADAA}"/>
                </c:ext>
              </c:extLst>
            </c:dLbl>
            <c:dLbl>
              <c:idx val="1"/>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2E4-42AF-A8D1-9301FC42ADAA}"/>
                </c:ext>
              </c:extLst>
            </c:dLbl>
            <c:dLbl>
              <c:idx val="2"/>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2E4-42AF-A8D1-9301FC42ADAA}"/>
                </c:ext>
              </c:extLst>
            </c:dLbl>
            <c:dLbl>
              <c:idx val="3"/>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2E4-42AF-A8D1-9301FC42AD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3.8700000000000045</c:v>
                </c:pt>
                <c:pt idx="1">
                  <c:v>4.4099999999999966</c:v>
                </c:pt>
                <c:pt idx="2">
                  <c:v>6.6899999999999977</c:v>
                </c:pt>
                <c:pt idx="3">
                  <c:v>6.5799999999999983</c:v>
                </c:pt>
              </c:numCache>
            </c:numRef>
          </c:val>
          <c:extLst>
            <c:ext xmlns:c16="http://schemas.microsoft.com/office/drawing/2014/chart" uri="{C3380CC4-5D6E-409C-BE32-E72D297353CC}">
              <c16:uniqueId val="{00000013-42E4-42AF-A8D1-9301FC42ADAA}"/>
            </c:ext>
          </c:extLst>
        </c:ser>
        <c:ser>
          <c:idx val="4"/>
          <c:order val="4"/>
          <c:spPr>
            <a:solidFill>
              <a:srgbClr val="837F7F"/>
            </a:solidFill>
            <a:ln>
              <a:noFill/>
            </a:ln>
          </c:spPr>
          <c:invertIfNegative val="0"/>
          <c:dLbls>
            <c:dLbl>
              <c:idx val="0"/>
              <c:layout>
                <c:manualLayout>
                  <c:x val="-6.4402810304449651E-3"/>
                  <c:y val="0.110251450676982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2E4-42AF-A8D1-9301FC42ADAA}"/>
                </c:ext>
              </c:extLst>
            </c:dLbl>
            <c:dLbl>
              <c:idx val="2"/>
              <c:layout>
                <c:manualLayout>
                  <c:x val="-2.9274004683840749E-4"/>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2E4-42AF-A8D1-9301FC42ADAA}"/>
                </c:ext>
              </c:extLst>
            </c:dLbl>
            <c:dLbl>
              <c:idx val="3"/>
              <c:layout>
                <c:manualLayout>
                  <c:x val="0"/>
                  <c:y val="-1.934235976789168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2E4-42AF-A8D1-9301FC42AD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0.96999999999999886</c:v>
                </c:pt>
                <c:pt idx="1">
                  <c:v>1.4500000000000028</c:v>
                </c:pt>
                <c:pt idx="2">
                  <c:v>1.9000000000000057</c:v>
                </c:pt>
                <c:pt idx="3">
                  <c:v>3.3900000000000006</c:v>
                </c:pt>
              </c:numCache>
            </c:numRef>
          </c:val>
          <c:extLst>
            <c:ext xmlns:c16="http://schemas.microsoft.com/office/drawing/2014/chart" uri="{C3380CC4-5D6E-409C-BE32-E72D297353CC}">
              <c16:uniqueId val="{00000017-42E4-42AF-A8D1-9301FC42ADAA}"/>
            </c:ext>
          </c:extLst>
        </c:ser>
        <c:dLbls>
          <c:showLegendKey val="0"/>
          <c:showVal val="0"/>
          <c:showCatName val="0"/>
          <c:showSerName val="0"/>
          <c:showPercent val="0"/>
          <c:showBubbleSize val="0"/>
        </c:dLbls>
        <c:gapWidth val="60"/>
        <c:overlap val="100"/>
        <c:axId val="2107398776"/>
        <c:axId val="1"/>
      </c:barChart>
      <c:catAx>
        <c:axId val="210739877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2107398776"/>
        <c:crosses val="max"/>
        <c:crossBetween val="between"/>
        <c:majorUnit val="2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798505822896065E-2"/>
          <c:y val="5.6304520222045996E-2"/>
          <c:w val="0.92177543397055595"/>
          <c:h val="0.88659793814432986"/>
        </c:manualLayout>
      </c:layout>
      <c:barChart>
        <c:barDir val="col"/>
        <c:grouping val="clustered"/>
        <c:varyColors val="0"/>
        <c:ser>
          <c:idx val="0"/>
          <c:order val="0"/>
          <c:spPr>
            <a:solidFill>
              <a:srgbClr val="008AC2"/>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8F-4723-85FB-9F9E0F974838}"/>
                </c:ext>
              </c:extLst>
            </c:dLbl>
            <c:dLbl>
              <c:idx val="1"/>
              <c:layout>
                <c:manualLayout>
                  <c:x val="0"/>
                  <c:y val="1.586042823156225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8F-4723-85FB-9F9E0F974838}"/>
                </c:ext>
              </c:extLst>
            </c:dLbl>
            <c:dLbl>
              <c:idx val="2"/>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8F-4723-85FB-9F9E0F9748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2.79</c:v>
                </c:pt>
                <c:pt idx="1">
                  <c:v>74.135000000000005</c:v>
                </c:pt>
                <c:pt idx="2">
                  <c:v>60.44</c:v>
                </c:pt>
              </c:numCache>
            </c:numRef>
          </c:val>
          <c:extLst>
            <c:ext xmlns:c16="http://schemas.microsoft.com/office/drawing/2014/chart" uri="{C3380CC4-5D6E-409C-BE32-E72D297353CC}">
              <c16:uniqueId val="{00000003-C68F-4723-85FB-9F9E0F974838}"/>
            </c:ext>
          </c:extLst>
        </c:ser>
        <c:ser>
          <c:idx val="1"/>
          <c:order val="1"/>
          <c:spPr>
            <a:solidFill>
              <a:srgbClr val="2BD5D9"/>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8F-4723-85FB-9F9E0F974838}"/>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8F-4723-85FB-9F9E0F974838}"/>
                </c:ext>
              </c:extLst>
            </c:dLbl>
            <c:dLbl>
              <c:idx val="2"/>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8F-4723-85FB-9F9E0F9748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8.09</c:v>
                </c:pt>
                <c:pt idx="1">
                  <c:v>65.63</c:v>
                </c:pt>
                <c:pt idx="2">
                  <c:v>52.88</c:v>
                </c:pt>
              </c:numCache>
            </c:numRef>
          </c:val>
          <c:extLst>
            <c:ext xmlns:c16="http://schemas.microsoft.com/office/drawing/2014/chart" uri="{C3380CC4-5D6E-409C-BE32-E72D297353CC}">
              <c16:uniqueId val="{00000007-C68F-4723-85FB-9F9E0F974838}"/>
            </c:ext>
          </c:extLst>
        </c:ser>
        <c:ser>
          <c:idx val="2"/>
          <c:order val="2"/>
          <c:spPr>
            <a:solidFill>
              <a:srgbClr val="6E6F73"/>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8F-4723-85FB-9F9E0F974838}"/>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8F-4723-85FB-9F9E0F974838}"/>
                </c:ext>
              </c:extLst>
            </c:dLbl>
            <c:dLbl>
              <c:idx val="2"/>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8F-4723-85FB-9F9E0F974838}"/>
                </c:ext>
              </c:extLst>
            </c:dLbl>
            <c:dLbl>
              <c:idx val="3"/>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68F-4723-85FB-9F9E0F9748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2.59</c:v>
                </c:pt>
                <c:pt idx="1">
                  <c:v>77.430000000000007</c:v>
                </c:pt>
                <c:pt idx="2">
                  <c:v>62.23</c:v>
                </c:pt>
                <c:pt idx="3">
                  <c:v>65.13</c:v>
                </c:pt>
              </c:numCache>
            </c:numRef>
          </c:val>
          <c:extLst>
            <c:ext xmlns:c16="http://schemas.microsoft.com/office/drawing/2014/chart" uri="{C3380CC4-5D6E-409C-BE32-E72D297353CC}">
              <c16:uniqueId val="{0000000C-C68F-4723-85FB-9F9E0F974838}"/>
            </c:ext>
          </c:extLst>
        </c:ser>
        <c:dLbls>
          <c:showLegendKey val="0"/>
          <c:showVal val="0"/>
          <c:showCatName val="0"/>
          <c:showSerName val="0"/>
          <c:showPercent val="0"/>
          <c:showBubbleSize val="0"/>
        </c:dLbls>
        <c:gapWidth val="146"/>
        <c:axId val="363497759"/>
        <c:axId val="1"/>
      </c:barChart>
      <c:catAx>
        <c:axId val="363497759"/>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363497759"/>
        <c:crosses val="min"/>
        <c:crossBetween val="between"/>
        <c:majorUnit val="5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798505822896065E-2"/>
          <c:y val="5.6304520222045996E-2"/>
          <c:w val="0.92177543397055595"/>
          <c:h val="0.88659793814432986"/>
        </c:manualLayout>
      </c:layout>
      <c:barChart>
        <c:barDir val="col"/>
        <c:grouping val="clustered"/>
        <c:varyColors val="0"/>
        <c:ser>
          <c:idx val="0"/>
          <c:order val="0"/>
          <c:spPr>
            <a:solidFill>
              <a:srgbClr val="ABA8B3"/>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05C-48BA-B23F-B981A371B832}"/>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05C-48BA-B23F-B981A371B8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90.66</c:v>
                </c:pt>
                <c:pt idx="1">
                  <c:v>88.92</c:v>
                </c:pt>
              </c:numCache>
            </c:numRef>
          </c:val>
          <c:extLst>
            <c:ext xmlns:c16="http://schemas.microsoft.com/office/drawing/2014/chart" uri="{C3380CC4-5D6E-409C-BE32-E72D297353CC}">
              <c16:uniqueId val="{00000002-A05C-48BA-B23F-B981A371B832}"/>
            </c:ext>
          </c:extLst>
        </c:ser>
        <c:ser>
          <c:idx val="1"/>
          <c:order val="1"/>
          <c:spPr>
            <a:solidFill>
              <a:srgbClr val="C8C8C8"/>
            </a:solidFill>
            <a:ln>
              <a:noFill/>
            </a:ln>
          </c:spPr>
          <c:invertIfNegative val="0"/>
          <c:dLbls>
            <c:dLbl>
              <c:idx val="0"/>
              <c:layout>
                <c:manualLayout>
                  <c:x val="0"/>
                  <c:y val="2.379064234734337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05C-48BA-B23F-B981A371B832}"/>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05C-48BA-B23F-B981A371B8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90.85</c:v>
                </c:pt>
                <c:pt idx="1">
                  <c:v>87.48</c:v>
                </c:pt>
              </c:numCache>
            </c:numRef>
          </c:val>
          <c:extLst>
            <c:ext xmlns:c16="http://schemas.microsoft.com/office/drawing/2014/chart" uri="{C3380CC4-5D6E-409C-BE32-E72D297353CC}">
              <c16:uniqueId val="{00000005-A05C-48BA-B23F-B981A371B832}"/>
            </c:ext>
          </c:extLst>
        </c:ser>
        <c:ser>
          <c:idx val="2"/>
          <c:order val="2"/>
          <c:spPr>
            <a:solidFill>
              <a:srgbClr val="565656"/>
            </a:solidFill>
            <a:ln>
              <a:noFill/>
            </a:ln>
          </c:spPr>
          <c:invertIfNegative val="0"/>
          <c:dLbls>
            <c:dLbl>
              <c:idx val="0"/>
              <c:layout>
                <c:manualLayout>
                  <c:x val="0"/>
                  <c:y val="1.586042823156225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05C-48BA-B23F-B981A371B832}"/>
                </c:ext>
              </c:extLst>
            </c:dLbl>
            <c:dLbl>
              <c:idx val="1"/>
              <c:layout>
                <c:manualLayout>
                  <c:x val="0"/>
                  <c:y val="2.379064234734337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05C-48BA-B23F-B981A371B832}"/>
                </c:ext>
              </c:extLst>
            </c:dLbl>
            <c:dLbl>
              <c:idx val="3"/>
              <c:layout>
                <c:manualLayout>
                  <c:x val="0"/>
                  <c:y val="1.586042823156225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05C-48BA-B23F-B981A371B8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90.41</c:v>
                </c:pt>
                <c:pt idx="1">
                  <c:v>89.11</c:v>
                </c:pt>
                <c:pt idx="3">
                  <c:v>79.48</c:v>
                </c:pt>
              </c:numCache>
            </c:numRef>
          </c:val>
          <c:extLst>
            <c:ext xmlns:c16="http://schemas.microsoft.com/office/drawing/2014/chart" uri="{C3380CC4-5D6E-409C-BE32-E72D297353CC}">
              <c16:uniqueId val="{00000009-A05C-48BA-B23F-B981A371B832}"/>
            </c:ext>
          </c:extLst>
        </c:ser>
        <c:dLbls>
          <c:showLegendKey val="0"/>
          <c:showVal val="0"/>
          <c:showCatName val="0"/>
          <c:showSerName val="0"/>
          <c:showPercent val="0"/>
          <c:showBubbleSize val="0"/>
        </c:dLbls>
        <c:gapWidth val="161"/>
        <c:axId val="356733367"/>
        <c:axId val="1"/>
      </c:barChart>
      <c:catAx>
        <c:axId val="356733367"/>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356733367"/>
        <c:crosses val="min"/>
        <c:crossBetween val="between"/>
        <c:majorUnit val="5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185201118520113E-2"/>
          <c:y val="7.6023391812865493E-2"/>
          <c:w val="0.97762959776295977"/>
          <c:h val="0.84795321637426901"/>
        </c:manualLayout>
      </c:layout>
      <c:barChart>
        <c:barDir val="bar"/>
        <c:grouping val="stacked"/>
        <c:varyColors val="0"/>
        <c:ser>
          <c:idx val="0"/>
          <c:order val="0"/>
          <c:spPr>
            <a:solidFill>
              <a:srgbClr val="A1E26F"/>
            </a:solidFill>
            <a:ln>
              <a:noFill/>
            </a:ln>
          </c:spPr>
          <c:invertIfNegative val="0"/>
          <c:dLbls>
            <c:dLbl>
              <c:idx val="0"/>
              <c:layout>
                <c:manualLayout>
                  <c:x val="0"/>
                  <c:y val="-4.385964912280701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A8D-4864-A6BF-72FDE3816B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1.025641025641022</c:v>
                </c:pt>
              </c:numCache>
            </c:numRef>
          </c:val>
          <c:extLst>
            <c:ext xmlns:c16="http://schemas.microsoft.com/office/drawing/2014/chart" uri="{C3380CC4-5D6E-409C-BE32-E72D297353CC}">
              <c16:uniqueId val="{00000001-9A8D-4864-A6BF-72FDE3816B2D}"/>
            </c:ext>
          </c:extLst>
        </c:ser>
        <c:ser>
          <c:idx val="1"/>
          <c:order val="1"/>
          <c:spPr>
            <a:solidFill>
              <a:srgbClr val="C8C8C8"/>
            </a:solidFill>
            <a:ln>
              <a:noFill/>
            </a:ln>
          </c:spPr>
          <c:invertIfNegative val="0"/>
          <c:dLbls>
            <c:dLbl>
              <c:idx val="0"/>
              <c:layout>
                <c:manualLayout>
                  <c:x val="0"/>
                  <c:y val="-4.385964912280701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A8D-4864-A6BF-72FDE3816B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5.384615384615385</c:v>
                </c:pt>
              </c:numCache>
            </c:numRef>
          </c:val>
          <c:extLst>
            <c:ext xmlns:c16="http://schemas.microsoft.com/office/drawing/2014/chart" uri="{C3380CC4-5D6E-409C-BE32-E72D297353CC}">
              <c16:uniqueId val="{00000003-9A8D-4864-A6BF-72FDE3816B2D}"/>
            </c:ext>
          </c:extLst>
        </c:ser>
        <c:ser>
          <c:idx val="2"/>
          <c:order val="2"/>
          <c:spPr>
            <a:solidFill>
              <a:srgbClr val="837F7F"/>
            </a:solidFill>
            <a:ln>
              <a:noFill/>
            </a:ln>
          </c:spPr>
          <c:invertIfNegative val="0"/>
          <c:dLbls>
            <c:dLbl>
              <c:idx val="0"/>
              <c:layout>
                <c:manualLayout>
                  <c:x val="0"/>
                  <c:y val="-4.38596491228070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A8D-4864-A6BF-72FDE3816B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3.589743589743591</c:v>
                </c:pt>
              </c:numCache>
            </c:numRef>
          </c:val>
          <c:extLst>
            <c:ext xmlns:c16="http://schemas.microsoft.com/office/drawing/2014/chart" uri="{C3380CC4-5D6E-409C-BE32-E72D297353CC}">
              <c16:uniqueId val="{00000005-9A8D-4864-A6BF-72FDE3816B2D}"/>
            </c:ext>
          </c:extLst>
        </c:ser>
        <c:dLbls>
          <c:showLegendKey val="0"/>
          <c:showVal val="0"/>
          <c:showCatName val="0"/>
          <c:showSerName val="0"/>
          <c:showPercent val="0"/>
          <c:showBubbleSize val="0"/>
        </c:dLbls>
        <c:gapWidth val="60"/>
        <c:overlap val="100"/>
        <c:axId val="1242785192"/>
        <c:axId val="1"/>
      </c:barChart>
      <c:catAx>
        <c:axId val="124278519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242785192"/>
        <c:crosses val="max"/>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26665265812145E-2"/>
          <c:y val="8.2018927444794956E-2"/>
          <c:w val="0.9781466694683757"/>
          <c:h val="0.83596214511041012"/>
        </c:manualLayout>
      </c:layout>
      <c:barChart>
        <c:barDir val="bar"/>
        <c:grouping val="stacked"/>
        <c:varyColors val="0"/>
        <c:ser>
          <c:idx val="0"/>
          <c:order val="0"/>
          <c:spPr>
            <a:solidFill>
              <a:srgbClr val="A1E26F"/>
            </a:solidFill>
            <a:ln>
              <a:noFill/>
            </a:ln>
          </c:spPr>
          <c:invertIfNegative val="0"/>
          <c:dLbls>
            <c:dLbl>
              <c:idx val="0"/>
              <c:layout>
                <c:manualLayout>
                  <c:x val="0"/>
                  <c:y val="-4.731861198738170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BA7-4849-9D30-50D0C2DBB5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3.75</c:v>
                </c:pt>
              </c:numCache>
            </c:numRef>
          </c:val>
          <c:extLst>
            <c:ext xmlns:c16="http://schemas.microsoft.com/office/drawing/2014/chart" uri="{C3380CC4-5D6E-409C-BE32-E72D297353CC}">
              <c16:uniqueId val="{00000001-CBA7-4849-9D30-50D0C2DBB50C}"/>
            </c:ext>
          </c:extLst>
        </c:ser>
        <c:ser>
          <c:idx val="1"/>
          <c:order val="1"/>
          <c:spPr>
            <a:solidFill>
              <a:srgbClr val="C8C8C8"/>
            </a:solidFill>
            <a:ln>
              <a:noFill/>
            </a:ln>
          </c:spPr>
          <c:invertIfNegative val="0"/>
          <c:dLbls>
            <c:dLbl>
              <c:idx val="0"/>
              <c:layout>
                <c:manualLayout>
                  <c:x val="0"/>
                  <c:y val="-4.731861198738170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BA7-4849-9D30-50D0C2DBB5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8.75</c:v>
                </c:pt>
              </c:numCache>
            </c:numRef>
          </c:val>
          <c:extLst>
            <c:ext xmlns:c16="http://schemas.microsoft.com/office/drawing/2014/chart" uri="{C3380CC4-5D6E-409C-BE32-E72D297353CC}">
              <c16:uniqueId val="{00000003-CBA7-4849-9D30-50D0C2DBB50C}"/>
            </c:ext>
          </c:extLst>
        </c:ser>
        <c:ser>
          <c:idx val="2"/>
          <c:order val="2"/>
          <c:spPr>
            <a:solidFill>
              <a:srgbClr val="837F7F"/>
            </a:solidFill>
            <a:ln>
              <a:noFill/>
            </a:ln>
          </c:spPr>
          <c:invertIfNegative val="0"/>
          <c:dLbls>
            <c:dLbl>
              <c:idx val="0"/>
              <c:layout>
                <c:manualLayout>
                  <c:x val="0"/>
                  <c:y val="-4.731861198738170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BA7-4849-9D30-50D0C2DBB5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7.5</c:v>
                </c:pt>
              </c:numCache>
            </c:numRef>
          </c:val>
          <c:extLst>
            <c:ext xmlns:c16="http://schemas.microsoft.com/office/drawing/2014/chart" uri="{C3380CC4-5D6E-409C-BE32-E72D297353CC}">
              <c16:uniqueId val="{00000005-CBA7-4849-9D30-50D0C2DBB50C}"/>
            </c:ext>
          </c:extLst>
        </c:ser>
        <c:dLbls>
          <c:showLegendKey val="0"/>
          <c:showVal val="0"/>
          <c:showCatName val="0"/>
          <c:showSerName val="0"/>
          <c:showPercent val="0"/>
          <c:showBubbleSize val="0"/>
        </c:dLbls>
        <c:gapWidth val="60"/>
        <c:overlap val="100"/>
        <c:axId val="1411545608"/>
        <c:axId val="1"/>
      </c:barChart>
      <c:catAx>
        <c:axId val="141154560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411545608"/>
        <c:crosses val="max"/>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22075194286915E-2"/>
          <c:y val="6.8241469816272965E-2"/>
          <c:w val="0.97815584961142621"/>
          <c:h val="0.86351706036745401"/>
        </c:manualLayout>
      </c:layout>
      <c:barChart>
        <c:barDir val="bar"/>
        <c:grouping val="stacked"/>
        <c:varyColors val="0"/>
        <c:ser>
          <c:idx val="0"/>
          <c:order val="0"/>
          <c:spPr>
            <a:solidFill>
              <a:srgbClr val="A1E26F"/>
            </a:solidFill>
            <a:ln>
              <a:noFill/>
            </a:ln>
          </c:spPr>
          <c:invertIfNegative val="0"/>
          <c:dLbls>
            <c:dLbl>
              <c:idx val="0"/>
              <c:layout>
                <c:manualLayout>
                  <c:x val="0"/>
                  <c:y val="-3.93700787401574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2E-4DCE-AE86-B8F5420783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7.857142857142854</c:v>
                </c:pt>
              </c:numCache>
            </c:numRef>
          </c:val>
          <c:extLst>
            <c:ext xmlns:c16="http://schemas.microsoft.com/office/drawing/2014/chart" uri="{C3380CC4-5D6E-409C-BE32-E72D297353CC}">
              <c16:uniqueId val="{00000001-D82E-4DCE-AE86-B8F54207834A}"/>
            </c:ext>
          </c:extLst>
        </c:ser>
        <c:ser>
          <c:idx val="1"/>
          <c:order val="1"/>
          <c:spPr>
            <a:solidFill>
              <a:srgbClr val="C8C8C8"/>
            </a:solidFill>
            <a:ln>
              <a:noFill/>
            </a:ln>
          </c:spPr>
          <c:invertIfNegative val="0"/>
          <c:dLbls>
            <c:dLbl>
              <c:idx val="0"/>
              <c:layout>
                <c:manualLayout>
                  <c:x val="0"/>
                  <c:y val="-3.93700787401574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2E-4DCE-AE86-B8F5420783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4.285714285714285</c:v>
                </c:pt>
              </c:numCache>
            </c:numRef>
          </c:val>
          <c:extLst>
            <c:ext xmlns:c16="http://schemas.microsoft.com/office/drawing/2014/chart" uri="{C3380CC4-5D6E-409C-BE32-E72D297353CC}">
              <c16:uniqueId val="{00000003-D82E-4DCE-AE86-B8F54207834A}"/>
            </c:ext>
          </c:extLst>
        </c:ser>
        <c:ser>
          <c:idx val="2"/>
          <c:order val="2"/>
          <c:spPr>
            <a:solidFill>
              <a:srgbClr val="837F7F"/>
            </a:solidFill>
            <a:ln>
              <a:noFill/>
            </a:ln>
          </c:spPr>
          <c:invertIfNegative val="0"/>
          <c:dLbls>
            <c:dLbl>
              <c:idx val="0"/>
              <c:layout>
                <c:manualLayout>
                  <c:x val="0"/>
                  <c:y val="-3.93700787401574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82E-4DCE-AE86-B8F5420783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7.857142857142847</c:v>
                </c:pt>
              </c:numCache>
            </c:numRef>
          </c:val>
          <c:extLst>
            <c:ext xmlns:c16="http://schemas.microsoft.com/office/drawing/2014/chart" uri="{C3380CC4-5D6E-409C-BE32-E72D297353CC}">
              <c16:uniqueId val="{00000005-D82E-4DCE-AE86-B8F54207834A}"/>
            </c:ext>
          </c:extLst>
        </c:ser>
        <c:dLbls>
          <c:showLegendKey val="0"/>
          <c:showVal val="0"/>
          <c:showCatName val="0"/>
          <c:showSerName val="0"/>
          <c:showPercent val="0"/>
          <c:showBubbleSize val="0"/>
        </c:dLbls>
        <c:gapWidth val="60"/>
        <c:overlap val="100"/>
        <c:axId val="793736752"/>
        <c:axId val="1"/>
      </c:barChart>
      <c:catAx>
        <c:axId val="79373675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99.999999999999986"/>
          <c:min val="0"/>
        </c:scaling>
        <c:delete val="1"/>
        <c:axPos val="b"/>
        <c:numFmt formatCode="General" sourceLinked="1"/>
        <c:majorTickMark val="out"/>
        <c:minorTickMark val="none"/>
        <c:tickLblPos val="nextTo"/>
        <c:crossAx val="793736752"/>
        <c:crosses val="max"/>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008C-43BA-83C5-C42701D37F07}"/>
              </c:ext>
            </c:extLst>
          </c:dPt>
          <c:dPt>
            <c:idx val="1"/>
            <c:bubble3D val="0"/>
            <c:spPr>
              <a:solidFill>
                <a:schemeClr val="accent2"/>
              </a:solidFill>
              <a:ln>
                <a:noFill/>
              </a:ln>
            </c:spPr>
            <c:extLst>
              <c:ext xmlns:c16="http://schemas.microsoft.com/office/drawing/2014/chart" uri="{C3380CC4-5D6E-409C-BE32-E72D297353CC}">
                <c16:uniqueId val="{00000001-008C-43BA-83C5-C42701D37F07}"/>
              </c:ext>
            </c:extLst>
          </c:dPt>
          <c:dPt>
            <c:idx val="2"/>
            <c:bubble3D val="0"/>
            <c:spPr>
              <a:solidFill>
                <a:srgbClr val="C8C8C8"/>
              </a:solidFill>
              <a:ln>
                <a:noFill/>
              </a:ln>
            </c:spPr>
            <c:extLst>
              <c:ext xmlns:c16="http://schemas.microsoft.com/office/drawing/2014/chart" uri="{C3380CC4-5D6E-409C-BE32-E72D297353CC}">
                <c16:uniqueId val="{00000002-008C-43BA-83C5-C42701D37F07}"/>
              </c:ext>
            </c:extLst>
          </c:dPt>
          <c:dPt>
            <c:idx val="3"/>
            <c:bubble3D val="0"/>
            <c:spPr>
              <a:solidFill>
                <a:srgbClr val="ABA8B3"/>
              </a:solidFill>
              <a:ln>
                <a:noFill/>
              </a:ln>
            </c:spPr>
            <c:extLst>
              <c:ext xmlns:c16="http://schemas.microsoft.com/office/drawing/2014/chart" uri="{C3380CC4-5D6E-409C-BE32-E72D297353CC}">
                <c16:uniqueId val="{00000003-008C-43BA-83C5-C42701D37F07}"/>
              </c:ext>
            </c:extLst>
          </c:dPt>
          <c:dPt>
            <c:idx val="4"/>
            <c:bubble3D val="0"/>
            <c:spPr>
              <a:solidFill>
                <a:srgbClr val="837F7F"/>
              </a:solidFill>
              <a:ln>
                <a:noFill/>
              </a:ln>
            </c:spPr>
            <c:extLst>
              <c:ext xmlns:c16="http://schemas.microsoft.com/office/drawing/2014/chart" uri="{C3380CC4-5D6E-409C-BE32-E72D297353CC}">
                <c16:uniqueId val="{00000004-008C-43BA-83C5-C42701D37F07}"/>
              </c:ext>
            </c:extLst>
          </c:dPt>
          <c:val>
            <c:numRef>
              <c:f>Sheet1!$A$1:$A$5</c:f>
              <c:numCache>
                <c:formatCode>General</c:formatCode>
                <c:ptCount val="5"/>
                <c:pt idx="0">
                  <c:v>20.73</c:v>
                </c:pt>
                <c:pt idx="1">
                  <c:v>41.71</c:v>
                </c:pt>
                <c:pt idx="2">
                  <c:v>18.579999999999998</c:v>
                </c:pt>
                <c:pt idx="3">
                  <c:v>14.19</c:v>
                </c:pt>
                <c:pt idx="4">
                  <c:v>4.78</c:v>
                </c:pt>
              </c:numCache>
            </c:numRef>
          </c:val>
          <c:extLst>
            <c:ext xmlns:c16="http://schemas.microsoft.com/office/drawing/2014/chart" uri="{C3380CC4-5D6E-409C-BE32-E72D297353CC}">
              <c16:uniqueId val="{00000005-008C-43BA-83C5-C42701D37F0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22F5-4985-B85C-5E4B271F3356}"/>
              </c:ext>
            </c:extLst>
          </c:dPt>
          <c:dPt>
            <c:idx val="1"/>
            <c:bubble3D val="0"/>
            <c:spPr>
              <a:solidFill>
                <a:schemeClr val="accent2"/>
              </a:solidFill>
              <a:ln>
                <a:noFill/>
              </a:ln>
            </c:spPr>
            <c:extLst>
              <c:ext xmlns:c16="http://schemas.microsoft.com/office/drawing/2014/chart" uri="{C3380CC4-5D6E-409C-BE32-E72D297353CC}">
                <c16:uniqueId val="{00000001-22F5-4985-B85C-5E4B271F3356}"/>
              </c:ext>
            </c:extLst>
          </c:dPt>
          <c:dPt>
            <c:idx val="2"/>
            <c:bubble3D val="0"/>
            <c:spPr>
              <a:solidFill>
                <a:srgbClr val="C8C8C8"/>
              </a:solidFill>
              <a:ln>
                <a:noFill/>
              </a:ln>
            </c:spPr>
            <c:extLst>
              <c:ext xmlns:c16="http://schemas.microsoft.com/office/drawing/2014/chart" uri="{C3380CC4-5D6E-409C-BE32-E72D297353CC}">
                <c16:uniqueId val="{00000002-22F5-4985-B85C-5E4B271F3356}"/>
              </c:ext>
            </c:extLst>
          </c:dPt>
          <c:dPt>
            <c:idx val="3"/>
            <c:bubble3D val="0"/>
            <c:spPr>
              <a:solidFill>
                <a:srgbClr val="ABA8B3"/>
              </a:solidFill>
              <a:ln>
                <a:noFill/>
              </a:ln>
            </c:spPr>
            <c:extLst>
              <c:ext xmlns:c16="http://schemas.microsoft.com/office/drawing/2014/chart" uri="{C3380CC4-5D6E-409C-BE32-E72D297353CC}">
                <c16:uniqueId val="{00000003-22F5-4985-B85C-5E4B271F3356}"/>
              </c:ext>
            </c:extLst>
          </c:dPt>
          <c:dPt>
            <c:idx val="4"/>
            <c:bubble3D val="0"/>
            <c:spPr>
              <a:solidFill>
                <a:srgbClr val="837F7F"/>
              </a:solidFill>
              <a:ln>
                <a:noFill/>
              </a:ln>
            </c:spPr>
            <c:extLst>
              <c:ext xmlns:c16="http://schemas.microsoft.com/office/drawing/2014/chart" uri="{C3380CC4-5D6E-409C-BE32-E72D297353CC}">
                <c16:uniqueId val="{00000004-22F5-4985-B85C-5E4B271F3356}"/>
              </c:ext>
            </c:extLst>
          </c:dPt>
          <c:val>
            <c:numRef>
              <c:f>Sheet1!$A$1:$A$5</c:f>
              <c:numCache>
                <c:formatCode>General</c:formatCode>
                <c:ptCount val="5"/>
                <c:pt idx="0">
                  <c:v>26.700000000000003</c:v>
                </c:pt>
                <c:pt idx="1">
                  <c:v>47.349999999999994</c:v>
                </c:pt>
                <c:pt idx="2">
                  <c:v>15.78</c:v>
                </c:pt>
                <c:pt idx="3">
                  <c:v>8.85</c:v>
                </c:pt>
                <c:pt idx="4">
                  <c:v>1.3299999999999998</c:v>
                </c:pt>
              </c:numCache>
            </c:numRef>
          </c:val>
          <c:extLst>
            <c:ext xmlns:c16="http://schemas.microsoft.com/office/drawing/2014/chart" uri="{C3380CC4-5D6E-409C-BE32-E72D297353CC}">
              <c16:uniqueId val="{00000005-22F5-4985-B85C-5E4B271F3356}"/>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305-431A-897E-E510EB908F51}"/>
              </c:ext>
            </c:extLst>
          </c:dPt>
          <c:dPt>
            <c:idx val="1"/>
            <c:bubble3D val="0"/>
            <c:spPr>
              <a:solidFill>
                <a:schemeClr val="accent2"/>
              </a:solidFill>
              <a:ln>
                <a:noFill/>
              </a:ln>
            </c:spPr>
            <c:extLst>
              <c:ext xmlns:c16="http://schemas.microsoft.com/office/drawing/2014/chart" uri="{C3380CC4-5D6E-409C-BE32-E72D297353CC}">
                <c16:uniqueId val="{00000001-D305-431A-897E-E510EB908F51}"/>
              </c:ext>
            </c:extLst>
          </c:dPt>
          <c:dPt>
            <c:idx val="2"/>
            <c:bubble3D val="0"/>
            <c:spPr>
              <a:solidFill>
                <a:srgbClr val="C8C8C8"/>
              </a:solidFill>
              <a:ln>
                <a:noFill/>
              </a:ln>
            </c:spPr>
            <c:extLst>
              <c:ext xmlns:c16="http://schemas.microsoft.com/office/drawing/2014/chart" uri="{C3380CC4-5D6E-409C-BE32-E72D297353CC}">
                <c16:uniqueId val="{00000002-D305-431A-897E-E510EB908F51}"/>
              </c:ext>
            </c:extLst>
          </c:dPt>
          <c:dPt>
            <c:idx val="3"/>
            <c:bubble3D val="0"/>
            <c:spPr>
              <a:solidFill>
                <a:srgbClr val="ABA8B3"/>
              </a:solidFill>
              <a:ln>
                <a:noFill/>
              </a:ln>
            </c:spPr>
            <c:extLst>
              <c:ext xmlns:c16="http://schemas.microsoft.com/office/drawing/2014/chart" uri="{C3380CC4-5D6E-409C-BE32-E72D297353CC}">
                <c16:uniqueId val="{00000003-D305-431A-897E-E510EB908F51}"/>
              </c:ext>
            </c:extLst>
          </c:dPt>
          <c:dPt>
            <c:idx val="4"/>
            <c:bubble3D val="0"/>
            <c:spPr>
              <a:solidFill>
                <a:srgbClr val="837F7F"/>
              </a:solidFill>
              <a:ln>
                <a:noFill/>
              </a:ln>
            </c:spPr>
            <c:extLst>
              <c:ext xmlns:c16="http://schemas.microsoft.com/office/drawing/2014/chart" uri="{C3380CC4-5D6E-409C-BE32-E72D297353CC}">
                <c16:uniqueId val="{00000004-D305-431A-897E-E510EB908F51}"/>
              </c:ext>
            </c:extLst>
          </c:dPt>
          <c:val>
            <c:numRef>
              <c:f>Sheet1!$A$1:$A$5</c:f>
              <c:numCache>
                <c:formatCode>General</c:formatCode>
                <c:ptCount val="5"/>
                <c:pt idx="0">
                  <c:v>13.719999999999999</c:v>
                </c:pt>
                <c:pt idx="1">
                  <c:v>35.07</c:v>
                </c:pt>
                <c:pt idx="2">
                  <c:v>21.88</c:v>
                </c:pt>
                <c:pt idx="3">
                  <c:v>20.49</c:v>
                </c:pt>
                <c:pt idx="4">
                  <c:v>8.85</c:v>
                </c:pt>
              </c:numCache>
            </c:numRef>
          </c:val>
          <c:extLst>
            <c:ext xmlns:c16="http://schemas.microsoft.com/office/drawing/2014/chart" uri="{C3380CC4-5D6E-409C-BE32-E72D297353CC}">
              <c16:uniqueId val="{00000005-D305-431A-897E-E510EB908F51}"/>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758051197357556E-2"/>
          <c:y val="3.4718826405867972E-2"/>
          <c:w val="0.92650701899256815"/>
          <c:h val="0.93007334963325183"/>
        </c:manualLayout>
      </c:layout>
      <c:barChart>
        <c:barDir val="col"/>
        <c:grouping val="clustered"/>
        <c:varyColors val="0"/>
        <c:ser>
          <c:idx val="0"/>
          <c:order val="0"/>
          <c:spPr>
            <a:solidFill>
              <a:srgbClr val="30C1D7"/>
            </a:solidFill>
            <a:ln w="19050" cap="flat" algn="ctr">
              <a:solidFill>
                <a:schemeClr val="bg1"/>
              </a:solidFill>
              <a:prstDash val="solid"/>
            </a:ln>
          </c:spPr>
          <c:invertIfNegative val="0"/>
          <c:dLbls>
            <c:dLbl>
              <c:idx val="0"/>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3E-4E10-A767-E96E03A4CD0F}"/>
                </c:ext>
              </c:extLst>
            </c:dLbl>
            <c:dLbl>
              <c:idx val="1"/>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3E-4E10-A767-E96E03A4CD0F}"/>
                </c:ext>
              </c:extLst>
            </c:dLbl>
            <c:dLbl>
              <c:idx val="2"/>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63E-4E10-A767-E96E03A4CD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7</c:v>
                </c:pt>
                <c:pt idx="1">
                  <c:v>74</c:v>
                </c:pt>
                <c:pt idx="2">
                  <c:v>62</c:v>
                </c:pt>
              </c:numCache>
            </c:numRef>
          </c:val>
          <c:extLst>
            <c:ext xmlns:c16="http://schemas.microsoft.com/office/drawing/2014/chart" uri="{C3380CC4-5D6E-409C-BE32-E72D297353CC}">
              <c16:uniqueId val="{00000003-263E-4E10-A767-E96E03A4CD0F}"/>
            </c:ext>
          </c:extLst>
        </c:ser>
        <c:ser>
          <c:idx val="1"/>
          <c:order val="1"/>
          <c:spPr>
            <a:solidFill>
              <a:srgbClr val="ABA8B3"/>
            </a:solidFill>
            <a:ln w="19050" cap="flat" algn="ctr">
              <a:solidFill>
                <a:schemeClr val="bg1"/>
              </a:solidFill>
              <a:prstDash val="solid"/>
            </a:ln>
          </c:spPr>
          <c:invertIfNegative val="0"/>
          <c:dLbls>
            <c:dLbl>
              <c:idx val="0"/>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63E-4E10-A767-E96E03A4CD0F}"/>
                </c:ext>
              </c:extLst>
            </c:dLbl>
            <c:dLbl>
              <c:idx val="1"/>
              <c:layout>
                <c:manualLayout>
                  <c:x val="0"/>
                  <c:y val="9.779951100244497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63E-4E10-A767-E96E03A4CD0F}"/>
                </c:ext>
              </c:extLst>
            </c:dLbl>
            <c:dLbl>
              <c:idx val="2"/>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63E-4E10-A767-E96E03A4CD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7</c:v>
                </c:pt>
                <c:pt idx="1">
                  <c:v>77</c:v>
                </c:pt>
                <c:pt idx="2">
                  <c:v>74</c:v>
                </c:pt>
              </c:numCache>
            </c:numRef>
          </c:val>
          <c:extLst>
            <c:ext xmlns:c16="http://schemas.microsoft.com/office/drawing/2014/chart" uri="{C3380CC4-5D6E-409C-BE32-E72D297353CC}">
              <c16:uniqueId val="{00000007-263E-4E10-A767-E96E03A4CD0F}"/>
            </c:ext>
          </c:extLst>
        </c:ser>
        <c:ser>
          <c:idx val="2"/>
          <c:order val="2"/>
          <c:spPr>
            <a:solidFill>
              <a:srgbClr val="295E7E"/>
            </a:solidFill>
            <a:ln w="19050" cap="flat" algn="ctr">
              <a:solidFill>
                <a:schemeClr val="bg1"/>
              </a:solidFill>
              <a:prstDash val="solid"/>
            </a:ln>
          </c:spPr>
          <c:invertIfNegative val="0"/>
          <c:dLbls>
            <c:dLbl>
              <c:idx val="0"/>
              <c:layout>
                <c:manualLayout>
                  <c:x val="0"/>
                  <c:y val="9.779951100244497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63E-4E10-A767-E96E03A4CD0F}"/>
                </c:ext>
              </c:extLst>
            </c:dLbl>
            <c:dLbl>
              <c:idx val="1"/>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63E-4E10-A767-E96E03A4CD0F}"/>
                </c:ext>
              </c:extLst>
            </c:dLbl>
            <c:dLbl>
              <c:idx val="2"/>
              <c:layout>
                <c:manualLayout>
                  <c:x val="0"/>
                  <c:y val="1.4669926650366749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63E-4E10-A767-E96E03A4CD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0</c:v>
                </c:pt>
                <c:pt idx="1">
                  <c:v>70</c:v>
                </c:pt>
                <c:pt idx="2">
                  <c:v>49</c:v>
                </c:pt>
              </c:numCache>
            </c:numRef>
          </c:val>
          <c:extLst>
            <c:ext xmlns:c16="http://schemas.microsoft.com/office/drawing/2014/chart" uri="{C3380CC4-5D6E-409C-BE32-E72D297353CC}">
              <c16:uniqueId val="{0000000B-263E-4E10-A767-E96E03A4CD0F}"/>
            </c:ext>
          </c:extLst>
        </c:ser>
        <c:dLbls>
          <c:showLegendKey val="0"/>
          <c:showVal val="0"/>
          <c:showCatName val="0"/>
          <c:showSerName val="0"/>
          <c:showPercent val="0"/>
          <c:showBubbleSize val="0"/>
        </c:dLbls>
        <c:gapWidth val="229"/>
        <c:axId val="314798855"/>
        <c:axId val="1"/>
      </c:barChart>
      <c:catAx>
        <c:axId val="314798855"/>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314798855"/>
        <c:crosses val="min"/>
        <c:crossBetween val="between"/>
        <c:majorUnit val="2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chemeClr val="accent3"/>
              </a:solidFill>
              <a:ln w="38100">
                <a:solidFill>
                  <a:schemeClr val="bg2"/>
                </a:solidFill>
              </a:ln>
              <a:effectLst/>
            </c:spPr>
            <c:extLst>
              <c:ext xmlns:c16="http://schemas.microsoft.com/office/drawing/2014/chart" uri="{C3380CC4-5D6E-409C-BE32-E72D297353CC}">
                <c16:uniqueId val="{00000001-E5B7-C84B-8870-7964BB1F8428}"/>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E5B7-C84B-8870-7964BB1F8428}"/>
              </c:ext>
            </c:extLst>
          </c:dPt>
          <c:cat>
            <c:strRef>
              <c:f>Sheet1!$A$2:$A$3</c:f>
              <c:strCache>
                <c:ptCount val="2"/>
                <c:pt idx="0">
                  <c:v>Yes</c:v>
                </c:pt>
                <c:pt idx="1">
                  <c:v>No</c:v>
                </c:pt>
              </c:strCache>
            </c:strRef>
          </c:cat>
          <c:val>
            <c:numRef>
              <c:f>Sheet1!$B$2:$B$3</c:f>
              <c:numCache>
                <c:formatCode>General</c:formatCode>
                <c:ptCount val="2"/>
                <c:pt idx="0">
                  <c:v>242</c:v>
                </c:pt>
                <c:pt idx="1">
                  <c:v>693</c:v>
                </c:pt>
              </c:numCache>
            </c:numRef>
          </c:val>
          <c:extLst>
            <c:ext xmlns:c16="http://schemas.microsoft.com/office/drawing/2014/chart" uri="{C3380CC4-5D6E-409C-BE32-E72D297353CC}">
              <c16:uniqueId val="{00000004-E5B7-C84B-8870-7964BB1F842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4DF33"/>
          </a:solidFill>
          <a:prstDash val="solid"/>
          <a:round/>
          <a:headEnd type="none" w="med" len="med"/>
          <a:tailEnd type="none" w="med" len="med"/>
        </a14:hiddenLine>
      </a:ext>
    </a:ex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457050243111829E-2"/>
          <c:y val="3.4860154033238749E-2"/>
          <c:w val="0.89108589951377637"/>
          <c:h val="0.88123226591001214"/>
        </c:manualLayout>
      </c:layout>
      <c:barChart>
        <c:barDir val="bar"/>
        <c:grouping val="stacked"/>
        <c:varyColors val="0"/>
        <c:ser>
          <c:idx val="0"/>
          <c:order val="0"/>
          <c:spPr>
            <a:solidFill>
              <a:srgbClr val="29BA74"/>
            </a:solidFill>
            <a:ln>
              <a:noFill/>
            </a:ln>
          </c:spPr>
          <c:invertIfNegative val="0"/>
          <c:dLbls>
            <c:dLbl>
              <c:idx val="0"/>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E6-4246-8DD6-196721C6CD4B}"/>
                </c:ext>
              </c:extLst>
            </c:dLbl>
            <c:dLbl>
              <c:idx val="1"/>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E6-4246-8DD6-196721C6CD4B}"/>
                </c:ext>
              </c:extLst>
            </c:dLbl>
            <c:dLbl>
              <c:idx val="2"/>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E6-4246-8DD6-196721C6CD4B}"/>
                </c:ext>
              </c:extLst>
            </c:dLbl>
            <c:dLbl>
              <c:idx val="3"/>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E6-4246-8DD6-196721C6CD4B}"/>
                </c:ext>
              </c:extLst>
            </c:dLbl>
            <c:dLbl>
              <c:idx val="4"/>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E6-4246-8DD6-196721C6CD4B}"/>
                </c:ext>
              </c:extLst>
            </c:dLbl>
            <c:dLbl>
              <c:idx val="5"/>
              <c:layout>
                <c:manualLayout>
                  <c:x val="-3.2414910858995135E-4"/>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5E6-4246-8DD6-196721C6CD4B}"/>
                </c:ext>
              </c:extLst>
            </c:dLbl>
            <c:dLbl>
              <c:idx val="6"/>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E6-4246-8DD6-196721C6CD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39.97</c:v>
                </c:pt>
                <c:pt idx="1">
                  <c:v>30.54</c:v>
                </c:pt>
                <c:pt idx="2">
                  <c:v>26</c:v>
                </c:pt>
                <c:pt idx="3">
                  <c:v>29.03</c:v>
                </c:pt>
                <c:pt idx="4">
                  <c:v>23.520000000000003</c:v>
                </c:pt>
                <c:pt idx="5">
                  <c:v>22.009999999999998</c:v>
                </c:pt>
                <c:pt idx="6">
                  <c:v>16.669999999999998</c:v>
                </c:pt>
              </c:numCache>
            </c:numRef>
          </c:val>
          <c:extLst>
            <c:ext xmlns:c16="http://schemas.microsoft.com/office/drawing/2014/chart" uri="{C3380CC4-5D6E-409C-BE32-E72D297353CC}">
              <c16:uniqueId val="{00000007-E5E6-4246-8DD6-196721C6CD4B}"/>
            </c:ext>
          </c:extLst>
        </c:ser>
        <c:ser>
          <c:idx val="1"/>
          <c:order val="1"/>
          <c:spPr>
            <a:solidFill>
              <a:schemeClr val="accent2"/>
            </a:solidFill>
            <a:ln>
              <a:noFill/>
            </a:ln>
          </c:spPr>
          <c:invertIfNegative val="0"/>
          <c:dLbls>
            <c:dLbl>
              <c:idx val="0"/>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E6-4246-8DD6-196721C6CD4B}"/>
                </c:ext>
              </c:extLst>
            </c:dLbl>
            <c:dLbl>
              <c:idx val="1"/>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E6-4246-8DD6-196721C6CD4B}"/>
                </c:ext>
              </c:extLst>
            </c:dLbl>
            <c:dLbl>
              <c:idx val="2"/>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5E6-4246-8DD6-196721C6CD4B}"/>
                </c:ext>
              </c:extLst>
            </c:dLbl>
            <c:dLbl>
              <c:idx val="3"/>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5E6-4246-8DD6-196721C6CD4B}"/>
                </c:ext>
              </c:extLst>
            </c:dLbl>
            <c:dLbl>
              <c:idx val="4"/>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5E6-4246-8DD6-196721C6CD4B}"/>
                </c:ext>
              </c:extLst>
            </c:dLbl>
            <c:dLbl>
              <c:idx val="5"/>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5E6-4246-8DD6-196721C6CD4B}"/>
                </c:ext>
              </c:extLst>
            </c:dLbl>
            <c:dLbl>
              <c:idx val="6"/>
              <c:layout>
                <c:manualLayout>
                  <c:x val="-3.2414910858995135E-4"/>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5E6-4246-8DD6-196721C6CD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45.36999999999999</c:v>
                </c:pt>
                <c:pt idx="1">
                  <c:v>47.610000000000007</c:v>
                </c:pt>
                <c:pt idx="2">
                  <c:v>43.54</c:v>
                </c:pt>
                <c:pt idx="3">
                  <c:v>40.510000000000005</c:v>
                </c:pt>
                <c:pt idx="4">
                  <c:v>42.11</c:v>
                </c:pt>
                <c:pt idx="5">
                  <c:v>35.89</c:v>
                </c:pt>
                <c:pt idx="6">
                  <c:v>32.85</c:v>
                </c:pt>
              </c:numCache>
            </c:numRef>
          </c:val>
          <c:extLst>
            <c:ext xmlns:c16="http://schemas.microsoft.com/office/drawing/2014/chart" uri="{C3380CC4-5D6E-409C-BE32-E72D297353CC}">
              <c16:uniqueId val="{0000000F-E5E6-4246-8DD6-196721C6CD4B}"/>
            </c:ext>
          </c:extLst>
        </c:ser>
        <c:ser>
          <c:idx val="2"/>
          <c:order val="2"/>
          <c:spPr>
            <a:solidFill>
              <a:srgbClr val="C8C8C8"/>
            </a:solidFill>
            <a:ln>
              <a:noFill/>
            </a:ln>
          </c:spPr>
          <c:invertIfNegative val="0"/>
          <c:dLbls>
            <c:dLbl>
              <c:idx val="0"/>
              <c:layout>
                <c:manualLayout>
                  <c:x val="-3.2414910858995135E-4"/>
                  <c:y val="-1.216051884880421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5E6-4246-8DD6-196721C6CD4B}"/>
                </c:ext>
              </c:extLst>
            </c:dLbl>
            <c:dLbl>
              <c:idx val="1"/>
              <c:layout>
                <c:manualLayout>
                  <c:x val="-3.2414910858995135E-4"/>
                  <c:y val="-1.216051884880421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5E6-4246-8DD6-196721C6CD4B}"/>
                </c:ext>
              </c:extLst>
            </c:dLbl>
            <c:dLbl>
              <c:idx val="2"/>
              <c:layout>
                <c:manualLayout>
                  <c:x val="0"/>
                  <c:y val="-1.216051884880421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5E6-4246-8DD6-196721C6CD4B}"/>
                </c:ext>
              </c:extLst>
            </c:dLbl>
            <c:dLbl>
              <c:idx val="3"/>
              <c:layout>
                <c:manualLayout>
                  <c:x val="0"/>
                  <c:y val="-1.216051884880421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5E6-4246-8DD6-196721C6CD4B}"/>
                </c:ext>
              </c:extLst>
            </c:dLbl>
            <c:dLbl>
              <c:idx val="4"/>
              <c:layout>
                <c:manualLayout>
                  <c:x val="0"/>
                  <c:y val="-1.216051884880421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5E6-4246-8DD6-196721C6CD4B}"/>
                </c:ext>
              </c:extLst>
            </c:dLbl>
            <c:dLbl>
              <c:idx val="5"/>
              <c:layout>
                <c:manualLayout>
                  <c:x val="0"/>
                  <c:y val="-1.216051884880421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5E6-4246-8DD6-196721C6CD4B}"/>
                </c:ext>
              </c:extLst>
            </c:dLbl>
            <c:dLbl>
              <c:idx val="6"/>
              <c:layout>
                <c:manualLayout>
                  <c:x val="0"/>
                  <c:y val="-1.216051884880421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5E6-4246-8DD6-196721C6CD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11.750000000000005</c:v>
                </c:pt>
                <c:pt idx="1">
                  <c:v>19.300000000000004</c:v>
                </c:pt>
                <c:pt idx="2">
                  <c:v>17.86</c:v>
                </c:pt>
                <c:pt idx="3">
                  <c:v>17.220000000000002</c:v>
                </c:pt>
                <c:pt idx="4">
                  <c:v>18.180000000000007</c:v>
                </c:pt>
                <c:pt idx="5">
                  <c:v>19.209999999999994</c:v>
                </c:pt>
                <c:pt idx="6">
                  <c:v>22.409999999999997</c:v>
                </c:pt>
              </c:numCache>
            </c:numRef>
          </c:val>
          <c:extLst>
            <c:ext xmlns:c16="http://schemas.microsoft.com/office/drawing/2014/chart" uri="{C3380CC4-5D6E-409C-BE32-E72D297353CC}">
              <c16:uniqueId val="{00000017-E5E6-4246-8DD6-196721C6CD4B}"/>
            </c:ext>
          </c:extLst>
        </c:ser>
        <c:ser>
          <c:idx val="3"/>
          <c:order val="3"/>
          <c:spPr>
            <a:solidFill>
              <a:srgbClr val="ABA8B3"/>
            </a:solidFill>
            <a:ln>
              <a:noFill/>
            </a:ln>
          </c:spPr>
          <c:invertIfNegative val="0"/>
          <c:dLbls>
            <c:dLbl>
              <c:idx val="2"/>
              <c:layout>
                <c:manualLayout>
                  <c:x val="-3.2414910858995135E-4"/>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5E6-4246-8DD6-196721C6CD4B}"/>
                </c:ext>
              </c:extLst>
            </c:dLbl>
            <c:dLbl>
              <c:idx val="3"/>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5E6-4246-8DD6-196721C6CD4B}"/>
                </c:ext>
              </c:extLst>
            </c:dLbl>
            <c:dLbl>
              <c:idx val="4"/>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5E6-4246-8DD6-196721C6CD4B}"/>
                </c:ext>
              </c:extLst>
            </c:dLbl>
            <c:dLbl>
              <c:idx val="5"/>
              <c:layout>
                <c:manualLayout>
                  <c:x val="0"/>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5E6-4246-8DD6-196721C6CD4B}"/>
                </c:ext>
              </c:extLst>
            </c:dLbl>
            <c:dLbl>
              <c:idx val="6"/>
              <c:layout>
                <c:manualLayout>
                  <c:x val="-3.2414910858995135E-4"/>
                  <c:y val="-1.216051884880421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5E6-4246-8DD6-196721C6CD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G$4</c:f>
              <c:numCache>
                <c:formatCode>General</c:formatCode>
                <c:ptCount val="7"/>
                <c:pt idx="0">
                  <c:v>1.8000000000000016</c:v>
                </c:pt>
                <c:pt idx="1">
                  <c:v>1.9900000000000029</c:v>
                </c:pt>
                <c:pt idx="2">
                  <c:v>10.69</c:v>
                </c:pt>
                <c:pt idx="3">
                  <c:v>9.0099999999999962</c:v>
                </c:pt>
                <c:pt idx="4">
                  <c:v>12.6</c:v>
                </c:pt>
                <c:pt idx="5">
                  <c:v>16.589999999999993</c:v>
                </c:pt>
                <c:pt idx="6">
                  <c:v>19.379999999999995</c:v>
                </c:pt>
              </c:numCache>
            </c:numRef>
          </c:val>
          <c:extLst>
            <c:ext xmlns:c16="http://schemas.microsoft.com/office/drawing/2014/chart" uri="{C3380CC4-5D6E-409C-BE32-E72D297353CC}">
              <c16:uniqueId val="{0000001D-E5E6-4246-8DD6-196721C6CD4B}"/>
            </c:ext>
          </c:extLst>
        </c:ser>
        <c:ser>
          <c:idx val="4"/>
          <c:order val="4"/>
          <c:spPr>
            <a:solidFill>
              <a:srgbClr val="837F7F"/>
            </a:solidFill>
            <a:ln>
              <a:noFill/>
            </a:ln>
          </c:spPr>
          <c:invertIfNegative val="0"/>
          <c:dLbls>
            <c:dLbl>
              <c:idx val="0"/>
              <c:layout>
                <c:manualLayout>
                  <c:x val="-1.6531604538087521E-2"/>
                  <c:y val="6.8909606809890556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5E6-4246-8DD6-196721C6CD4B}"/>
                </c:ext>
              </c:extLst>
            </c:dLbl>
            <c:dLbl>
              <c:idx val="3"/>
              <c:layout>
                <c:manualLayout>
                  <c:x val="0"/>
                  <c:y val="-1.2160518848804217E-3"/>
                </c:manualLayout>
              </c:layout>
              <c:numFmt formatCode="#,##0&quot;%&quot;;&quot;-&quot;#,##0&quot;%&quot;" sourceLinked="0"/>
              <c:spPr>
                <a:noFill/>
                <a:ln>
                  <a:noFill/>
                </a:ln>
              </c:spPr>
              <c:txPr>
                <a:bodyPr wrap="none"/>
                <a:lstStyle/>
                <a:p>
                  <a:pPr>
                    <a:defRPr sz="12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5E6-4246-8DD6-196721C6CD4B}"/>
                </c:ext>
              </c:extLst>
            </c:dLbl>
            <c:dLbl>
              <c:idx val="5"/>
              <c:layout>
                <c:manualLayout>
                  <c:x val="0"/>
                  <c:y val="-1.2160518848804217E-3"/>
                </c:manualLayout>
              </c:layout>
              <c:numFmt formatCode="#,##0&quot;%&quot;;&quot;-&quot;#,##0&quot;%&quot;" sourceLinked="0"/>
              <c:spPr>
                <a:noFill/>
                <a:ln>
                  <a:noFill/>
                </a:ln>
              </c:spPr>
              <c:txPr>
                <a:bodyPr wrap="none"/>
                <a:lstStyle/>
                <a:p>
                  <a:pPr>
                    <a:defRPr sz="12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5E6-4246-8DD6-196721C6CD4B}"/>
                </c:ext>
              </c:extLst>
            </c:dLbl>
            <c:dLbl>
              <c:idx val="6"/>
              <c:layout>
                <c:manualLayout>
                  <c:x val="-3.2414910858995135E-4"/>
                  <c:y val="-1.2160518848804217E-3"/>
                </c:manualLayout>
              </c:layout>
              <c:numFmt formatCode="#,##0&quot;%&quot;;&quot;-&quot;#,##0&quot;%&quot;" sourceLinked="0"/>
              <c:spPr>
                <a:noFill/>
                <a:ln>
                  <a:noFill/>
                </a:ln>
              </c:spPr>
              <c:txPr>
                <a:bodyPr wrap="none"/>
                <a:lstStyle/>
                <a:p>
                  <a:pPr>
                    <a:defRPr sz="1200" kern="12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5E6-4246-8DD6-196721C6CD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1.1099999999999999</c:v>
                </c:pt>
                <c:pt idx="1">
                  <c:v>0.56000000000000494</c:v>
                </c:pt>
                <c:pt idx="2">
                  <c:v>1.9100000000000006</c:v>
                </c:pt>
                <c:pt idx="3">
                  <c:v>4.2300000000000004</c:v>
                </c:pt>
                <c:pt idx="4">
                  <c:v>3.5900000000000043</c:v>
                </c:pt>
                <c:pt idx="5">
                  <c:v>6.2999999999999945</c:v>
                </c:pt>
                <c:pt idx="6">
                  <c:v>8.6899999999999977</c:v>
                </c:pt>
              </c:numCache>
            </c:numRef>
          </c:val>
          <c:extLst>
            <c:ext xmlns:c16="http://schemas.microsoft.com/office/drawing/2014/chart" uri="{C3380CC4-5D6E-409C-BE32-E72D297353CC}">
              <c16:uniqueId val="{00000022-E5E6-4246-8DD6-196721C6CD4B}"/>
            </c:ext>
          </c:extLst>
        </c:ser>
        <c:dLbls>
          <c:showLegendKey val="0"/>
          <c:showVal val="0"/>
          <c:showCatName val="0"/>
          <c:showSerName val="0"/>
          <c:showPercent val="0"/>
          <c:showBubbleSize val="0"/>
        </c:dLbls>
        <c:gapWidth val="60"/>
        <c:overlap val="100"/>
        <c:axId val="947548687"/>
        <c:axId val="1"/>
      </c:barChart>
      <c:catAx>
        <c:axId val="947548687"/>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947548687"/>
        <c:crosses val="max"/>
        <c:crossBetween val="between"/>
        <c:majorUnit val="2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1520247842442E-2"/>
          <c:y val="5.8677685950413221E-2"/>
          <c:w val="0.9212215091834477"/>
          <c:h val="0.88181818181818183"/>
        </c:manualLayout>
      </c:layout>
      <c:barChart>
        <c:barDir val="col"/>
        <c:grouping val="clustered"/>
        <c:varyColors val="0"/>
        <c:ser>
          <c:idx val="0"/>
          <c:order val="0"/>
          <c:spPr>
            <a:solidFill>
              <a:srgbClr val="295E7E"/>
            </a:solidFill>
            <a:ln w="19050" cap="flat" algn="ctr">
              <a:solidFill>
                <a:schemeClr val="bg1"/>
              </a:solidFill>
              <a:prstDash val="solid"/>
            </a:ln>
          </c:spPr>
          <c:invertIfNegative val="0"/>
          <c:dLbls>
            <c:dLbl>
              <c:idx val="0"/>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3E-42EA-8569-2DBF075D5502}"/>
                </c:ext>
              </c:extLst>
            </c:dLbl>
            <c:dLbl>
              <c:idx val="1"/>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3E-42EA-8569-2DBF075D5502}"/>
                </c:ext>
              </c:extLst>
            </c:dLbl>
            <c:dLbl>
              <c:idx val="2"/>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3E-42EA-8569-2DBF075D5502}"/>
                </c:ext>
              </c:extLst>
            </c:dLbl>
            <c:dLbl>
              <c:idx val="3"/>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3E-42EA-8569-2DBF075D5502}"/>
                </c:ext>
              </c:extLst>
            </c:dLbl>
            <c:dLbl>
              <c:idx val="4"/>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F3E-42EA-8569-2DBF075D5502}"/>
                </c:ext>
              </c:extLst>
            </c:dLbl>
            <c:dLbl>
              <c:idx val="5"/>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3E-42EA-8569-2DBF075D5502}"/>
                </c:ext>
              </c:extLst>
            </c:dLbl>
            <c:dLbl>
              <c:idx val="6"/>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3E-42EA-8569-2DBF075D55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7</c:v>
                </c:pt>
                <c:pt idx="1">
                  <c:v>51</c:v>
                </c:pt>
                <c:pt idx="2">
                  <c:v>43</c:v>
                </c:pt>
                <c:pt idx="3">
                  <c:v>46</c:v>
                </c:pt>
                <c:pt idx="4">
                  <c:v>46</c:v>
                </c:pt>
                <c:pt idx="5">
                  <c:v>64</c:v>
                </c:pt>
                <c:pt idx="6">
                  <c:v>87</c:v>
                </c:pt>
              </c:numCache>
            </c:numRef>
          </c:val>
          <c:extLst>
            <c:ext xmlns:c16="http://schemas.microsoft.com/office/drawing/2014/chart" uri="{C3380CC4-5D6E-409C-BE32-E72D297353CC}">
              <c16:uniqueId val="{00000007-5F3E-42EA-8569-2DBF075D5502}"/>
            </c:ext>
          </c:extLst>
        </c:ser>
        <c:ser>
          <c:idx val="1"/>
          <c:order val="1"/>
          <c:spPr>
            <a:solidFill>
              <a:srgbClr val="008AC2"/>
            </a:solidFill>
            <a:ln w="19050" cap="flat" algn="ctr">
              <a:solidFill>
                <a:schemeClr val="bg1"/>
              </a:solidFill>
              <a:prstDash val="solid"/>
            </a:ln>
          </c:spPr>
          <c:invertIfNegative val="0"/>
          <c:dLbls>
            <c:dLbl>
              <c:idx val="0"/>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F3E-42EA-8569-2DBF075D5502}"/>
                </c:ext>
              </c:extLst>
            </c:dLbl>
            <c:dLbl>
              <c:idx val="1"/>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F3E-42EA-8569-2DBF075D5502}"/>
                </c:ext>
              </c:extLst>
            </c:dLbl>
            <c:dLbl>
              <c:idx val="2"/>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F3E-42EA-8569-2DBF075D5502}"/>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F3E-42EA-8569-2DBF075D5502}"/>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F3E-42EA-8569-2DBF075D5502}"/>
                </c:ext>
              </c:extLst>
            </c:dLbl>
            <c:dLbl>
              <c:idx val="5"/>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F3E-42EA-8569-2DBF075D5502}"/>
                </c:ext>
              </c:extLst>
            </c:dLbl>
            <c:dLbl>
              <c:idx val="6"/>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F3E-42EA-8569-2DBF075D55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76</c:v>
                </c:pt>
                <c:pt idx="1">
                  <c:v>55</c:v>
                </c:pt>
                <c:pt idx="2">
                  <c:v>55</c:v>
                </c:pt>
                <c:pt idx="3">
                  <c:v>78</c:v>
                </c:pt>
                <c:pt idx="4">
                  <c:v>75</c:v>
                </c:pt>
                <c:pt idx="5">
                  <c:v>72</c:v>
                </c:pt>
                <c:pt idx="6">
                  <c:v>87</c:v>
                </c:pt>
              </c:numCache>
            </c:numRef>
          </c:val>
          <c:extLst>
            <c:ext xmlns:c16="http://schemas.microsoft.com/office/drawing/2014/chart" uri="{C3380CC4-5D6E-409C-BE32-E72D297353CC}">
              <c16:uniqueId val="{0000000F-5F3E-42EA-8569-2DBF075D5502}"/>
            </c:ext>
          </c:extLst>
        </c:ser>
        <c:ser>
          <c:idx val="2"/>
          <c:order val="2"/>
          <c:spPr>
            <a:solidFill>
              <a:srgbClr val="2BD5D9"/>
            </a:solidFill>
            <a:ln w="19050" cap="flat" algn="ctr">
              <a:solidFill>
                <a:schemeClr val="bg1"/>
              </a:solidFill>
              <a:prstDash val="solid"/>
            </a:ln>
          </c:spPr>
          <c:invertIfNegative val="0"/>
          <c:dLbls>
            <c:dLbl>
              <c:idx val="0"/>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F3E-42EA-8569-2DBF075D5502}"/>
                </c:ext>
              </c:extLst>
            </c:dLbl>
            <c:dLbl>
              <c:idx val="1"/>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F3E-42EA-8569-2DBF075D5502}"/>
                </c:ext>
              </c:extLst>
            </c:dLbl>
            <c:dLbl>
              <c:idx val="2"/>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F3E-42EA-8569-2DBF075D5502}"/>
                </c:ext>
              </c:extLst>
            </c:dLbl>
            <c:dLbl>
              <c:idx val="3"/>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F3E-42EA-8569-2DBF075D5502}"/>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F3E-42EA-8569-2DBF075D5502}"/>
                </c:ext>
              </c:extLst>
            </c:dLbl>
            <c:dLbl>
              <c:idx val="5"/>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F3E-42EA-8569-2DBF075D5502}"/>
                </c:ext>
              </c:extLst>
            </c:dLbl>
            <c:dLbl>
              <c:idx val="6"/>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F3E-42EA-8569-2DBF075D55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63</c:v>
                </c:pt>
                <c:pt idx="1">
                  <c:v>47</c:v>
                </c:pt>
                <c:pt idx="2">
                  <c:v>38</c:v>
                </c:pt>
                <c:pt idx="3">
                  <c:v>64</c:v>
                </c:pt>
                <c:pt idx="4">
                  <c:v>57</c:v>
                </c:pt>
                <c:pt idx="5">
                  <c:v>71</c:v>
                </c:pt>
                <c:pt idx="6">
                  <c:v>86</c:v>
                </c:pt>
              </c:numCache>
            </c:numRef>
          </c:val>
          <c:extLst>
            <c:ext xmlns:c16="http://schemas.microsoft.com/office/drawing/2014/chart" uri="{C3380CC4-5D6E-409C-BE32-E72D297353CC}">
              <c16:uniqueId val="{00000017-5F3E-42EA-8569-2DBF075D5502}"/>
            </c:ext>
          </c:extLst>
        </c:ser>
        <c:dLbls>
          <c:showLegendKey val="0"/>
          <c:showVal val="0"/>
          <c:showCatName val="0"/>
          <c:showSerName val="0"/>
          <c:showPercent val="0"/>
          <c:showBubbleSize val="0"/>
        </c:dLbls>
        <c:gapWidth val="60"/>
        <c:axId val="6267335"/>
        <c:axId val="1"/>
      </c:barChart>
      <c:catAx>
        <c:axId val="6267335"/>
        <c:scaling>
          <c:orientation val="minMax"/>
        </c:scaling>
        <c:delete val="0"/>
        <c:axPos val="b"/>
        <c:majorGridlines>
          <c:spPr>
            <a:ln>
              <a:noFill/>
            </a:ln>
          </c:spPr>
        </c:majorGridlines>
        <c:majorTickMark val="out"/>
        <c:minorTickMark val="none"/>
        <c:tickLblPos val="none"/>
        <c:spPr>
          <a:ln w="9525" cap="flat" algn="ctr">
            <a:solidFill>
              <a:srgbClr val="7F7F7F"/>
            </a:solidFill>
            <a:prstDash val="solid"/>
          </a:ln>
        </c:spPr>
        <c:txPr>
          <a:bodyPr wrap="none"/>
          <a:lstStyle/>
          <a:p>
            <a:pPr>
              <a:defRPr sz="12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6267335"/>
        <c:crosses val="min"/>
        <c:crossBetween val="between"/>
        <c:majorUnit val="5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108167770419433E-2"/>
          <c:y val="5.8677685950413221E-2"/>
          <c:w val="0.92141280353200883"/>
          <c:h val="0.88181818181818183"/>
        </c:manualLayout>
      </c:layout>
      <c:barChart>
        <c:barDir val="col"/>
        <c:grouping val="clustered"/>
        <c:varyColors val="0"/>
        <c:ser>
          <c:idx val="0"/>
          <c:order val="0"/>
          <c:spPr>
            <a:solidFill>
              <a:srgbClr val="837F7F"/>
            </a:solidFill>
            <a:ln w="19050" cap="flat" algn="ctr">
              <a:solidFill>
                <a:schemeClr val="bg1"/>
              </a:solidFill>
              <a:prstDash val="solid"/>
            </a:ln>
          </c:spPr>
          <c:invertIfNegative val="0"/>
          <c:dLbls>
            <c:dLbl>
              <c:idx val="0"/>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1A-4A7B-8C47-0F0318797DF1}"/>
                </c:ext>
              </c:extLst>
            </c:dLbl>
            <c:dLbl>
              <c:idx val="1"/>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1A-4A7B-8C47-0F0318797DF1}"/>
                </c:ext>
              </c:extLst>
            </c:dLbl>
            <c:dLbl>
              <c:idx val="2"/>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1A-4A7B-8C47-0F0318797DF1}"/>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1A-4A7B-8C47-0F0318797DF1}"/>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1A-4A7B-8C47-0F0318797DF1}"/>
                </c:ext>
              </c:extLst>
            </c:dLbl>
            <c:dLbl>
              <c:idx val="5"/>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B1A-4A7B-8C47-0F0318797DF1}"/>
                </c:ext>
              </c:extLst>
            </c:dLbl>
            <c:dLbl>
              <c:idx val="6"/>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B1A-4A7B-8C47-0F0318797D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73</c:v>
                </c:pt>
                <c:pt idx="1">
                  <c:v>67</c:v>
                </c:pt>
                <c:pt idx="2">
                  <c:v>56</c:v>
                </c:pt>
                <c:pt idx="3">
                  <c:v>66</c:v>
                </c:pt>
                <c:pt idx="4">
                  <c:v>66</c:v>
                </c:pt>
                <c:pt idx="5">
                  <c:v>76</c:v>
                </c:pt>
                <c:pt idx="6">
                  <c:v>86</c:v>
                </c:pt>
              </c:numCache>
            </c:numRef>
          </c:val>
          <c:extLst>
            <c:ext xmlns:c16="http://schemas.microsoft.com/office/drawing/2014/chart" uri="{C3380CC4-5D6E-409C-BE32-E72D297353CC}">
              <c16:uniqueId val="{00000007-EB1A-4A7B-8C47-0F0318797DF1}"/>
            </c:ext>
          </c:extLst>
        </c:ser>
        <c:ser>
          <c:idx val="1"/>
          <c:order val="1"/>
          <c:spPr>
            <a:solidFill>
              <a:srgbClr val="ABA8B3"/>
            </a:solidFill>
            <a:ln w="19050" cap="flat" algn="ctr">
              <a:solidFill>
                <a:schemeClr val="bg1"/>
              </a:solidFill>
              <a:prstDash val="solid"/>
            </a:ln>
          </c:spPr>
          <c:invertIfNegative val="0"/>
          <c:dLbls>
            <c:dLbl>
              <c:idx val="0"/>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B1A-4A7B-8C47-0F0318797DF1}"/>
                </c:ext>
              </c:extLst>
            </c:dLbl>
            <c:dLbl>
              <c:idx val="1"/>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B1A-4A7B-8C47-0F0318797DF1}"/>
                </c:ext>
              </c:extLst>
            </c:dLbl>
            <c:dLbl>
              <c:idx val="2"/>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B1A-4A7B-8C47-0F0318797DF1}"/>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B1A-4A7B-8C47-0F0318797DF1}"/>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B1A-4A7B-8C47-0F0318797DF1}"/>
                </c:ext>
              </c:extLst>
            </c:dLbl>
            <c:dLbl>
              <c:idx val="5"/>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B1A-4A7B-8C47-0F0318797DF1}"/>
                </c:ext>
              </c:extLst>
            </c:dLbl>
            <c:dLbl>
              <c:idx val="6"/>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B1A-4A7B-8C47-0F0318797D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80</c:v>
                </c:pt>
                <c:pt idx="1">
                  <c:v>71</c:v>
                </c:pt>
                <c:pt idx="2">
                  <c:v>71</c:v>
                </c:pt>
                <c:pt idx="3">
                  <c:v>80</c:v>
                </c:pt>
                <c:pt idx="4">
                  <c:v>81</c:v>
                </c:pt>
                <c:pt idx="5">
                  <c:v>85</c:v>
                </c:pt>
                <c:pt idx="6">
                  <c:v>82</c:v>
                </c:pt>
              </c:numCache>
            </c:numRef>
          </c:val>
          <c:extLst>
            <c:ext xmlns:c16="http://schemas.microsoft.com/office/drawing/2014/chart" uri="{C3380CC4-5D6E-409C-BE32-E72D297353CC}">
              <c16:uniqueId val="{0000000F-EB1A-4A7B-8C47-0F0318797DF1}"/>
            </c:ext>
          </c:extLst>
        </c:ser>
        <c:ser>
          <c:idx val="2"/>
          <c:order val="2"/>
          <c:spPr>
            <a:solidFill>
              <a:srgbClr val="837F7F"/>
            </a:solidFill>
            <a:ln w="19050" cap="flat" algn="ctr">
              <a:solidFill>
                <a:schemeClr val="bg1"/>
              </a:solidFill>
              <a:prstDash val="solid"/>
            </a:ln>
          </c:spPr>
          <c:invertIfNegative val="0"/>
          <c:dLbls>
            <c:dLbl>
              <c:idx val="0"/>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B1A-4A7B-8C47-0F0318797DF1}"/>
                </c:ext>
              </c:extLst>
            </c:dLbl>
            <c:dLbl>
              <c:idx val="1"/>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B1A-4A7B-8C47-0F0318797DF1}"/>
                </c:ext>
              </c:extLst>
            </c:dLbl>
            <c:dLbl>
              <c:idx val="2"/>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B1A-4A7B-8C47-0F0318797DF1}"/>
                </c:ext>
              </c:extLst>
            </c:dLbl>
            <c:dLbl>
              <c:idx val="3"/>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B1A-4A7B-8C47-0F0318797DF1}"/>
                </c:ext>
              </c:extLst>
            </c:dLbl>
            <c:dLbl>
              <c:idx val="4"/>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B1A-4A7B-8C47-0F0318797DF1}"/>
                </c:ext>
              </c:extLst>
            </c:dLbl>
            <c:dLbl>
              <c:idx val="5"/>
              <c:layout>
                <c:manualLayout>
                  <c:x val="0"/>
                  <c:y val="2.479338842975206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B1A-4A7B-8C47-0F0318797DF1}"/>
                </c:ext>
              </c:extLst>
            </c:dLbl>
            <c:dLbl>
              <c:idx val="6"/>
              <c:layout>
                <c:manualLayout>
                  <c:x val="0"/>
                  <c:y val="1.65289256198347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B1A-4A7B-8C47-0F0318797D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75</c:v>
                </c:pt>
                <c:pt idx="1">
                  <c:v>67</c:v>
                </c:pt>
                <c:pt idx="2">
                  <c:v>59</c:v>
                </c:pt>
                <c:pt idx="3">
                  <c:v>74</c:v>
                </c:pt>
                <c:pt idx="4">
                  <c:v>73</c:v>
                </c:pt>
                <c:pt idx="5">
                  <c:v>84</c:v>
                </c:pt>
                <c:pt idx="6">
                  <c:v>85</c:v>
                </c:pt>
              </c:numCache>
            </c:numRef>
          </c:val>
          <c:extLst>
            <c:ext xmlns:c16="http://schemas.microsoft.com/office/drawing/2014/chart" uri="{C3380CC4-5D6E-409C-BE32-E72D297353CC}">
              <c16:uniqueId val="{00000017-EB1A-4A7B-8C47-0F0318797DF1}"/>
            </c:ext>
          </c:extLst>
        </c:ser>
        <c:dLbls>
          <c:showLegendKey val="0"/>
          <c:showVal val="0"/>
          <c:showCatName val="0"/>
          <c:showSerName val="0"/>
          <c:showPercent val="0"/>
          <c:showBubbleSize val="0"/>
        </c:dLbls>
        <c:gapWidth val="60"/>
        <c:axId val="1840636288"/>
        <c:axId val="1"/>
      </c:barChart>
      <c:catAx>
        <c:axId val="1840636288"/>
        <c:scaling>
          <c:orientation val="minMax"/>
        </c:scaling>
        <c:delete val="0"/>
        <c:axPos val="b"/>
        <c:majorGridlines>
          <c:spPr>
            <a:ln>
              <a:noFill/>
            </a:ln>
          </c:spPr>
        </c:majorGridlines>
        <c:majorTickMark val="out"/>
        <c:minorTickMark val="none"/>
        <c:tickLblPos val="none"/>
        <c:spPr>
          <a:ln w="9525" cap="flat" algn="ctr">
            <a:solidFill>
              <a:srgbClr val="7F7F7F"/>
            </a:solidFill>
            <a:prstDash val="solid"/>
          </a:ln>
        </c:spPr>
        <c:txPr>
          <a:bodyPr wrap="none"/>
          <a:lstStyle/>
          <a:p>
            <a:pPr>
              <a:defRPr sz="12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840636288"/>
        <c:crosses val="min"/>
        <c:crossBetween val="between"/>
        <c:majorUnit val="5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22356091030789E-2"/>
          <c:y val="5.9428571428571428E-2"/>
          <c:w val="0.97215528781793847"/>
          <c:h val="0.88114285714285712"/>
        </c:manualLayout>
      </c:layout>
      <c:barChart>
        <c:barDir val="bar"/>
        <c:grouping val="stacked"/>
        <c:varyColors val="0"/>
        <c:ser>
          <c:idx val="0"/>
          <c:order val="0"/>
          <c:spPr>
            <a:solidFill>
              <a:srgbClr val="A1E26F"/>
            </a:solidFill>
            <a:ln>
              <a:noFill/>
            </a:ln>
          </c:spPr>
          <c:invertIfNegative val="0"/>
          <c:dLbls>
            <c:dLbl>
              <c:idx val="0"/>
              <c:layout>
                <c:manualLayout>
                  <c:x val="0"/>
                  <c:y val="-3.428571428571428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7D-4F17-A33A-BC3934148229}"/>
                </c:ext>
              </c:extLst>
            </c:dLbl>
            <c:dLbl>
              <c:idx val="1"/>
              <c:layout>
                <c:manualLayout>
                  <c:x val="0"/>
                  <c:y val="-3.428571428571428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7D-4F17-A33A-BC39341482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3.881748071979432</c:v>
                </c:pt>
                <c:pt idx="1">
                  <c:v>5</c:v>
                </c:pt>
              </c:numCache>
            </c:numRef>
          </c:val>
          <c:extLst>
            <c:ext xmlns:c16="http://schemas.microsoft.com/office/drawing/2014/chart" uri="{C3380CC4-5D6E-409C-BE32-E72D297353CC}">
              <c16:uniqueId val="{00000002-CE7D-4F17-A33A-BC3934148229}"/>
            </c:ext>
          </c:extLst>
        </c:ser>
        <c:ser>
          <c:idx val="1"/>
          <c:order val="1"/>
          <c:spPr>
            <a:solidFill>
              <a:srgbClr val="C8C8C8"/>
            </a:solidFill>
            <a:ln>
              <a:noFill/>
            </a:ln>
          </c:spPr>
          <c:invertIfNegative val="0"/>
          <c:dLbls>
            <c:dLbl>
              <c:idx val="0"/>
              <c:layout>
                <c:manualLayout>
                  <c:x val="0"/>
                  <c:y val="-3.428571428571428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7D-4F17-A33A-BC39341482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1.336760925449866</c:v>
                </c:pt>
                <c:pt idx="1">
                  <c:v>1.2499999999999998</c:v>
                </c:pt>
              </c:numCache>
            </c:numRef>
          </c:val>
          <c:extLst>
            <c:ext xmlns:c16="http://schemas.microsoft.com/office/drawing/2014/chart" uri="{C3380CC4-5D6E-409C-BE32-E72D297353CC}">
              <c16:uniqueId val="{00000004-CE7D-4F17-A33A-BC3934148229}"/>
            </c:ext>
          </c:extLst>
        </c:ser>
        <c:ser>
          <c:idx val="2"/>
          <c:order val="2"/>
          <c:spPr>
            <a:solidFill>
              <a:srgbClr val="837F7F"/>
            </a:solidFill>
            <a:ln>
              <a:noFill/>
            </a:ln>
          </c:spPr>
          <c:invertIfNegative val="0"/>
          <c:dLbls>
            <c:dLbl>
              <c:idx val="0"/>
              <c:layout>
                <c:manualLayout>
                  <c:x val="0"/>
                  <c:y val="-3.428571428571428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7D-4F17-A33A-BC3934148229}"/>
                </c:ext>
              </c:extLst>
            </c:dLbl>
            <c:dLbl>
              <c:idx val="1"/>
              <c:layout>
                <c:manualLayout>
                  <c:x val="0"/>
                  <c:y val="-3.428571428571428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7D-4F17-A33A-BC39341482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64.781491002570689</c:v>
                </c:pt>
                <c:pt idx="1">
                  <c:v>93.75</c:v>
                </c:pt>
              </c:numCache>
            </c:numRef>
          </c:val>
          <c:extLst>
            <c:ext xmlns:c16="http://schemas.microsoft.com/office/drawing/2014/chart" uri="{C3380CC4-5D6E-409C-BE32-E72D297353CC}">
              <c16:uniqueId val="{00000007-CE7D-4F17-A33A-BC3934148229}"/>
            </c:ext>
          </c:extLst>
        </c:ser>
        <c:dLbls>
          <c:showLegendKey val="0"/>
          <c:showVal val="0"/>
          <c:showCatName val="0"/>
          <c:showSerName val="0"/>
          <c:showPercent val="0"/>
          <c:showBubbleSize val="0"/>
        </c:dLbls>
        <c:gapWidth val="60"/>
        <c:overlap val="100"/>
        <c:axId val="1362479456"/>
        <c:axId val="1"/>
      </c:barChart>
      <c:catAx>
        <c:axId val="136247945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362479456"/>
        <c:crosses val="max"/>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13490364025696E-2"/>
          <c:y val="8.4967320261437912E-2"/>
          <c:w val="0.97773019271948614"/>
          <c:h val="0.83006535947712423"/>
        </c:manualLayout>
      </c:layout>
      <c:barChart>
        <c:barDir val="bar"/>
        <c:grouping val="stacked"/>
        <c:varyColors val="0"/>
        <c:ser>
          <c:idx val="0"/>
          <c:order val="0"/>
          <c:spPr>
            <a:solidFill>
              <a:srgbClr val="A1E26F"/>
            </a:solidFill>
            <a:ln>
              <a:noFill/>
            </a:ln>
          </c:spPr>
          <c:invertIfNegative val="0"/>
          <c:dLbls>
            <c:dLbl>
              <c:idx val="0"/>
              <c:layout>
                <c:manualLayout>
                  <c:x val="-2.1413276231263382E-4"/>
                  <c:y val="-4.901960784313725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D4-4FE8-9CF9-3176EBC938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2.111801242236025</c:v>
                </c:pt>
              </c:numCache>
            </c:numRef>
          </c:val>
          <c:extLst>
            <c:ext xmlns:c16="http://schemas.microsoft.com/office/drawing/2014/chart" uri="{C3380CC4-5D6E-409C-BE32-E72D297353CC}">
              <c16:uniqueId val="{00000001-9CD4-4FE8-9CF9-3176EBC938E8}"/>
            </c:ext>
          </c:extLst>
        </c:ser>
        <c:ser>
          <c:idx val="1"/>
          <c:order val="1"/>
          <c:spPr>
            <a:solidFill>
              <a:srgbClr val="C8C8C8"/>
            </a:solidFill>
            <a:ln>
              <a:noFill/>
            </a:ln>
          </c:spPr>
          <c:invertIfNegative val="0"/>
          <c:dLbls>
            <c:dLbl>
              <c:idx val="0"/>
              <c:layout>
                <c:manualLayout>
                  <c:x val="0"/>
                  <c:y val="-4.901960784313725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D4-4FE8-9CF9-3176EBC938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1.490683229813666</c:v>
                </c:pt>
              </c:numCache>
            </c:numRef>
          </c:val>
          <c:extLst>
            <c:ext xmlns:c16="http://schemas.microsoft.com/office/drawing/2014/chart" uri="{C3380CC4-5D6E-409C-BE32-E72D297353CC}">
              <c16:uniqueId val="{00000003-9CD4-4FE8-9CF9-3176EBC938E8}"/>
            </c:ext>
          </c:extLst>
        </c:ser>
        <c:ser>
          <c:idx val="2"/>
          <c:order val="2"/>
          <c:spPr>
            <a:solidFill>
              <a:srgbClr val="837F7F"/>
            </a:solidFill>
            <a:ln>
              <a:noFill/>
            </a:ln>
          </c:spPr>
          <c:invertIfNegative val="0"/>
          <c:dLbls>
            <c:dLbl>
              <c:idx val="0"/>
              <c:layout>
                <c:manualLayout>
                  <c:x val="0"/>
                  <c:y val="-4.901960784313725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D4-4FE8-9CF9-3176EBC938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76.397515527950304</c:v>
                </c:pt>
              </c:numCache>
            </c:numRef>
          </c:val>
          <c:extLst>
            <c:ext xmlns:c16="http://schemas.microsoft.com/office/drawing/2014/chart" uri="{C3380CC4-5D6E-409C-BE32-E72D297353CC}">
              <c16:uniqueId val="{00000005-9CD4-4FE8-9CF9-3176EBC938E8}"/>
            </c:ext>
          </c:extLst>
        </c:ser>
        <c:dLbls>
          <c:showLegendKey val="0"/>
          <c:showVal val="0"/>
          <c:showCatName val="0"/>
          <c:showSerName val="0"/>
          <c:showPercent val="0"/>
          <c:showBubbleSize val="0"/>
        </c:dLbls>
        <c:gapWidth val="60"/>
        <c:overlap val="100"/>
        <c:axId val="1434702936"/>
        <c:axId val="1"/>
      </c:barChart>
      <c:catAx>
        <c:axId val="143470293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434702936"/>
        <c:crosses val="max"/>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79650315687227E-2"/>
          <c:y val="1.9563581640331076E-2"/>
          <c:w val="0.91840699368625545"/>
          <c:h val="0.90255831452219715"/>
        </c:manualLayout>
      </c:layout>
      <c:barChart>
        <c:barDir val="bar"/>
        <c:grouping val="stacked"/>
        <c:varyColors val="0"/>
        <c:ser>
          <c:idx val="0"/>
          <c:order val="0"/>
          <c:spPr>
            <a:solidFill>
              <a:srgbClr val="29BA74"/>
            </a:solidFill>
            <a:ln>
              <a:noFill/>
            </a:ln>
          </c:spPr>
          <c:invertIfNegative val="0"/>
          <c:dLbls>
            <c:dLbl>
              <c:idx val="0"/>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E66-47C8-A1FD-31EB4BE1640A}"/>
                </c:ext>
              </c:extLst>
            </c:dLbl>
            <c:dLbl>
              <c:idx val="1"/>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E66-47C8-A1FD-31EB4BE1640A}"/>
                </c:ext>
              </c:extLst>
            </c:dLbl>
            <c:dLbl>
              <c:idx val="2"/>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E66-47C8-A1FD-31EB4BE1640A}"/>
                </c:ext>
              </c:extLst>
            </c:dLbl>
            <c:dLbl>
              <c:idx val="3"/>
              <c:layout>
                <c:manualLayout>
                  <c:x val="-2.4283632831471587E-4"/>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E66-47C8-A1FD-31EB4BE164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5.58</c:v>
                </c:pt>
                <c:pt idx="1">
                  <c:v>53.26</c:v>
                </c:pt>
                <c:pt idx="2">
                  <c:v>51.29</c:v>
                </c:pt>
                <c:pt idx="3">
                  <c:v>42.28</c:v>
                </c:pt>
              </c:numCache>
            </c:numRef>
          </c:val>
          <c:extLst>
            <c:ext xmlns:c16="http://schemas.microsoft.com/office/drawing/2014/chart" uri="{C3380CC4-5D6E-409C-BE32-E72D297353CC}">
              <c16:uniqueId val="{00000004-2E66-47C8-A1FD-31EB4BE1640A}"/>
            </c:ext>
          </c:extLst>
        </c:ser>
        <c:ser>
          <c:idx val="1"/>
          <c:order val="1"/>
          <c:spPr>
            <a:solidFill>
              <a:srgbClr val="C8C8C8"/>
            </a:solidFill>
            <a:ln>
              <a:noFill/>
            </a:ln>
          </c:spPr>
          <c:invertIfNegative val="0"/>
          <c:dLbls>
            <c:dLbl>
              <c:idx val="0"/>
              <c:layout>
                <c:manualLayout>
                  <c:x val="-2.4283632831471587E-4"/>
                  <c:y val="-1.128668171557562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E66-47C8-A1FD-31EB4BE1640A}"/>
                </c:ext>
              </c:extLst>
            </c:dLbl>
            <c:dLbl>
              <c:idx val="1"/>
              <c:layout>
                <c:manualLayout>
                  <c:x val="-2.4283632831471587E-4"/>
                  <c:y val="-1.128668171557562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E66-47C8-A1FD-31EB4BE1640A}"/>
                </c:ext>
              </c:extLst>
            </c:dLbl>
            <c:dLbl>
              <c:idx val="2"/>
              <c:layout>
                <c:manualLayout>
                  <c:x val="0"/>
                  <c:y val="-1.128668171557562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E66-47C8-A1FD-31EB4BE1640A}"/>
                </c:ext>
              </c:extLst>
            </c:dLbl>
            <c:dLbl>
              <c:idx val="3"/>
              <c:layout>
                <c:manualLayout>
                  <c:x val="-2.4283632831471587E-4"/>
                  <c:y val="-1.128668171557562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E66-47C8-A1FD-31EB4BE164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2.809999999999988</c:v>
                </c:pt>
                <c:pt idx="1">
                  <c:v>45.129999999999988</c:v>
                </c:pt>
                <c:pt idx="2">
                  <c:v>47.099999999999987</c:v>
                </c:pt>
                <c:pt idx="3">
                  <c:v>53.710000000000008</c:v>
                </c:pt>
              </c:numCache>
            </c:numRef>
          </c:val>
          <c:extLst>
            <c:ext xmlns:c16="http://schemas.microsoft.com/office/drawing/2014/chart" uri="{C3380CC4-5D6E-409C-BE32-E72D297353CC}">
              <c16:uniqueId val="{00000009-2E66-47C8-A1FD-31EB4BE1640A}"/>
            </c:ext>
          </c:extLst>
        </c:ser>
        <c:ser>
          <c:idx val="2"/>
          <c:order val="2"/>
          <c:spPr>
            <a:solidFill>
              <a:srgbClr val="6E6F73"/>
            </a:solidFill>
            <a:ln>
              <a:noFill/>
            </a:ln>
          </c:spPr>
          <c:invertIfNegative val="0"/>
          <c:dLbls>
            <c:dLbl>
              <c:idx val="0"/>
              <c:layout>
                <c:manualLayout>
                  <c:x val="-2.4283632831471587E-4"/>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E66-47C8-A1FD-31EB4BE1640A}"/>
                </c:ext>
              </c:extLst>
            </c:dLbl>
            <c:dLbl>
              <c:idx val="1"/>
              <c:layout>
                <c:manualLayout>
                  <c:x val="-2.4283632831471587E-4"/>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E66-47C8-A1FD-31EB4BE1640A}"/>
                </c:ext>
              </c:extLst>
            </c:dLbl>
            <c:dLbl>
              <c:idx val="2"/>
              <c:layout>
                <c:manualLayout>
                  <c:x val="-2.4283632831471587E-4"/>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E66-47C8-A1FD-31EB4BE1640A}"/>
                </c:ext>
              </c:extLst>
            </c:dLbl>
            <c:dLbl>
              <c:idx val="3"/>
              <c:layout>
                <c:manualLayout>
                  <c:x val="0"/>
                  <c:y val="-1.12866817155756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E66-47C8-A1FD-31EB4BE164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6099999999999994</c:v>
                </c:pt>
                <c:pt idx="1">
                  <c:v>1.6099999999999994</c:v>
                </c:pt>
                <c:pt idx="2">
                  <c:v>1.6099999999999994</c:v>
                </c:pt>
                <c:pt idx="3">
                  <c:v>4.0100000000000051</c:v>
                </c:pt>
              </c:numCache>
            </c:numRef>
          </c:val>
          <c:extLst>
            <c:ext xmlns:c16="http://schemas.microsoft.com/office/drawing/2014/chart" uri="{C3380CC4-5D6E-409C-BE32-E72D297353CC}">
              <c16:uniqueId val="{0000000E-2E66-47C8-A1FD-31EB4BE1640A}"/>
            </c:ext>
          </c:extLst>
        </c:ser>
        <c:dLbls>
          <c:showLegendKey val="0"/>
          <c:showVal val="0"/>
          <c:showCatName val="0"/>
          <c:showSerName val="0"/>
          <c:showPercent val="0"/>
          <c:showBubbleSize val="0"/>
        </c:dLbls>
        <c:gapWidth val="60"/>
        <c:overlap val="100"/>
        <c:axId val="76540607"/>
        <c:axId val="1"/>
      </c:barChart>
      <c:catAx>
        <c:axId val="76540607"/>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76540607"/>
        <c:crosses val="max"/>
        <c:crossBetween val="between"/>
        <c:majorUnit val="2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457050243111829E-2"/>
          <c:y val="2.3582766439909298E-2"/>
          <c:w val="0.89108589951377637"/>
          <c:h val="0.88253968253968251"/>
        </c:manualLayout>
      </c:layout>
      <c:barChart>
        <c:barDir val="bar"/>
        <c:grouping val="stacked"/>
        <c:varyColors val="0"/>
        <c:ser>
          <c:idx val="0"/>
          <c:order val="0"/>
          <c:spPr>
            <a:solidFill>
              <a:srgbClr val="29BA74"/>
            </a:solidFill>
            <a:ln>
              <a:noFill/>
            </a:ln>
          </c:spPr>
          <c:invertIfNegative val="0"/>
          <c:dLbls>
            <c:dLbl>
              <c:idx val="0"/>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17-4BA1-A0D9-C4B462304D15}"/>
                </c:ext>
              </c:extLst>
            </c:dLbl>
            <c:dLbl>
              <c:idx val="1"/>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17-4BA1-A0D9-C4B462304D15}"/>
                </c:ext>
              </c:extLst>
            </c:dLbl>
            <c:dLbl>
              <c:idx val="2"/>
              <c:layout>
                <c:manualLayout>
                  <c:x val="-3.2414910858995135E-4"/>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17-4BA1-A0D9-C4B462304D15}"/>
                </c:ext>
              </c:extLst>
            </c:dLbl>
            <c:dLbl>
              <c:idx val="3"/>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17-4BA1-A0D9-C4B462304D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3.910000000000004</c:v>
                </c:pt>
                <c:pt idx="1">
                  <c:v>37.130000000000003</c:v>
                </c:pt>
                <c:pt idx="2">
                  <c:v>31.990000000000002</c:v>
                </c:pt>
                <c:pt idx="3">
                  <c:v>29.049999999999997</c:v>
                </c:pt>
              </c:numCache>
            </c:numRef>
          </c:val>
          <c:extLst>
            <c:ext xmlns:c16="http://schemas.microsoft.com/office/drawing/2014/chart" uri="{C3380CC4-5D6E-409C-BE32-E72D297353CC}">
              <c16:uniqueId val="{00000004-8217-4BA1-A0D9-C4B462304D15}"/>
            </c:ext>
          </c:extLst>
        </c:ser>
        <c:ser>
          <c:idx val="1"/>
          <c:order val="1"/>
          <c:spPr>
            <a:solidFill>
              <a:schemeClr val="accent2"/>
            </a:solidFill>
            <a:ln>
              <a:noFill/>
            </a:ln>
          </c:spPr>
          <c:invertIfNegative val="0"/>
          <c:dLbls>
            <c:dLbl>
              <c:idx val="0"/>
              <c:layout>
                <c:manualLayout>
                  <c:x val="-3.2414910858995135E-4"/>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217-4BA1-A0D9-C4B462304D15}"/>
                </c:ext>
              </c:extLst>
            </c:dLbl>
            <c:dLbl>
              <c:idx val="1"/>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217-4BA1-A0D9-C4B462304D15}"/>
                </c:ext>
              </c:extLst>
            </c:dLbl>
            <c:dLbl>
              <c:idx val="2"/>
              <c:layout>
                <c:manualLayout>
                  <c:x val="-3.2414910858995135E-4"/>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217-4BA1-A0D9-C4B462304D15}"/>
                </c:ext>
              </c:extLst>
            </c:dLbl>
            <c:dLbl>
              <c:idx val="3"/>
              <c:layout>
                <c:manualLayout>
                  <c:x val="0"/>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217-4BA1-A0D9-C4B462304D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7.83</c:v>
                </c:pt>
                <c:pt idx="1">
                  <c:v>44.3</c:v>
                </c:pt>
                <c:pt idx="2">
                  <c:v>44.56</c:v>
                </c:pt>
                <c:pt idx="3">
                  <c:v>46.550000000000004</c:v>
                </c:pt>
              </c:numCache>
            </c:numRef>
          </c:val>
          <c:extLst>
            <c:ext xmlns:c16="http://schemas.microsoft.com/office/drawing/2014/chart" uri="{C3380CC4-5D6E-409C-BE32-E72D297353CC}">
              <c16:uniqueId val="{00000009-8217-4BA1-A0D9-C4B462304D15}"/>
            </c:ext>
          </c:extLst>
        </c:ser>
        <c:ser>
          <c:idx val="2"/>
          <c:order val="2"/>
          <c:spPr>
            <a:solidFill>
              <a:srgbClr val="C8C8C8"/>
            </a:solidFill>
            <a:ln>
              <a:noFill/>
            </a:ln>
          </c:spPr>
          <c:invertIfNegative val="0"/>
          <c:dLbls>
            <c:dLbl>
              <c:idx val="0"/>
              <c:layout>
                <c:manualLayout>
                  <c:x val="0"/>
                  <c:y val="-1.36054421768707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217-4BA1-A0D9-C4B462304D15}"/>
                </c:ext>
              </c:extLst>
            </c:dLbl>
            <c:dLbl>
              <c:idx val="1"/>
              <c:layout>
                <c:manualLayout>
                  <c:x val="0"/>
                  <c:y val="-1.36054421768707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217-4BA1-A0D9-C4B462304D15}"/>
                </c:ext>
              </c:extLst>
            </c:dLbl>
            <c:dLbl>
              <c:idx val="2"/>
              <c:layout>
                <c:manualLayout>
                  <c:x val="0"/>
                  <c:y val="-1.36054421768707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217-4BA1-A0D9-C4B462304D15}"/>
                </c:ext>
              </c:extLst>
            </c:dLbl>
            <c:dLbl>
              <c:idx val="3"/>
              <c:layout>
                <c:manualLayout>
                  <c:x val="-3.2414910858995135E-4"/>
                  <c:y val="-1.36054421768707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217-4BA1-A0D9-C4B462304D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4.429999999999998</c:v>
                </c:pt>
                <c:pt idx="1">
                  <c:v>14.769999999999994</c:v>
                </c:pt>
                <c:pt idx="2">
                  <c:v>16.739999999999998</c:v>
                </c:pt>
                <c:pt idx="3">
                  <c:v>15.249999999999996</c:v>
                </c:pt>
              </c:numCache>
            </c:numRef>
          </c:val>
          <c:extLst>
            <c:ext xmlns:c16="http://schemas.microsoft.com/office/drawing/2014/chart" uri="{C3380CC4-5D6E-409C-BE32-E72D297353CC}">
              <c16:uniqueId val="{0000000E-8217-4BA1-A0D9-C4B462304D15}"/>
            </c:ext>
          </c:extLst>
        </c:ser>
        <c:ser>
          <c:idx val="3"/>
          <c:order val="3"/>
          <c:spPr>
            <a:solidFill>
              <a:srgbClr val="ABA8B3"/>
            </a:solidFill>
            <a:ln>
              <a:noFill/>
            </a:ln>
          </c:spPr>
          <c:invertIfNegative val="0"/>
          <c:dLbls>
            <c:dLbl>
              <c:idx val="2"/>
              <c:layout>
                <c:manualLayout>
                  <c:x val="0"/>
                  <c:y val="-3.6281179138321996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217-4BA1-A0D9-C4B462304D15}"/>
                </c:ext>
              </c:extLst>
            </c:dLbl>
            <c:dLbl>
              <c:idx val="3"/>
              <c:layout>
                <c:manualLayout>
                  <c:x val="-3.2414910858995135E-4"/>
                  <c:y val="-1.36054421768707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217-4BA1-A0D9-C4B462304D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2599999999999953</c:v>
                </c:pt>
                <c:pt idx="1">
                  <c:v>2.1100000000000008</c:v>
                </c:pt>
                <c:pt idx="2">
                  <c:v>5.0300000000000011</c:v>
                </c:pt>
                <c:pt idx="3">
                  <c:v>7.2200000000000042</c:v>
                </c:pt>
              </c:numCache>
            </c:numRef>
          </c:val>
          <c:extLst>
            <c:ext xmlns:c16="http://schemas.microsoft.com/office/drawing/2014/chart" uri="{C3380CC4-5D6E-409C-BE32-E72D297353CC}">
              <c16:uniqueId val="{00000011-8217-4BA1-A0D9-C4B462304D15}"/>
            </c:ext>
          </c:extLst>
        </c:ser>
        <c:ser>
          <c:idx val="4"/>
          <c:order val="4"/>
          <c:spPr>
            <a:solidFill>
              <a:srgbClr val="837F7F"/>
            </a:solidFill>
            <a:ln>
              <a:noFill/>
            </a:ln>
          </c:spPr>
          <c:invertIfNegative val="0"/>
          <c:val>
            <c:numRef>
              <c:f>Sheet1!$A$5:$D$5</c:f>
              <c:numCache>
                <c:formatCode>General</c:formatCode>
                <c:ptCount val="4"/>
                <c:pt idx="0">
                  <c:v>1.5700000000000047</c:v>
                </c:pt>
                <c:pt idx="1">
                  <c:v>1.6900000000000026</c:v>
                </c:pt>
                <c:pt idx="2">
                  <c:v>1.6799999999999926</c:v>
                </c:pt>
                <c:pt idx="3">
                  <c:v>1.9299999999999984</c:v>
                </c:pt>
              </c:numCache>
            </c:numRef>
          </c:val>
          <c:extLst>
            <c:ext xmlns:c16="http://schemas.microsoft.com/office/drawing/2014/chart" uri="{C3380CC4-5D6E-409C-BE32-E72D297353CC}">
              <c16:uniqueId val="{00000012-8217-4BA1-A0D9-C4B462304D15}"/>
            </c:ext>
          </c:extLst>
        </c:ser>
        <c:dLbls>
          <c:showLegendKey val="0"/>
          <c:showVal val="0"/>
          <c:showCatName val="0"/>
          <c:showSerName val="0"/>
          <c:showPercent val="0"/>
          <c:showBubbleSize val="0"/>
        </c:dLbls>
        <c:gapWidth val="60"/>
        <c:overlap val="100"/>
        <c:axId val="1164618392"/>
        <c:axId val="1"/>
      </c:barChart>
      <c:catAx>
        <c:axId val="1164618392"/>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164618392"/>
        <c:crosses val="max"/>
        <c:crossBetween val="between"/>
        <c:majorUnit val="20"/>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8421052631579E-2"/>
          <c:y val="6.9705093833780166E-2"/>
          <c:w val="0.9726315789473684"/>
          <c:h val="0.8605898123324397"/>
        </c:manualLayout>
      </c:layout>
      <c:barChart>
        <c:barDir val="bar"/>
        <c:grouping val="stacked"/>
        <c:varyColors val="0"/>
        <c:ser>
          <c:idx val="0"/>
          <c:order val="0"/>
          <c:spPr>
            <a:solidFill>
              <a:srgbClr val="A1E26F"/>
            </a:solidFill>
            <a:ln>
              <a:noFill/>
            </a:ln>
          </c:spPr>
          <c:invertIfNegative val="0"/>
          <c:dLbls>
            <c:dLbl>
              <c:idx val="0"/>
              <c:layout>
                <c:manualLayout>
                  <c:x val="0"/>
                  <c:y val="-4.02144772117962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EB-48F8-B1C5-6A7C486089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5.384615384615385</c:v>
                </c:pt>
              </c:numCache>
            </c:numRef>
          </c:val>
          <c:extLst>
            <c:ext xmlns:c16="http://schemas.microsoft.com/office/drawing/2014/chart" uri="{C3380CC4-5D6E-409C-BE32-E72D297353CC}">
              <c16:uniqueId val="{00000001-29EB-48F8-B1C5-6A7C48608925}"/>
            </c:ext>
          </c:extLst>
        </c:ser>
        <c:ser>
          <c:idx val="1"/>
          <c:order val="1"/>
          <c:spPr>
            <a:solidFill>
              <a:srgbClr val="C8C8C8"/>
            </a:solidFill>
            <a:ln>
              <a:noFill/>
            </a:ln>
          </c:spPr>
          <c:invertIfNegative val="0"/>
          <c:dLbls>
            <c:dLbl>
              <c:idx val="0"/>
              <c:layout>
                <c:manualLayout>
                  <c:x val="0"/>
                  <c:y val="-4.021447721179624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EB-48F8-B1C5-6A7C486089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1.538461538461542</c:v>
                </c:pt>
              </c:numCache>
            </c:numRef>
          </c:val>
          <c:extLst>
            <c:ext xmlns:c16="http://schemas.microsoft.com/office/drawing/2014/chart" uri="{C3380CC4-5D6E-409C-BE32-E72D297353CC}">
              <c16:uniqueId val="{00000003-29EB-48F8-B1C5-6A7C48608925}"/>
            </c:ext>
          </c:extLst>
        </c:ser>
        <c:ser>
          <c:idx val="2"/>
          <c:order val="2"/>
          <c:spPr>
            <a:solidFill>
              <a:srgbClr val="837F7F"/>
            </a:solidFill>
            <a:ln>
              <a:noFill/>
            </a:ln>
          </c:spPr>
          <c:invertIfNegative val="0"/>
          <c:dLbls>
            <c:dLbl>
              <c:idx val="0"/>
              <c:layout>
                <c:manualLayout>
                  <c:x val="-2.631578947368421E-4"/>
                  <c:y val="-4.021447721179624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EB-48F8-B1C5-6A7C486089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73.076923076923066</c:v>
                </c:pt>
              </c:numCache>
            </c:numRef>
          </c:val>
          <c:extLst>
            <c:ext xmlns:c16="http://schemas.microsoft.com/office/drawing/2014/chart" uri="{C3380CC4-5D6E-409C-BE32-E72D297353CC}">
              <c16:uniqueId val="{00000005-29EB-48F8-B1C5-6A7C48608925}"/>
            </c:ext>
          </c:extLst>
        </c:ser>
        <c:dLbls>
          <c:showLegendKey val="0"/>
          <c:showVal val="0"/>
          <c:showCatName val="0"/>
          <c:showSerName val="0"/>
          <c:showPercent val="0"/>
          <c:showBubbleSize val="0"/>
        </c:dLbls>
        <c:gapWidth val="60"/>
        <c:overlap val="100"/>
        <c:axId val="2015275536"/>
        <c:axId val="1"/>
      </c:barChart>
      <c:catAx>
        <c:axId val="2015275536"/>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2015275536"/>
        <c:crosses val="max"/>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640671273445213E-2"/>
          <c:y val="6.5081351689612016E-2"/>
          <c:w val="0.94471865745310957"/>
          <c:h val="0.6758448060075094"/>
        </c:manualLayout>
      </c:layout>
      <c:barChart>
        <c:barDir val="bar"/>
        <c:grouping val="stacked"/>
        <c:varyColors val="0"/>
        <c:ser>
          <c:idx val="0"/>
          <c:order val="0"/>
          <c:spPr>
            <a:solidFill>
              <a:schemeClr val="tx2"/>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0E-4E3F-AABA-3C7B6B917F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2.54</c:v>
                </c:pt>
              </c:numCache>
            </c:numRef>
          </c:val>
          <c:extLst>
            <c:ext xmlns:c16="http://schemas.microsoft.com/office/drawing/2014/chart" uri="{C3380CC4-5D6E-409C-BE32-E72D297353CC}">
              <c16:uniqueId val="{00000001-C10E-4E3F-AABA-3C7B6B917F2D}"/>
            </c:ext>
          </c:extLst>
        </c:ser>
        <c:ser>
          <c:idx val="1"/>
          <c:order val="1"/>
          <c:spPr>
            <a:solidFill>
              <a:schemeClr val="accent2"/>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0E-4E3F-AABA-3C7B6B917F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0.4</c:v>
                </c:pt>
              </c:numCache>
            </c:numRef>
          </c:val>
          <c:extLst>
            <c:ext xmlns:c16="http://schemas.microsoft.com/office/drawing/2014/chart" uri="{C3380CC4-5D6E-409C-BE32-E72D297353CC}">
              <c16:uniqueId val="{00000003-C10E-4E3F-AABA-3C7B6B917F2D}"/>
            </c:ext>
          </c:extLst>
        </c:ser>
        <c:ser>
          <c:idx val="2"/>
          <c:order val="2"/>
          <c:spPr>
            <a:solidFill>
              <a:srgbClr val="C8C8C8"/>
            </a:solidFill>
            <a:ln>
              <a:noFill/>
            </a:ln>
          </c:spPr>
          <c:invertIfNegative val="0"/>
          <c:dLbls>
            <c:dLbl>
              <c:idx val="0"/>
              <c:layout>
                <c:manualLayout>
                  <c:x val="-1.6452780519907864E-4"/>
                  <c:y val="-3.754693366708385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0E-4E3F-AABA-3C7B6B917F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3.629999999999995</c:v>
                </c:pt>
              </c:numCache>
            </c:numRef>
          </c:val>
          <c:extLst>
            <c:ext xmlns:c16="http://schemas.microsoft.com/office/drawing/2014/chart" uri="{C3380CC4-5D6E-409C-BE32-E72D297353CC}">
              <c16:uniqueId val="{00000005-C10E-4E3F-AABA-3C7B6B917F2D}"/>
            </c:ext>
          </c:extLst>
        </c:ser>
        <c:ser>
          <c:idx val="3"/>
          <c:order val="3"/>
          <c:spPr>
            <a:solidFill>
              <a:srgbClr val="ABA8B3"/>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0E-4E3F-AABA-3C7B6B917F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2.8700000000000045</c:v>
                </c:pt>
              </c:numCache>
            </c:numRef>
          </c:val>
          <c:extLst>
            <c:ext xmlns:c16="http://schemas.microsoft.com/office/drawing/2014/chart" uri="{C3380CC4-5D6E-409C-BE32-E72D297353CC}">
              <c16:uniqueId val="{00000007-C10E-4E3F-AABA-3C7B6B917F2D}"/>
            </c:ext>
          </c:extLst>
        </c:ser>
        <c:ser>
          <c:idx val="4"/>
          <c:order val="4"/>
          <c:spPr>
            <a:solidFill>
              <a:srgbClr val="837F7F"/>
            </a:solidFill>
            <a:ln>
              <a:noFill/>
            </a:ln>
          </c:spPr>
          <c:invertIfNegative val="0"/>
          <c:val>
            <c:numRef>
              <c:f>Sheet1!$A$5</c:f>
              <c:numCache>
                <c:formatCode>General</c:formatCode>
                <c:ptCount val="1"/>
                <c:pt idx="0">
                  <c:v>0.56000000000000227</c:v>
                </c:pt>
              </c:numCache>
            </c:numRef>
          </c:val>
          <c:extLst>
            <c:ext xmlns:c16="http://schemas.microsoft.com/office/drawing/2014/chart" uri="{C3380CC4-5D6E-409C-BE32-E72D297353CC}">
              <c16:uniqueId val="{00000008-C10E-4E3F-AABA-3C7B6B917F2D}"/>
            </c:ext>
          </c:extLst>
        </c:ser>
        <c:dLbls>
          <c:showLegendKey val="0"/>
          <c:showVal val="0"/>
          <c:showCatName val="0"/>
          <c:showSerName val="0"/>
          <c:showPercent val="0"/>
          <c:showBubbleSize val="0"/>
        </c:dLbls>
        <c:gapWidth val="60"/>
        <c:overlap val="100"/>
        <c:axId val="76490095"/>
        <c:axId val="1"/>
      </c:barChart>
      <c:catAx>
        <c:axId val="76490095"/>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76490095"/>
        <c:crosses val="max"/>
        <c:crossBetween val="between"/>
        <c:majorUnit val="20"/>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3963-49D3-861C-F2105FDF04F2}"/>
              </c:ext>
            </c:extLst>
          </c:dPt>
          <c:dPt>
            <c:idx val="1"/>
            <c:bubble3D val="0"/>
            <c:spPr>
              <a:solidFill>
                <a:schemeClr val="accent2"/>
              </a:solidFill>
              <a:ln>
                <a:noFill/>
              </a:ln>
            </c:spPr>
            <c:extLst>
              <c:ext xmlns:c16="http://schemas.microsoft.com/office/drawing/2014/chart" uri="{C3380CC4-5D6E-409C-BE32-E72D297353CC}">
                <c16:uniqueId val="{00000001-3963-49D3-861C-F2105FDF04F2}"/>
              </c:ext>
            </c:extLst>
          </c:dPt>
          <c:dPt>
            <c:idx val="2"/>
            <c:bubble3D val="0"/>
            <c:spPr>
              <a:solidFill>
                <a:srgbClr val="C8C8C8"/>
              </a:solidFill>
              <a:ln>
                <a:noFill/>
              </a:ln>
            </c:spPr>
            <c:extLst>
              <c:ext xmlns:c16="http://schemas.microsoft.com/office/drawing/2014/chart" uri="{C3380CC4-5D6E-409C-BE32-E72D297353CC}">
                <c16:uniqueId val="{00000002-3963-49D3-861C-F2105FDF04F2}"/>
              </c:ext>
            </c:extLst>
          </c:dPt>
          <c:dPt>
            <c:idx val="3"/>
            <c:bubble3D val="0"/>
            <c:spPr>
              <a:solidFill>
                <a:srgbClr val="ABA8B3"/>
              </a:solidFill>
              <a:ln>
                <a:noFill/>
              </a:ln>
            </c:spPr>
            <c:extLst>
              <c:ext xmlns:c16="http://schemas.microsoft.com/office/drawing/2014/chart" uri="{C3380CC4-5D6E-409C-BE32-E72D297353CC}">
                <c16:uniqueId val="{00000003-3963-49D3-861C-F2105FDF04F2}"/>
              </c:ext>
            </c:extLst>
          </c:dPt>
          <c:dPt>
            <c:idx val="4"/>
            <c:bubble3D val="0"/>
            <c:spPr>
              <a:solidFill>
                <a:srgbClr val="837F7F"/>
              </a:solidFill>
              <a:ln>
                <a:noFill/>
              </a:ln>
            </c:spPr>
            <c:extLst>
              <c:ext xmlns:c16="http://schemas.microsoft.com/office/drawing/2014/chart" uri="{C3380CC4-5D6E-409C-BE32-E72D297353CC}">
                <c16:uniqueId val="{00000004-3963-49D3-861C-F2105FDF04F2}"/>
              </c:ext>
            </c:extLst>
          </c:dPt>
          <c:val>
            <c:numRef>
              <c:f>Sheet1!$A$1:$A$5</c:f>
              <c:numCache>
                <c:formatCode>General</c:formatCode>
                <c:ptCount val="5"/>
                <c:pt idx="0">
                  <c:v>33.78</c:v>
                </c:pt>
                <c:pt idx="1">
                  <c:v>52.359999999999992</c:v>
                </c:pt>
                <c:pt idx="2">
                  <c:v>10.77</c:v>
                </c:pt>
                <c:pt idx="3">
                  <c:v>2.9499999999999997</c:v>
                </c:pt>
                <c:pt idx="4">
                  <c:v>0.15</c:v>
                </c:pt>
              </c:numCache>
            </c:numRef>
          </c:val>
          <c:extLst>
            <c:ext xmlns:c16="http://schemas.microsoft.com/office/drawing/2014/chart" uri="{C3380CC4-5D6E-409C-BE32-E72D297353CC}">
              <c16:uniqueId val="{00000005-3963-49D3-861C-F2105FDF04F2}"/>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rgbClr val="670F31"/>
              </a:solidFill>
              <a:ln w="38100">
                <a:solidFill>
                  <a:schemeClr val="bg2"/>
                </a:solidFill>
              </a:ln>
              <a:effectLst/>
            </c:spPr>
            <c:extLst>
              <c:ext xmlns:c16="http://schemas.microsoft.com/office/drawing/2014/chart" uri="{C3380CC4-5D6E-409C-BE32-E72D297353CC}">
                <c16:uniqueId val="{00000001-F476-7D4A-A0D7-A6043A3BC5E8}"/>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F476-7D4A-A0D7-A6043A3BC5E8}"/>
              </c:ext>
            </c:extLst>
          </c:dPt>
          <c:cat>
            <c:strRef>
              <c:f>Sheet1!$A$2:$A$3</c:f>
              <c:strCache>
                <c:ptCount val="2"/>
                <c:pt idx="0">
                  <c:v>Yes</c:v>
                </c:pt>
                <c:pt idx="1">
                  <c:v>No</c:v>
                </c:pt>
              </c:strCache>
            </c:strRef>
          </c:cat>
          <c:val>
            <c:numRef>
              <c:f>Sheet1!$B$2:$B$3</c:f>
              <c:numCache>
                <c:formatCode>General</c:formatCode>
                <c:ptCount val="2"/>
                <c:pt idx="0">
                  <c:v>340</c:v>
                </c:pt>
                <c:pt idx="1">
                  <c:v>922</c:v>
                </c:pt>
              </c:numCache>
            </c:numRef>
          </c:val>
          <c:extLst>
            <c:ext xmlns:c16="http://schemas.microsoft.com/office/drawing/2014/chart" uri="{C3380CC4-5D6E-409C-BE32-E72D297353CC}">
              <c16:uniqueId val="{00000004-F476-7D4A-A0D7-A6043A3BC5E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5F3D-4986-A5F2-64F8745A4BA9}"/>
              </c:ext>
            </c:extLst>
          </c:dPt>
          <c:dPt>
            <c:idx val="1"/>
            <c:bubble3D val="0"/>
            <c:spPr>
              <a:solidFill>
                <a:schemeClr val="accent2"/>
              </a:solidFill>
              <a:ln>
                <a:noFill/>
              </a:ln>
            </c:spPr>
            <c:extLst>
              <c:ext xmlns:c16="http://schemas.microsoft.com/office/drawing/2014/chart" uri="{C3380CC4-5D6E-409C-BE32-E72D297353CC}">
                <c16:uniqueId val="{00000001-5F3D-4986-A5F2-64F8745A4BA9}"/>
              </c:ext>
            </c:extLst>
          </c:dPt>
          <c:dPt>
            <c:idx val="2"/>
            <c:bubble3D val="0"/>
            <c:spPr>
              <a:solidFill>
                <a:srgbClr val="C8C8C8"/>
              </a:solidFill>
              <a:ln>
                <a:noFill/>
              </a:ln>
            </c:spPr>
            <c:extLst>
              <c:ext xmlns:c16="http://schemas.microsoft.com/office/drawing/2014/chart" uri="{C3380CC4-5D6E-409C-BE32-E72D297353CC}">
                <c16:uniqueId val="{00000002-5F3D-4986-A5F2-64F8745A4BA9}"/>
              </c:ext>
            </c:extLst>
          </c:dPt>
          <c:dPt>
            <c:idx val="3"/>
            <c:bubble3D val="0"/>
            <c:spPr>
              <a:solidFill>
                <a:srgbClr val="ABA8B3"/>
              </a:solidFill>
              <a:ln>
                <a:noFill/>
              </a:ln>
            </c:spPr>
            <c:extLst>
              <c:ext xmlns:c16="http://schemas.microsoft.com/office/drawing/2014/chart" uri="{C3380CC4-5D6E-409C-BE32-E72D297353CC}">
                <c16:uniqueId val="{00000003-5F3D-4986-A5F2-64F8745A4BA9}"/>
              </c:ext>
            </c:extLst>
          </c:dPt>
          <c:dPt>
            <c:idx val="4"/>
            <c:bubble3D val="0"/>
            <c:spPr>
              <a:solidFill>
                <a:srgbClr val="837F7F"/>
              </a:solidFill>
              <a:ln>
                <a:noFill/>
              </a:ln>
            </c:spPr>
            <c:extLst>
              <c:ext xmlns:c16="http://schemas.microsoft.com/office/drawing/2014/chart" uri="{C3380CC4-5D6E-409C-BE32-E72D297353CC}">
                <c16:uniqueId val="{00000004-5F3D-4986-A5F2-64F8745A4BA9}"/>
              </c:ext>
            </c:extLst>
          </c:dPt>
          <c:val>
            <c:numRef>
              <c:f>Sheet1!$A$1:$A$5</c:f>
              <c:numCache>
                <c:formatCode>General</c:formatCode>
                <c:ptCount val="5"/>
                <c:pt idx="0">
                  <c:v>31.080000000000002</c:v>
                </c:pt>
                <c:pt idx="1">
                  <c:v>48.089999999999996</c:v>
                </c:pt>
                <c:pt idx="2">
                  <c:v>17.010000000000002</c:v>
                </c:pt>
                <c:pt idx="3">
                  <c:v>2.78</c:v>
                </c:pt>
                <c:pt idx="4">
                  <c:v>1.04</c:v>
                </c:pt>
              </c:numCache>
            </c:numRef>
          </c:val>
          <c:extLst>
            <c:ext xmlns:c16="http://schemas.microsoft.com/office/drawing/2014/chart" uri="{C3380CC4-5D6E-409C-BE32-E72D297353CC}">
              <c16:uniqueId val="{00000005-5F3D-4986-A5F2-64F8745A4BA9}"/>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045029736618521E-2"/>
          <c:y val="7.9510703363914373E-2"/>
          <c:w val="0.97790994052676294"/>
          <c:h val="0.84097859327217128"/>
        </c:manualLayout>
      </c:layout>
      <c:barChart>
        <c:barDir val="bar"/>
        <c:grouping val="stacked"/>
        <c:varyColors val="0"/>
        <c:ser>
          <c:idx val="0"/>
          <c:order val="0"/>
          <c:spPr>
            <a:solidFill>
              <a:srgbClr val="A1E26F"/>
            </a:solidFill>
            <a:ln>
              <a:noFill/>
            </a:ln>
          </c:spPr>
          <c:invertIfNegative val="0"/>
          <c:dLbls>
            <c:dLbl>
              <c:idx val="0"/>
              <c:layout>
                <c:manualLayout>
                  <c:x val="-2.1240441801189465E-4"/>
                  <c:y val="-4.587155963302752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8C-4A29-AE90-FFDA9CD38A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6.666666666666657</c:v>
                </c:pt>
              </c:numCache>
            </c:numRef>
          </c:val>
          <c:extLst>
            <c:ext xmlns:c16="http://schemas.microsoft.com/office/drawing/2014/chart" uri="{C3380CC4-5D6E-409C-BE32-E72D297353CC}">
              <c16:uniqueId val="{00000001-888C-4A29-AE90-FFDA9CD38A46}"/>
            </c:ext>
          </c:extLst>
        </c:ser>
        <c:ser>
          <c:idx val="1"/>
          <c:order val="1"/>
          <c:spPr>
            <a:solidFill>
              <a:srgbClr val="C8C8C8"/>
            </a:solidFill>
            <a:ln>
              <a:noFill/>
            </a:ln>
          </c:spPr>
          <c:invertIfNegative val="0"/>
          <c:dLbls>
            <c:dLbl>
              <c:idx val="0"/>
              <c:layout>
                <c:manualLayout>
                  <c:x val="0"/>
                  <c:y val="-4.587155963302752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8C-4A29-AE90-FFDA9CD38A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8.3333333333333375</c:v>
                </c:pt>
              </c:numCache>
            </c:numRef>
          </c:val>
          <c:extLst>
            <c:ext xmlns:c16="http://schemas.microsoft.com/office/drawing/2014/chart" uri="{C3380CC4-5D6E-409C-BE32-E72D297353CC}">
              <c16:uniqueId val="{00000003-888C-4A29-AE90-FFDA9CD38A46}"/>
            </c:ext>
          </c:extLst>
        </c:ser>
        <c:ser>
          <c:idx val="2"/>
          <c:order val="2"/>
          <c:spPr>
            <a:solidFill>
              <a:srgbClr val="837F7F"/>
            </a:solidFill>
            <a:ln>
              <a:noFill/>
            </a:ln>
          </c:spPr>
          <c:invertIfNegative val="0"/>
          <c:dLbls>
            <c:dLbl>
              <c:idx val="0"/>
              <c:layout>
                <c:manualLayout>
                  <c:x val="-2.1240441801189465E-4"/>
                  <c:y val="-4.587155963302752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8C-4A29-AE90-FFDA9CD38A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5</c:v>
                </c:pt>
              </c:numCache>
            </c:numRef>
          </c:val>
          <c:extLst>
            <c:ext xmlns:c16="http://schemas.microsoft.com/office/drawing/2014/chart" uri="{C3380CC4-5D6E-409C-BE32-E72D297353CC}">
              <c16:uniqueId val="{00000005-888C-4A29-AE90-FFDA9CD38A46}"/>
            </c:ext>
          </c:extLst>
        </c:ser>
        <c:dLbls>
          <c:showLegendKey val="0"/>
          <c:showVal val="0"/>
          <c:showCatName val="0"/>
          <c:showSerName val="0"/>
          <c:showPercent val="0"/>
          <c:showBubbleSize val="0"/>
        </c:dLbls>
        <c:gapWidth val="60"/>
        <c:overlap val="100"/>
        <c:axId val="1421404160"/>
        <c:axId val="1"/>
      </c:barChart>
      <c:catAx>
        <c:axId val="1421404160"/>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421404160"/>
        <c:crosses val="max"/>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C314-4EFD-A0EB-4AA04387B440}"/>
              </c:ext>
            </c:extLst>
          </c:dPt>
          <c:dPt>
            <c:idx val="1"/>
            <c:bubble3D val="0"/>
            <c:spPr>
              <a:solidFill>
                <a:schemeClr val="accent2"/>
              </a:solidFill>
              <a:ln>
                <a:noFill/>
              </a:ln>
            </c:spPr>
            <c:extLst>
              <c:ext xmlns:c16="http://schemas.microsoft.com/office/drawing/2014/chart" uri="{C3380CC4-5D6E-409C-BE32-E72D297353CC}">
                <c16:uniqueId val="{00000001-C314-4EFD-A0EB-4AA04387B440}"/>
              </c:ext>
            </c:extLst>
          </c:dPt>
          <c:dPt>
            <c:idx val="2"/>
            <c:bubble3D val="0"/>
            <c:spPr>
              <a:solidFill>
                <a:srgbClr val="C8C8C8"/>
              </a:solidFill>
              <a:ln>
                <a:noFill/>
              </a:ln>
            </c:spPr>
            <c:extLst>
              <c:ext xmlns:c16="http://schemas.microsoft.com/office/drawing/2014/chart" uri="{C3380CC4-5D6E-409C-BE32-E72D297353CC}">
                <c16:uniqueId val="{00000002-C314-4EFD-A0EB-4AA04387B440}"/>
              </c:ext>
            </c:extLst>
          </c:dPt>
          <c:dPt>
            <c:idx val="3"/>
            <c:bubble3D val="0"/>
            <c:spPr>
              <a:solidFill>
                <a:srgbClr val="ABA8B3"/>
              </a:solidFill>
              <a:ln>
                <a:noFill/>
              </a:ln>
            </c:spPr>
            <c:extLst>
              <c:ext xmlns:c16="http://schemas.microsoft.com/office/drawing/2014/chart" uri="{C3380CC4-5D6E-409C-BE32-E72D297353CC}">
                <c16:uniqueId val="{00000003-C314-4EFD-A0EB-4AA04387B440}"/>
              </c:ext>
            </c:extLst>
          </c:dPt>
          <c:dPt>
            <c:idx val="4"/>
            <c:bubble3D val="0"/>
            <c:spPr>
              <a:solidFill>
                <a:srgbClr val="837F7F"/>
              </a:solidFill>
              <a:ln>
                <a:noFill/>
              </a:ln>
            </c:spPr>
            <c:extLst>
              <c:ext xmlns:c16="http://schemas.microsoft.com/office/drawing/2014/chart" uri="{C3380CC4-5D6E-409C-BE32-E72D297353CC}">
                <c16:uniqueId val="{00000004-C314-4EFD-A0EB-4AA04387B440}"/>
              </c:ext>
            </c:extLst>
          </c:dPt>
          <c:val>
            <c:numRef>
              <c:f>Sheet1!$A$1:$A$5</c:f>
              <c:numCache>
                <c:formatCode>General</c:formatCode>
                <c:ptCount val="5"/>
                <c:pt idx="0">
                  <c:v>23.86</c:v>
                </c:pt>
                <c:pt idx="1">
                  <c:v>54.83</c:v>
                </c:pt>
                <c:pt idx="2">
                  <c:v>17.18</c:v>
                </c:pt>
                <c:pt idx="3">
                  <c:v>3.2199999999999998</c:v>
                </c:pt>
                <c:pt idx="4">
                  <c:v>0.91</c:v>
                </c:pt>
              </c:numCache>
            </c:numRef>
          </c:val>
          <c:extLst>
            <c:ext xmlns:c16="http://schemas.microsoft.com/office/drawing/2014/chart" uri="{C3380CC4-5D6E-409C-BE32-E72D297353CC}">
              <c16:uniqueId val="{00000005-C314-4EFD-A0EB-4AA04387B44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B1D8-48E7-9D8B-FCBCD7047D77}"/>
              </c:ext>
            </c:extLst>
          </c:dPt>
          <c:dPt>
            <c:idx val="1"/>
            <c:bubble3D val="0"/>
            <c:spPr>
              <a:solidFill>
                <a:schemeClr val="accent2"/>
              </a:solidFill>
              <a:ln>
                <a:noFill/>
              </a:ln>
            </c:spPr>
            <c:extLst>
              <c:ext xmlns:c16="http://schemas.microsoft.com/office/drawing/2014/chart" uri="{C3380CC4-5D6E-409C-BE32-E72D297353CC}">
                <c16:uniqueId val="{00000001-B1D8-48E7-9D8B-FCBCD7047D77}"/>
              </c:ext>
            </c:extLst>
          </c:dPt>
          <c:dPt>
            <c:idx val="2"/>
            <c:bubble3D val="0"/>
            <c:spPr>
              <a:solidFill>
                <a:srgbClr val="C8C8C8"/>
              </a:solidFill>
              <a:ln>
                <a:noFill/>
              </a:ln>
            </c:spPr>
            <c:extLst>
              <c:ext xmlns:c16="http://schemas.microsoft.com/office/drawing/2014/chart" uri="{C3380CC4-5D6E-409C-BE32-E72D297353CC}">
                <c16:uniqueId val="{00000002-B1D8-48E7-9D8B-FCBCD7047D77}"/>
              </c:ext>
            </c:extLst>
          </c:dPt>
          <c:dPt>
            <c:idx val="3"/>
            <c:bubble3D val="0"/>
            <c:spPr>
              <a:solidFill>
                <a:srgbClr val="ABA8B3"/>
              </a:solidFill>
              <a:ln>
                <a:noFill/>
              </a:ln>
            </c:spPr>
            <c:extLst>
              <c:ext xmlns:c16="http://schemas.microsoft.com/office/drawing/2014/chart" uri="{C3380CC4-5D6E-409C-BE32-E72D297353CC}">
                <c16:uniqueId val="{00000003-B1D8-48E7-9D8B-FCBCD7047D77}"/>
              </c:ext>
            </c:extLst>
          </c:dPt>
          <c:dPt>
            <c:idx val="4"/>
            <c:bubble3D val="0"/>
            <c:spPr>
              <a:solidFill>
                <a:srgbClr val="837F7F"/>
              </a:solidFill>
              <a:ln>
                <a:noFill/>
              </a:ln>
            </c:spPr>
            <c:extLst>
              <c:ext xmlns:c16="http://schemas.microsoft.com/office/drawing/2014/chart" uri="{C3380CC4-5D6E-409C-BE32-E72D297353CC}">
                <c16:uniqueId val="{00000004-B1D8-48E7-9D8B-FCBCD7047D77}"/>
              </c:ext>
            </c:extLst>
          </c:dPt>
          <c:val>
            <c:numRef>
              <c:f>Sheet1!$A$1:$A$5</c:f>
              <c:numCache>
                <c:formatCode>General</c:formatCode>
                <c:ptCount val="5"/>
                <c:pt idx="0">
                  <c:v>18.2</c:v>
                </c:pt>
                <c:pt idx="1">
                  <c:v>53.87</c:v>
                </c:pt>
                <c:pt idx="2">
                  <c:v>21.26</c:v>
                </c:pt>
                <c:pt idx="3">
                  <c:v>5.0500000000000007</c:v>
                </c:pt>
                <c:pt idx="4">
                  <c:v>1.6199999999999999</c:v>
                </c:pt>
              </c:numCache>
            </c:numRef>
          </c:val>
          <c:extLst>
            <c:ext xmlns:c16="http://schemas.microsoft.com/office/drawing/2014/chart" uri="{C3380CC4-5D6E-409C-BE32-E72D297353CC}">
              <c16:uniqueId val="{00000005-B1D8-48E7-9D8B-FCBCD7047D7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E543-4FE9-B9AC-8880A9D27679}"/>
              </c:ext>
            </c:extLst>
          </c:dPt>
          <c:dPt>
            <c:idx val="1"/>
            <c:bubble3D val="0"/>
            <c:spPr>
              <a:solidFill>
                <a:schemeClr val="accent2"/>
              </a:solidFill>
              <a:ln>
                <a:noFill/>
              </a:ln>
            </c:spPr>
            <c:extLst>
              <c:ext xmlns:c16="http://schemas.microsoft.com/office/drawing/2014/chart" uri="{C3380CC4-5D6E-409C-BE32-E72D297353CC}">
                <c16:uniqueId val="{00000001-E543-4FE9-B9AC-8880A9D27679}"/>
              </c:ext>
            </c:extLst>
          </c:dPt>
          <c:dPt>
            <c:idx val="2"/>
            <c:bubble3D val="0"/>
            <c:spPr>
              <a:solidFill>
                <a:srgbClr val="C8C8C8"/>
              </a:solidFill>
              <a:ln>
                <a:noFill/>
              </a:ln>
            </c:spPr>
            <c:extLst>
              <c:ext xmlns:c16="http://schemas.microsoft.com/office/drawing/2014/chart" uri="{C3380CC4-5D6E-409C-BE32-E72D297353CC}">
                <c16:uniqueId val="{00000002-E543-4FE9-B9AC-8880A9D27679}"/>
              </c:ext>
            </c:extLst>
          </c:dPt>
          <c:dPt>
            <c:idx val="3"/>
            <c:bubble3D val="0"/>
            <c:spPr>
              <a:solidFill>
                <a:srgbClr val="ABA8B3"/>
              </a:solidFill>
              <a:ln>
                <a:noFill/>
              </a:ln>
            </c:spPr>
            <c:extLst>
              <c:ext xmlns:c16="http://schemas.microsoft.com/office/drawing/2014/chart" uri="{C3380CC4-5D6E-409C-BE32-E72D297353CC}">
                <c16:uniqueId val="{00000003-E543-4FE9-B9AC-8880A9D27679}"/>
              </c:ext>
            </c:extLst>
          </c:dPt>
          <c:dPt>
            <c:idx val="4"/>
            <c:bubble3D val="0"/>
            <c:spPr>
              <a:solidFill>
                <a:srgbClr val="837F7F"/>
              </a:solidFill>
              <a:ln>
                <a:noFill/>
              </a:ln>
            </c:spPr>
            <c:extLst>
              <c:ext xmlns:c16="http://schemas.microsoft.com/office/drawing/2014/chart" uri="{C3380CC4-5D6E-409C-BE32-E72D297353CC}">
                <c16:uniqueId val="{00000004-E543-4FE9-B9AC-8880A9D27679}"/>
              </c:ext>
            </c:extLst>
          </c:dPt>
          <c:val>
            <c:numRef>
              <c:f>Sheet1!$A$1:$A$5</c:f>
              <c:numCache>
                <c:formatCode>General</c:formatCode>
                <c:ptCount val="5"/>
                <c:pt idx="0">
                  <c:v>28.660000000000004</c:v>
                </c:pt>
                <c:pt idx="1">
                  <c:v>55.64</c:v>
                </c:pt>
                <c:pt idx="2">
                  <c:v>13.719999999999999</c:v>
                </c:pt>
                <c:pt idx="3">
                  <c:v>1.68</c:v>
                </c:pt>
                <c:pt idx="4">
                  <c:v>0.3</c:v>
                </c:pt>
              </c:numCache>
            </c:numRef>
          </c:val>
          <c:extLst>
            <c:ext xmlns:c16="http://schemas.microsoft.com/office/drawing/2014/chart" uri="{C3380CC4-5D6E-409C-BE32-E72D297353CC}">
              <c16:uniqueId val="{00000005-E543-4FE9-B9AC-8880A9D27679}"/>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930056710775046E-2"/>
          <c:y val="3.2341051084160237E-2"/>
          <c:w val="0.89413988657844989"/>
          <c:h val="0.8915839764792356"/>
        </c:manualLayout>
      </c:layout>
      <c:barChart>
        <c:barDir val="bar"/>
        <c:grouping val="stacked"/>
        <c:varyColors val="0"/>
        <c:ser>
          <c:idx val="0"/>
          <c:order val="0"/>
          <c:spPr>
            <a:solidFill>
              <a:schemeClr val="tx2"/>
            </a:solidFill>
            <a:ln>
              <a:noFill/>
            </a:ln>
          </c:spPr>
          <c:invertIfNegative val="0"/>
          <c:dLbls>
            <c:dLbl>
              <c:idx val="0"/>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EA-4A38-ABBC-DE5A5C01695E}"/>
                </c:ext>
              </c:extLst>
            </c:dLbl>
            <c:dLbl>
              <c:idx val="1"/>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EA-4A38-ABBC-DE5A5C01695E}"/>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EA-4A38-ABBC-DE5A5C01695E}"/>
                </c:ext>
              </c:extLst>
            </c:dLbl>
            <c:dLbl>
              <c:idx val="3"/>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EA-4A38-ABBC-DE5A5C01695E}"/>
                </c:ext>
              </c:extLst>
            </c:dLbl>
            <c:dLbl>
              <c:idx val="4"/>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EA-4A38-ABBC-DE5A5C01695E}"/>
                </c:ext>
              </c:extLst>
            </c:dLbl>
            <c:dLbl>
              <c:idx val="5"/>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FEA-4A38-ABBC-DE5A5C01695E}"/>
                </c:ext>
              </c:extLst>
            </c:dLbl>
            <c:dLbl>
              <c:idx val="6"/>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FEA-4A38-ABBC-DE5A5C01695E}"/>
                </c:ext>
              </c:extLst>
            </c:dLbl>
            <c:dLbl>
              <c:idx val="7"/>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FEA-4A38-ABBC-DE5A5C016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56.75</c:v>
                </c:pt>
                <c:pt idx="1">
                  <c:v>57.389999999999993</c:v>
                </c:pt>
                <c:pt idx="2">
                  <c:v>30.919999999999998</c:v>
                </c:pt>
                <c:pt idx="3">
                  <c:v>31.180000000000003</c:v>
                </c:pt>
                <c:pt idx="4">
                  <c:v>26.58</c:v>
                </c:pt>
                <c:pt idx="5">
                  <c:v>29.349999999999998</c:v>
                </c:pt>
                <c:pt idx="6">
                  <c:v>25.009999999999998</c:v>
                </c:pt>
                <c:pt idx="7">
                  <c:v>20.23</c:v>
                </c:pt>
              </c:numCache>
            </c:numRef>
          </c:val>
          <c:extLst>
            <c:ext xmlns:c16="http://schemas.microsoft.com/office/drawing/2014/chart" uri="{C3380CC4-5D6E-409C-BE32-E72D297353CC}">
              <c16:uniqueId val="{00000008-DFEA-4A38-ABBC-DE5A5C01695E}"/>
            </c:ext>
          </c:extLst>
        </c:ser>
        <c:ser>
          <c:idx val="1"/>
          <c:order val="1"/>
          <c:spPr>
            <a:solidFill>
              <a:schemeClr val="accent2"/>
            </a:solidFill>
            <a:ln>
              <a:noFill/>
            </a:ln>
          </c:spPr>
          <c:invertIfNegative val="0"/>
          <c:dLbls>
            <c:dLbl>
              <c:idx val="0"/>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FEA-4A38-ABBC-DE5A5C01695E}"/>
                </c:ext>
              </c:extLst>
            </c:dLbl>
            <c:dLbl>
              <c:idx val="1"/>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FEA-4A38-ABBC-DE5A5C01695E}"/>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FEA-4A38-ABBC-DE5A5C01695E}"/>
                </c:ext>
              </c:extLst>
            </c:dLbl>
            <c:dLbl>
              <c:idx val="3"/>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FEA-4A38-ABBC-DE5A5C01695E}"/>
                </c:ext>
              </c:extLst>
            </c:dLbl>
            <c:dLbl>
              <c:idx val="4"/>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FEA-4A38-ABBC-DE5A5C01695E}"/>
                </c:ext>
              </c:extLst>
            </c:dLbl>
            <c:dLbl>
              <c:idx val="5"/>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FEA-4A38-ABBC-DE5A5C01695E}"/>
                </c:ext>
              </c:extLst>
            </c:dLbl>
            <c:dLbl>
              <c:idx val="6"/>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FEA-4A38-ABBC-DE5A5C01695E}"/>
                </c:ext>
              </c:extLst>
            </c:dLbl>
            <c:dLbl>
              <c:idx val="7"/>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FEA-4A38-ABBC-DE5A5C016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36.919999999999987</c:v>
                </c:pt>
                <c:pt idx="1">
                  <c:v>30.659999999999989</c:v>
                </c:pt>
                <c:pt idx="2">
                  <c:v>43.83</c:v>
                </c:pt>
                <c:pt idx="3">
                  <c:v>43.259999999999991</c:v>
                </c:pt>
                <c:pt idx="4">
                  <c:v>45.649999999999991</c:v>
                </c:pt>
                <c:pt idx="5">
                  <c:v>40.33</c:v>
                </c:pt>
                <c:pt idx="6">
                  <c:v>35.24</c:v>
                </c:pt>
                <c:pt idx="7">
                  <c:v>29.62</c:v>
                </c:pt>
              </c:numCache>
            </c:numRef>
          </c:val>
          <c:extLst>
            <c:ext xmlns:c16="http://schemas.microsoft.com/office/drawing/2014/chart" uri="{C3380CC4-5D6E-409C-BE32-E72D297353CC}">
              <c16:uniqueId val="{00000011-DFEA-4A38-ABBC-DE5A5C01695E}"/>
            </c:ext>
          </c:extLst>
        </c:ser>
        <c:ser>
          <c:idx val="2"/>
          <c:order val="2"/>
          <c:spPr>
            <a:solidFill>
              <a:srgbClr val="C8C8C8"/>
            </a:solidFill>
            <a:ln>
              <a:noFill/>
            </a:ln>
          </c:spPr>
          <c:invertIfNegative val="0"/>
          <c:dLbls>
            <c:dLbl>
              <c:idx val="0"/>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FEA-4A38-ABBC-DE5A5C01695E}"/>
                </c:ext>
              </c:extLst>
            </c:dLbl>
            <c:dLbl>
              <c:idx val="1"/>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FEA-4A38-ABBC-DE5A5C01695E}"/>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FEA-4A38-ABBC-DE5A5C01695E}"/>
                </c:ext>
              </c:extLst>
            </c:dLbl>
            <c:dLbl>
              <c:idx val="3"/>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FEA-4A38-ABBC-DE5A5C01695E}"/>
                </c:ext>
              </c:extLst>
            </c:dLbl>
            <c:dLbl>
              <c:idx val="4"/>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FEA-4A38-ABBC-DE5A5C01695E}"/>
                </c:ext>
              </c:extLst>
            </c:dLbl>
            <c:dLbl>
              <c:idx val="5"/>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FEA-4A38-ABBC-DE5A5C01695E}"/>
                </c:ext>
              </c:extLst>
            </c:dLbl>
            <c:dLbl>
              <c:idx val="6"/>
              <c:layout>
                <c:manualLayout>
                  <c:x val="-3.15059861373661E-4"/>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FEA-4A38-ABBC-DE5A5C01695E}"/>
                </c:ext>
              </c:extLst>
            </c:dLbl>
            <c:dLbl>
              <c:idx val="7"/>
              <c:layout>
                <c:manualLayout>
                  <c:x val="0"/>
                  <c:y val="-1.10253583241455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FEA-4A38-ABBC-DE5A5C016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3.7399999999999949</c:v>
                </c:pt>
                <c:pt idx="1">
                  <c:v>6.5699999999999932</c:v>
                </c:pt>
                <c:pt idx="2">
                  <c:v>18.010000000000005</c:v>
                </c:pt>
                <c:pt idx="3">
                  <c:v>20.870000000000005</c:v>
                </c:pt>
                <c:pt idx="4">
                  <c:v>16.909999999999997</c:v>
                </c:pt>
                <c:pt idx="5">
                  <c:v>18.72</c:v>
                </c:pt>
                <c:pt idx="6">
                  <c:v>20.909999999999997</c:v>
                </c:pt>
                <c:pt idx="7">
                  <c:v>23.330000000000005</c:v>
                </c:pt>
              </c:numCache>
            </c:numRef>
          </c:val>
          <c:extLst>
            <c:ext xmlns:c16="http://schemas.microsoft.com/office/drawing/2014/chart" uri="{C3380CC4-5D6E-409C-BE32-E72D297353CC}">
              <c16:uniqueId val="{0000001A-DFEA-4A38-ABBC-DE5A5C01695E}"/>
            </c:ext>
          </c:extLst>
        </c:ser>
        <c:ser>
          <c:idx val="3"/>
          <c:order val="3"/>
          <c:spPr>
            <a:solidFill>
              <a:srgbClr val="ABA8B3"/>
            </a:solidFill>
            <a:ln>
              <a:noFill/>
            </a:ln>
          </c:spPr>
          <c:invertIfNegative val="0"/>
          <c:dLbls>
            <c:dLbl>
              <c:idx val="1"/>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FEA-4A38-ABBC-DE5A5C01695E}"/>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FEA-4A38-ABBC-DE5A5C01695E}"/>
                </c:ext>
              </c:extLst>
            </c:dLbl>
            <c:dLbl>
              <c:idx val="3"/>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FEA-4A38-ABBC-DE5A5C01695E}"/>
                </c:ext>
              </c:extLst>
            </c:dLbl>
            <c:dLbl>
              <c:idx val="4"/>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FEA-4A38-ABBC-DE5A5C01695E}"/>
                </c:ext>
              </c:extLst>
            </c:dLbl>
            <c:dLbl>
              <c:idx val="5"/>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FEA-4A38-ABBC-DE5A5C01695E}"/>
                </c:ext>
              </c:extLst>
            </c:dLbl>
            <c:dLbl>
              <c:idx val="6"/>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FEA-4A38-ABBC-DE5A5C01695E}"/>
                </c:ext>
              </c:extLst>
            </c:dLbl>
            <c:dLbl>
              <c:idx val="7"/>
              <c:layout>
                <c:manualLayout>
                  <c:x val="-3.15059861373661E-4"/>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FEA-4A38-ABBC-DE5A5C016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0">
                  <c:v>1.6700000000000017</c:v>
                </c:pt>
                <c:pt idx="1">
                  <c:v>3.6700000000000017</c:v>
                </c:pt>
                <c:pt idx="2">
                  <c:v>5.25</c:v>
                </c:pt>
                <c:pt idx="3">
                  <c:v>2.8100000000000023</c:v>
                </c:pt>
                <c:pt idx="4">
                  <c:v>8.9399999999999977</c:v>
                </c:pt>
                <c:pt idx="5">
                  <c:v>8.4399999999999977</c:v>
                </c:pt>
                <c:pt idx="6">
                  <c:v>13.269999999999996</c:v>
                </c:pt>
                <c:pt idx="7">
                  <c:v>18.590000000000003</c:v>
                </c:pt>
              </c:numCache>
            </c:numRef>
          </c:val>
          <c:extLst>
            <c:ext xmlns:c16="http://schemas.microsoft.com/office/drawing/2014/chart" uri="{C3380CC4-5D6E-409C-BE32-E72D297353CC}">
              <c16:uniqueId val="{00000022-DFEA-4A38-ABBC-DE5A5C01695E}"/>
            </c:ext>
          </c:extLst>
        </c:ser>
        <c:ser>
          <c:idx val="4"/>
          <c:order val="4"/>
          <c:spPr>
            <a:solidFill>
              <a:srgbClr val="837F7F"/>
            </a:solidFill>
            <a:ln>
              <a:noFill/>
            </a:ln>
          </c:spPr>
          <c:invertIfNegative val="0"/>
          <c:dLbls>
            <c:dLbl>
              <c:idx val="0"/>
              <c:layout>
                <c:manualLayout>
                  <c:x val="-7.5614366729678641E-3"/>
                  <c:y val="6.1742006615214992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FEA-4A38-ABBC-DE5A5C01695E}"/>
                </c:ext>
              </c:extLst>
            </c:dLbl>
            <c:dLbl>
              <c:idx val="2"/>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FEA-4A38-ABBC-DE5A5C01695E}"/>
                </c:ext>
              </c:extLst>
            </c:dLbl>
            <c:dLbl>
              <c:idx val="3"/>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FEA-4A38-ABBC-DE5A5C01695E}"/>
                </c:ext>
              </c:extLst>
            </c:dLbl>
            <c:dLbl>
              <c:idx val="4"/>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FEA-4A38-ABBC-DE5A5C01695E}"/>
                </c:ext>
              </c:extLst>
            </c:dLbl>
            <c:dLbl>
              <c:idx val="5"/>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FEA-4A38-ABBC-DE5A5C01695E}"/>
                </c:ext>
              </c:extLst>
            </c:dLbl>
            <c:dLbl>
              <c:idx val="6"/>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FEA-4A38-ABBC-DE5A5C01695E}"/>
                </c:ext>
              </c:extLst>
            </c:dLbl>
            <c:dLbl>
              <c:idx val="7"/>
              <c:layout>
                <c:manualLayout>
                  <c:x val="0"/>
                  <c:y val="-1.10253583241455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FEA-4A38-ABBC-DE5A5C016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H$5</c:f>
              <c:numCache>
                <c:formatCode>General</c:formatCode>
                <c:ptCount val="8"/>
                <c:pt idx="0">
                  <c:v>0.92000000000000171</c:v>
                </c:pt>
                <c:pt idx="1">
                  <c:v>1.7099999999999937</c:v>
                </c:pt>
                <c:pt idx="2">
                  <c:v>1.9899999999999949</c:v>
                </c:pt>
                <c:pt idx="3">
                  <c:v>1.8799999999999955</c:v>
                </c:pt>
                <c:pt idx="4">
                  <c:v>1.9200000000000017</c:v>
                </c:pt>
                <c:pt idx="5">
                  <c:v>3.1599999999999966</c:v>
                </c:pt>
                <c:pt idx="6">
                  <c:v>5.5700000000000074</c:v>
                </c:pt>
                <c:pt idx="7">
                  <c:v>8.230000000000004</c:v>
                </c:pt>
              </c:numCache>
            </c:numRef>
          </c:val>
          <c:extLst>
            <c:ext xmlns:c16="http://schemas.microsoft.com/office/drawing/2014/chart" uri="{C3380CC4-5D6E-409C-BE32-E72D297353CC}">
              <c16:uniqueId val="{0000002A-DFEA-4A38-ABBC-DE5A5C01695E}"/>
            </c:ext>
          </c:extLst>
        </c:ser>
        <c:dLbls>
          <c:showLegendKey val="0"/>
          <c:showVal val="0"/>
          <c:showCatName val="0"/>
          <c:showSerName val="0"/>
          <c:showPercent val="0"/>
          <c:showBubbleSize val="0"/>
        </c:dLbls>
        <c:gapWidth val="60"/>
        <c:overlap val="100"/>
        <c:axId val="687003719"/>
        <c:axId val="1"/>
      </c:barChart>
      <c:catAx>
        <c:axId val="687003719"/>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687003719"/>
        <c:crosses val="max"/>
        <c:crossBetween val="between"/>
        <c:majorUnit val="20"/>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20787746170679E-2"/>
          <c:y val="5.4826254826254826E-2"/>
          <c:w val="0.92210065645514228"/>
          <c:h val="0.88957528957528953"/>
        </c:manualLayout>
      </c:layout>
      <c:barChart>
        <c:barDir val="col"/>
        <c:grouping val="clustered"/>
        <c:varyColors val="0"/>
        <c:ser>
          <c:idx val="0"/>
          <c:order val="0"/>
          <c:spPr>
            <a:solidFill>
              <a:srgbClr val="295E7E"/>
            </a:solidFill>
            <a:ln>
              <a:noFill/>
            </a:ln>
          </c:spPr>
          <c:invertIfNegative val="0"/>
          <c:dLbls>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66F-4B3B-BE8A-441C7BF14C6B}"/>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6F-4B3B-BE8A-441C7BF14C6B}"/>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66F-4B3B-BE8A-441C7BF14C6B}"/>
                </c:ext>
              </c:extLst>
            </c:dLbl>
            <c:dLbl>
              <c:idx val="4"/>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66F-4B3B-BE8A-441C7BF14C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1">
                  <c:v>70</c:v>
                </c:pt>
                <c:pt idx="2">
                  <c:v>79</c:v>
                </c:pt>
                <c:pt idx="3">
                  <c:v>76</c:v>
                </c:pt>
                <c:pt idx="4">
                  <c:v>55</c:v>
                </c:pt>
              </c:numCache>
            </c:numRef>
          </c:val>
          <c:extLst>
            <c:ext xmlns:c16="http://schemas.microsoft.com/office/drawing/2014/chart" uri="{C3380CC4-5D6E-409C-BE32-E72D297353CC}">
              <c16:uniqueId val="{00000004-D66F-4B3B-BE8A-441C7BF14C6B}"/>
            </c:ext>
          </c:extLst>
        </c:ser>
        <c:ser>
          <c:idx val="1"/>
          <c:order val="1"/>
          <c:spPr>
            <a:solidFill>
              <a:srgbClr val="008AC2"/>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66F-4B3B-BE8A-441C7BF14C6B}"/>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66F-4B3B-BE8A-441C7BF14C6B}"/>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66F-4B3B-BE8A-441C7BF14C6B}"/>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66F-4B3B-BE8A-441C7BF14C6B}"/>
                </c:ext>
              </c:extLst>
            </c:dLbl>
            <c:dLbl>
              <c:idx val="4"/>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66F-4B3B-BE8A-441C7BF14C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92</c:v>
                </c:pt>
                <c:pt idx="1">
                  <c:v>67</c:v>
                </c:pt>
                <c:pt idx="2">
                  <c:v>84</c:v>
                </c:pt>
                <c:pt idx="3">
                  <c:v>68</c:v>
                </c:pt>
                <c:pt idx="4">
                  <c:v>80</c:v>
                </c:pt>
              </c:numCache>
            </c:numRef>
          </c:val>
          <c:extLst>
            <c:ext xmlns:c16="http://schemas.microsoft.com/office/drawing/2014/chart" uri="{C3380CC4-5D6E-409C-BE32-E72D297353CC}">
              <c16:uniqueId val="{0000000A-D66F-4B3B-BE8A-441C7BF14C6B}"/>
            </c:ext>
          </c:extLst>
        </c:ser>
        <c:ser>
          <c:idx val="2"/>
          <c:order val="2"/>
          <c:spPr>
            <a:solidFill>
              <a:srgbClr val="2BD5D9"/>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66F-4B3B-BE8A-441C7BF14C6B}"/>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66F-4B3B-BE8A-441C7BF14C6B}"/>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66F-4B3B-BE8A-441C7BF14C6B}"/>
                </c:ext>
              </c:extLst>
            </c:dLbl>
            <c:dLbl>
              <c:idx val="3"/>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66F-4B3B-BE8A-441C7BF14C6B}"/>
                </c:ext>
              </c:extLst>
            </c:dLbl>
            <c:dLbl>
              <c:idx val="4"/>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66F-4B3B-BE8A-441C7BF14C6B}"/>
                </c:ext>
              </c:extLst>
            </c:dLbl>
            <c:dLbl>
              <c:idx val="5"/>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66F-4B3B-BE8A-441C7BF14C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92</c:v>
                </c:pt>
                <c:pt idx="1">
                  <c:v>54</c:v>
                </c:pt>
                <c:pt idx="2">
                  <c:v>84</c:v>
                </c:pt>
                <c:pt idx="3">
                  <c:v>69</c:v>
                </c:pt>
                <c:pt idx="4">
                  <c:v>69</c:v>
                </c:pt>
                <c:pt idx="5">
                  <c:v>74</c:v>
                </c:pt>
              </c:numCache>
            </c:numRef>
          </c:val>
          <c:extLst>
            <c:ext xmlns:c16="http://schemas.microsoft.com/office/drawing/2014/chart" uri="{C3380CC4-5D6E-409C-BE32-E72D297353CC}">
              <c16:uniqueId val="{00000011-D66F-4B3B-BE8A-441C7BF14C6B}"/>
            </c:ext>
          </c:extLst>
        </c:ser>
        <c:dLbls>
          <c:showLegendKey val="0"/>
          <c:showVal val="0"/>
          <c:showCatName val="0"/>
          <c:showSerName val="0"/>
          <c:showPercent val="0"/>
          <c:showBubbleSize val="0"/>
        </c:dLbls>
        <c:gapWidth val="60"/>
        <c:axId val="128777407"/>
        <c:axId val="1"/>
      </c:barChart>
      <c:catAx>
        <c:axId val="128777407"/>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28777407"/>
        <c:crosses val="min"/>
        <c:crossBetween val="between"/>
        <c:majorUnit val="50"/>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24250214224508E-2"/>
          <c:y val="5.4826254826254826E-2"/>
          <c:w val="0.92373607540702651"/>
          <c:h val="0.88957528957528953"/>
        </c:manualLayout>
      </c:layout>
      <c:barChart>
        <c:barDir val="col"/>
        <c:grouping val="clustered"/>
        <c:varyColors val="0"/>
        <c:ser>
          <c:idx val="0"/>
          <c:order val="0"/>
          <c:spPr>
            <a:solidFill>
              <a:srgbClr val="6E6F73"/>
            </a:solidFill>
            <a:ln w="19050" cap="flat" algn="ctr">
              <a:solidFill>
                <a:schemeClr val="bg1"/>
              </a:solidFill>
              <a:prstDash val="solid"/>
            </a:ln>
          </c:spPr>
          <c:invertIfNegative val="0"/>
          <c:dLbls>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26A-4E1D-9388-D1005ABC7BB7}"/>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26A-4E1D-9388-D1005ABC7BB7}"/>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26A-4E1D-9388-D1005ABC7BB7}"/>
                </c:ext>
              </c:extLst>
            </c:dLbl>
            <c:dLbl>
              <c:idx val="4"/>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26A-4E1D-9388-D1005ABC7B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1">
                  <c:v>70</c:v>
                </c:pt>
                <c:pt idx="2">
                  <c:v>84</c:v>
                </c:pt>
                <c:pt idx="3">
                  <c:v>79</c:v>
                </c:pt>
                <c:pt idx="4">
                  <c:v>61</c:v>
                </c:pt>
              </c:numCache>
            </c:numRef>
          </c:val>
          <c:extLst>
            <c:ext xmlns:c16="http://schemas.microsoft.com/office/drawing/2014/chart" uri="{C3380CC4-5D6E-409C-BE32-E72D297353CC}">
              <c16:uniqueId val="{00000004-926A-4E1D-9388-D1005ABC7BB7}"/>
            </c:ext>
          </c:extLst>
        </c:ser>
        <c:ser>
          <c:idx val="1"/>
          <c:order val="1"/>
          <c:spPr>
            <a:solidFill>
              <a:srgbClr val="ABA8B3"/>
            </a:solidFill>
            <a:ln w="19050" cap="flat" algn="ctr">
              <a:solidFill>
                <a:schemeClr val="bg1"/>
              </a:solidFill>
              <a:prstDash val="solid"/>
            </a:ln>
          </c:spPr>
          <c:invertIfNegative val="0"/>
          <c:dLbls>
            <c:dLbl>
              <c:idx val="0"/>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26A-4E1D-9388-D1005ABC7BB7}"/>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26A-4E1D-9388-D1005ABC7BB7}"/>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26A-4E1D-9388-D1005ABC7BB7}"/>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26A-4E1D-9388-D1005ABC7BB7}"/>
                </c:ext>
              </c:extLst>
            </c:dLbl>
            <c:dLbl>
              <c:idx val="4"/>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26A-4E1D-9388-D1005ABC7B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94</c:v>
                </c:pt>
                <c:pt idx="1">
                  <c:v>75</c:v>
                </c:pt>
                <c:pt idx="2">
                  <c:v>91</c:v>
                </c:pt>
                <c:pt idx="3">
                  <c:v>79</c:v>
                </c:pt>
                <c:pt idx="4">
                  <c:v>79</c:v>
                </c:pt>
              </c:numCache>
            </c:numRef>
          </c:val>
          <c:extLst>
            <c:ext xmlns:c16="http://schemas.microsoft.com/office/drawing/2014/chart" uri="{C3380CC4-5D6E-409C-BE32-E72D297353CC}">
              <c16:uniqueId val="{0000000A-926A-4E1D-9388-D1005ABC7BB7}"/>
            </c:ext>
          </c:extLst>
        </c:ser>
        <c:ser>
          <c:idx val="2"/>
          <c:order val="2"/>
          <c:spPr>
            <a:solidFill>
              <a:srgbClr val="C8C8C8"/>
            </a:solidFill>
            <a:ln w="19050" cap="flat"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26A-4E1D-9388-D1005ABC7BB7}"/>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26A-4E1D-9388-D1005ABC7BB7}"/>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26A-4E1D-9388-D1005ABC7BB7}"/>
                </c:ext>
              </c:extLst>
            </c:dLbl>
            <c:dLbl>
              <c:idx val="3"/>
              <c:layout>
                <c:manualLayout>
                  <c:x val="0"/>
                  <c:y val="7.722007722007722E-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26A-4E1D-9388-D1005ABC7BB7}"/>
                </c:ext>
              </c:extLst>
            </c:dLbl>
            <c:dLbl>
              <c:idx val="4"/>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26A-4E1D-9388-D1005ABC7BB7}"/>
                </c:ext>
              </c:extLst>
            </c:dLbl>
            <c:dLbl>
              <c:idx val="5"/>
              <c:layout>
                <c:manualLayout>
                  <c:x val="0"/>
                  <c:y val="1.5444015444015444E-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26A-4E1D-9388-D1005ABC7B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93</c:v>
                </c:pt>
                <c:pt idx="1">
                  <c:v>66</c:v>
                </c:pt>
                <c:pt idx="2">
                  <c:v>92</c:v>
                </c:pt>
                <c:pt idx="3">
                  <c:v>78</c:v>
                </c:pt>
                <c:pt idx="4">
                  <c:v>84</c:v>
                </c:pt>
                <c:pt idx="5">
                  <c:v>76</c:v>
                </c:pt>
              </c:numCache>
            </c:numRef>
          </c:val>
          <c:extLst>
            <c:ext xmlns:c16="http://schemas.microsoft.com/office/drawing/2014/chart" uri="{C3380CC4-5D6E-409C-BE32-E72D297353CC}">
              <c16:uniqueId val="{00000011-926A-4E1D-9388-D1005ABC7BB7}"/>
            </c:ext>
          </c:extLst>
        </c:ser>
        <c:dLbls>
          <c:showLegendKey val="0"/>
          <c:showVal val="0"/>
          <c:showCatName val="0"/>
          <c:showSerName val="0"/>
          <c:showPercent val="0"/>
          <c:showBubbleSize val="0"/>
        </c:dLbls>
        <c:gapWidth val="60"/>
        <c:axId val="1071809719"/>
        <c:axId val="1"/>
      </c:barChart>
      <c:catAx>
        <c:axId val="1071809719"/>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071809719"/>
        <c:crosses val="min"/>
        <c:crossBetween val="between"/>
        <c:majorUnit val="50"/>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965316234334012E-2"/>
          <c:y val="2.748414376321353E-2"/>
          <c:w val="0.90206936753133193"/>
          <c:h val="0.86310782241014794"/>
        </c:manualLayout>
      </c:layout>
      <c:barChart>
        <c:barDir val="bar"/>
        <c:grouping val="stacked"/>
        <c:varyColors val="0"/>
        <c:ser>
          <c:idx val="0"/>
          <c:order val="0"/>
          <c:spPr>
            <a:solidFill>
              <a:schemeClr val="tx2"/>
            </a:solidFill>
            <a:ln>
              <a:noFill/>
            </a:ln>
          </c:spPr>
          <c:invertIfNegative val="0"/>
          <c:dLbls>
            <c:dLbl>
              <c:idx val="0"/>
              <c:layout>
                <c:manualLayout>
                  <c:x val="0"/>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2A-4B3B-90E4-23754C329CBD}"/>
                </c:ext>
              </c:extLst>
            </c:dLbl>
            <c:dLbl>
              <c:idx val="1"/>
              <c:layout>
                <c:manualLayout>
                  <c:x val="-2.9146021568055963E-4"/>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2A-4B3B-90E4-23754C329CBD}"/>
                </c:ext>
              </c:extLst>
            </c:dLbl>
            <c:dLbl>
              <c:idx val="2"/>
              <c:layout>
                <c:manualLayout>
                  <c:x val="0"/>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92A-4B3B-90E4-23754C329CBD}"/>
                </c:ext>
              </c:extLst>
            </c:dLbl>
            <c:dLbl>
              <c:idx val="3"/>
              <c:layout>
                <c:manualLayout>
                  <c:x val="0"/>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2A-4B3B-90E4-23754C329C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78</c:v>
                </c:pt>
                <c:pt idx="1">
                  <c:v>25.569999999999997</c:v>
                </c:pt>
                <c:pt idx="2">
                  <c:v>28.060000000000002</c:v>
                </c:pt>
                <c:pt idx="3">
                  <c:v>25.900000000000002</c:v>
                </c:pt>
              </c:numCache>
            </c:numRef>
          </c:val>
          <c:extLst>
            <c:ext xmlns:c16="http://schemas.microsoft.com/office/drawing/2014/chart" uri="{C3380CC4-5D6E-409C-BE32-E72D297353CC}">
              <c16:uniqueId val="{00000004-092A-4B3B-90E4-23754C329CBD}"/>
            </c:ext>
          </c:extLst>
        </c:ser>
        <c:ser>
          <c:idx val="1"/>
          <c:order val="1"/>
          <c:spPr>
            <a:solidFill>
              <a:schemeClr val="accent2"/>
            </a:solidFill>
            <a:ln>
              <a:noFill/>
            </a:ln>
          </c:spPr>
          <c:invertIfNegative val="0"/>
          <c:dLbls>
            <c:dLbl>
              <c:idx val="0"/>
              <c:layout>
                <c:manualLayout>
                  <c:x val="-2.9146021568055963E-4"/>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2A-4B3B-90E4-23754C329CBD}"/>
                </c:ext>
              </c:extLst>
            </c:dLbl>
            <c:dLbl>
              <c:idx val="1"/>
              <c:layout>
                <c:manualLayout>
                  <c:x val="-2.9146021568055963E-4"/>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92A-4B3B-90E4-23754C329CBD}"/>
                </c:ext>
              </c:extLst>
            </c:dLbl>
            <c:dLbl>
              <c:idx val="2"/>
              <c:layout>
                <c:manualLayout>
                  <c:x val="0"/>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92A-4B3B-90E4-23754C329CBD}"/>
                </c:ext>
              </c:extLst>
            </c:dLbl>
            <c:dLbl>
              <c:idx val="3"/>
              <c:layout>
                <c:manualLayout>
                  <c:x val="0"/>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92A-4B3B-90E4-23754C329C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6.19</c:v>
                </c:pt>
                <c:pt idx="1">
                  <c:v>43.25</c:v>
                </c:pt>
                <c:pt idx="2">
                  <c:v>38.710000000000008</c:v>
                </c:pt>
                <c:pt idx="3">
                  <c:v>31.110000000000003</c:v>
                </c:pt>
              </c:numCache>
            </c:numRef>
          </c:val>
          <c:extLst>
            <c:ext xmlns:c16="http://schemas.microsoft.com/office/drawing/2014/chart" uri="{C3380CC4-5D6E-409C-BE32-E72D297353CC}">
              <c16:uniqueId val="{00000009-092A-4B3B-90E4-23754C329CBD}"/>
            </c:ext>
          </c:extLst>
        </c:ser>
        <c:ser>
          <c:idx val="2"/>
          <c:order val="2"/>
          <c:spPr>
            <a:solidFill>
              <a:srgbClr val="C8C8C8"/>
            </a:solidFill>
            <a:ln>
              <a:noFill/>
            </a:ln>
          </c:spPr>
          <c:invertIfNegative val="0"/>
          <c:dLbls>
            <c:dLbl>
              <c:idx val="0"/>
              <c:layout>
                <c:manualLayout>
                  <c:x val="0"/>
                  <c:y val="-1.5856236786469344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92A-4B3B-90E4-23754C329CBD}"/>
                </c:ext>
              </c:extLst>
            </c:dLbl>
            <c:dLbl>
              <c:idx val="1"/>
              <c:layout>
                <c:manualLayout>
                  <c:x val="0"/>
                  <c:y val="-1.5856236786469344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92A-4B3B-90E4-23754C329CBD}"/>
                </c:ext>
              </c:extLst>
            </c:dLbl>
            <c:dLbl>
              <c:idx val="2"/>
              <c:layout>
                <c:manualLayout>
                  <c:x val="0"/>
                  <c:y val="-1.585623678646934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92A-4B3B-90E4-23754C329CBD}"/>
                </c:ext>
              </c:extLst>
            </c:dLbl>
            <c:dLbl>
              <c:idx val="3"/>
              <c:layout>
                <c:manualLayout>
                  <c:x val="0"/>
                  <c:y val="-1.585623678646934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92A-4B3B-90E4-23754C329C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1.010000000000005</c:v>
                </c:pt>
                <c:pt idx="1">
                  <c:v>25.86</c:v>
                </c:pt>
                <c:pt idx="2">
                  <c:v>24.03</c:v>
                </c:pt>
                <c:pt idx="3">
                  <c:v>36.03</c:v>
                </c:pt>
              </c:numCache>
            </c:numRef>
          </c:val>
          <c:extLst>
            <c:ext xmlns:c16="http://schemas.microsoft.com/office/drawing/2014/chart" uri="{C3380CC4-5D6E-409C-BE32-E72D297353CC}">
              <c16:uniqueId val="{0000000E-092A-4B3B-90E4-23754C329CBD}"/>
            </c:ext>
          </c:extLst>
        </c:ser>
        <c:ser>
          <c:idx val="3"/>
          <c:order val="3"/>
          <c:spPr>
            <a:solidFill>
              <a:srgbClr val="ABA8B3"/>
            </a:solidFill>
            <a:ln>
              <a:noFill/>
            </a:ln>
          </c:spPr>
          <c:invertIfNegative val="0"/>
          <c:dLbls>
            <c:dLbl>
              <c:idx val="0"/>
              <c:layout>
                <c:manualLayout>
                  <c:x val="0"/>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92A-4B3B-90E4-23754C329CBD}"/>
                </c:ext>
              </c:extLst>
            </c:dLbl>
            <c:dLbl>
              <c:idx val="1"/>
              <c:layout>
                <c:manualLayout>
                  <c:x val="-2.9146021568055963E-4"/>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92A-4B3B-90E4-23754C329CBD}"/>
                </c:ext>
              </c:extLst>
            </c:dLbl>
            <c:dLbl>
              <c:idx val="2"/>
              <c:layout>
                <c:manualLayout>
                  <c:x val="0"/>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92A-4B3B-90E4-23754C329CBD}"/>
                </c:ext>
              </c:extLst>
            </c:dLbl>
            <c:dLbl>
              <c:idx val="3"/>
              <c:layout>
                <c:manualLayout>
                  <c:x val="0"/>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92A-4B3B-90E4-23754C329C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3.0100000000000051</c:v>
                </c:pt>
                <c:pt idx="1">
                  <c:v>3.4500000000000028</c:v>
                </c:pt>
                <c:pt idx="2">
                  <c:v>6.9000000000000057</c:v>
                </c:pt>
                <c:pt idx="3">
                  <c:v>4.9299999999999926</c:v>
                </c:pt>
              </c:numCache>
            </c:numRef>
          </c:val>
          <c:extLst>
            <c:ext xmlns:c16="http://schemas.microsoft.com/office/drawing/2014/chart" uri="{C3380CC4-5D6E-409C-BE32-E72D297353CC}">
              <c16:uniqueId val="{00000013-092A-4B3B-90E4-23754C329CBD}"/>
            </c:ext>
          </c:extLst>
        </c:ser>
        <c:ser>
          <c:idx val="4"/>
          <c:order val="4"/>
          <c:spPr>
            <a:solidFill>
              <a:srgbClr val="837F7F"/>
            </a:solidFill>
            <a:ln>
              <a:noFill/>
            </a:ln>
          </c:spPr>
          <c:invertIfNegative val="0"/>
          <c:dLbls>
            <c:dLbl>
              <c:idx val="1"/>
              <c:layout>
                <c:manualLayout>
                  <c:x val="0"/>
                  <c:y val="-1.5856236786469344E-3"/>
                </c:manualLayout>
              </c:layout>
              <c:numFmt formatCode="#,##0;&quot;-&quot;#,##0" sourceLinked="0"/>
              <c:spPr>
                <a:noFill/>
                <a:ln>
                  <a:noFill/>
                </a:ln>
              </c:spPr>
              <c:txPr>
                <a:bodyPr wrap="none"/>
                <a:lstStyle/>
                <a:p>
                  <a:pPr>
                    <a:defRPr sz="12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92A-4B3B-90E4-23754C329CBD}"/>
                </c:ext>
              </c:extLst>
            </c:dLbl>
            <c:dLbl>
              <c:idx val="2"/>
              <c:layout>
                <c:manualLayout>
                  <c:x val="0"/>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92A-4B3B-90E4-23754C329CBD}"/>
                </c:ext>
              </c:extLst>
            </c:dLbl>
            <c:dLbl>
              <c:idx val="3"/>
              <c:layout>
                <c:manualLayout>
                  <c:x val="-2.9146021568055963E-4"/>
                  <c:y val="-1.5856236786469344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92A-4B3B-90E4-23754C329C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1.0100000000000051</c:v>
                </c:pt>
                <c:pt idx="1">
                  <c:v>1.8700000000000045</c:v>
                </c:pt>
                <c:pt idx="2">
                  <c:v>2.2999999999999972</c:v>
                </c:pt>
                <c:pt idx="3">
                  <c:v>2.0300000000000011</c:v>
                </c:pt>
              </c:numCache>
            </c:numRef>
          </c:val>
          <c:extLst>
            <c:ext xmlns:c16="http://schemas.microsoft.com/office/drawing/2014/chart" uri="{C3380CC4-5D6E-409C-BE32-E72D297353CC}">
              <c16:uniqueId val="{00000017-092A-4B3B-90E4-23754C329CBD}"/>
            </c:ext>
          </c:extLst>
        </c:ser>
        <c:dLbls>
          <c:showLegendKey val="0"/>
          <c:showVal val="0"/>
          <c:showCatName val="0"/>
          <c:showSerName val="0"/>
          <c:showPercent val="0"/>
          <c:showBubbleSize val="0"/>
        </c:dLbls>
        <c:gapWidth val="60"/>
        <c:overlap val="100"/>
        <c:axId val="1376012336"/>
        <c:axId val="1"/>
      </c:barChart>
      <c:catAx>
        <c:axId val="137601233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76012336"/>
        <c:crosses val="max"/>
        <c:crossBetween val="between"/>
        <c:majorUnit val="20"/>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930056710775046E-2"/>
          <c:y val="1.9366852886405959E-2"/>
          <c:w val="0.89413988657844989"/>
          <c:h val="0.90353817504655498"/>
        </c:manualLayout>
      </c:layout>
      <c:barChart>
        <c:barDir val="bar"/>
        <c:grouping val="stacked"/>
        <c:varyColors val="0"/>
        <c:ser>
          <c:idx val="0"/>
          <c:order val="0"/>
          <c:spPr>
            <a:solidFill>
              <a:schemeClr val="tx2"/>
            </a:solidFill>
            <a:ln>
              <a:noFill/>
            </a:ln>
          </c:spPr>
          <c:invertIfNegative val="0"/>
          <c:dLbls>
            <c:dLbl>
              <c:idx val="0"/>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4F5-43A5-99A2-ECEE0CB01CAE}"/>
                </c:ext>
              </c:extLst>
            </c:dLbl>
            <c:dLbl>
              <c:idx val="1"/>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4F5-43A5-99A2-ECEE0CB01CAE}"/>
                </c:ext>
              </c:extLst>
            </c:dLbl>
            <c:dLbl>
              <c:idx val="2"/>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4F5-43A5-99A2-ECEE0CB01CAE}"/>
                </c:ext>
              </c:extLst>
            </c:dLbl>
            <c:dLbl>
              <c:idx val="3"/>
              <c:layout>
                <c:manualLayout>
                  <c:x val="-3.15059861373661E-4"/>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4F5-43A5-99A2-ECEE0CB01CAE}"/>
                </c:ext>
              </c:extLst>
            </c:dLbl>
            <c:dLbl>
              <c:idx val="4"/>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4F5-43A5-99A2-ECEE0CB01CAE}"/>
                </c:ext>
              </c:extLst>
            </c:dLbl>
            <c:dLbl>
              <c:idx val="5"/>
              <c:layout>
                <c:manualLayout>
                  <c:x val="-3.15059861373661E-4"/>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4F5-43A5-99A2-ECEE0CB01C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8.86</c:v>
                </c:pt>
                <c:pt idx="1">
                  <c:v>54.410000000000004</c:v>
                </c:pt>
                <c:pt idx="2">
                  <c:v>35.96</c:v>
                </c:pt>
                <c:pt idx="3">
                  <c:v>21.75</c:v>
                </c:pt>
                <c:pt idx="4">
                  <c:v>33.78</c:v>
                </c:pt>
                <c:pt idx="5">
                  <c:v>26.61</c:v>
                </c:pt>
              </c:numCache>
            </c:numRef>
          </c:val>
          <c:extLst>
            <c:ext xmlns:c16="http://schemas.microsoft.com/office/drawing/2014/chart" uri="{C3380CC4-5D6E-409C-BE32-E72D297353CC}">
              <c16:uniqueId val="{00000006-C4F5-43A5-99A2-ECEE0CB01CAE}"/>
            </c:ext>
          </c:extLst>
        </c:ser>
        <c:ser>
          <c:idx val="1"/>
          <c:order val="1"/>
          <c:spPr>
            <a:solidFill>
              <a:schemeClr val="accent2"/>
            </a:solidFill>
            <a:ln>
              <a:noFill/>
            </a:ln>
          </c:spPr>
          <c:invertIfNegative val="0"/>
          <c:dLbls>
            <c:dLbl>
              <c:idx val="0"/>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4F5-43A5-99A2-ECEE0CB01CAE}"/>
                </c:ext>
              </c:extLst>
            </c:dLbl>
            <c:dLbl>
              <c:idx val="1"/>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4F5-43A5-99A2-ECEE0CB01CAE}"/>
                </c:ext>
              </c:extLst>
            </c:dLbl>
            <c:dLbl>
              <c:idx val="2"/>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4F5-43A5-99A2-ECEE0CB01CAE}"/>
                </c:ext>
              </c:extLst>
            </c:dLbl>
            <c:dLbl>
              <c:idx val="3"/>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4F5-43A5-99A2-ECEE0CB01CAE}"/>
                </c:ext>
              </c:extLst>
            </c:dLbl>
            <c:dLbl>
              <c:idx val="4"/>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4F5-43A5-99A2-ECEE0CB01CAE}"/>
                </c:ext>
              </c:extLst>
            </c:dLbl>
            <c:dLbl>
              <c:idx val="5"/>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4F5-43A5-99A2-ECEE0CB01C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1.33</c:v>
                </c:pt>
                <c:pt idx="1">
                  <c:v>35.160000000000004</c:v>
                </c:pt>
                <c:pt idx="2">
                  <c:v>48.96</c:v>
                </c:pt>
                <c:pt idx="3">
                  <c:v>52.72</c:v>
                </c:pt>
                <c:pt idx="4">
                  <c:v>41.819999999999993</c:v>
                </c:pt>
                <c:pt idx="5">
                  <c:v>41.290000000000006</c:v>
                </c:pt>
              </c:numCache>
            </c:numRef>
          </c:val>
          <c:extLst>
            <c:ext xmlns:c16="http://schemas.microsoft.com/office/drawing/2014/chart" uri="{C3380CC4-5D6E-409C-BE32-E72D297353CC}">
              <c16:uniqueId val="{0000000D-C4F5-43A5-99A2-ECEE0CB01CAE}"/>
            </c:ext>
          </c:extLst>
        </c:ser>
        <c:ser>
          <c:idx val="2"/>
          <c:order val="2"/>
          <c:spPr>
            <a:solidFill>
              <a:srgbClr val="C8C8C8"/>
            </a:solidFill>
            <a:ln>
              <a:noFill/>
            </a:ln>
          </c:spPr>
          <c:invertIfNegative val="0"/>
          <c:dLbls>
            <c:dLbl>
              <c:idx val="0"/>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4F5-43A5-99A2-ECEE0CB01CAE}"/>
                </c:ext>
              </c:extLst>
            </c:dLbl>
            <c:dLbl>
              <c:idx val="1"/>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4F5-43A5-99A2-ECEE0CB01CAE}"/>
                </c:ext>
              </c:extLst>
            </c:dLbl>
            <c:dLbl>
              <c:idx val="2"/>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4F5-43A5-99A2-ECEE0CB01CAE}"/>
                </c:ext>
              </c:extLst>
            </c:dLbl>
            <c:dLbl>
              <c:idx val="3"/>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4F5-43A5-99A2-ECEE0CB01CAE}"/>
                </c:ext>
              </c:extLst>
            </c:dLbl>
            <c:dLbl>
              <c:idx val="4"/>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4F5-43A5-99A2-ECEE0CB01CAE}"/>
                </c:ext>
              </c:extLst>
            </c:dLbl>
            <c:dLbl>
              <c:idx val="5"/>
              <c:layout>
                <c:manualLayout>
                  <c:x val="0"/>
                  <c:y val="-1.1173184357541898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4F5-43A5-99A2-ECEE0CB01C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6.6400000000000006</c:v>
                </c:pt>
                <c:pt idx="1">
                  <c:v>6.5799999999999983</c:v>
                </c:pt>
                <c:pt idx="2">
                  <c:v>10.239999999999995</c:v>
                </c:pt>
                <c:pt idx="3">
                  <c:v>17.519999999999996</c:v>
                </c:pt>
                <c:pt idx="4">
                  <c:v>13.099999999999994</c:v>
                </c:pt>
                <c:pt idx="5">
                  <c:v>20.439999999999998</c:v>
                </c:pt>
              </c:numCache>
            </c:numRef>
          </c:val>
          <c:extLst>
            <c:ext xmlns:c16="http://schemas.microsoft.com/office/drawing/2014/chart" uri="{C3380CC4-5D6E-409C-BE32-E72D297353CC}">
              <c16:uniqueId val="{00000014-C4F5-43A5-99A2-ECEE0CB01CAE}"/>
            </c:ext>
          </c:extLst>
        </c:ser>
        <c:ser>
          <c:idx val="3"/>
          <c:order val="3"/>
          <c:spPr>
            <a:solidFill>
              <a:srgbClr val="ABA8B3"/>
            </a:solidFill>
            <a:ln>
              <a:noFill/>
            </a:ln>
          </c:spPr>
          <c:invertIfNegative val="0"/>
          <c:dLbls>
            <c:dLbl>
              <c:idx val="0"/>
              <c:layout>
                <c:manualLayout>
                  <c:x val="-3.15059861373661E-4"/>
                  <c:y val="-7.6350093109869649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4F5-43A5-99A2-ECEE0CB01CAE}"/>
                </c:ext>
              </c:extLst>
            </c:dLbl>
            <c:dLbl>
              <c:idx val="1"/>
              <c:layout>
                <c:manualLayout>
                  <c:x val="-3.15059861373661E-4"/>
                  <c:y val="-7.6350093109869649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4F5-43A5-99A2-ECEE0CB01CAE}"/>
                </c:ext>
              </c:extLst>
            </c:dLbl>
            <c:dLbl>
              <c:idx val="2"/>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4F5-43A5-99A2-ECEE0CB01CAE}"/>
                </c:ext>
              </c:extLst>
            </c:dLbl>
            <c:dLbl>
              <c:idx val="4"/>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4F5-43A5-99A2-ECEE0CB01CAE}"/>
                </c:ext>
              </c:extLst>
            </c:dLbl>
            <c:dLbl>
              <c:idx val="5"/>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4F5-43A5-99A2-ECEE0CB01C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2.5799999999999983</c:v>
                </c:pt>
                <c:pt idx="1">
                  <c:v>2.7399999999999949</c:v>
                </c:pt>
                <c:pt idx="2">
                  <c:v>3.4599999999999937</c:v>
                </c:pt>
                <c:pt idx="3">
                  <c:v>6.5</c:v>
                </c:pt>
                <c:pt idx="4">
                  <c:v>9.3700000000000045</c:v>
                </c:pt>
                <c:pt idx="5">
                  <c:v>8.3700000000000045</c:v>
                </c:pt>
              </c:numCache>
            </c:numRef>
          </c:val>
          <c:extLst>
            <c:ext xmlns:c16="http://schemas.microsoft.com/office/drawing/2014/chart" uri="{C3380CC4-5D6E-409C-BE32-E72D297353CC}">
              <c16:uniqueId val="{0000001A-C4F5-43A5-99A2-ECEE0CB01CAE}"/>
            </c:ext>
          </c:extLst>
        </c:ser>
        <c:ser>
          <c:idx val="4"/>
          <c:order val="4"/>
          <c:spPr>
            <a:solidFill>
              <a:srgbClr val="837F7F"/>
            </a:solidFill>
            <a:ln>
              <a:noFill/>
            </a:ln>
          </c:spPr>
          <c:invertIfNegative val="0"/>
          <c:dLbls>
            <c:dLbl>
              <c:idx val="4"/>
              <c:layout>
                <c:manualLayout>
                  <c:x val="-3.15059861373661E-4"/>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4F5-43A5-99A2-ECEE0CB01CAE}"/>
                </c:ext>
              </c:extLst>
            </c:dLbl>
            <c:dLbl>
              <c:idx val="5"/>
              <c:layout>
                <c:manualLayout>
                  <c:x val="0"/>
                  <c:y val="-1.1173184357541898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4F5-43A5-99A2-ECEE0CB01C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0.59000000000000341</c:v>
                </c:pt>
                <c:pt idx="1">
                  <c:v>1.1099999999999994</c:v>
                </c:pt>
                <c:pt idx="2">
                  <c:v>1.3799999999999955</c:v>
                </c:pt>
                <c:pt idx="3">
                  <c:v>1.5100000000000051</c:v>
                </c:pt>
                <c:pt idx="4">
                  <c:v>1.9300000000000068</c:v>
                </c:pt>
                <c:pt idx="5">
                  <c:v>3.2900000000000063</c:v>
                </c:pt>
              </c:numCache>
            </c:numRef>
          </c:val>
          <c:extLst>
            <c:ext xmlns:c16="http://schemas.microsoft.com/office/drawing/2014/chart" uri="{C3380CC4-5D6E-409C-BE32-E72D297353CC}">
              <c16:uniqueId val="{0000001D-C4F5-43A5-99A2-ECEE0CB01CAE}"/>
            </c:ext>
          </c:extLst>
        </c:ser>
        <c:dLbls>
          <c:showLegendKey val="0"/>
          <c:showVal val="0"/>
          <c:showCatName val="0"/>
          <c:showSerName val="0"/>
          <c:showPercent val="0"/>
          <c:showBubbleSize val="0"/>
        </c:dLbls>
        <c:gapWidth val="60"/>
        <c:overlap val="100"/>
        <c:axId val="564800479"/>
        <c:axId val="1"/>
      </c:barChart>
      <c:catAx>
        <c:axId val="564800479"/>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564800479"/>
        <c:crosses val="max"/>
        <c:crossBetween val="between"/>
        <c:majorUnit val="2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chemeClr val="tx2"/>
              </a:solidFill>
              <a:ln w="38100">
                <a:solidFill>
                  <a:schemeClr val="bg2"/>
                </a:solidFill>
              </a:ln>
              <a:effectLst/>
            </c:spPr>
            <c:extLst>
              <c:ext xmlns:c16="http://schemas.microsoft.com/office/drawing/2014/chart" uri="{C3380CC4-5D6E-409C-BE32-E72D297353CC}">
                <c16:uniqueId val="{00000001-E5B7-C84B-8870-7964BB1F8428}"/>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E5B7-C84B-8870-7964BB1F8428}"/>
              </c:ext>
            </c:extLst>
          </c:dPt>
          <c:cat>
            <c:strRef>
              <c:f>Sheet1!$A$2:$A$3</c:f>
              <c:strCache>
                <c:ptCount val="2"/>
                <c:pt idx="0">
                  <c:v>Yes</c:v>
                </c:pt>
                <c:pt idx="1">
                  <c:v>No</c:v>
                </c:pt>
              </c:strCache>
            </c:strRef>
          </c:cat>
          <c:val>
            <c:numRef>
              <c:f>Sheet1!$B$2:$B$3</c:f>
              <c:numCache>
                <c:formatCode>General</c:formatCode>
                <c:ptCount val="2"/>
                <c:pt idx="0">
                  <c:v>397</c:v>
                </c:pt>
                <c:pt idx="1">
                  <c:v>1338</c:v>
                </c:pt>
              </c:numCache>
            </c:numRef>
          </c:val>
          <c:extLst>
            <c:ext xmlns:c16="http://schemas.microsoft.com/office/drawing/2014/chart" uri="{C3380CC4-5D6E-409C-BE32-E72D297353CC}">
              <c16:uniqueId val="{00000004-E5B7-C84B-8870-7964BB1F842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84397163120567E-2"/>
          <c:y val="7.1135430916552667E-2"/>
          <c:w val="0.97163120567375882"/>
          <c:h val="0.85772913816689467"/>
        </c:manualLayout>
      </c:layout>
      <c:barChart>
        <c:barDir val="bar"/>
        <c:grouping val="stacked"/>
        <c:varyColors val="0"/>
        <c:ser>
          <c:idx val="0"/>
          <c:order val="0"/>
          <c:spPr>
            <a:solidFill>
              <a:srgbClr val="A1E26F"/>
            </a:solidFill>
            <a:ln>
              <a:noFill/>
            </a:ln>
          </c:spPr>
          <c:invertIfNegative val="0"/>
          <c:dLbls>
            <c:dLbl>
              <c:idx val="0"/>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75-4A70-9093-BE99F7507859}"/>
                </c:ext>
              </c:extLst>
            </c:dLbl>
            <c:dLbl>
              <c:idx val="1"/>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75-4A70-9093-BE99F7507859}"/>
                </c:ext>
              </c:extLst>
            </c:dLbl>
            <c:dLbl>
              <c:idx val="2"/>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75-4A70-9093-BE99F75078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0.224719101123593</c:v>
                </c:pt>
                <c:pt idx="1">
                  <c:v>15.942028985507248</c:v>
                </c:pt>
                <c:pt idx="2">
                  <c:v>30.508474576271187</c:v>
                </c:pt>
              </c:numCache>
            </c:numRef>
          </c:val>
          <c:extLst>
            <c:ext xmlns:c16="http://schemas.microsoft.com/office/drawing/2014/chart" uri="{C3380CC4-5D6E-409C-BE32-E72D297353CC}">
              <c16:uniqueId val="{00000003-4075-4A70-9093-BE99F7507859}"/>
            </c:ext>
          </c:extLst>
        </c:ser>
        <c:ser>
          <c:idx val="1"/>
          <c:order val="1"/>
          <c:spPr>
            <a:solidFill>
              <a:srgbClr val="C8C8C8"/>
            </a:solidFill>
            <a:ln>
              <a:noFill/>
            </a:ln>
          </c:spPr>
          <c:invertIfNegative val="0"/>
          <c:dLbls>
            <c:dLbl>
              <c:idx val="0"/>
              <c:layout>
                <c:manualLayout>
                  <c:x val="-2.7277686852154935E-4"/>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75-4A70-9093-BE99F7507859}"/>
                </c:ext>
              </c:extLst>
            </c:dLbl>
            <c:dLbl>
              <c:idx val="1"/>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75-4A70-9093-BE99F7507859}"/>
                </c:ext>
              </c:extLst>
            </c:dLbl>
            <c:dLbl>
              <c:idx val="2"/>
              <c:layout>
                <c:manualLayout>
                  <c:x val="0"/>
                  <c:y val="-4.1039671682626538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075-4A70-9093-BE99F75078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7.977528089887642</c:v>
                </c:pt>
                <c:pt idx="1">
                  <c:v>14.492753623188406</c:v>
                </c:pt>
                <c:pt idx="2">
                  <c:v>42.372881355932208</c:v>
                </c:pt>
              </c:numCache>
            </c:numRef>
          </c:val>
          <c:extLst>
            <c:ext xmlns:c16="http://schemas.microsoft.com/office/drawing/2014/chart" uri="{C3380CC4-5D6E-409C-BE32-E72D297353CC}">
              <c16:uniqueId val="{00000007-4075-4A70-9093-BE99F7507859}"/>
            </c:ext>
          </c:extLst>
        </c:ser>
        <c:ser>
          <c:idx val="2"/>
          <c:order val="2"/>
          <c:spPr>
            <a:solidFill>
              <a:srgbClr val="837F7F"/>
            </a:solidFill>
            <a:ln>
              <a:noFill/>
            </a:ln>
          </c:spPr>
          <c:invertIfNegative val="0"/>
          <c:dLbls>
            <c:dLbl>
              <c:idx val="0"/>
              <c:layout>
                <c:manualLayout>
                  <c:x val="0"/>
                  <c:y val="-4.103967168262653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075-4A70-9093-BE99F7507859}"/>
                </c:ext>
              </c:extLst>
            </c:dLbl>
            <c:dLbl>
              <c:idx val="1"/>
              <c:layout>
                <c:manualLayout>
                  <c:x val="0"/>
                  <c:y val="-4.103967168262653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075-4A70-9093-BE99F7507859}"/>
                </c:ext>
              </c:extLst>
            </c:dLbl>
            <c:dLbl>
              <c:idx val="2"/>
              <c:layout>
                <c:manualLayout>
                  <c:x val="0"/>
                  <c:y val="-4.103967168262653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075-4A70-9093-BE99F75078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61.797752808988761</c:v>
                </c:pt>
                <c:pt idx="1">
                  <c:v>69.565217391304344</c:v>
                </c:pt>
                <c:pt idx="2">
                  <c:v>27.118644067796605</c:v>
                </c:pt>
              </c:numCache>
            </c:numRef>
          </c:val>
          <c:extLst>
            <c:ext xmlns:c16="http://schemas.microsoft.com/office/drawing/2014/chart" uri="{C3380CC4-5D6E-409C-BE32-E72D297353CC}">
              <c16:uniqueId val="{0000000B-4075-4A70-9093-BE99F7507859}"/>
            </c:ext>
          </c:extLst>
        </c:ser>
        <c:dLbls>
          <c:showLegendKey val="0"/>
          <c:showVal val="0"/>
          <c:showCatName val="0"/>
          <c:showSerName val="0"/>
          <c:showPercent val="0"/>
          <c:showBubbleSize val="0"/>
        </c:dLbls>
        <c:gapWidth val="60"/>
        <c:overlap val="100"/>
        <c:axId val="890106696"/>
        <c:axId val="1"/>
      </c:barChart>
      <c:catAx>
        <c:axId val="890106696"/>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890106696"/>
        <c:crosses val="max"/>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71451560991309E-2"/>
          <c:y val="2.1894736842105262E-2"/>
          <c:w val="0.8918570968780174"/>
          <c:h val="0.8909473684210526"/>
        </c:manualLayout>
      </c:layout>
      <c:barChart>
        <c:barDir val="bar"/>
        <c:grouping val="stacked"/>
        <c:varyColors val="0"/>
        <c:ser>
          <c:idx val="0"/>
          <c:order val="0"/>
          <c:spPr>
            <a:solidFill>
              <a:schemeClr val="tx2"/>
            </a:solidFill>
            <a:ln>
              <a:noFill/>
            </a:ln>
          </c:spPr>
          <c:invertIfNegative val="0"/>
          <c:dLbls>
            <c:dLbl>
              <c:idx val="0"/>
              <c:layout>
                <c:manualLayout>
                  <c:x val="-3.2185387833923401E-4"/>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67-448B-A5A4-77EC541F886C}"/>
                </c:ext>
              </c:extLst>
            </c:dLbl>
            <c:dLbl>
              <c:idx val="1"/>
              <c:layout>
                <c:manualLayout>
                  <c:x val="-3.2185387833923401E-4"/>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67-448B-A5A4-77EC541F886C}"/>
                </c:ext>
              </c:extLst>
            </c:dLbl>
            <c:dLbl>
              <c:idx val="2"/>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67-448B-A5A4-77EC541F886C}"/>
                </c:ext>
              </c:extLst>
            </c:dLbl>
            <c:dLbl>
              <c:idx val="3"/>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67-448B-A5A4-77EC541F886C}"/>
                </c:ext>
              </c:extLst>
            </c:dLbl>
            <c:dLbl>
              <c:idx val="4"/>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167-448B-A5A4-77EC541F886C}"/>
                </c:ext>
              </c:extLst>
            </c:dLbl>
            <c:dLbl>
              <c:idx val="5"/>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167-448B-A5A4-77EC541F88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9.239999999999998</c:v>
                </c:pt>
                <c:pt idx="1">
                  <c:v>21.63</c:v>
                </c:pt>
                <c:pt idx="2">
                  <c:v>20.080000000000002</c:v>
                </c:pt>
                <c:pt idx="3">
                  <c:v>19.7</c:v>
                </c:pt>
                <c:pt idx="4">
                  <c:v>18.509999999999998</c:v>
                </c:pt>
                <c:pt idx="5">
                  <c:v>11.28</c:v>
                </c:pt>
              </c:numCache>
            </c:numRef>
          </c:val>
          <c:extLst>
            <c:ext xmlns:c16="http://schemas.microsoft.com/office/drawing/2014/chart" uri="{C3380CC4-5D6E-409C-BE32-E72D297353CC}">
              <c16:uniqueId val="{00000006-0167-448B-A5A4-77EC541F886C}"/>
            </c:ext>
          </c:extLst>
        </c:ser>
        <c:ser>
          <c:idx val="1"/>
          <c:order val="1"/>
          <c:spPr>
            <a:solidFill>
              <a:schemeClr val="accent2"/>
            </a:solidFill>
            <a:ln>
              <a:noFill/>
            </a:ln>
          </c:spPr>
          <c:invertIfNegative val="0"/>
          <c:dLbls>
            <c:dLbl>
              <c:idx val="0"/>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67-448B-A5A4-77EC541F886C}"/>
                </c:ext>
              </c:extLst>
            </c:dLbl>
            <c:dLbl>
              <c:idx val="1"/>
              <c:layout>
                <c:manualLayout>
                  <c:x val="-3.2185387833923401E-4"/>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167-448B-A5A4-77EC541F886C}"/>
                </c:ext>
              </c:extLst>
            </c:dLbl>
            <c:dLbl>
              <c:idx val="2"/>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167-448B-A5A4-77EC541F886C}"/>
                </c:ext>
              </c:extLst>
            </c:dLbl>
            <c:dLbl>
              <c:idx val="3"/>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167-448B-A5A4-77EC541F886C}"/>
                </c:ext>
              </c:extLst>
            </c:dLbl>
            <c:dLbl>
              <c:idx val="4"/>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167-448B-A5A4-77EC541F886C}"/>
                </c:ext>
              </c:extLst>
            </c:dLbl>
            <c:dLbl>
              <c:idx val="5"/>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167-448B-A5A4-77EC541F88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8.22</c:v>
                </c:pt>
                <c:pt idx="1">
                  <c:v>42.680000000000007</c:v>
                </c:pt>
                <c:pt idx="2">
                  <c:v>43.38000000000001</c:v>
                </c:pt>
                <c:pt idx="3">
                  <c:v>43.69</c:v>
                </c:pt>
                <c:pt idx="4">
                  <c:v>43.97</c:v>
                </c:pt>
                <c:pt idx="5">
                  <c:v>44.49</c:v>
                </c:pt>
              </c:numCache>
            </c:numRef>
          </c:val>
          <c:extLst>
            <c:ext xmlns:c16="http://schemas.microsoft.com/office/drawing/2014/chart" uri="{C3380CC4-5D6E-409C-BE32-E72D297353CC}">
              <c16:uniqueId val="{0000000D-0167-448B-A5A4-77EC541F886C}"/>
            </c:ext>
          </c:extLst>
        </c:ser>
        <c:ser>
          <c:idx val="2"/>
          <c:order val="2"/>
          <c:spPr>
            <a:solidFill>
              <a:srgbClr val="C8C8C8"/>
            </a:solidFill>
            <a:ln>
              <a:noFill/>
            </a:ln>
          </c:spPr>
          <c:invertIfNegative val="0"/>
          <c:dLbls>
            <c:dLbl>
              <c:idx val="0"/>
              <c:layout>
                <c:manualLayout>
                  <c:x val="0"/>
                  <c:y val="-1.2631578947368421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167-448B-A5A4-77EC541F886C}"/>
                </c:ext>
              </c:extLst>
            </c:dLbl>
            <c:dLbl>
              <c:idx val="1"/>
              <c:layout>
                <c:manualLayout>
                  <c:x val="-3.2185387833923401E-4"/>
                  <c:y val="-1.2631578947368421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167-448B-A5A4-77EC541F886C}"/>
                </c:ext>
              </c:extLst>
            </c:dLbl>
            <c:dLbl>
              <c:idx val="2"/>
              <c:layout>
                <c:manualLayout>
                  <c:x val="-3.2185387833923401E-4"/>
                  <c:y val="-1.2631578947368421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167-448B-A5A4-77EC541F886C}"/>
                </c:ext>
              </c:extLst>
            </c:dLbl>
            <c:dLbl>
              <c:idx val="3"/>
              <c:layout>
                <c:manualLayout>
                  <c:x val="0"/>
                  <c:y val="-1.2631578947368421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167-448B-A5A4-77EC541F886C}"/>
                </c:ext>
              </c:extLst>
            </c:dLbl>
            <c:dLbl>
              <c:idx val="4"/>
              <c:layout>
                <c:manualLayout>
                  <c:x val="0"/>
                  <c:y val="-1.2631578947368421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167-448B-A5A4-77EC541F886C}"/>
                </c:ext>
              </c:extLst>
            </c:dLbl>
            <c:dLbl>
              <c:idx val="5"/>
              <c:layout>
                <c:manualLayout>
                  <c:x val="-3.2185387833923401E-4"/>
                  <c:y val="-1.2631578947368421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167-448B-A5A4-77EC541F88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25.03</c:v>
                </c:pt>
                <c:pt idx="1">
                  <c:v>21.039999999999992</c:v>
                </c:pt>
                <c:pt idx="2">
                  <c:v>26.019999999999996</c:v>
                </c:pt>
                <c:pt idx="3">
                  <c:v>28.78</c:v>
                </c:pt>
                <c:pt idx="4">
                  <c:v>29.6</c:v>
                </c:pt>
                <c:pt idx="5">
                  <c:v>27.440000000000005</c:v>
                </c:pt>
              </c:numCache>
            </c:numRef>
          </c:val>
          <c:extLst>
            <c:ext xmlns:c16="http://schemas.microsoft.com/office/drawing/2014/chart" uri="{C3380CC4-5D6E-409C-BE32-E72D297353CC}">
              <c16:uniqueId val="{00000014-0167-448B-A5A4-77EC541F886C}"/>
            </c:ext>
          </c:extLst>
        </c:ser>
        <c:ser>
          <c:idx val="3"/>
          <c:order val="3"/>
          <c:spPr>
            <a:solidFill>
              <a:srgbClr val="ABA8B3"/>
            </a:solidFill>
            <a:ln>
              <a:noFill/>
            </a:ln>
          </c:spPr>
          <c:invertIfNegative val="0"/>
          <c:dLbls>
            <c:dLbl>
              <c:idx val="0"/>
              <c:layout>
                <c:manualLayout>
                  <c:x val="-3.2185387833923401E-4"/>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167-448B-A5A4-77EC541F886C}"/>
                </c:ext>
              </c:extLst>
            </c:dLbl>
            <c:dLbl>
              <c:idx val="1"/>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167-448B-A5A4-77EC541F886C}"/>
                </c:ext>
              </c:extLst>
            </c:dLbl>
            <c:dLbl>
              <c:idx val="2"/>
              <c:layout>
                <c:manualLayout>
                  <c:x val="-3.2185387833923401E-4"/>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167-448B-A5A4-77EC541F886C}"/>
                </c:ext>
              </c:extLst>
            </c:dLbl>
            <c:dLbl>
              <c:idx val="3"/>
              <c:layout>
                <c:manualLayout>
                  <c:x val="-3.2185387833923401E-4"/>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167-448B-A5A4-77EC541F886C}"/>
                </c:ext>
              </c:extLst>
            </c:dLbl>
            <c:dLbl>
              <c:idx val="4"/>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167-448B-A5A4-77EC541F886C}"/>
                </c:ext>
              </c:extLst>
            </c:dLbl>
            <c:dLbl>
              <c:idx val="5"/>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167-448B-A5A4-77EC541F88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5.5300000000000011</c:v>
                </c:pt>
                <c:pt idx="1">
                  <c:v>11.060000000000002</c:v>
                </c:pt>
                <c:pt idx="2">
                  <c:v>7.75</c:v>
                </c:pt>
                <c:pt idx="3">
                  <c:v>5.8100000000000023</c:v>
                </c:pt>
                <c:pt idx="4">
                  <c:v>5.480000000000004</c:v>
                </c:pt>
                <c:pt idx="5">
                  <c:v>13.5</c:v>
                </c:pt>
              </c:numCache>
            </c:numRef>
          </c:val>
          <c:extLst>
            <c:ext xmlns:c16="http://schemas.microsoft.com/office/drawing/2014/chart" uri="{C3380CC4-5D6E-409C-BE32-E72D297353CC}">
              <c16:uniqueId val="{0000001B-0167-448B-A5A4-77EC541F886C}"/>
            </c:ext>
          </c:extLst>
        </c:ser>
        <c:ser>
          <c:idx val="4"/>
          <c:order val="4"/>
          <c:spPr>
            <a:solidFill>
              <a:srgbClr val="837F7F"/>
            </a:solidFill>
            <a:ln>
              <a:noFill/>
            </a:ln>
          </c:spPr>
          <c:invertIfNegative val="0"/>
          <c:dLbls>
            <c:dLbl>
              <c:idx val="0"/>
              <c:layout>
                <c:manualLayout>
                  <c:x val="-3.2185387833923401E-4"/>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167-448B-A5A4-77EC541F886C}"/>
                </c:ext>
              </c:extLst>
            </c:dLbl>
            <c:dLbl>
              <c:idx val="1"/>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167-448B-A5A4-77EC541F886C}"/>
                </c:ext>
              </c:extLst>
            </c:dLbl>
            <c:dLbl>
              <c:idx val="2"/>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167-448B-A5A4-77EC541F886C}"/>
                </c:ext>
              </c:extLst>
            </c:dLbl>
            <c:dLbl>
              <c:idx val="3"/>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167-448B-A5A4-77EC541F886C}"/>
                </c:ext>
              </c:extLst>
            </c:dLbl>
            <c:dLbl>
              <c:idx val="4"/>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167-448B-A5A4-77EC541F886C}"/>
                </c:ext>
              </c:extLst>
            </c:dLbl>
            <c:dLbl>
              <c:idx val="5"/>
              <c:layout>
                <c:manualLayout>
                  <c:x val="0"/>
                  <c:y val="-1.263157894736842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167-448B-A5A4-77EC541F88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1.980000000000004</c:v>
                </c:pt>
                <c:pt idx="1">
                  <c:v>3.5900000000000034</c:v>
                </c:pt>
                <c:pt idx="2">
                  <c:v>2.7600000000000051</c:v>
                </c:pt>
                <c:pt idx="3">
                  <c:v>2.019999999999996</c:v>
                </c:pt>
                <c:pt idx="4">
                  <c:v>2.4399999999999977</c:v>
                </c:pt>
                <c:pt idx="5">
                  <c:v>3.2900000000000063</c:v>
                </c:pt>
              </c:numCache>
            </c:numRef>
          </c:val>
          <c:extLst>
            <c:ext xmlns:c16="http://schemas.microsoft.com/office/drawing/2014/chart" uri="{C3380CC4-5D6E-409C-BE32-E72D297353CC}">
              <c16:uniqueId val="{00000022-0167-448B-A5A4-77EC541F886C}"/>
            </c:ext>
          </c:extLst>
        </c:ser>
        <c:dLbls>
          <c:showLegendKey val="0"/>
          <c:showVal val="0"/>
          <c:showCatName val="0"/>
          <c:showSerName val="0"/>
          <c:showPercent val="0"/>
          <c:showBubbleSize val="0"/>
        </c:dLbls>
        <c:gapWidth val="60"/>
        <c:overlap val="100"/>
        <c:axId val="1339923432"/>
        <c:axId val="1"/>
      </c:barChart>
      <c:catAx>
        <c:axId val="133992343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39923432"/>
        <c:crosses val="max"/>
        <c:crossBetween val="between"/>
        <c:majorUnit val="20"/>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772392903504978E-2"/>
          <c:y val="5.4826254826254826E-2"/>
          <c:w val="0.922977066205106"/>
          <c:h val="0.88957528957528953"/>
        </c:manualLayout>
      </c:layout>
      <c:barChart>
        <c:barDir val="col"/>
        <c:grouping val="clustered"/>
        <c:varyColors val="0"/>
        <c:ser>
          <c:idx val="0"/>
          <c:order val="0"/>
          <c:spPr>
            <a:solidFill>
              <a:srgbClr val="295E7E"/>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4E-45BB-8553-6500ACA5E339}"/>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4E-45BB-8553-6500ACA5E3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0</c:v>
                </c:pt>
                <c:pt idx="1">
                  <c:v>56</c:v>
                </c:pt>
              </c:numCache>
            </c:numRef>
          </c:val>
          <c:extLst>
            <c:ext xmlns:c16="http://schemas.microsoft.com/office/drawing/2014/chart" uri="{C3380CC4-5D6E-409C-BE32-E72D297353CC}">
              <c16:uniqueId val="{00000002-314E-45BB-8553-6500ACA5E339}"/>
            </c:ext>
          </c:extLst>
        </c:ser>
        <c:ser>
          <c:idx val="1"/>
          <c:order val="1"/>
          <c:spPr>
            <a:solidFill>
              <a:srgbClr val="008AC2"/>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4E-45BB-8553-6500ACA5E339}"/>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14E-45BB-8553-6500ACA5E3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5</c:v>
                </c:pt>
                <c:pt idx="1">
                  <c:v>62</c:v>
                </c:pt>
              </c:numCache>
            </c:numRef>
          </c:val>
          <c:extLst>
            <c:ext xmlns:c16="http://schemas.microsoft.com/office/drawing/2014/chart" uri="{C3380CC4-5D6E-409C-BE32-E72D297353CC}">
              <c16:uniqueId val="{00000005-314E-45BB-8553-6500ACA5E339}"/>
            </c:ext>
          </c:extLst>
        </c:ser>
        <c:ser>
          <c:idx val="2"/>
          <c:order val="2"/>
          <c:spPr>
            <a:solidFill>
              <a:srgbClr val="2BD5D9"/>
            </a:solidFill>
            <a:ln>
              <a:noFill/>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14E-45BB-8553-6500ACA5E339}"/>
                </c:ext>
              </c:extLst>
            </c:dLbl>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14E-45BB-8553-6500ACA5E339}"/>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14E-45BB-8553-6500ACA5E339}"/>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14E-45BB-8553-6500ACA5E339}"/>
                </c:ext>
              </c:extLst>
            </c:dLbl>
            <c:dLbl>
              <c:idx val="4"/>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14E-45BB-8553-6500ACA5E339}"/>
                </c:ext>
              </c:extLst>
            </c:dLbl>
            <c:dLbl>
              <c:idx val="5"/>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14E-45BB-8553-6500ACA5E3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61.76</c:v>
                </c:pt>
                <c:pt idx="1">
                  <c:v>50.58</c:v>
                </c:pt>
                <c:pt idx="2">
                  <c:v>66.13</c:v>
                </c:pt>
                <c:pt idx="3">
                  <c:v>60.38</c:v>
                </c:pt>
                <c:pt idx="4">
                  <c:v>61.85</c:v>
                </c:pt>
                <c:pt idx="5">
                  <c:v>63</c:v>
                </c:pt>
              </c:numCache>
            </c:numRef>
          </c:val>
          <c:extLst>
            <c:ext xmlns:c16="http://schemas.microsoft.com/office/drawing/2014/chart" uri="{C3380CC4-5D6E-409C-BE32-E72D297353CC}">
              <c16:uniqueId val="{0000000C-314E-45BB-8553-6500ACA5E339}"/>
            </c:ext>
          </c:extLst>
        </c:ser>
        <c:dLbls>
          <c:showLegendKey val="0"/>
          <c:showVal val="0"/>
          <c:showCatName val="0"/>
          <c:showSerName val="0"/>
          <c:showPercent val="0"/>
          <c:showBubbleSize val="0"/>
        </c:dLbls>
        <c:gapWidth val="60"/>
        <c:axId val="1429477440"/>
        <c:axId val="1"/>
      </c:barChart>
      <c:catAx>
        <c:axId val="142947744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429477440"/>
        <c:crosses val="min"/>
        <c:crossBetween val="between"/>
        <c:majorUnit val="50"/>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24250214224508E-2"/>
          <c:y val="5.4826254826254826E-2"/>
          <c:w val="0.92373607540702651"/>
          <c:h val="0.88957528957528953"/>
        </c:manualLayout>
      </c:layout>
      <c:barChart>
        <c:barDir val="col"/>
        <c:grouping val="clustered"/>
        <c:varyColors val="0"/>
        <c:ser>
          <c:idx val="0"/>
          <c:order val="0"/>
          <c:spPr>
            <a:solidFill>
              <a:srgbClr val="6E6F73"/>
            </a:solidFill>
            <a:ln w="19050"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BF-4E9C-BCFA-26120916C533}"/>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BF-4E9C-BCFA-26120916C5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5</c:v>
                </c:pt>
                <c:pt idx="1">
                  <c:v>59</c:v>
                </c:pt>
              </c:numCache>
            </c:numRef>
          </c:val>
          <c:extLst>
            <c:ext xmlns:c16="http://schemas.microsoft.com/office/drawing/2014/chart" uri="{C3380CC4-5D6E-409C-BE32-E72D297353CC}">
              <c16:uniqueId val="{00000002-B3BF-4E9C-BCFA-26120916C533}"/>
            </c:ext>
          </c:extLst>
        </c:ser>
        <c:ser>
          <c:idx val="1"/>
          <c:order val="1"/>
          <c:spPr>
            <a:solidFill>
              <a:srgbClr val="ABA8B3"/>
            </a:solidFill>
            <a:ln w="19050" algn="ctr">
              <a:solidFill>
                <a:schemeClr val="bg1"/>
              </a:solidFill>
              <a:prstDash val="solid"/>
            </a:ln>
          </c:spPr>
          <c:invertIfNegative val="0"/>
          <c:dLbls>
            <c:dLbl>
              <c:idx val="0"/>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BF-4E9C-BCFA-26120916C533}"/>
                </c:ext>
              </c:extLst>
            </c:dLbl>
            <c:dLbl>
              <c:idx val="1"/>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BF-4E9C-BCFA-26120916C5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9</c:v>
                </c:pt>
                <c:pt idx="1">
                  <c:v>65</c:v>
                </c:pt>
              </c:numCache>
            </c:numRef>
          </c:val>
          <c:extLst>
            <c:ext xmlns:c16="http://schemas.microsoft.com/office/drawing/2014/chart" uri="{C3380CC4-5D6E-409C-BE32-E72D297353CC}">
              <c16:uniqueId val="{00000005-B3BF-4E9C-BCFA-26120916C533}"/>
            </c:ext>
          </c:extLst>
        </c:ser>
        <c:ser>
          <c:idx val="2"/>
          <c:order val="2"/>
          <c:spPr>
            <a:solidFill>
              <a:srgbClr val="837F7F"/>
            </a:solidFill>
            <a:ln w="19050" algn="ctr">
              <a:solidFill>
                <a:schemeClr val="bg1"/>
              </a:solidFill>
              <a:prstDash val="solid"/>
            </a:ln>
          </c:spPr>
          <c:invertIfNegative val="0"/>
          <c:dLbls>
            <c:dLbl>
              <c:idx val="0"/>
              <c:layout>
                <c:manualLayout>
                  <c:x val="0"/>
                  <c:y val="7.722007722007722E-4"/>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BF-4E9C-BCFA-26120916C533}"/>
                </c:ext>
              </c:extLst>
            </c:dLbl>
            <c:dLbl>
              <c:idx val="1"/>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3BF-4E9C-BCFA-26120916C533}"/>
                </c:ext>
              </c:extLst>
            </c:dLbl>
            <c:dLbl>
              <c:idx val="2"/>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3BF-4E9C-BCFA-26120916C533}"/>
                </c:ext>
              </c:extLst>
            </c:dLbl>
            <c:dLbl>
              <c:idx val="3"/>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3BF-4E9C-BCFA-26120916C533}"/>
                </c:ext>
              </c:extLst>
            </c:dLbl>
            <c:dLbl>
              <c:idx val="4"/>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3BF-4E9C-BCFA-26120916C533}"/>
                </c:ext>
              </c:extLst>
            </c:dLbl>
            <c:dLbl>
              <c:idx val="5"/>
              <c:layout>
                <c:manualLayout>
                  <c:x val="0"/>
                  <c:y val="1.544401544401544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3BF-4E9C-BCFA-26120916C5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71.59</c:v>
                </c:pt>
                <c:pt idx="1">
                  <c:v>60.16</c:v>
                </c:pt>
                <c:pt idx="2">
                  <c:v>62.64</c:v>
                </c:pt>
                <c:pt idx="3">
                  <c:v>64.739999999999995</c:v>
                </c:pt>
                <c:pt idx="4">
                  <c:v>64.959999999999994</c:v>
                </c:pt>
                <c:pt idx="5">
                  <c:v>64</c:v>
                </c:pt>
              </c:numCache>
            </c:numRef>
          </c:val>
          <c:extLst>
            <c:ext xmlns:c16="http://schemas.microsoft.com/office/drawing/2014/chart" uri="{C3380CC4-5D6E-409C-BE32-E72D297353CC}">
              <c16:uniqueId val="{0000000C-B3BF-4E9C-BCFA-26120916C533}"/>
            </c:ext>
          </c:extLst>
        </c:ser>
        <c:dLbls>
          <c:showLegendKey val="0"/>
          <c:showVal val="0"/>
          <c:showCatName val="0"/>
          <c:showSerName val="0"/>
          <c:showPercent val="0"/>
          <c:showBubbleSize val="0"/>
        </c:dLbls>
        <c:gapWidth val="60"/>
        <c:axId val="1384966296"/>
        <c:axId val="1"/>
      </c:barChart>
      <c:catAx>
        <c:axId val="138496629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384966296"/>
        <c:crosses val="min"/>
        <c:crossBetween val="between"/>
        <c:majorUnit val="50"/>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11182450508293E-2"/>
          <c:y val="5.4393305439330547E-2"/>
          <c:w val="0.97217763509898336"/>
          <c:h val="0.89121338912133896"/>
        </c:manualLayout>
      </c:layout>
      <c:barChart>
        <c:barDir val="bar"/>
        <c:grouping val="stacked"/>
        <c:varyColors val="0"/>
        <c:ser>
          <c:idx val="0"/>
          <c:order val="0"/>
          <c:spPr>
            <a:solidFill>
              <a:srgbClr val="A1E26F"/>
            </a:solidFill>
            <a:ln>
              <a:noFill/>
            </a:ln>
          </c:spPr>
          <c:invertIfNegative val="0"/>
          <c:dLbls>
            <c:dLbl>
              <c:idx val="0"/>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1A2-4559-8CFE-DACE11C172C0}"/>
                </c:ext>
              </c:extLst>
            </c:dLbl>
            <c:dLbl>
              <c:idx val="1"/>
              <c:layout>
                <c:manualLayout>
                  <c:x val="-2.6752273943285177E-4"/>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1A2-4559-8CFE-DACE11C172C0}"/>
                </c:ext>
              </c:extLst>
            </c:dLbl>
            <c:dLbl>
              <c:idx val="2"/>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1A2-4559-8CFE-DACE11C172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8.000000000000004</c:v>
                </c:pt>
                <c:pt idx="1">
                  <c:v>15.000000000000002</c:v>
                </c:pt>
                <c:pt idx="2">
                  <c:v>31.25</c:v>
                </c:pt>
              </c:numCache>
            </c:numRef>
          </c:val>
          <c:extLst>
            <c:ext xmlns:c16="http://schemas.microsoft.com/office/drawing/2014/chart" uri="{C3380CC4-5D6E-409C-BE32-E72D297353CC}">
              <c16:uniqueId val="{00000003-A1A2-4559-8CFE-DACE11C172C0}"/>
            </c:ext>
          </c:extLst>
        </c:ser>
        <c:ser>
          <c:idx val="1"/>
          <c:order val="1"/>
          <c:spPr>
            <a:solidFill>
              <a:srgbClr val="C8C8C8"/>
            </a:solidFill>
            <a:ln>
              <a:noFill/>
            </a:ln>
          </c:spPr>
          <c:invertIfNegative val="0"/>
          <c:dLbls>
            <c:dLbl>
              <c:idx val="0"/>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1A2-4559-8CFE-DACE11C172C0}"/>
                </c:ext>
              </c:extLst>
            </c:dLbl>
            <c:dLbl>
              <c:idx val="1"/>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1A2-4559-8CFE-DACE11C172C0}"/>
                </c:ext>
              </c:extLst>
            </c:dLbl>
            <c:dLbl>
              <c:idx val="2"/>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1A2-4559-8CFE-DACE11C172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0</c:v>
                </c:pt>
                <c:pt idx="1">
                  <c:v>9.9999999999999982</c:v>
                </c:pt>
                <c:pt idx="2">
                  <c:v>18.75</c:v>
                </c:pt>
              </c:numCache>
            </c:numRef>
          </c:val>
          <c:extLst>
            <c:ext xmlns:c16="http://schemas.microsoft.com/office/drawing/2014/chart" uri="{C3380CC4-5D6E-409C-BE32-E72D297353CC}">
              <c16:uniqueId val="{00000007-A1A2-4559-8CFE-DACE11C172C0}"/>
            </c:ext>
          </c:extLst>
        </c:ser>
        <c:ser>
          <c:idx val="2"/>
          <c:order val="2"/>
          <c:spPr>
            <a:solidFill>
              <a:srgbClr val="837F7F"/>
            </a:solidFill>
            <a:ln>
              <a:noFill/>
            </a:ln>
          </c:spPr>
          <c:invertIfNegative val="0"/>
          <c:dLbls>
            <c:dLbl>
              <c:idx val="0"/>
              <c:layout>
                <c:manualLayout>
                  <c:x val="0"/>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1A2-4559-8CFE-DACE11C172C0}"/>
                </c:ext>
              </c:extLst>
            </c:dLbl>
            <c:dLbl>
              <c:idx val="1"/>
              <c:layout>
                <c:manualLayout>
                  <c:x val="0"/>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1A2-4559-8CFE-DACE11C172C0}"/>
                </c:ext>
              </c:extLst>
            </c:dLbl>
            <c:dLbl>
              <c:idx val="2"/>
              <c:layout>
                <c:manualLayout>
                  <c:x val="-2.6752273943285177E-4"/>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1A2-4559-8CFE-DACE11C172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2</c:v>
                </c:pt>
                <c:pt idx="1">
                  <c:v>75</c:v>
                </c:pt>
                <c:pt idx="2">
                  <c:v>50</c:v>
                </c:pt>
              </c:numCache>
            </c:numRef>
          </c:val>
          <c:extLst>
            <c:ext xmlns:c16="http://schemas.microsoft.com/office/drawing/2014/chart" uri="{C3380CC4-5D6E-409C-BE32-E72D297353CC}">
              <c16:uniqueId val="{0000000B-A1A2-4559-8CFE-DACE11C172C0}"/>
            </c:ext>
          </c:extLst>
        </c:ser>
        <c:dLbls>
          <c:showLegendKey val="0"/>
          <c:showVal val="0"/>
          <c:showCatName val="0"/>
          <c:showSerName val="0"/>
          <c:showPercent val="0"/>
          <c:showBubbleSize val="0"/>
        </c:dLbls>
        <c:gapWidth val="60"/>
        <c:overlap val="100"/>
        <c:axId val="1002313280"/>
        <c:axId val="1"/>
      </c:barChart>
      <c:catAx>
        <c:axId val="1002313280"/>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002313280"/>
        <c:crosses val="max"/>
        <c:crossBetween val="between"/>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01430143014302E-2"/>
          <c:y val="5.4393305439330547E-2"/>
          <c:w val="0.97139713971397135"/>
          <c:h val="0.89121338912133896"/>
        </c:manualLayout>
      </c:layout>
      <c:barChart>
        <c:barDir val="bar"/>
        <c:grouping val="stacked"/>
        <c:varyColors val="0"/>
        <c:ser>
          <c:idx val="0"/>
          <c:order val="0"/>
          <c:spPr>
            <a:solidFill>
              <a:srgbClr val="A1E26F"/>
            </a:solidFill>
            <a:ln>
              <a:noFill/>
            </a:ln>
          </c:spPr>
          <c:invertIfNegative val="0"/>
          <c:dLbls>
            <c:dLbl>
              <c:idx val="0"/>
              <c:layout>
                <c:manualLayout>
                  <c:x val="-2.7502750275027501E-4"/>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A7-4153-8B05-6DFEF3C0B43F}"/>
                </c:ext>
              </c:extLst>
            </c:dLbl>
            <c:dLbl>
              <c:idx val="1"/>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A7-4153-8B05-6DFEF3C0B4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4883720930232558</c:v>
                </c:pt>
                <c:pt idx="1">
                  <c:v>16.279069767441861</c:v>
                </c:pt>
              </c:numCache>
            </c:numRef>
          </c:val>
          <c:extLst>
            <c:ext xmlns:c16="http://schemas.microsoft.com/office/drawing/2014/chart" uri="{C3380CC4-5D6E-409C-BE32-E72D297353CC}">
              <c16:uniqueId val="{00000002-98A7-4153-8B05-6DFEF3C0B43F}"/>
            </c:ext>
          </c:extLst>
        </c:ser>
        <c:ser>
          <c:idx val="1"/>
          <c:order val="1"/>
          <c:spPr>
            <a:solidFill>
              <a:srgbClr val="C8C8C8"/>
            </a:solidFill>
            <a:ln>
              <a:noFill/>
            </a:ln>
          </c:spPr>
          <c:invertIfNegative val="0"/>
          <c:dLbls>
            <c:dLbl>
              <c:idx val="0"/>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A7-4153-8B05-6DFEF3C0B43F}"/>
                </c:ext>
              </c:extLst>
            </c:dLbl>
            <c:dLbl>
              <c:idx val="1"/>
              <c:layout>
                <c:manualLayout>
                  <c:x val="0"/>
                  <c:y val="-3.13807531380753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A7-4153-8B05-6DFEF3C0B4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7.906976744186046</c:v>
                </c:pt>
                <c:pt idx="1">
                  <c:v>37.209302325581397</c:v>
                </c:pt>
              </c:numCache>
            </c:numRef>
          </c:val>
          <c:extLst>
            <c:ext xmlns:c16="http://schemas.microsoft.com/office/drawing/2014/chart" uri="{C3380CC4-5D6E-409C-BE32-E72D297353CC}">
              <c16:uniqueId val="{00000005-98A7-4153-8B05-6DFEF3C0B43F}"/>
            </c:ext>
          </c:extLst>
        </c:ser>
        <c:ser>
          <c:idx val="2"/>
          <c:order val="2"/>
          <c:spPr>
            <a:solidFill>
              <a:srgbClr val="837F7F"/>
            </a:solidFill>
            <a:ln>
              <a:noFill/>
            </a:ln>
          </c:spPr>
          <c:invertIfNegative val="0"/>
          <c:dLbls>
            <c:dLbl>
              <c:idx val="0"/>
              <c:layout>
                <c:manualLayout>
                  <c:x val="0"/>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A7-4153-8B05-6DFEF3C0B43F}"/>
                </c:ext>
              </c:extLst>
            </c:dLbl>
            <c:dLbl>
              <c:idx val="1"/>
              <c:layout>
                <c:manualLayout>
                  <c:x val="-2.7502750275027501E-4"/>
                  <c:y val="-3.13807531380753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A7-4153-8B05-6DFEF3C0B4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68.604651162790702</c:v>
                </c:pt>
                <c:pt idx="1">
                  <c:v>46.511627906976742</c:v>
                </c:pt>
              </c:numCache>
            </c:numRef>
          </c:val>
          <c:extLst>
            <c:ext xmlns:c16="http://schemas.microsoft.com/office/drawing/2014/chart" uri="{C3380CC4-5D6E-409C-BE32-E72D297353CC}">
              <c16:uniqueId val="{00000008-98A7-4153-8B05-6DFEF3C0B43F}"/>
            </c:ext>
          </c:extLst>
        </c:ser>
        <c:dLbls>
          <c:showLegendKey val="0"/>
          <c:showVal val="0"/>
          <c:showCatName val="0"/>
          <c:showSerName val="0"/>
          <c:showPercent val="0"/>
          <c:showBubbleSize val="0"/>
        </c:dLbls>
        <c:gapWidth val="60"/>
        <c:overlap val="100"/>
        <c:axId val="1846554744"/>
        <c:axId val="1"/>
      </c:barChart>
      <c:catAx>
        <c:axId val="1846554744"/>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846554744"/>
        <c:crosses val="max"/>
        <c:crossBetween val="between"/>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A709-46D6-B5D6-740C320B53A0}"/>
              </c:ext>
            </c:extLst>
          </c:dPt>
          <c:dPt>
            <c:idx val="1"/>
            <c:bubble3D val="0"/>
            <c:spPr>
              <a:solidFill>
                <a:srgbClr val="197A56"/>
              </a:solidFill>
              <a:ln>
                <a:noFill/>
              </a:ln>
            </c:spPr>
            <c:extLst>
              <c:ext xmlns:c16="http://schemas.microsoft.com/office/drawing/2014/chart" uri="{C3380CC4-5D6E-409C-BE32-E72D297353CC}">
                <c16:uniqueId val="{00000001-A709-46D6-B5D6-740C320B53A0}"/>
              </c:ext>
            </c:extLst>
          </c:dPt>
          <c:dPt>
            <c:idx val="2"/>
            <c:bubble3D val="0"/>
            <c:spPr>
              <a:solidFill>
                <a:srgbClr val="C8C8C8"/>
              </a:solidFill>
              <a:ln>
                <a:noFill/>
              </a:ln>
            </c:spPr>
            <c:extLst>
              <c:ext xmlns:c16="http://schemas.microsoft.com/office/drawing/2014/chart" uri="{C3380CC4-5D6E-409C-BE32-E72D297353CC}">
                <c16:uniqueId val="{00000002-A709-46D6-B5D6-740C320B53A0}"/>
              </c:ext>
            </c:extLst>
          </c:dPt>
          <c:dPt>
            <c:idx val="3"/>
            <c:bubble3D val="0"/>
            <c:spPr>
              <a:solidFill>
                <a:srgbClr val="ABA8B3"/>
              </a:solidFill>
              <a:ln>
                <a:noFill/>
              </a:ln>
            </c:spPr>
            <c:extLst>
              <c:ext xmlns:c16="http://schemas.microsoft.com/office/drawing/2014/chart" uri="{C3380CC4-5D6E-409C-BE32-E72D297353CC}">
                <c16:uniqueId val="{00000003-A709-46D6-B5D6-740C320B53A0}"/>
              </c:ext>
            </c:extLst>
          </c:dPt>
          <c:dPt>
            <c:idx val="4"/>
            <c:bubble3D val="0"/>
            <c:spPr>
              <a:solidFill>
                <a:srgbClr val="837F7F"/>
              </a:solidFill>
              <a:ln>
                <a:noFill/>
              </a:ln>
            </c:spPr>
            <c:extLst>
              <c:ext xmlns:c16="http://schemas.microsoft.com/office/drawing/2014/chart" uri="{C3380CC4-5D6E-409C-BE32-E72D297353CC}">
                <c16:uniqueId val="{00000004-A709-46D6-B5D6-740C320B53A0}"/>
              </c:ext>
            </c:extLst>
          </c:dPt>
          <c:val>
            <c:numRef>
              <c:f>Sheet1!$A$1:$A$5</c:f>
              <c:numCache>
                <c:formatCode>General</c:formatCode>
                <c:ptCount val="5"/>
                <c:pt idx="0">
                  <c:v>37.99</c:v>
                </c:pt>
                <c:pt idx="1">
                  <c:v>46.400000000000006</c:v>
                </c:pt>
                <c:pt idx="2">
                  <c:v>12.139999999999999</c:v>
                </c:pt>
                <c:pt idx="3">
                  <c:v>2.69</c:v>
                </c:pt>
                <c:pt idx="4">
                  <c:v>0.80999999999999994</c:v>
                </c:pt>
              </c:numCache>
            </c:numRef>
          </c:val>
          <c:extLst>
            <c:ext xmlns:c16="http://schemas.microsoft.com/office/drawing/2014/chart" uri="{C3380CC4-5D6E-409C-BE32-E72D297353CC}">
              <c16:uniqueId val="{00000005-A709-46D6-B5D6-740C320B53A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9EFC-41F2-AECF-2AFA74EE6C44}"/>
              </c:ext>
            </c:extLst>
          </c:dPt>
          <c:dPt>
            <c:idx val="1"/>
            <c:bubble3D val="0"/>
            <c:spPr>
              <a:solidFill>
                <a:schemeClr val="accent2"/>
              </a:solidFill>
              <a:ln>
                <a:noFill/>
              </a:ln>
            </c:spPr>
            <c:extLst>
              <c:ext xmlns:c16="http://schemas.microsoft.com/office/drawing/2014/chart" uri="{C3380CC4-5D6E-409C-BE32-E72D297353CC}">
                <c16:uniqueId val="{00000001-9EFC-41F2-AECF-2AFA74EE6C44}"/>
              </c:ext>
            </c:extLst>
          </c:dPt>
          <c:dPt>
            <c:idx val="2"/>
            <c:bubble3D val="0"/>
            <c:spPr>
              <a:solidFill>
                <a:srgbClr val="C8C8C8"/>
              </a:solidFill>
              <a:ln>
                <a:noFill/>
              </a:ln>
            </c:spPr>
            <c:extLst>
              <c:ext xmlns:c16="http://schemas.microsoft.com/office/drawing/2014/chart" uri="{C3380CC4-5D6E-409C-BE32-E72D297353CC}">
                <c16:uniqueId val="{00000002-9EFC-41F2-AECF-2AFA74EE6C44}"/>
              </c:ext>
            </c:extLst>
          </c:dPt>
          <c:dPt>
            <c:idx val="3"/>
            <c:bubble3D val="0"/>
            <c:spPr>
              <a:solidFill>
                <a:srgbClr val="ABA8B3"/>
              </a:solidFill>
              <a:ln>
                <a:noFill/>
              </a:ln>
            </c:spPr>
            <c:extLst>
              <c:ext xmlns:c16="http://schemas.microsoft.com/office/drawing/2014/chart" uri="{C3380CC4-5D6E-409C-BE32-E72D297353CC}">
                <c16:uniqueId val="{00000003-9EFC-41F2-AECF-2AFA74EE6C44}"/>
              </c:ext>
            </c:extLst>
          </c:dPt>
          <c:dPt>
            <c:idx val="4"/>
            <c:bubble3D val="0"/>
            <c:spPr>
              <a:solidFill>
                <a:srgbClr val="837F7F"/>
              </a:solidFill>
              <a:ln>
                <a:noFill/>
              </a:ln>
            </c:spPr>
            <c:extLst>
              <c:ext xmlns:c16="http://schemas.microsoft.com/office/drawing/2014/chart" uri="{C3380CC4-5D6E-409C-BE32-E72D297353CC}">
                <c16:uniqueId val="{00000004-9EFC-41F2-AECF-2AFA74EE6C44}"/>
              </c:ext>
            </c:extLst>
          </c:dPt>
          <c:val>
            <c:numRef>
              <c:f>Sheet1!$A$1:$A$5</c:f>
              <c:numCache>
                <c:formatCode>General</c:formatCode>
                <c:ptCount val="5"/>
                <c:pt idx="0">
                  <c:v>37.69</c:v>
                </c:pt>
                <c:pt idx="1">
                  <c:v>44.51</c:v>
                </c:pt>
                <c:pt idx="2">
                  <c:v>13.26</c:v>
                </c:pt>
                <c:pt idx="3">
                  <c:v>3.0300000000000002</c:v>
                </c:pt>
                <c:pt idx="4">
                  <c:v>1.52</c:v>
                </c:pt>
              </c:numCache>
            </c:numRef>
          </c:val>
          <c:extLst>
            <c:ext xmlns:c16="http://schemas.microsoft.com/office/drawing/2014/chart" uri="{C3380CC4-5D6E-409C-BE32-E72D297353CC}">
              <c16:uniqueId val="{00000005-9EFC-41F2-AECF-2AFA74EE6C44}"/>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42C-4215-A764-ECB40C570673}"/>
              </c:ext>
            </c:extLst>
          </c:dPt>
          <c:dPt>
            <c:idx val="1"/>
            <c:bubble3D val="0"/>
            <c:spPr>
              <a:solidFill>
                <a:schemeClr val="accent2"/>
              </a:solidFill>
              <a:ln>
                <a:noFill/>
              </a:ln>
            </c:spPr>
            <c:extLst>
              <c:ext xmlns:c16="http://schemas.microsoft.com/office/drawing/2014/chart" uri="{C3380CC4-5D6E-409C-BE32-E72D297353CC}">
                <c16:uniqueId val="{00000001-D42C-4215-A764-ECB40C570673}"/>
              </c:ext>
            </c:extLst>
          </c:dPt>
          <c:dPt>
            <c:idx val="2"/>
            <c:bubble3D val="0"/>
            <c:spPr>
              <a:solidFill>
                <a:srgbClr val="C8C8C8"/>
              </a:solidFill>
              <a:ln>
                <a:noFill/>
              </a:ln>
            </c:spPr>
            <c:extLst>
              <c:ext xmlns:c16="http://schemas.microsoft.com/office/drawing/2014/chart" uri="{C3380CC4-5D6E-409C-BE32-E72D297353CC}">
                <c16:uniqueId val="{00000002-D42C-4215-A764-ECB40C570673}"/>
              </c:ext>
            </c:extLst>
          </c:dPt>
          <c:dPt>
            <c:idx val="3"/>
            <c:bubble3D val="0"/>
            <c:spPr>
              <a:solidFill>
                <a:srgbClr val="ABA8B3"/>
              </a:solidFill>
              <a:ln>
                <a:noFill/>
              </a:ln>
            </c:spPr>
            <c:extLst>
              <c:ext xmlns:c16="http://schemas.microsoft.com/office/drawing/2014/chart" uri="{C3380CC4-5D6E-409C-BE32-E72D297353CC}">
                <c16:uniqueId val="{00000003-D42C-4215-A764-ECB40C570673}"/>
              </c:ext>
            </c:extLst>
          </c:dPt>
          <c:dPt>
            <c:idx val="4"/>
            <c:bubble3D val="0"/>
            <c:spPr>
              <a:solidFill>
                <a:srgbClr val="837F7F"/>
              </a:solidFill>
              <a:ln>
                <a:noFill/>
              </a:ln>
            </c:spPr>
            <c:extLst>
              <c:ext xmlns:c16="http://schemas.microsoft.com/office/drawing/2014/chart" uri="{C3380CC4-5D6E-409C-BE32-E72D297353CC}">
                <c16:uniqueId val="{00000004-D42C-4215-A764-ECB40C570673}"/>
              </c:ext>
            </c:extLst>
          </c:dPt>
          <c:val>
            <c:numRef>
              <c:f>Sheet1!$A$1:$A$5</c:f>
              <c:numCache>
                <c:formatCode>General</c:formatCode>
                <c:ptCount val="5"/>
                <c:pt idx="0">
                  <c:v>38.24</c:v>
                </c:pt>
                <c:pt idx="1">
                  <c:v>48</c:v>
                </c:pt>
                <c:pt idx="2">
                  <c:v>11.200000000000001</c:v>
                </c:pt>
                <c:pt idx="3">
                  <c:v>2.4</c:v>
                </c:pt>
                <c:pt idx="4">
                  <c:v>0.16</c:v>
                </c:pt>
              </c:numCache>
            </c:numRef>
          </c:val>
          <c:extLst>
            <c:ext xmlns:c16="http://schemas.microsoft.com/office/drawing/2014/chart" uri="{C3380CC4-5D6E-409C-BE32-E72D297353CC}">
              <c16:uniqueId val="{00000005-D42C-4215-A764-ECB40C570673}"/>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C0F1-4F10-B839-EF88DC93B7E8}"/>
              </c:ext>
            </c:extLst>
          </c:dPt>
          <c:dPt>
            <c:idx val="1"/>
            <c:bubble3D val="0"/>
            <c:spPr>
              <a:solidFill>
                <a:schemeClr val="accent2"/>
              </a:solidFill>
              <a:ln>
                <a:noFill/>
              </a:ln>
            </c:spPr>
            <c:extLst>
              <c:ext xmlns:c16="http://schemas.microsoft.com/office/drawing/2014/chart" uri="{C3380CC4-5D6E-409C-BE32-E72D297353CC}">
                <c16:uniqueId val="{00000001-C0F1-4F10-B839-EF88DC93B7E8}"/>
              </c:ext>
            </c:extLst>
          </c:dPt>
          <c:dPt>
            <c:idx val="2"/>
            <c:bubble3D val="0"/>
            <c:spPr>
              <a:solidFill>
                <a:srgbClr val="C8C8C8"/>
              </a:solidFill>
              <a:ln>
                <a:noFill/>
              </a:ln>
            </c:spPr>
            <c:extLst>
              <c:ext xmlns:c16="http://schemas.microsoft.com/office/drawing/2014/chart" uri="{C3380CC4-5D6E-409C-BE32-E72D297353CC}">
                <c16:uniqueId val="{00000002-C0F1-4F10-B839-EF88DC93B7E8}"/>
              </c:ext>
            </c:extLst>
          </c:dPt>
          <c:dPt>
            <c:idx val="3"/>
            <c:bubble3D val="0"/>
            <c:spPr>
              <a:solidFill>
                <a:srgbClr val="ABA8B3"/>
              </a:solidFill>
              <a:ln>
                <a:noFill/>
              </a:ln>
            </c:spPr>
            <c:extLst>
              <c:ext xmlns:c16="http://schemas.microsoft.com/office/drawing/2014/chart" uri="{C3380CC4-5D6E-409C-BE32-E72D297353CC}">
                <c16:uniqueId val="{00000003-C0F1-4F10-B839-EF88DC93B7E8}"/>
              </c:ext>
            </c:extLst>
          </c:dPt>
          <c:dPt>
            <c:idx val="4"/>
            <c:bubble3D val="0"/>
            <c:spPr>
              <a:solidFill>
                <a:srgbClr val="837F7F"/>
              </a:solidFill>
              <a:ln>
                <a:noFill/>
              </a:ln>
            </c:spPr>
            <c:extLst>
              <c:ext xmlns:c16="http://schemas.microsoft.com/office/drawing/2014/chart" uri="{C3380CC4-5D6E-409C-BE32-E72D297353CC}">
                <c16:uniqueId val="{00000004-C0F1-4F10-B839-EF88DC93B7E8}"/>
              </c:ext>
            </c:extLst>
          </c:dPt>
          <c:val>
            <c:numRef>
              <c:f>Sheet1!$A$1:$A$5</c:f>
              <c:numCache>
                <c:formatCode>General</c:formatCode>
                <c:ptCount val="5"/>
                <c:pt idx="0">
                  <c:v>37</c:v>
                </c:pt>
                <c:pt idx="1">
                  <c:v>47</c:v>
                </c:pt>
                <c:pt idx="2">
                  <c:v>11</c:v>
                </c:pt>
                <c:pt idx="3">
                  <c:v>4</c:v>
                </c:pt>
                <c:pt idx="4">
                  <c:v>1</c:v>
                </c:pt>
              </c:numCache>
            </c:numRef>
          </c:val>
          <c:extLst>
            <c:ext xmlns:c16="http://schemas.microsoft.com/office/drawing/2014/chart" uri="{C3380CC4-5D6E-409C-BE32-E72D297353CC}">
              <c16:uniqueId val="{00000005-C0F1-4F10-B839-EF88DC93B7E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chemeClr val="accent6"/>
              </a:solidFill>
              <a:ln w="38100">
                <a:solidFill>
                  <a:schemeClr val="bg2"/>
                </a:solidFill>
              </a:ln>
              <a:effectLst/>
            </c:spPr>
            <c:extLst>
              <c:ext xmlns:c16="http://schemas.microsoft.com/office/drawing/2014/chart" uri="{C3380CC4-5D6E-409C-BE32-E72D297353CC}">
                <c16:uniqueId val="{00000001-874E-EB45-AF0C-82349B063E25}"/>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874E-EB45-AF0C-82349B063E25}"/>
              </c:ext>
            </c:extLst>
          </c:dPt>
          <c:cat>
            <c:strRef>
              <c:f>Sheet1!$A$2:$A$3</c:f>
              <c:strCache>
                <c:ptCount val="2"/>
                <c:pt idx="0">
                  <c:v>Yes</c:v>
                </c:pt>
                <c:pt idx="1">
                  <c:v>No</c:v>
                </c:pt>
              </c:strCache>
            </c:strRef>
          </c:cat>
          <c:val>
            <c:numRef>
              <c:f>Sheet1!$B$2:$B$3</c:f>
              <c:numCache>
                <c:formatCode>General</c:formatCode>
                <c:ptCount val="2"/>
                <c:pt idx="0">
                  <c:v>348</c:v>
                </c:pt>
                <c:pt idx="1">
                  <c:v>990</c:v>
                </c:pt>
              </c:numCache>
            </c:numRef>
          </c:val>
          <c:extLst>
            <c:ext xmlns:c16="http://schemas.microsoft.com/office/drawing/2014/chart" uri="{C3380CC4-5D6E-409C-BE32-E72D297353CC}">
              <c16:uniqueId val="{00000004-874E-EB45-AF0C-82349B063E2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598-46ED-89BF-B1BA8AC959AF}"/>
              </c:ext>
            </c:extLst>
          </c:dPt>
          <c:dPt>
            <c:idx val="1"/>
            <c:bubble3D val="0"/>
            <c:spPr>
              <a:solidFill>
                <a:schemeClr val="accent2"/>
              </a:solidFill>
              <a:ln>
                <a:noFill/>
              </a:ln>
            </c:spPr>
            <c:extLst>
              <c:ext xmlns:c16="http://schemas.microsoft.com/office/drawing/2014/chart" uri="{C3380CC4-5D6E-409C-BE32-E72D297353CC}">
                <c16:uniqueId val="{00000001-D598-46ED-89BF-B1BA8AC959AF}"/>
              </c:ext>
            </c:extLst>
          </c:dPt>
          <c:dPt>
            <c:idx val="2"/>
            <c:bubble3D val="0"/>
            <c:spPr>
              <a:solidFill>
                <a:srgbClr val="C8C8C8"/>
              </a:solidFill>
              <a:ln>
                <a:noFill/>
              </a:ln>
            </c:spPr>
            <c:extLst>
              <c:ext xmlns:c16="http://schemas.microsoft.com/office/drawing/2014/chart" uri="{C3380CC4-5D6E-409C-BE32-E72D297353CC}">
                <c16:uniqueId val="{00000002-D598-46ED-89BF-B1BA8AC959AF}"/>
              </c:ext>
            </c:extLst>
          </c:dPt>
          <c:dPt>
            <c:idx val="3"/>
            <c:bubble3D val="0"/>
            <c:spPr>
              <a:solidFill>
                <a:srgbClr val="ABA8B3"/>
              </a:solidFill>
              <a:ln>
                <a:noFill/>
              </a:ln>
            </c:spPr>
            <c:extLst>
              <c:ext xmlns:c16="http://schemas.microsoft.com/office/drawing/2014/chart" uri="{C3380CC4-5D6E-409C-BE32-E72D297353CC}">
                <c16:uniqueId val="{00000003-D598-46ED-89BF-B1BA8AC959AF}"/>
              </c:ext>
            </c:extLst>
          </c:dPt>
          <c:dPt>
            <c:idx val="4"/>
            <c:bubble3D val="0"/>
            <c:spPr>
              <a:solidFill>
                <a:srgbClr val="837F7F"/>
              </a:solidFill>
              <a:ln>
                <a:noFill/>
              </a:ln>
            </c:spPr>
            <c:extLst>
              <c:ext xmlns:c16="http://schemas.microsoft.com/office/drawing/2014/chart" uri="{C3380CC4-5D6E-409C-BE32-E72D297353CC}">
                <c16:uniqueId val="{00000004-D598-46ED-89BF-B1BA8AC959AF}"/>
              </c:ext>
            </c:extLst>
          </c:dPt>
          <c:val>
            <c:numRef>
              <c:f>Sheet1!$A$1:$A$5</c:f>
              <c:numCache>
                <c:formatCode>General</c:formatCode>
                <c:ptCount val="5"/>
                <c:pt idx="0">
                  <c:v>34.849999999999994</c:v>
                </c:pt>
                <c:pt idx="1">
                  <c:v>47.88</c:v>
                </c:pt>
                <c:pt idx="2">
                  <c:v>14.330000000000002</c:v>
                </c:pt>
                <c:pt idx="3">
                  <c:v>2.2800000000000002</c:v>
                </c:pt>
                <c:pt idx="4">
                  <c:v>0.65</c:v>
                </c:pt>
              </c:numCache>
            </c:numRef>
          </c:val>
          <c:extLst>
            <c:ext xmlns:c16="http://schemas.microsoft.com/office/drawing/2014/chart" uri="{C3380CC4-5D6E-409C-BE32-E72D297353CC}">
              <c16:uniqueId val="{00000005-D598-46ED-89BF-B1BA8AC959AF}"/>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C215-4E27-8BA2-A2399D37D00D}"/>
              </c:ext>
            </c:extLst>
          </c:dPt>
          <c:dPt>
            <c:idx val="1"/>
            <c:bubble3D val="0"/>
            <c:spPr>
              <a:solidFill>
                <a:schemeClr val="accent2"/>
              </a:solidFill>
              <a:ln>
                <a:noFill/>
              </a:ln>
            </c:spPr>
            <c:extLst>
              <c:ext xmlns:c16="http://schemas.microsoft.com/office/drawing/2014/chart" uri="{C3380CC4-5D6E-409C-BE32-E72D297353CC}">
                <c16:uniqueId val="{00000001-C215-4E27-8BA2-A2399D37D00D}"/>
              </c:ext>
            </c:extLst>
          </c:dPt>
          <c:dPt>
            <c:idx val="2"/>
            <c:bubble3D val="0"/>
            <c:spPr>
              <a:solidFill>
                <a:srgbClr val="C8C8C8"/>
              </a:solidFill>
              <a:ln>
                <a:noFill/>
              </a:ln>
            </c:spPr>
            <c:extLst>
              <c:ext xmlns:c16="http://schemas.microsoft.com/office/drawing/2014/chart" uri="{C3380CC4-5D6E-409C-BE32-E72D297353CC}">
                <c16:uniqueId val="{00000002-C215-4E27-8BA2-A2399D37D00D}"/>
              </c:ext>
            </c:extLst>
          </c:dPt>
          <c:dPt>
            <c:idx val="3"/>
            <c:bubble3D val="0"/>
            <c:spPr>
              <a:solidFill>
                <a:srgbClr val="ABA8B3"/>
              </a:solidFill>
              <a:ln>
                <a:noFill/>
              </a:ln>
            </c:spPr>
            <c:extLst>
              <c:ext xmlns:c16="http://schemas.microsoft.com/office/drawing/2014/chart" uri="{C3380CC4-5D6E-409C-BE32-E72D297353CC}">
                <c16:uniqueId val="{00000003-C215-4E27-8BA2-A2399D37D00D}"/>
              </c:ext>
            </c:extLst>
          </c:dPt>
          <c:dPt>
            <c:idx val="4"/>
            <c:bubble3D val="0"/>
            <c:spPr>
              <a:solidFill>
                <a:srgbClr val="837F7F"/>
              </a:solidFill>
              <a:ln>
                <a:noFill/>
              </a:ln>
            </c:spPr>
            <c:extLst>
              <c:ext xmlns:c16="http://schemas.microsoft.com/office/drawing/2014/chart" uri="{C3380CC4-5D6E-409C-BE32-E72D297353CC}">
                <c16:uniqueId val="{00000004-C215-4E27-8BA2-A2399D37D00D}"/>
              </c:ext>
            </c:extLst>
          </c:dPt>
          <c:val>
            <c:numRef>
              <c:f>Sheet1!$A$1:$A$5</c:f>
              <c:numCache>
                <c:formatCode>General</c:formatCode>
                <c:ptCount val="5"/>
                <c:pt idx="0">
                  <c:v>36.340000000000003</c:v>
                </c:pt>
                <c:pt idx="1">
                  <c:v>47.61</c:v>
                </c:pt>
                <c:pt idx="2">
                  <c:v>12.389999999999999</c:v>
                </c:pt>
                <c:pt idx="3">
                  <c:v>3.1</c:v>
                </c:pt>
                <c:pt idx="4">
                  <c:v>0.55999999999999994</c:v>
                </c:pt>
              </c:numCache>
            </c:numRef>
          </c:val>
          <c:extLst>
            <c:ext xmlns:c16="http://schemas.microsoft.com/office/drawing/2014/chart" uri="{C3380CC4-5D6E-409C-BE32-E72D297353CC}">
              <c16:uniqueId val="{00000005-C215-4E27-8BA2-A2399D37D00D}"/>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AEF7-442A-AED6-73401676693A}"/>
              </c:ext>
            </c:extLst>
          </c:dPt>
          <c:dPt>
            <c:idx val="1"/>
            <c:bubble3D val="0"/>
            <c:spPr>
              <a:solidFill>
                <a:schemeClr val="accent2"/>
              </a:solidFill>
              <a:ln>
                <a:noFill/>
              </a:ln>
            </c:spPr>
            <c:extLst>
              <c:ext xmlns:c16="http://schemas.microsoft.com/office/drawing/2014/chart" uri="{C3380CC4-5D6E-409C-BE32-E72D297353CC}">
                <c16:uniqueId val="{00000001-AEF7-442A-AED6-73401676693A}"/>
              </c:ext>
            </c:extLst>
          </c:dPt>
          <c:dPt>
            <c:idx val="2"/>
            <c:bubble3D val="0"/>
            <c:spPr>
              <a:solidFill>
                <a:srgbClr val="C8C8C8"/>
              </a:solidFill>
              <a:ln>
                <a:noFill/>
              </a:ln>
            </c:spPr>
            <c:extLst>
              <c:ext xmlns:c16="http://schemas.microsoft.com/office/drawing/2014/chart" uri="{C3380CC4-5D6E-409C-BE32-E72D297353CC}">
                <c16:uniqueId val="{00000002-AEF7-442A-AED6-73401676693A}"/>
              </c:ext>
            </c:extLst>
          </c:dPt>
          <c:dPt>
            <c:idx val="3"/>
            <c:bubble3D val="0"/>
            <c:spPr>
              <a:solidFill>
                <a:srgbClr val="ABA8B3"/>
              </a:solidFill>
              <a:ln>
                <a:noFill/>
              </a:ln>
            </c:spPr>
            <c:extLst>
              <c:ext xmlns:c16="http://schemas.microsoft.com/office/drawing/2014/chart" uri="{C3380CC4-5D6E-409C-BE32-E72D297353CC}">
                <c16:uniqueId val="{00000003-AEF7-442A-AED6-73401676693A}"/>
              </c:ext>
            </c:extLst>
          </c:dPt>
          <c:dPt>
            <c:idx val="4"/>
            <c:bubble3D val="0"/>
            <c:spPr>
              <a:solidFill>
                <a:srgbClr val="837F7F"/>
              </a:solidFill>
              <a:ln>
                <a:noFill/>
              </a:ln>
            </c:spPr>
            <c:extLst>
              <c:ext xmlns:c16="http://schemas.microsoft.com/office/drawing/2014/chart" uri="{C3380CC4-5D6E-409C-BE32-E72D297353CC}">
                <c16:uniqueId val="{00000004-AEF7-442A-AED6-73401676693A}"/>
              </c:ext>
            </c:extLst>
          </c:dPt>
          <c:val>
            <c:numRef>
              <c:f>Sheet1!$A$1:$A$5</c:f>
              <c:numCache>
                <c:formatCode>General</c:formatCode>
                <c:ptCount val="5"/>
                <c:pt idx="0">
                  <c:v>47.06</c:v>
                </c:pt>
                <c:pt idx="1">
                  <c:v>41.67</c:v>
                </c:pt>
                <c:pt idx="2">
                  <c:v>9.31</c:v>
                </c:pt>
                <c:pt idx="3">
                  <c:v>0.98</c:v>
                </c:pt>
                <c:pt idx="4">
                  <c:v>0.98</c:v>
                </c:pt>
              </c:numCache>
            </c:numRef>
          </c:val>
          <c:extLst>
            <c:ext xmlns:c16="http://schemas.microsoft.com/office/drawing/2014/chart" uri="{C3380CC4-5D6E-409C-BE32-E72D297353CC}">
              <c16:uniqueId val="{00000005-AEF7-442A-AED6-73401676693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3785-44C7-B667-3B8A27D96C18}"/>
              </c:ext>
            </c:extLst>
          </c:dPt>
          <c:dPt>
            <c:idx val="1"/>
            <c:bubble3D val="0"/>
            <c:spPr>
              <a:solidFill>
                <a:schemeClr val="accent2"/>
              </a:solidFill>
              <a:ln>
                <a:noFill/>
              </a:ln>
            </c:spPr>
            <c:extLst>
              <c:ext xmlns:c16="http://schemas.microsoft.com/office/drawing/2014/chart" uri="{C3380CC4-5D6E-409C-BE32-E72D297353CC}">
                <c16:uniqueId val="{00000001-3785-44C7-B667-3B8A27D96C18}"/>
              </c:ext>
            </c:extLst>
          </c:dPt>
          <c:dPt>
            <c:idx val="2"/>
            <c:bubble3D val="0"/>
            <c:spPr>
              <a:solidFill>
                <a:srgbClr val="C8C8C8"/>
              </a:solidFill>
              <a:ln>
                <a:noFill/>
              </a:ln>
            </c:spPr>
            <c:extLst>
              <c:ext xmlns:c16="http://schemas.microsoft.com/office/drawing/2014/chart" uri="{C3380CC4-5D6E-409C-BE32-E72D297353CC}">
                <c16:uniqueId val="{00000002-3785-44C7-B667-3B8A27D96C18}"/>
              </c:ext>
            </c:extLst>
          </c:dPt>
          <c:dPt>
            <c:idx val="3"/>
            <c:bubble3D val="0"/>
            <c:spPr>
              <a:solidFill>
                <a:srgbClr val="ABA8B3"/>
              </a:solidFill>
              <a:ln>
                <a:noFill/>
              </a:ln>
            </c:spPr>
            <c:extLst>
              <c:ext xmlns:c16="http://schemas.microsoft.com/office/drawing/2014/chart" uri="{C3380CC4-5D6E-409C-BE32-E72D297353CC}">
                <c16:uniqueId val="{00000003-3785-44C7-B667-3B8A27D96C18}"/>
              </c:ext>
            </c:extLst>
          </c:dPt>
          <c:dPt>
            <c:idx val="4"/>
            <c:bubble3D val="0"/>
            <c:spPr>
              <a:solidFill>
                <a:srgbClr val="837F7F"/>
              </a:solidFill>
              <a:ln>
                <a:noFill/>
              </a:ln>
            </c:spPr>
            <c:extLst>
              <c:ext xmlns:c16="http://schemas.microsoft.com/office/drawing/2014/chart" uri="{C3380CC4-5D6E-409C-BE32-E72D297353CC}">
                <c16:uniqueId val="{00000004-3785-44C7-B667-3B8A27D96C18}"/>
              </c:ext>
            </c:extLst>
          </c:dPt>
          <c:val>
            <c:numRef>
              <c:f>Sheet1!$A$1:$A$5</c:f>
              <c:numCache>
                <c:formatCode>General</c:formatCode>
                <c:ptCount val="5"/>
                <c:pt idx="0">
                  <c:v>40</c:v>
                </c:pt>
                <c:pt idx="1">
                  <c:v>45</c:v>
                </c:pt>
                <c:pt idx="2">
                  <c:v>12</c:v>
                </c:pt>
                <c:pt idx="3">
                  <c:v>2</c:v>
                </c:pt>
                <c:pt idx="4">
                  <c:v>1</c:v>
                </c:pt>
              </c:numCache>
            </c:numRef>
          </c:val>
          <c:extLst>
            <c:ext xmlns:c16="http://schemas.microsoft.com/office/drawing/2014/chart" uri="{C3380CC4-5D6E-409C-BE32-E72D297353CC}">
              <c16:uniqueId val="{00000005-3785-44C7-B667-3B8A27D96C1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1E9-4BF6-B20D-19308AB3921B}"/>
              </c:ext>
            </c:extLst>
          </c:dPt>
          <c:dPt>
            <c:idx val="1"/>
            <c:bubble3D val="0"/>
            <c:spPr>
              <a:solidFill>
                <a:schemeClr val="accent2"/>
              </a:solidFill>
              <a:ln>
                <a:noFill/>
              </a:ln>
            </c:spPr>
            <c:extLst>
              <c:ext xmlns:c16="http://schemas.microsoft.com/office/drawing/2014/chart" uri="{C3380CC4-5D6E-409C-BE32-E72D297353CC}">
                <c16:uniqueId val="{00000001-D1E9-4BF6-B20D-19308AB3921B}"/>
              </c:ext>
            </c:extLst>
          </c:dPt>
          <c:dPt>
            <c:idx val="2"/>
            <c:bubble3D val="0"/>
            <c:spPr>
              <a:solidFill>
                <a:srgbClr val="C8C8C8"/>
              </a:solidFill>
              <a:ln>
                <a:noFill/>
              </a:ln>
            </c:spPr>
            <c:extLst>
              <c:ext xmlns:c16="http://schemas.microsoft.com/office/drawing/2014/chart" uri="{C3380CC4-5D6E-409C-BE32-E72D297353CC}">
                <c16:uniqueId val="{00000002-D1E9-4BF6-B20D-19308AB3921B}"/>
              </c:ext>
            </c:extLst>
          </c:dPt>
          <c:dPt>
            <c:idx val="3"/>
            <c:bubble3D val="0"/>
            <c:spPr>
              <a:solidFill>
                <a:srgbClr val="ABA8B3"/>
              </a:solidFill>
              <a:ln>
                <a:noFill/>
              </a:ln>
            </c:spPr>
            <c:extLst>
              <c:ext xmlns:c16="http://schemas.microsoft.com/office/drawing/2014/chart" uri="{C3380CC4-5D6E-409C-BE32-E72D297353CC}">
                <c16:uniqueId val="{00000003-D1E9-4BF6-B20D-19308AB3921B}"/>
              </c:ext>
            </c:extLst>
          </c:dPt>
          <c:dPt>
            <c:idx val="4"/>
            <c:bubble3D val="0"/>
            <c:spPr>
              <a:solidFill>
                <a:srgbClr val="837F7F"/>
              </a:solidFill>
              <a:ln>
                <a:noFill/>
              </a:ln>
            </c:spPr>
            <c:extLst>
              <c:ext xmlns:c16="http://schemas.microsoft.com/office/drawing/2014/chart" uri="{C3380CC4-5D6E-409C-BE32-E72D297353CC}">
                <c16:uniqueId val="{00000004-D1E9-4BF6-B20D-19308AB3921B}"/>
              </c:ext>
            </c:extLst>
          </c:dPt>
          <c:val>
            <c:numRef>
              <c:f>Sheet1!$A$1:$A$5</c:f>
              <c:numCache>
                <c:formatCode>General</c:formatCode>
                <c:ptCount val="5"/>
                <c:pt idx="0">
                  <c:v>26.369999999999997</c:v>
                </c:pt>
                <c:pt idx="1">
                  <c:v>45.97</c:v>
                </c:pt>
                <c:pt idx="2">
                  <c:v>20.380000000000003</c:v>
                </c:pt>
                <c:pt idx="3">
                  <c:v>5.0299999999999994</c:v>
                </c:pt>
                <c:pt idx="4">
                  <c:v>2.25</c:v>
                </c:pt>
              </c:numCache>
            </c:numRef>
          </c:val>
          <c:extLst>
            <c:ext xmlns:c16="http://schemas.microsoft.com/office/drawing/2014/chart" uri="{C3380CC4-5D6E-409C-BE32-E72D297353CC}">
              <c16:uniqueId val="{00000005-D1E9-4BF6-B20D-19308AB3921B}"/>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AE16-480E-9991-0FECD3D48BC6}"/>
              </c:ext>
            </c:extLst>
          </c:dPt>
          <c:dPt>
            <c:idx val="1"/>
            <c:bubble3D val="0"/>
            <c:spPr>
              <a:solidFill>
                <a:schemeClr val="accent2"/>
              </a:solidFill>
              <a:ln>
                <a:noFill/>
              </a:ln>
            </c:spPr>
            <c:extLst>
              <c:ext xmlns:c16="http://schemas.microsoft.com/office/drawing/2014/chart" uri="{C3380CC4-5D6E-409C-BE32-E72D297353CC}">
                <c16:uniqueId val="{00000001-AE16-480E-9991-0FECD3D48BC6}"/>
              </c:ext>
            </c:extLst>
          </c:dPt>
          <c:dPt>
            <c:idx val="2"/>
            <c:bubble3D val="0"/>
            <c:spPr>
              <a:solidFill>
                <a:srgbClr val="C8C8C8"/>
              </a:solidFill>
              <a:ln>
                <a:noFill/>
              </a:ln>
            </c:spPr>
            <c:extLst>
              <c:ext xmlns:c16="http://schemas.microsoft.com/office/drawing/2014/chart" uri="{C3380CC4-5D6E-409C-BE32-E72D297353CC}">
                <c16:uniqueId val="{00000002-AE16-480E-9991-0FECD3D48BC6}"/>
              </c:ext>
            </c:extLst>
          </c:dPt>
          <c:dPt>
            <c:idx val="3"/>
            <c:bubble3D val="0"/>
            <c:spPr>
              <a:solidFill>
                <a:srgbClr val="ABA8B3"/>
              </a:solidFill>
              <a:ln>
                <a:noFill/>
              </a:ln>
            </c:spPr>
            <c:extLst>
              <c:ext xmlns:c16="http://schemas.microsoft.com/office/drawing/2014/chart" uri="{C3380CC4-5D6E-409C-BE32-E72D297353CC}">
                <c16:uniqueId val="{00000003-AE16-480E-9991-0FECD3D48BC6}"/>
              </c:ext>
            </c:extLst>
          </c:dPt>
          <c:dPt>
            <c:idx val="4"/>
            <c:bubble3D val="0"/>
            <c:spPr>
              <a:solidFill>
                <a:srgbClr val="837F7F"/>
              </a:solidFill>
              <a:ln>
                <a:noFill/>
              </a:ln>
            </c:spPr>
            <c:extLst>
              <c:ext xmlns:c16="http://schemas.microsoft.com/office/drawing/2014/chart" uri="{C3380CC4-5D6E-409C-BE32-E72D297353CC}">
                <c16:uniqueId val="{00000004-AE16-480E-9991-0FECD3D48BC6}"/>
              </c:ext>
            </c:extLst>
          </c:dPt>
          <c:val>
            <c:numRef>
              <c:f>Sheet1!$A$1:$A$5</c:f>
              <c:numCache>
                <c:formatCode>General</c:formatCode>
                <c:ptCount val="5"/>
                <c:pt idx="0">
                  <c:v>24</c:v>
                </c:pt>
                <c:pt idx="1">
                  <c:v>50</c:v>
                </c:pt>
                <c:pt idx="2">
                  <c:v>18</c:v>
                </c:pt>
                <c:pt idx="3">
                  <c:v>5</c:v>
                </c:pt>
                <c:pt idx="4">
                  <c:v>2</c:v>
                </c:pt>
              </c:numCache>
            </c:numRef>
          </c:val>
          <c:extLst>
            <c:ext xmlns:c16="http://schemas.microsoft.com/office/drawing/2014/chart" uri="{C3380CC4-5D6E-409C-BE32-E72D297353CC}">
              <c16:uniqueId val="{00000005-AE16-480E-9991-0FECD3D48BC6}"/>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F25E-4D23-89FA-AC22C68E58EE}"/>
              </c:ext>
            </c:extLst>
          </c:dPt>
          <c:dPt>
            <c:idx val="1"/>
            <c:bubble3D val="0"/>
            <c:spPr>
              <a:solidFill>
                <a:schemeClr val="accent2"/>
              </a:solidFill>
              <a:ln>
                <a:noFill/>
              </a:ln>
            </c:spPr>
            <c:extLst>
              <c:ext xmlns:c16="http://schemas.microsoft.com/office/drawing/2014/chart" uri="{C3380CC4-5D6E-409C-BE32-E72D297353CC}">
                <c16:uniqueId val="{00000001-F25E-4D23-89FA-AC22C68E58EE}"/>
              </c:ext>
            </c:extLst>
          </c:dPt>
          <c:dPt>
            <c:idx val="2"/>
            <c:bubble3D val="0"/>
            <c:spPr>
              <a:solidFill>
                <a:srgbClr val="C8C8C8"/>
              </a:solidFill>
              <a:ln>
                <a:noFill/>
              </a:ln>
            </c:spPr>
            <c:extLst>
              <c:ext xmlns:c16="http://schemas.microsoft.com/office/drawing/2014/chart" uri="{C3380CC4-5D6E-409C-BE32-E72D297353CC}">
                <c16:uniqueId val="{00000002-F25E-4D23-89FA-AC22C68E58EE}"/>
              </c:ext>
            </c:extLst>
          </c:dPt>
          <c:dPt>
            <c:idx val="3"/>
            <c:bubble3D val="0"/>
            <c:spPr>
              <a:solidFill>
                <a:srgbClr val="ABA8B3"/>
              </a:solidFill>
              <a:ln>
                <a:noFill/>
              </a:ln>
            </c:spPr>
            <c:extLst>
              <c:ext xmlns:c16="http://schemas.microsoft.com/office/drawing/2014/chart" uri="{C3380CC4-5D6E-409C-BE32-E72D297353CC}">
                <c16:uniqueId val="{00000003-F25E-4D23-89FA-AC22C68E58EE}"/>
              </c:ext>
            </c:extLst>
          </c:dPt>
          <c:dPt>
            <c:idx val="4"/>
            <c:bubble3D val="0"/>
            <c:spPr>
              <a:solidFill>
                <a:srgbClr val="837F7F"/>
              </a:solidFill>
              <a:ln>
                <a:noFill/>
              </a:ln>
            </c:spPr>
            <c:extLst>
              <c:ext xmlns:c16="http://schemas.microsoft.com/office/drawing/2014/chart" uri="{C3380CC4-5D6E-409C-BE32-E72D297353CC}">
                <c16:uniqueId val="{00000004-F25E-4D23-89FA-AC22C68E58EE}"/>
              </c:ext>
            </c:extLst>
          </c:dPt>
          <c:val>
            <c:numRef>
              <c:f>Sheet1!$A$1:$A$5</c:f>
              <c:numCache>
                <c:formatCode>General</c:formatCode>
                <c:ptCount val="5"/>
                <c:pt idx="0">
                  <c:v>28.999999999999996</c:v>
                </c:pt>
                <c:pt idx="1">
                  <c:v>41</c:v>
                </c:pt>
                <c:pt idx="2">
                  <c:v>23</c:v>
                </c:pt>
                <c:pt idx="3">
                  <c:v>5</c:v>
                </c:pt>
                <c:pt idx="4">
                  <c:v>2.33</c:v>
                </c:pt>
              </c:numCache>
            </c:numRef>
          </c:val>
          <c:extLst>
            <c:ext xmlns:c16="http://schemas.microsoft.com/office/drawing/2014/chart" uri="{C3380CC4-5D6E-409C-BE32-E72D297353CC}">
              <c16:uniqueId val="{00000005-F25E-4D23-89FA-AC22C68E58EE}"/>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1F5A-427F-80C9-F81EE8778A71}"/>
              </c:ext>
            </c:extLst>
          </c:dPt>
          <c:dPt>
            <c:idx val="1"/>
            <c:bubble3D val="0"/>
            <c:spPr>
              <a:solidFill>
                <a:schemeClr val="accent2"/>
              </a:solidFill>
              <a:ln>
                <a:noFill/>
              </a:ln>
            </c:spPr>
            <c:extLst>
              <c:ext xmlns:c16="http://schemas.microsoft.com/office/drawing/2014/chart" uri="{C3380CC4-5D6E-409C-BE32-E72D297353CC}">
                <c16:uniqueId val="{00000001-1F5A-427F-80C9-F81EE8778A71}"/>
              </c:ext>
            </c:extLst>
          </c:dPt>
          <c:dPt>
            <c:idx val="2"/>
            <c:bubble3D val="0"/>
            <c:spPr>
              <a:solidFill>
                <a:srgbClr val="C8C8C8"/>
              </a:solidFill>
              <a:ln>
                <a:noFill/>
              </a:ln>
            </c:spPr>
            <c:extLst>
              <c:ext xmlns:c16="http://schemas.microsoft.com/office/drawing/2014/chart" uri="{C3380CC4-5D6E-409C-BE32-E72D297353CC}">
                <c16:uniqueId val="{00000002-1F5A-427F-80C9-F81EE8778A71}"/>
              </c:ext>
            </c:extLst>
          </c:dPt>
          <c:dPt>
            <c:idx val="3"/>
            <c:bubble3D val="0"/>
            <c:spPr>
              <a:solidFill>
                <a:srgbClr val="ABA8B3"/>
              </a:solidFill>
              <a:ln>
                <a:noFill/>
              </a:ln>
            </c:spPr>
            <c:extLst>
              <c:ext xmlns:c16="http://schemas.microsoft.com/office/drawing/2014/chart" uri="{C3380CC4-5D6E-409C-BE32-E72D297353CC}">
                <c16:uniqueId val="{00000003-1F5A-427F-80C9-F81EE8778A71}"/>
              </c:ext>
            </c:extLst>
          </c:dPt>
          <c:dPt>
            <c:idx val="4"/>
            <c:bubble3D val="0"/>
            <c:spPr>
              <a:solidFill>
                <a:srgbClr val="837F7F"/>
              </a:solidFill>
              <a:ln>
                <a:noFill/>
              </a:ln>
            </c:spPr>
            <c:extLst>
              <c:ext xmlns:c16="http://schemas.microsoft.com/office/drawing/2014/chart" uri="{C3380CC4-5D6E-409C-BE32-E72D297353CC}">
                <c16:uniqueId val="{00000004-1F5A-427F-80C9-F81EE8778A71}"/>
              </c:ext>
            </c:extLst>
          </c:dPt>
          <c:val>
            <c:numRef>
              <c:f>Sheet1!$A$1:$A$5</c:f>
              <c:numCache>
                <c:formatCode>General</c:formatCode>
                <c:ptCount val="5"/>
                <c:pt idx="0">
                  <c:v>25</c:v>
                </c:pt>
                <c:pt idx="1">
                  <c:v>51</c:v>
                </c:pt>
                <c:pt idx="2">
                  <c:v>17</c:v>
                </c:pt>
                <c:pt idx="3">
                  <c:v>4</c:v>
                </c:pt>
                <c:pt idx="4">
                  <c:v>2.4699999999999998</c:v>
                </c:pt>
              </c:numCache>
            </c:numRef>
          </c:val>
          <c:extLst>
            <c:ext xmlns:c16="http://schemas.microsoft.com/office/drawing/2014/chart" uri="{C3380CC4-5D6E-409C-BE32-E72D297353CC}">
              <c16:uniqueId val="{00000005-1F5A-427F-80C9-F81EE8778A71}"/>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1B50-4909-A94F-6E0FBB233B69}"/>
              </c:ext>
            </c:extLst>
          </c:dPt>
          <c:dPt>
            <c:idx val="1"/>
            <c:bubble3D val="0"/>
            <c:spPr>
              <a:solidFill>
                <a:schemeClr val="accent2"/>
              </a:solidFill>
              <a:ln>
                <a:noFill/>
              </a:ln>
            </c:spPr>
            <c:extLst>
              <c:ext xmlns:c16="http://schemas.microsoft.com/office/drawing/2014/chart" uri="{C3380CC4-5D6E-409C-BE32-E72D297353CC}">
                <c16:uniqueId val="{00000001-1B50-4909-A94F-6E0FBB233B69}"/>
              </c:ext>
            </c:extLst>
          </c:dPt>
          <c:dPt>
            <c:idx val="2"/>
            <c:bubble3D val="0"/>
            <c:spPr>
              <a:solidFill>
                <a:srgbClr val="C8C8C8"/>
              </a:solidFill>
              <a:ln>
                <a:noFill/>
              </a:ln>
            </c:spPr>
            <c:extLst>
              <c:ext xmlns:c16="http://schemas.microsoft.com/office/drawing/2014/chart" uri="{C3380CC4-5D6E-409C-BE32-E72D297353CC}">
                <c16:uniqueId val="{00000002-1B50-4909-A94F-6E0FBB233B69}"/>
              </c:ext>
            </c:extLst>
          </c:dPt>
          <c:dPt>
            <c:idx val="3"/>
            <c:bubble3D val="0"/>
            <c:spPr>
              <a:solidFill>
                <a:srgbClr val="ABA8B3"/>
              </a:solidFill>
              <a:ln>
                <a:noFill/>
              </a:ln>
            </c:spPr>
            <c:extLst>
              <c:ext xmlns:c16="http://schemas.microsoft.com/office/drawing/2014/chart" uri="{C3380CC4-5D6E-409C-BE32-E72D297353CC}">
                <c16:uniqueId val="{00000003-1B50-4909-A94F-6E0FBB233B69}"/>
              </c:ext>
            </c:extLst>
          </c:dPt>
          <c:dPt>
            <c:idx val="4"/>
            <c:bubble3D val="0"/>
            <c:spPr>
              <a:solidFill>
                <a:srgbClr val="837F7F"/>
              </a:solidFill>
              <a:ln>
                <a:noFill/>
              </a:ln>
            </c:spPr>
            <c:extLst>
              <c:ext xmlns:c16="http://schemas.microsoft.com/office/drawing/2014/chart" uri="{C3380CC4-5D6E-409C-BE32-E72D297353CC}">
                <c16:uniqueId val="{00000004-1B50-4909-A94F-6E0FBB233B69}"/>
              </c:ext>
            </c:extLst>
          </c:dPt>
          <c:val>
            <c:numRef>
              <c:f>Sheet1!$A$1:$A$5</c:f>
              <c:numCache>
                <c:formatCode>General</c:formatCode>
                <c:ptCount val="5"/>
                <c:pt idx="0">
                  <c:v>21</c:v>
                </c:pt>
                <c:pt idx="1">
                  <c:v>42</c:v>
                </c:pt>
                <c:pt idx="2">
                  <c:v>28.000000000000004</c:v>
                </c:pt>
                <c:pt idx="3">
                  <c:v>7.0000000000000009</c:v>
                </c:pt>
                <c:pt idx="4">
                  <c:v>2</c:v>
                </c:pt>
              </c:numCache>
            </c:numRef>
          </c:val>
          <c:extLst>
            <c:ext xmlns:c16="http://schemas.microsoft.com/office/drawing/2014/chart" uri="{C3380CC4-5D6E-409C-BE32-E72D297353CC}">
              <c16:uniqueId val="{00000005-1B50-4909-A94F-6E0FBB233B69}"/>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CD60-45BD-8C4A-22E96901D678}"/>
              </c:ext>
            </c:extLst>
          </c:dPt>
          <c:dPt>
            <c:idx val="1"/>
            <c:bubble3D val="0"/>
            <c:spPr>
              <a:solidFill>
                <a:schemeClr val="accent2"/>
              </a:solidFill>
              <a:ln>
                <a:noFill/>
              </a:ln>
            </c:spPr>
            <c:extLst>
              <c:ext xmlns:c16="http://schemas.microsoft.com/office/drawing/2014/chart" uri="{C3380CC4-5D6E-409C-BE32-E72D297353CC}">
                <c16:uniqueId val="{00000001-CD60-45BD-8C4A-22E96901D678}"/>
              </c:ext>
            </c:extLst>
          </c:dPt>
          <c:dPt>
            <c:idx val="2"/>
            <c:bubble3D val="0"/>
            <c:spPr>
              <a:solidFill>
                <a:srgbClr val="C8C8C8"/>
              </a:solidFill>
              <a:ln>
                <a:noFill/>
              </a:ln>
            </c:spPr>
            <c:extLst>
              <c:ext xmlns:c16="http://schemas.microsoft.com/office/drawing/2014/chart" uri="{C3380CC4-5D6E-409C-BE32-E72D297353CC}">
                <c16:uniqueId val="{00000002-CD60-45BD-8C4A-22E96901D678}"/>
              </c:ext>
            </c:extLst>
          </c:dPt>
          <c:dPt>
            <c:idx val="3"/>
            <c:bubble3D val="0"/>
            <c:spPr>
              <a:solidFill>
                <a:srgbClr val="ABA8B3"/>
              </a:solidFill>
              <a:ln>
                <a:noFill/>
              </a:ln>
            </c:spPr>
            <c:extLst>
              <c:ext xmlns:c16="http://schemas.microsoft.com/office/drawing/2014/chart" uri="{C3380CC4-5D6E-409C-BE32-E72D297353CC}">
                <c16:uniqueId val="{00000003-CD60-45BD-8C4A-22E96901D678}"/>
              </c:ext>
            </c:extLst>
          </c:dPt>
          <c:dPt>
            <c:idx val="4"/>
            <c:bubble3D val="0"/>
            <c:spPr>
              <a:solidFill>
                <a:srgbClr val="837F7F"/>
              </a:solidFill>
              <a:ln>
                <a:noFill/>
              </a:ln>
            </c:spPr>
            <c:extLst>
              <c:ext xmlns:c16="http://schemas.microsoft.com/office/drawing/2014/chart" uri="{C3380CC4-5D6E-409C-BE32-E72D297353CC}">
                <c16:uniqueId val="{00000004-CD60-45BD-8C4A-22E96901D678}"/>
              </c:ext>
            </c:extLst>
          </c:dPt>
          <c:val>
            <c:numRef>
              <c:f>Sheet1!$A$1:$A$5</c:f>
              <c:numCache>
                <c:formatCode>General</c:formatCode>
                <c:ptCount val="5"/>
                <c:pt idx="0">
                  <c:v>28.999999999999996</c:v>
                </c:pt>
                <c:pt idx="1">
                  <c:v>44</c:v>
                </c:pt>
                <c:pt idx="2">
                  <c:v>20</c:v>
                </c:pt>
                <c:pt idx="3">
                  <c:v>5</c:v>
                </c:pt>
                <c:pt idx="4">
                  <c:v>2</c:v>
                </c:pt>
              </c:numCache>
            </c:numRef>
          </c:val>
          <c:extLst>
            <c:ext xmlns:c16="http://schemas.microsoft.com/office/drawing/2014/chart" uri="{C3380CC4-5D6E-409C-BE32-E72D297353CC}">
              <c16:uniqueId val="{00000005-CD60-45BD-8C4A-22E96901D67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Responses</c:v>
                </c:pt>
              </c:strCache>
            </c:strRef>
          </c:tx>
          <c:spPr>
            <a:ln w="38100">
              <a:solidFill>
                <a:schemeClr val="bg2"/>
              </a:solidFill>
            </a:ln>
          </c:spPr>
          <c:dPt>
            <c:idx val="0"/>
            <c:bubble3D val="0"/>
            <c:spPr>
              <a:solidFill>
                <a:srgbClr val="E71C57"/>
              </a:solidFill>
              <a:ln w="38100">
                <a:solidFill>
                  <a:schemeClr val="bg2"/>
                </a:solidFill>
              </a:ln>
              <a:effectLst/>
            </c:spPr>
            <c:extLst>
              <c:ext xmlns:c16="http://schemas.microsoft.com/office/drawing/2014/chart" uri="{C3380CC4-5D6E-409C-BE32-E72D297353CC}">
                <c16:uniqueId val="{00000001-15A9-434D-ADEE-2804C36A6C99}"/>
              </c:ext>
            </c:extLst>
          </c:dPt>
          <c:dPt>
            <c:idx val="1"/>
            <c:bubble3D val="0"/>
            <c:spPr>
              <a:solidFill>
                <a:schemeClr val="tx1">
                  <a:lumMod val="20000"/>
                  <a:lumOff val="80000"/>
                </a:schemeClr>
              </a:solidFill>
              <a:ln w="38100">
                <a:solidFill>
                  <a:schemeClr val="bg2"/>
                </a:solidFill>
              </a:ln>
              <a:effectLst/>
            </c:spPr>
            <c:extLst>
              <c:ext xmlns:c16="http://schemas.microsoft.com/office/drawing/2014/chart" uri="{C3380CC4-5D6E-409C-BE32-E72D297353CC}">
                <c16:uniqueId val="{00000003-15A9-434D-ADEE-2804C36A6C99}"/>
              </c:ext>
            </c:extLst>
          </c:dPt>
          <c:cat>
            <c:strRef>
              <c:f>Sheet1!$A$2:$A$3</c:f>
              <c:strCache>
                <c:ptCount val="2"/>
                <c:pt idx="0">
                  <c:v>Yes</c:v>
                </c:pt>
                <c:pt idx="1">
                  <c:v>No</c:v>
                </c:pt>
              </c:strCache>
            </c:strRef>
          </c:cat>
          <c:val>
            <c:numRef>
              <c:f>Sheet1!$B$2:$B$3</c:f>
              <c:numCache>
                <c:formatCode>General</c:formatCode>
                <c:ptCount val="2"/>
                <c:pt idx="0">
                  <c:v>1327</c:v>
                </c:pt>
                <c:pt idx="1">
                  <c:v>3945</c:v>
                </c:pt>
              </c:numCache>
            </c:numRef>
          </c:val>
          <c:extLst>
            <c:ext xmlns:c16="http://schemas.microsoft.com/office/drawing/2014/chart" uri="{C3380CC4-5D6E-409C-BE32-E72D297353CC}">
              <c16:uniqueId val="{00000004-15A9-434D-ADEE-2804C36A6C9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F725-4D44-8C8E-85545E195604}"/>
              </c:ext>
            </c:extLst>
          </c:dPt>
          <c:dPt>
            <c:idx val="1"/>
            <c:bubble3D val="0"/>
            <c:spPr>
              <a:solidFill>
                <a:schemeClr val="accent2"/>
              </a:solidFill>
              <a:ln>
                <a:noFill/>
              </a:ln>
            </c:spPr>
            <c:extLst>
              <c:ext xmlns:c16="http://schemas.microsoft.com/office/drawing/2014/chart" uri="{C3380CC4-5D6E-409C-BE32-E72D297353CC}">
                <c16:uniqueId val="{00000001-F725-4D44-8C8E-85545E195604}"/>
              </c:ext>
            </c:extLst>
          </c:dPt>
          <c:dPt>
            <c:idx val="2"/>
            <c:bubble3D val="0"/>
            <c:spPr>
              <a:solidFill>
                <a:srgbClr val="C8C8C8"/>
              </a:solidFill>
              <a:ln>
                <a:noFill/>
              </a:ln>
            </c:spPr>
            <c:extLst>
              <c:ext xmlns:c16="http://schemas.microsoft.com/office/drawing/2014/chart" uri="{C3380CC4-5D6E-409C-BE32-E72D297353CC}">
                <c16:uniqueId val="{00000002-F725-4D44-8C8E-85545E195604}"/>
              </c:ext>
            </c:extLst>
          </c:dPt>
          <c:dPt>
            <c:idx val="3"/>
            <c:bubble3D val="0"/>
            <c:spPr>
              <a:solidFill>
                <a:srgbClr val="ABA8B3"/>
              </a:solidFill>
              <a:ln>
                <a:noFill/>
              </a:ln>
            </c:spPr>
            <c:extLst>
              <c:ext xmlns:c16="http://schemas.microsoft.com/office/drawing/2014/chart" uri="{C3380CC4-5D6E-409C-BE32-E72D297353CC}">
                <c16:uniqueId val="{00000003-F725-4D44-8C8E-85545E195604}"/>
              </c:ext>
            </c:extLst>
          </c:dPt>
          <c:dPt>
            <c:idx val="4"/>
            <c:bubble3D val="0"/>
            <c:spPr>
              <a:solidFill>
                <a:srgbClr val="837F7F"/>
              </a:solidFill>
              <a:ln>
                <a:noFill/>
              </a:ln>
            </c:spPr>
            <c:extLst>
              <c:ext xmlns:c16="http://schemas.microsoft.com/office/drawing/2014/chart" uri="{C3380CC4-5D6E-409C-BE32-E72D297353CC}">
                <c16:uniqueId val="{00000004-F725-4D44-8C8E-85545E195604}"/>
              </c:ext>
            </c:extLst>
          </c:dPt>
          <c:val>
            <c:numRef>
              <c:f>Sheet1!$A$1:$A$5</c:f>
              <c:numCache>
                <c:formatCode>General</c:formatCode>
                <c:ptCount val="5"/>
                <c:pt idx="0">
                  <c:v>32</c:v>
                </c:pt>
                <c:pt idx="1">
                  <c:v>48</c:v>
                </c:pt>
                <c:pt idx="2">
                  <c:v>15</c:v>
                </c:pt>
                <c:pt idx="3">
                  <c:v>2</c:v>
                </c:pt>
                <c:pt idx="4">
                  <c:v>2</c:v>
                </c:pt>
              </c:numCache>
            </c:numRef>
          </c:val>
          <c:extLst>
            <c:ext xmlns:c16="http://schemas.microsoft.com/office/drawing/2014/chart" uri="{C3380CC4-5D6E-409C-BE32-E72D297353CC}">
              <c16:uniqueId val="{00000005-F725-4D44-8C8E-85545E195604}"/>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30352303523033E-2"/>
          <c:y val="3.5230352303523033E-2"/>
          <c:w val="0.92953929539295388"/>
          <c:h val="0.9295392953929538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1A48-480A-BE99-E7E0453CCEEE}"/>
              </c:ext>
            </c:extLst>
          </c:dPt>
          <c:dPt>
            <c:idx val="1"/>
            <c:bubble3D val="0"/>
            <c:spPr>
              <a:solidFill>
                <a:schemeClr val="accent2"/>
              </a:solidFill>
              <a:ln>
                <a:noFill/>
              </a:ln>
            </c:spPr>
            <c:extLst>
              <c:ext xmlns:c16="http://schemas.microsoft.com/office/drawing/2014/chart" uri="{C3380CC4-5D6E-409C-BE32-E72D297353CC}">
                <c16:uniqueId val="{00000001-1A48-480A-BE99-E7E0453CCEEE}"/>
              </c:ext>
            </c:extLst>
          </c:dPt>
          <c:dPt>
            <c:idx val="2"/>
            <c:bubble3D val="0"/>
            <c:spPr>
              <a:solidFill>
                <a:srgbClr val="C8C8C8"/>
              </a:solidFill>
              <a:ln>
                <a:noFill/>
              </a:ln>
            </c:spPr>
            <c:extLst>
              <c:ext xmlns:c16="http://schemas.microsoft.com/office/drawing/2014/chart" uri="{C3380CC4-5D6E-409C-BE32-E72D297353CC}">
                <c16:uniqueId val="{00000002-1A48-480A-BE99-E7E0453CCEEE}"/>
              </c:ext>
            </c:extLst>
          </c:dPt>
          <c:dPt>
            <c:idx val="3"/>
            <c:bubble3D val="0"/>
            <c:spPr>
              <a:solidFill>
                <a:srgbClr val="ABA8B3"/>
              </a:solidFill>
              <a:ln>
                <a:noFill/>
              </a:ln>
            </c:spPr>
            <c:extLst>
              <c:ext xmlns:c16="http://schemas.microsoft.com/office/drawing/2014/chart" uri="{C3380CC4-5D6E-409C-BE32-E72D297353CC}">
                <c16:uniqueId val="{00000003-1A48-480A-BE99-E7E0453CCEEE}"/>
              </c:ext>
            </c:extLst>
          </c:dPt>
          <c:dPt>
            <c:idx val="4"/>
            <c:bubble3D val="0"/>
            <c:spPr>
              <a:solidFill>
                <a:srgbClr val="837F7F"/>
              </a:solidFill>
              <a:ln>
                <a:noFill/>
              </a:ln>
            </c:spPr>
            <c:extLst>
              <c:ext xmlns:c16="http://schemas.microsoft.com/office/drawing/2014/chart" uri="{C3380CC4-5D6E-409C-BE32-E72D297353CC}">
                <c16:uniqueId val="{00000004-1A48-480A-BE99-E7E0453CCEEE}"/>
              </c:ext>
            </c:extLst>
          </c:dPt>
          <c:val>
            <c:numRef>
              <c:f>Sheet1!$A$1:$A$5</c:f>
              <c:numCache>
                <c:formatCode>General</c:formatCode>
                <c:ptCount val="5"/>
                <c:pt idx="0">
                  <c:v>25</c:v>
                </c:pt>
                <c:pt idx="1">
                  <c:v>44</c:v>
                </c:pt>
                <c:pt idx="2">
                  <c:v>23</c:v>
                </c:pt>
                <c:pt idx="3">
                  <c:v>5</c:v>
                </c:pt>
                <c:pt idx="4">
                  <c:v>2</c:v>
                </c:pt>
              </c:numCache>
            </c:numRef>
          </c:val>
          <c:extLst>
            <c:ext xmlns:c16="http://schemas.microsoft.com/office/drawing/2014/chart" uri="{C3380CC4-5D6E-409C-BE32-E72D297353CC}">
              <c16:uniqueId val="{00000005-1A48-480A-BE99-E7E0453CCEEE}"/>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947565543071164E-2"/>
          <c:y val="2.4987986544930323E-2"/>
          <c:w val="0.91610486891385767"/>
          <c:h val="0.8755406054781355"/>
        </c:manualLayout>
      </c:layout>
      <c:barChart>
        <c:barDir val="bar"/>
        <c:grouping val="stacked"/>
        <c:varyColors val="0"/>
        <c:ser>
          <c:idx val="0"/>
          <c:order val="0"/>
          <c:spPr>
            <a:solidFill>
              <a:srgbClr val="29BA74"/>
            </a:solidFill>
            <a:ln>
              <a:noFill/>
            </a:ln>
          </c:spPr>
          <c:invertIfNegative val="0"/>
          <c:dLbls>
            <c:dLbl>
              <c:idx val="0"/>
              <c:layout>
                <c:manualLayout>
                  <c:x val="-2.4968789013732833E-4"/>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A51-4C65-8498-6509EDB9C199}"/>
                </c:ext>
              </c:extLst>
            </c:dLbl>
            <c:dLbl>
              <c:idx val="1"/>
              <c:layout>
                <c:manualLayout>
                  <c:x val="-2.4968789013732833E-4"/>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A51-4C65-8498-6509EDB9C199}"/>
                </c:ext>
              </c:extLst>
            </c:dLbl>
            <c:dLbl>
              <c:idx val="2"/>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A51-4C65-8498-6509EDB9C199}"/>
                </c:ext>
              </c:extLst>
            </c:dLbl>
            <c:dLbl>
              <c:idx val="3"/>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A51-4C65-8498-6509EDB9C199}"/>
                </c:ext>
              </c:extLst>
            </c:dLbl>
            <c:dLbl>
              <c:idx val="4"/>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A51-4C65-8498-6509EDB9C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9</c:v>
                </c:pt>
                <c:pt idx="1">
                  <c:v>77</c:v>
                </c:pt>
                <c:pt idx="2">
                  <c:v>72</c:v>
                </c:pt>
                <c:pt idx="3">
                  <c:v>67</c:v>
                </c:pt>
                <c:pt idx="4">
                  <c:v>53</c:v>
                </c:pt>
              </c:numCache>
            </c:numRef>
          </c:val>
          <c:extLst>
            <c:ext xmlns:c16="http://schemas.microsoft.com/office/drawing/2014/chart" uri="{C3380CC4-5D6E-409C-BE32-E72D297353CC}">
              <c16:uniqueId val="{00000005-1A51-4C65-8498-6509EDB9C199}"/>
            </c:ext>
          </c:extLst>
        </c:ser>
        <c:ser>
          <c:idx val="1"/>
          <c:order val="1"/>
          <c:spPr>
            <a:solidFill>
              <a:srgbClr val="C8C8C8"/>
            </a:solidFill>
            <a:ln>
              <a:noFill/>
            </a:ln>
          </c:spPr>
          <c:invertIfNegative val="0"/>
          <c:dLbls>
            <c:dLbl>
              <c:idx val="0"/>
              <c:layout>
                <c:manualLayout>
                  <c:x val="0"/>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A51-4C65-8498-6509EDB9C199}"/>
                </c:ext>
              </c:extLst>
            </c:dLbl>
            <c:dLbl>
              <c:idx val="1"/>
              <c:layout>
                <c:manualLayout>
                  <c:x val="-2.4968789013732833E-4"/>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A51-4C65-8498-6509EDB9C199}"/>
                </c:ext>
              </c:extLst>
            </c:dLbl>
            <c:dLbl>
              <c:idx val="2"/>
              <c:layout>
                <c:manualLayout>
                  <c:x val="0"/>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A51-4C65-8498-6509EDB9C199}"/>
                </c:ext>
              </c:extLst>
            </c:dLbl>
            <c:dLbl>
              <c:idx val="3"/>
              <c:layout>
                <c:manualLayout>
                  <c:x val="0"/>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A51-4C65-8498-6509EDB9C199}"/>
                </c:ext>
              </c:extLst>
            </c:dLbl>
            <c:dLbl>
              <c:idx val="4"/>
              <c:layout>
                <c:manualLayout>
                  <c:x val="0"/>
                  <c:y val="-1.441614608361364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A51-4C65-8498-6509EDB9C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9999999999999947</c:v>
                </c:pt>
                <c:pt idx="1">
                  <c:v>18.999999999999993</c:v>
                </c:pt>
                <c:pt idx="2">
                  <c:v>20.999999999999996</c:v>
                </c:pt>
                <c:pt idx="3">
                  <c:v>20.000000000000007</c:v>
                </c:pt>
                <c:pt idx="4">
                  <c:v>40</c:v>
                </c:pt>
              </c:numCache>
            </c:numRef>
          </c:val>
          <c:extLst>
            <c:ext xmlns:c16="http://schemas.microsoft.com/office/drawing/2014/chart" uri="{C3380CC4-5D6E-409C-BE32-E72D297353CC}">
              <c16:uniqueId val="{0000000B-1A51-4C65-8498-6509EDB9C199}"/>
            </c:ext>
          </c:extLst>
        </c:ser>
        <c:ser>
          <c:idx val="2"/>
          <c:order val="2"/>
          <c:spPr>
            <a:solidFill>
              <a:srgbClr val="837F7F"/>
            </a:solidFill>
            <a:ln>
              <a:noFill/>
            </a:ln>
          </c:spPr>
          <c:invertIfNegative val="0"/>
          <c:dLbls>
            <c:dLbl>
              <c:idx val="0"/>
              <c:layout>
                <c:manualLayout>
                  <c:x val="0"/>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A51-4C65-8498-6509EDB9C199}"/>
                </c:ext>
              </c:extLst>
            </c:dLbl>
            <c:dLbl>
              <c:idx val="1"/>
              <c:layout>
                <c:manualLayout>
                  <c:x val="-2.4968789013732833E-4"/>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A51-4C65-8498-6509EDB9C199}"/>
                </c:ext>
              </c:extLst>
            </c:dLbl>
            <c:dLbl>
              <c:idx val="2"/>
              <c:layout>
                <c:manualLayout>
                  <c:x val="-2.4968789013732833E-4"/>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A51-4C65-8498-6509EDB9C199}"/>
                </c:ext>
              </c:extLst>
            </c:dLbl>
            <c:dLbl>
              <c:idx val="3"/>
              <c:layout>
                <c:manualLayout>
                  <c:x val="-2.4968789013732833E-4"/>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A51-4C65-8498-6509EDB9C199}"/>
                </c:ext>
              </c:extLst>
            </c:dLbl>
            <c:dLbl>
              <c:idx val="4"/>
              <c:layout>
                <c:manualLayout>
                  <c:x val="-2.4968789013732833E-4"/>
                  <c:y val="-1.441614608361364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A51-4C65-8498-6509EDB9C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5.0000000000000044</c:v>
                </c:pt>
                <c:pt idx="1">
                  <c:v>4.0000000000000036</c:v>
                </c:pt>
                <c:pt idx="2">
                  <c:v>7.0000000000000062</c:v>
                </c:pt>
                <c:pt idx="3">
                  <c:v>12.999999999999989</c:v>
                </c:pt>
                <c:pt idx="4">
                  <c:v>6.9999999999999947</c:v>
                </c:pt>
              </c:numCache>
            </c:numRef>
          </c:val>
          <c:extLst>
            <c:ext xmlns:c16="http://schemas.microsoft.com/office/drawing/2014/chart" uri="{C3380CC4-5D6E-409C-BE32-E72D297353CC}">
              <c16:uniqueId val="{00000011-1A51-4C65-8498-6509EDB9C199}"/>
            </c:ext>
          </c:extLst>
        </c:ser>
        <c:dLbls>
          <c:showLegendKey val="0"/>
          <c:showVal val="0"/>
          <c:showCatName val="0"/>
          <c:showSerName val="0"/>
          <c:showPercent val="0"/>
          <c:showBubbleSize val="0"/>
        </c:dLbls>
        <c:gapWidth val="60"/>
        <c:overlap val="100"/>
        <c:axId val="1209388032"/>
        <c:axId val="1"/>
      </c:barChart>
      <c:catAx>
        <c:axId val="1209388032"/>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209388032"/>
        <c:crosses val="max"/>
        <c:crossBetween val="between"/>
        <c:majorUnit val="20"/>
      </c:valAx>
    </c:plotArea>
    <c:plotVisOnly val="0"/>
    <c:dispBlanksAs val="gap"/>
    <c:showDLblsOverMax val="1"/>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96657381615599E-2"/>
          <c:y val="2.4703087885985749E-2"/>
          <c:w val="0.90640668523676882"/>
          <c:h val="0.87695961995249405"/>
        </c:manualLayout>
      </c:layout>
      <c:barChart>
        <c:barDir val="bar"/>
        <c:grouping val="stacked"/>
        <c:varyColors val="0"/>
        <c:ser>
          <c:idx val="0"/>
          <c:order val="0"/>
          <c:spPr>
            <a:solidFill>
              <a:schemeClr val="tx2"/>
            </a:solidFill>
            <a:ln>
              <a:noFill/>
            </a:ln>
          </c:spPr>
          <c:invertIfNegative val="0"/>
          <c:dLbls>
            <c:dLbl>
              <c:idx val="0"/>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FA9-448F-BF2A-BB80CABEB767}"/>
                </c:ext>
              </c:extLst>
            </c:dLbl>
            <c:dLbl>
              <c:idx val="1"/>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A9-448F-BF2A-BB80CABEB767}"/>
                </c:ext>
              </c:extLst>
            </c:dLbl>
            <c:dLbl>
              <c:idx val="2"/>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A9-448F-BF2A-BB80CABEB767}"/>
                </c:ext>
              </c:extLst>
            </c:dLbl>
            <c:dLbl>
              <c:idx val="3"/>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FA9-448F-BF2A-BB80CABEB767}"/>
                </c:ext>
              </c:extLst>
            </c:dLbl>
            <c:dLbl>
              <c:idx val="4"/>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FA9-448F-BF2A-BB80CABEB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1</c:v>
                </c:pt>
                <c:pt idx="1">
                  <c:v>30</c:v>
                </c:pt>
                <c:pt idx="2">
                  <c:v>36</c:v>
                </c:pt>
                <c:pt idx="3">
                  <c:v>33</c:v>
                </c:pt>
                <c:pt idx="4">
                  <c:v>28.000000000000004</c:v>
                </c:pt>
              </c:numCache>
            </c:numRef>
          </c:val>
          <c:extLst>
            <c:ext xmlns:c16="http://schemas.microsoft.com/office/drawing/2014/chart" uri="{C3380CC4-5D6E-409C-BE32-E72D297353CC}">
              <c16:uniqueId val="{00000005-AFA9-448F-BF2A-BB80CABEB767}"/>
            </c:ext>
          </c:extLst>
        </c:ser>
        <c:ser>
          <c:idx val="1"/>
          <c:order val="1"/>
          <c:spPr>
            <a:solidFill>
              <a:schemeClr val="accent2"/>
            </a:solidFill>
            <a:ln>
              <a:noFill/>
            </a:ln>
          </c:spPr>
          <c:invertIfNegative val="0"/>
          <c:dLbls>
            <c:dLbl>
              <c:idx val="0"/>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FA9-448F-BF2A-BB80CABEB767}"/>
                </c:ext>
              </c:extLst>
            </c:dLbl>
            <c:dLbl>
              <c:idx val="1"/>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FA9-448F-BF2A-BB80CABEB767}"/>
                </c:ext>
              </c:extLst>
            </c:dLbl>
            <c:dLbl>
              <c:idx val="2"/>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FA9-448F-BF2A-BB80CABEB767}"/>
                </c:ext>
              </c:extLst>
            </c:dLbl>
            <c:dLbl>
              <c:idx val="3"/>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FA9-448F-BF2A-BB80CABEB767}"/>
                </c:ext>
              </c:extLst>
            </c:dLbl>
            <c:dLbl>
              <c:idx val="4"/>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FA9-448F-BF2A-BB80CABEB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2</c:v>
                </c:pt>
                <c:pt idx="1">
                  <c:v>52</c:v>
                </c:pt>
                <c:pt idx="2">
                  <c:v>43</c:v>
                </c:pt>
                <c:pt idx="3">
                  <c:v>44</c:v>
                </c:pt>
                <c:pt idx="4">
                  <c:v>46</c:v>
                </c:pt>
              </c:numCache>
            </c:numRef>
          </c:val>
          <c:extLst>
            <c:ext xmlns:c16="http://schemas.microsoft.com/office/drawing/2014/chart" uri="{C3380CC4-5D6E-409C-BE32-E72D297353CC}">
              <c16:uniqueId val="{0000000B-AFA9-448F-BF2A-BB80CABEB767}"/>
            </c:ext>
          </c:extLst>
        </c:ser>
        <c:ser>
          <c:idx val="2"/>
          <c:order val="2"/>
          <c:spPr>
            <a:solidFill>
              <a:srgbClr val="C8C8C8"/>
            </a:solidFill>
            <a:ln>
              <a:noFill/>
            </a:ln>
          </c:spPr>
          <c:invertIfNegative val="0"/>
          <c:dLbls>
            <c:dLbl>
              <c:idx val="0"/>
              <c:layout>
                <c:manualLayout>
                  <c:x val="-2.785515320334262E-4"/>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FA9-448F-BF2A-BB80CABEB767}"/>
                </c:ext>
              </c:extLst>
            </c:dLbl>
            <c:dLbl>
              <c:idx val="1"/>
              <c:layout>
                <c:manualLayout>
                  <c:x val="0"/>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FA9-448F-BF2A-BB80CABEB767}"/>
                </c:ext>
              </c:extLst>
            </c:dLbl>
            <c:dLbl>
              <c:idx val="2"/>
              <c:layout>
                <c:manualLayout>
                  <c:x val="0"/>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FA9-448F-BF2A-BB80CABEB767}"/>
                </c:ext>
              </c:extLst>
            </c:dLbl>
            <c:dLbl>
              <c:idx val="3"/>
              <c:layout>
                <c:manualLayout>
                  <c:x val="0"/>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FA9-448F-BF2A-BB80CABEB767}"/>
                </c:ext>
              </c:extLst>
            </c:dLbl>
            <c:dLbl>
              <c:idx val="4"/>
              <c:layout>
                <c:manualLayout>
                  <c:x val="-2.785515320334262E-4"/>
                  <c:y val="-1.425178147268408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FA9-448F-BF2A-BB80CABEB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5</c:v>
                </c:pt>
                <c:pt idx="1">
                  <c:v>14</c:v>
                </c:pt>
                <c:pt idx="2">
                  <c:v>14</c:v>
                </c:pt>
                <c:pt idx="3">
                  <c:v>18</c:v>
                </c:pt>
                <c:pt idx="4">
                  <c:v>17</c:v>
                </c:pt>
              </c:numCache>
            </c:numRef>
          </c:val>
          <c:extLst>
            <c:ext xmlns:c16="http://schemas.microsoft.com/office/drawing/2014/chart" uri="{C3380CC4-5D6E-409C-BE32-E72D297353CC}">
              <c16:uniqueId val="{00000011-AFA9-448F-BF2A-BB80CABEB767}"/>
            </c:ext>
          </c:extLst>
        </c:ser>
        <c:ser>
          <c:idx val="3"/>
          <c:order val="3"/>
          <c:spPr>
            <a:solidFill>
              <a:srgbClr val="ABA8B3"/>
            </a:solidFill>
            <a:ln>
              <a:noFill/>
            </a:ln>
          </c:spPr>
          <c:invertIfNegative val="0"/>
          <c:dLbls>
            <c:dLbl>
              <c:idx val="0"/>
              <c:layout>
                <c:manualLayout>
                  <c:x val="3.2869080779944292E-2"/>
                  <c:y val="-4.7030878859857482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FA9-448F-BF2A-BB80CABEB767}"/>
                </c:ext>
              </c:extLst>
            </c:dLbl>
            <c:dLbl>
              <c:idx val="1"/>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FA9-448F-BF2A-BB80CABEB767}"/>
                </c:ext>
              </c:extLst>
            </c:dLbl>
            <c:dLbl>
              <c:idx val="2"/>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FA9-448F-BF2A-BB80CABEB767}"/>
                </c:ext>
              </c:extLst>
            </c:dLbl>
            <c:dLbl>
              <c:idx val="3"/>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FA9-448F-BF2A-BB80CABEB767}"/>
                </c:ext>
              </c:extLst>
            </c:dLbl>
            <c:dLbl>
              <c:idx val="4"/>
              <c:layout>
                <c:manualLayout>
                  <c:x val="-2.785515320334262E-4"/>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FA9-448F-BF2A-BB80CABEB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1</c:v>
                </c:pt>
                <c:pt idx="1">
                  <c:v>3</c:v>
                </c:pt>
                <c:pt idx="2">
                  <c:v>5</c:v>
                </c:pt>
                <c:pt idx="3">
                  <c:v>4</c:v>
                </c:pt>
                <c:pt idx="4">
                  <c:v>6</c:v>
                </c:pt>
              </c:numCache>
            </c:numRef>
          </c:val>
          <c:extLst>
            <c:ext xmlns:c16="http://schemas.microsoft.com/office/drawing/2014/chart" uri="{C3380CC4-5D6E-409C-BE32-E72D297353CC}">
              <c16:uniqueId val="{00000017-AFA9-448F-BF2A-BB80CABEB767}"/>
            </c:ext>
          </c:extLst>
        </c:ser>
        <c:ser>
          <c:idx val="4"/>
          <c:order val="4"/>
          <c:spPr>
            <a:solidFill>
              <a:srgbClr val="837F7F"/>
            </a:solidFill>
            <a:ln>
              <a:noFill/>
            </a:ln>
          </c:spPr>
          <c:invertIfNegative val="0"/>
          <c:dLbls>
            <c:dLbl>
              <c:idx val="2"/>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FA9-448F-BF2A-BB80CABEB767}"/>
                </c:ext>
              </c:extLst>
            </c:dLbl>
            <c:dLbl>
              <c:idx val="4"/>
              <c:layout>
                <c:manualLayout>
                  <c:x val="0"/>
                  <c:y val="-1.425178147268408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FA9-448F-BF2A-BB80CABEB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1</c:v>
                </c:pt>
                <c:pt idx="1">
                  <c:v>1</c:v>
                </c:pt>
                <c:pt idx="2">
                  <c:v>2</c:v>
                </c:pt>
                <c:pt idx="3">
                  <c:v>1</c:v>
                </c:pt>
                <c:pt idx="4">
                  <c:v>3</c:v>
                </c:pt>
              </c:numCache>
            </c:numRef>
          </c:val>
          <c:extLst>
            <c:ext xmlns:c16="http://schemas.microsoft.com/office/drawing/2014/chart" uri="{C3380CC4-5D6E-409C-BE32-E72D297353CC}">
              <c16:uniqueId val="{0000001A-AFA9-448F-BF2A-BB80CABEB767}"/>
            </c:ext>
          </c:extLst>
        </c:ser>
        <c:dLbls>
          <c:showLegendKey val="0"/>
          <c:showVal val="0"/>
          <c:showCatName val="0"/>
          <c:showSerName val="0"/>
          <c:showPercent val="0"/>
          <c:showBubbleSize val="0"/>
        </c:dLbls>
        <c:gapWidth val="60"/>
        <c:overlap val="100"/>
        <c:axId val="18463575"/>
        <c:axId val="1"/>
      </c:barChart>
      <c:catAx>
        <c:axId val="18463575"/>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8463575"/>
        <c:crosses val="max"/>
        <c:crossBetween val="between"/>
        <c:majorUnit val="20"/>
      </c:valAx>
    </c:plotArea>
    <c:plotVisOnly val="0"/>
    <c:dispBlanksAs val="gap"/>
    <c:showDLblsOverMax val="1"/>
  </c:chart>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33466347432828E-2"/>
          <c:y val="7.7611940298507459E-2"/>
          <c:w val="0.97233306730513436"/>
          <c:h val="0.84477611940298503"/>
        </c:manualLayout>
      </c:layout>
      <c:barChart>
        <c:barDir val="bar"/>
        <c:grouping val="stacked"/>
        <c:varyColors val="0"/>
        <c:ser>
          <c:idx val="0"/>
          <c:order val="0"/>
          <c:spPr>
            <a:solidFill>
              <a:srgbClr val="A1E26F"/>
            </a:solidFill>
            <a:ln>
              <a:noFill/>
            </a:ln>
          </c:spPr>
          <c:invertIfNegative val="0"/>
          <c:dLbls>
            <c:dLbl>
              <c:idx val="0"/>
              <c:layout>
                <c:manualLayout>
                  <c:x val="0"/>
                  <c:y val="-4.477611940298507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12-41DD-9852-2EEE20233105}"/>
                </c:ext>
              </c:extLst>
            </c:dLbl>
            <c:dLbl>
              <c:idx val="1"/>
              <c:layout>
                <c:manualLayout>
                  <c:x val="0"/>
                  <c:y val="-4.477611940298507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12-41DD-9852-2EEE202331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3.04347826086957</c:v>
                </c:pt>
                <c:pt idx="1">
                  <c:v>27.27272727272727</c:v>
                </c:pt>
              </c:numCache>
            </c:numRef>
          </c:val>
          <c:extLst>
            <c:ext xmlns:c16="http://schemas.microsoft.com/office/drawing/2014/chart" uri="{C3380CC4-5D6E-409C-BE32-E72D297353CC}">
              <c16:uniqueId val="{00000002-B812-41DD-9852-2EEE20233105}"/>
            </c:ext>
          </c:extLst>
        </c:ser>
        <c:ser>
          <c:idx val="1"/>
          <c:order val="1"/>
          <c:spPr>
            <a:solidFill>
              <a:srgbClr val="C8C8C8"/>
            </a:solidFill>
            <a:ln>
              <a:noFill/>
            </a:ln>
          </c:spPr>
          <c:invertIfNegative val="0"/>
          <c:dLbls>
            <c:dLbl>
              <c:idx val="0"/>
              <c:layout>
                <c:manualLayout>
                  <c:x val="0"/>
                  <c:y val="-4.477611940298507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12-41DD-9852-2EEE20233105}"/>
                </c:ext>
              </c:extLst>
            </c:dLbl>
            <c:dLbl>
              <c:idx val="1"/>
              <c:layout>
                <c:manualLayout>
                  <c:x val="0"/>
                  <c:y val="-4.477611940298507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12-41DD-9852-2EEE202331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8.6956521739130483</c:v>
                </c:pt>
                <c:pt idx="1">
                  <c:v>13.636363636363635</c:v>
                </c:pt>
              </c:numCache>
            </c:numRef>
          </c:val>
          <c:extLst>
            <c:ext xmlns:c16="http://schemas.microsoft.com/office/drawing/2014/chart" uri="{C3380CC4-5D6E-409C-BE32-E72D297353CC}">
              <c16:uniqueId val="{00000005-B812-41DD-9852-2EEE20233105}"/>
            </c:ext>
          </c:extLst>
        </c:ser>
        <c:ser>
          <c:idx val="2"/>
          <c:order val="2"/>
          <c:spPr>
            <a:solidFill>
              <a:srgbClr val="837F7F"/>
            </a:solidFill>
            <a:ln>
              <a:noFill/>
            </a:ln>
          </c:spPr>
          <c:invertIfNegative val="0"/>
          <c:dLbls>
            <c:dLbl>
              <c:idx val="0"/>
              <c:layout>
                <c:manualLayout>
                  <c:x val="-2.6602819898909286E-4"/>
                  <c:y val="-4.477611940298507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12-41DD-9852-2EEE20233105}"/>
                </c:ext>
              </c:extLst>
            </c:dLbl>
            <c:dLbl>
              <c:idx val="1"/>
              <c:layout>
                <c:manualLayout>
                  <c:x val="0"/>
                  <c:y val="-4.477611940298507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12-41DD-9852-2EEE202331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28.260869565217384</c:v>
                </c:pt>
                <c:pt idx="1">
                  <c:v>59.090909090909093</c:v>
                </c:pt>
              </c:numCache>
            </c:numRef>
          </c:val>
          <c:extLst>
            <c:ext xmlns:c16="http://schemas.microsoft.com/office/drawing/2014/chart" uri="{C3380CC4-5D6E-409C-BE32-E72D297353CC}">
              <c16:uniqueId val="{00000008-B812-41DD-9852-2EEE20233105}"/>
            </c:ext>
          </c:extLst>
        </c:ser>
        <c:dLbls>
          <c:showLegendKey val="0"/>
          <c:showVal val="0"/>
          <c:showCatName val="0"/>
          <c:showSerName val="0"/>
          <c:showPercent val="0"/>
          <c:showBubbleSize val="0"/>
        </c:dLbls>
        <c:gapWidth val="60"/>
        <c:overlap val="100"/>
        <c:axId val="1411517728"/>
        <c:axId val="1"/>
      </c:barChart>
      <c:catAx>
        <c:axId val="141151772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411517728"/>
        <c:crosses val="max"/>
        <c:crossBetween val="between"/>
      </c:valAx>
    </c:plotArea>
    <c:plotVisOnly val="0"/>
    <c:dispBlanksAs val="gap"/>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6FF7-4B07-A588-56092C63FDD3}"/>
              </c:ext>
            </c:extLst>
          </c:dPt>
          <c:dPt>
            <c:idx val="1"/>
            <c:bubble3D val="0"/>
            <c:spPr>
              <a:solidFill>
                <a:schemeClr val="accent2"/>
              </a:solidFill>
              <a:ln>
                <a:noFill/>
              </a:ln>
            </c:spPr>
            <c:extLst>
              <c:ext xmlns:c16="http://schemas.microsoft.com/office/drawing/2014/chart" uri="{C3380CC4-5D6E-409C-BE32-E72D297353CC}">
                <c16:uniqueId val="{00000001-6FF7-4B07-A588-56092C63FDD3}"/>
              </c:ext>
            </c:extLst>
          </c:dPt>
          <c:dPt>
            <c:idx val="2"/>
            <c:bubble3D val="0"/>
            <c:spPr>
              <a:solidFill>
                <a:srgbClr val="C8C8C8"/>
              </a:solidFill>
              <a:ln>
                <a:noFill/>
              </a:ln>
            </c:spPr>
            <c:extLst>
              <c:ext xmlns:c16="http://schemas.microsoft.com/office/drawing/2014/chart" uri="{C3380CC4-5D6E-409C-BE32-E72D297353CC}">
                <c16:uniqueId val="{00000002-6FF7-4B07-A588-56092C63FDD3}"/>
              </c:ext>
            </c:extLst>
          </c:dPt>
          <c:dPt>
            <c:idx val="3"/>
            <c:bubble3D val="0"/>
            <c:spPr>
              <a:solidFill>
                <a:srgbClr val="ABA8B3"/>
              </a:solidFill>
              <a:ln>
                <a:noFill/>
              </a:ln>
            </c:spPr>
            <c:extLst>
              <c:ext xmlns:c16="http://schemas.microsoft.com/office/drawing/2014/chart" uri="{C3380CC4-5D6E-409C-BE32-E72D297353CC}">
                <c16:uniqueId val="{00000003-6FF7-4B07-A588-56092C63FDD3}"/>
              </c:ext>
            </c:extLst>
          </c:dPt>
          <c:dPt>
            <c:idx val="4"/>
            <c:bubble3D val="0"/>
            <c:spPr>
              <a:solidFill>
                <a:srgbClr val="837F7F"/>
              </a:solidFill>
              <a:ln>
                <a:noFill/>
              </a:ln>
            </c:spPr>
            <c:extLst>
              <c:ext xmlns:c16="http://schemas.microsoft.com/office/drawing/2014/chart" uri="{C3380CC4-5D6E-409C-BE32-E72D297353CC}">
                <c16:uniqueId val="{00000004-6FF7-4B07-A588-56092C63FDD3}"/>
              </c:ext>
            </c:extLst>
          </c:dPt>
          <c:val>
            <c:numRef>
              <c:f>Sheet1!$A$1:$A$5</c:f>
              <c:numCache>
                <c:formatCode>General</c:formatCode>
                <c:ptCount val="5"/>
                <c:pt idx="0">
                  <c:v>32.33</c:v>
                </c:pt>
                <c:pt idx="1">
                  <c:v>41.449999999999996</c:v>
                </c:pt>
                <c:pt idx="2">
                  <c:v>18.759999999999998</c:v>
                </c:pt>
                <c:pt idx="3">
                  <c:v>5.9499999999999993</c:v>
                </c:pt>
                <c:pt idx="4">
                  <c:v>1.51</c:v>
                </c:pt>
              </c:numCache>
            </c:numRef>
          </c:val>
          <c:extLst>
            <c:ext xmlns:c16="http://schemas.microsoft.com/office/drawing/2014/chart" uri="{C3380CC4-5D6E-409C-BE32-E72D297353CC}">
              <c16:uniqueId val="{00000005-6FF7-4B07-A588-56092C63FDD3}"/>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8B94-43E5-8465-5B8D235767D8}"/>
              </c:ext>
            </c:extLst>
          </c:dPt>
          <c:dPt>
            <c:idx val="1"/>
            <c:bubble3D val="0"/>
            <c:spPr>
              <a:solidFill>
                <a:schemeClr val="accent2"/>
              </a:solidFill>
              <a:ln>
                <a:noFill/>
              </a:ln>
            </c:spPr>
            <c:extLst>
              <c:ext xmlns:c16="http://schemas.microsoft.com/office/drawing/2014/chart" uri="{C3380CC4-5D6E-409C-BE32-E72D297353CC}">
                <c16:uniqueId val="{00000001-8B94-43E5-8465-5B8D235767D8}"/>
              </c:ext>
            </c:extLst>
          </c:dPt>
          <c:dPt>
            <c:idx val="2"/>
            <c:bubble3D val="0"/>
            <c:spPr>
              <a:solidFill>
                <a:srgbClr val="C8C8C8"/>
              </a:solidFill>
              <a:ln>
                <a:noFill/>
              </a:ln>
            </c:spPr>
            <c:extLst>
              <c:ext xmlns:c16="http://schemas.microsoft.com/office/drawing/2014/chart" uri="{C3380CC4-5D6E-409C-BE32-E72D297353CC}">
                <c16:uniqueId val="{00000002-8B94-43E5-8465-5B8D235767D8}"/>
              </c:ext>
            </c:extLst>
          </c:dPt>
          <c:dPt>
            <c:idx val="3"/>
            <c:bubble3D val="0"/>
            <c:spPr>
              <a:solidFill>
                <a:srgbClr val="ABA8B3"/>
              </a:solidFill>
              <a:ln>
                <a:noFill/>
              </a:ln>
            </c:spPr>
            <c:extLst>
              <c:ext xmlns:c16="http://schemas.microsoft.com/office/drawing/2014/chart" uri="{C3380CC4-5D6E-409C-BE32-E72D297353CC}">
                <c16:uniqueId val="{00000003-8B94-43E5-8465-5B8D235767D8}"/>
              </c:ext>
            </c:extLst>
          </c:dPt>
          <c:dPt>
            <c:idx val="4"/>
            <c:bubble3D val="0"/>
            <c:spPr>
              <a:solidFill>
                <a:srgbClr val="837F7F"/>
              </a:solidFill>
              <a:ln>
                <a:noFill/>
              </a:ln>
            </c:spPr>
            <c:extLst>
              <c:ext xmlns:c16="http://schemas.microsoft.com/office/drawing/2014/chart" uri="{C3380CC4-5D6E-409C-BE32-E72D297353CC}">
                <c16:uniqueId val="{00000004-8B94-43E5-8465-5B8D235767D8}"/>
              </c:ext>
            </c:extLst>
          </c:dPt>
          <c:val>
            <c:numRef>
              <c:f>Sheet1!$A$1:$A$5</c:f>
              <c:numCache>
                <c:formatCode>General</c:formatCode>
                <c:ptCount val="5"/>
                <c:pt idx="0">
                  <c:v>26.75</c:v>
                </c:pt>
                <c:pt idx="1">
                  <c:v>41.27</c:v>
                </c:pt>
                <c:pt idx="2">
                  <c:v>22.189999999999998</c:v>
                </c:pt>
                <c:pt idx="3">
                  <c:v>7.5</c:v>
                </c:pt>
                <c:pt idx="4">
                  <c:v>2.2800000000000002</c:v>
                </c:pt>
              </c:numCache>
            </c:numRef>
          </c:val>
          <c:extLst>
            <c:ext xmlns:c16="http://schemas.microsoft.com/office/drawing/2014/chart" uri="{C3380CC4-5D6E-409C-BE32-E72D297353CC}">
              <c16:uniqueId val="{00000005-8B94-43E5-8465-5B8D235767D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41EC-47D0-9A8F-0AAF8A52835D}"/>
              </c:ext>
            </c:extLst>
          </c:dPt>
          <c:dPt>
            <c:idx val="1"/>
            <c:bubble3D val="0"/>
            <c:spPr>
              <a:solidFill>
                <a:schemeClr val="accent2"/>
              </a:solidFill>
              <a:ln>
                <a:noFill/>
              </a:ln>
            </c:spPr>
            <c:extLst>
              <c:ext xmlns:c16="http://schemas.microsoft.com/office/drawing/2014/chart" uri="{C3380CC4-5D6E-409C-BE32-E72D297353CC}">
                <c16:uniqueId val="{00000001-41EC-47D0-9A8F-0AAF8A52835D}"/>
              </c:ext>
            </c:extLst>
          </c:dPt>
          <c:dPt>
            <c:idx val="2"/>
            <c:bubble3D val="0"/>
            <c:spPr>
              <a:solidFill>
                <a:srgbClr val="C8C8C8"/>
              </a:solidFill>
              <a:ln>
                <a:noFill/>
              </a:ln>
            </c:spPr>
            <c:extLst>
              <c:ext xmlns:c16="http://schemas.microsoft.com/office/drawing/2014/chart" uri="{C3380CC4-5D6E-409C-BE32-E72D297353CC}">
                <c16:uniqueId val="{00000002-41EC-47D0-9A8F-0AAF8A52835D}"/>
              </c:ext>
            </c:extLst>
          </c:dPt>
          <c:dPt>
            <c:idx val="3"/>
            <c:bubble3D val="0"/>
            <c:spPr>
              <a:solidFill>
                <a:srgbClr val="ABA8B3"/>
              </a:solidFill>
              <a:ln>
                <a:noFill/>
              </a:ln>
            </c:spPr>
            <c:extLst>
              <c:ext xmlns:c16="http://schemas.microsoft.com/office/drawing/2014/chart" uri="{C3380CC4-5D6E-409C-BE32-E72D297353CC}">
                <c16:uniqueId val="{00000003-41EC-47D0-9A8F-0AAF8A52835D}"/>
              </c:ext>
            </c:extLst>
          </c:dPt>
          <c:dPt>
            <c:idx val="4"/>
            <c:bubble3D val="0"/>
            <c:spPr>
              <a:solidFill>
                <a:srgbClr val="837F7F"/>
              </a:solidFill>
              <a:ln>
                <a:noFill/>
              </a:ln>
            </c:spPr>
            <c:extLst>
              <c:ext xmlns:c16="http://schemas.microsoft.com/office/drawing/2014/chart" uri="{C3380CC4-5D6E-409C-BE32-E72D297353CC}">
                <c16:uniqueId val="{00000004-41EC-47D0-9A8F-0AAF8A52835D}"/>
              </c:ext>
            </c:extLst>
          </c:dPt>
          <c:val>
            <c:numRef>
              <c:f>Sheet1!$A$1:$A$5</c:f>
              <c:numCache>
                <c:formatCode>General</c:formatCode>
                <c:ptCount val="5"/>
                <c:pt idx="0">
                  <c:v>37.11</c:v>
                </c:pt>
                <c:pt idx="1">
                  <c:v>41.6</c:v>
                </c:pt>
                <c:pt idx="2">
                  <c:v>15.83</c:v>
                </c:pt>
                <c:pt idx="3">
                  <c:v>4.62</c:v>
                </c:pt>
                <c:pt idx="4">
                  <c:v>0.84</c:v>
                </c:pt>
              </c:numCache>
            </c:numRef>
          </c:val>
          <c:extLst>
            <c:ext xmlns:c16="http://schemas.microsoft.com/office/drawing/2014/chart" uri="{C3380CC4-5D6E-409C-BE32-E72D297353CC}">
              <c16:uniqueId val="{00000005-41EC-47D0-9A8F-0AAF8A52835D}"/>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005291005291006E-2"/>
          <c:y val="8.6092715231788075E-2"/>
          <c:w val="0.97798941798941796"/>
          <c:h val="0.82781456953642385"/>
        </c:manualLayout>
      </c:layout>
      <c:barChart>
        <c:barDir val="bar"/>
        <c:grouping val="stacked"/>
        <c:varyColors val="0"/>
        <c:ser>
          <c:idx val="0"/>
          <c:order val="0"/>
          <c:spPr>
            <a:solidFill>
              <a:srgbClr val="A1E26F"/>
            </a:solidFill>
            <a:ln>
              <a:noFill/>
            </a:ln>
          </c:spPr>
          <c:invertIfNegative val="0"/>
          <c:dLbls>
            <c:dLbl>
              <c:idx val="0"/>
              <c:layout>
                <c:manualLayout>
                  <c:x val="-2.1164021164021165E-4"/>
                  <c:y val="-4.966887417218543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D7-4607-BA36-8BA0229010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0.188679245283019</c:v>
                </c:pt>
              </c:numCache>
            </c:numRef>
          </c:val>
          <c:extLst>
            <c:ext xmlns:c16="http://schemas.microsoft.com/office/drawing/2014/chart" uri="{C3380CC4-5D6E-409C-BE32-E72D297353CC}">
              <c16:uniqueId val="{00000001-79D7-4607-BA36-8BA02290109B}"/>
            </c:ext>
          </c:extLst>
        </c:ser>
        <c:ser>
          <c:idx val="1"/>
          <c:order val="1"/>
          <c:spPr>
            <a:solidFill>
              <a:srgbClr val="C8C8C8"/>
            </a:solidFill>
            <a:ln>
              <a:noFill/>
            </a:ln>
          </c:spPr>
          <c:invertIfNegative val="0"/>
          <c:dLbls>
            <c:dLbl>
              <c:idx val="0"/>
              <c:layout>
                <c:manualLayout>
                  <c:x val="0"/>
                  <c:y val="-4.966887417218543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D7-4607-BA36-8BA0229010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30188679245283</c:v>
                </c:pt>
              </c:numCache>
            </c:numRef>
          </c:val>
          <c:extLst>
            <c:ext xmlns:c16="http://schemas.microsoft.com/office/drawing/2014/chart" uri="{C3380CC4-5D6E-409C-BE32-E72D297353CC}">
              <c16:uniqueId val="{00000003-79D7-4607-BA36-8BA02290109B}"/>
            </c:ext>
          </c:extLst>
        </c:ser>
        <c:ser>
          <c:idx val="2"/>
          <c:order val="2"/>
          <c:spPr>
            <a:solidFill>
              <a:srgbClr val="837F7F"/>
            </a:solidFill>
            <a:ln>
              <a:noFill/>
            </a:ln>
          </c:spPr>
          <c:invertIfNegative val="0"/>
          <c:dLbls>
            <c:dLbl>
              <c:idx val="0"/>
              <c:layout>
                <c:manualLayout>
                  <c:x val="0"/>
                  <c:y val="-4.966887417218543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D7-4607-BA36-8BA0229010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1.509433962264154</c:v>
                </c:pt>
              </c:numCache>
            </c:numRef>
          </c:val>
          <c:extLst>
            <c:ext xmlns:c16="http://schemas.microsoft.com/office/drawing/2014/chart" uri="{C3380CC4-5D6E-409C-BE32-E72D297353CC}">
              <c16:uniqueId val="{00000005-79D7-4607-BA36-8BA02290109B}"/>
            </c:ext>
          </c:extLst>
        </c:ser>
        <c:dLbls>
          <c:showLegendKey val="0"/>
          <c:showVal val="0"/>
          <c:showCatName val="0"/>
          <c:showSerName val="0"/>
          <c:showPercent val="0"/>
          <c:showBubbleSize val="0"/>
        </c:dLbls>
        <c:gapWidth val="60"/>
        <c:overlap val="100"/>
        <c:axId val="1366857912"/>
        <c:axId val="1"/>
      </c:barChart>
      <c:catAx>
        <c:axId val="136685791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366857912"/>
        <c:crosses val="max"/>
        <c:crossBetween val="between"/>
      </c:valAx>
    </c:plotArea>
    <c:plotVisOnly val="0"/>
    <c:dispBlanksAs val="gap"/>
    <c:showDLblsOverMax val="1"/>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640671273445213E-2"/>
          <c:y val="6.5081351689612016E-2"/>
          <c:w val="0.94471865745310957"/>
          <c:h val="0.6758448060075094"/>
        </c:manualLayout>
      </c:layout>
      <c:barChart>
        <c:barDir val="bar"/>
        <c:grouping val="stacked"/>
        <c:varyColors val="0"/>
        <c:ser>
          <c:idx val="0"/>
          <c:order val="0"/>
          <c:spPr>
            <a:solidFill>
              <a:schemeClr val="tx2"/>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A3-4563-8CD9-FB9DE4132D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2.730000000000004</c:v>
                </c:pt>
              </c:numCache>
            </c:numRef>
          </c:val>
          <c:extLst>
            <c:ext xmlns:c16="http://schemas.microsoft.com/office/drawing/2014/chart" uri="{C3380CC4-5D6E-409C-BE32-E72D297353CC}">
              <c16:uniqueId val="{00000001-D7A3-4563-8CD9-FB9DE4132DE9}"/>
            </c:ext>
          </c:extLst>
        </c:ser>
        <c:ser>
          <c:idx val="1"/>
          <c:order val="1"/>
          <c:spPr>
            <a:solidFill>
              <a:schemeClr val="accent2"/>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7A3-4563-8CD9-FB9DE4132D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3.980000000000004</c:v>
                </c:pt>
              </c:numCache>
            </c:numRef>
          </c:val>
          <c:extLst>
            <c:ext xmlns:c16="http://schemas.microsoft.com/office/drawing/2014/chart" uri="{C3380CC4-5D6E-409C-BE32-E72D297353CC}">
              <c16:uniqueId val="{00000003-D7A3-4563-8CD9-FB9DE4132DE9}"/>
            </c:ext>
          </c:extLst>
        </c:ser>
        <c:ser>
          <c:idx val="2"/>
          <c:order val="2"/>
          <c:spPr>
            <a:solidFill>
              <a:srgbClr val="C8C8C8"/>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7A3-4563-8CD9-FB9DE4132D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9.460000000000008</c:v>
                </c:pt>
              </c:numCache>
            </c:numRef>
          </c:val>
          <c:extLst>
            <c:ext xmlns:c16="http://schemas.microsoft.com/office/drawing/2014/chart" uri="{C3380CC4-5D6E-409C-BE32-E72D297353CC}">
              <c16:uniqueId val="{00000005-D7A3-4563-8CD9-FB9DE4132DE9}"/>
            </c:ext>
          </c:extLst>
        </c:ser>
        <c:ser>
          <c:idx val="3"/>
          <c:order val="3"/>
          <c:spPr>
            <a:solidFill>
              <a:srgbClr val="ABA8B3"/>
            </a:solidFill>
            <a:ln>
              <a:noFill/>
            </a:ln>
          </c:spPr>
          <c:invertIfNegative val="0"/>
          <c:dLbls>
            <c:dLbl>
              <c:idx val="0"/>
              <c:layout>
                <c:manualLayout>
                  <c:x val="0"/>
                  <c:y val="-3.7546933667083854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7A3-4563-8CD9-FB9DE4132D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2099999999999937</c:v>
                </c:pt>
              </c:numCache>
            </c:numRef>
          </c:val>
          <c:extLst>
            <c:ext xmlns:c16="http://schemas.microsoft.com/office/drawing/2014/chart" uri="{C3380CC4-5D6E-409C-BE32-E72D297353CC}">
              <c16:uniqueId val="{00000007-D7A3-4563-8CD9-FB9DE4132DE9}"/>
            </c:ext>
          </c:extLst>
        </c:ser>
        <c:ser>
          <c:idx val="4"/>
          <c:order val="4"/>
          <c:spPr>
            <a:solidFill>
              <a:srgbClr val="837F7F"/>
            </a:solidFill>
            <a:ln>
              <a:noFill/>
            </a:ln>
          </c:spPr>
          <c:invertIfNegative val="0"/>
          <c:val>
            <c:numRef>
              <c:f>Sheet1!$A$5</c:f>
              <c:numCache>
                <c:formatCode>General</c:formatCode>
                <c:ptCount val="1"/>
                <c:pt idx="0">
                  <c:v>0.62000000000000455</c:v>
                </c:pt>
              </c:numCache>
            </c:numRef>
          </c:val>
          <c:extLst>
            <c:ext xmlns:c16="http://schemas.microsoft.com/office/drawing/2014/chart" uri="{C3380CC4-5D6E-409C-BE32-E72D297353CC}">
              <c16:uniqueId val="{00000008-D7A3-4563-8CD9-FB9DE4132DE9}"/>
            </c:ext>
          </c:extLst>
        </c:ser>
        <c:dLbls>
          <c:showLegendKey val="0"/>
          <c:showVal val="0"/>
          <c:showCatName val="0"/>
          <c:showSerName val="0"/>
          <c:showPercent val="0"/>
          <c:showBubbleSize val="0"/>
        </c:dLbls>
        <c:gapWidth val="60"/>
        <c:overlap val="100"/>
        <c:axId val="36860159"/>
        <c:axId val="1"/>
      </c:barChart>
      <c:catAx>
        <c:axId val="36860159"/>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36860159"/>
        <c:crosses val="max"/>
        <c:crossBetween val="between"/>
        <c:majorUnit val="2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29BA74"/>
            </a:solidFill>
            <a:ln>
              <a:noFill/>
            </a:ln>
          </c:spPr>
          <c:invertIfNegative val="0"/>
          <c:val>
            <c:numRef>
              <c:f>Sheet1!$A$1</c:f>
              <c:numCache>
                <c:formatCode>General</c:formatCode>
                <c:ptCount val="1"/>
                <c:pt idx="0">
                  <c:v>53.900000000000006</c:v>
                </c:pt>
              </c:numCache>
            </c:numRef>
          </c:val>
          <c:extLst>
            <c:ext xmlns:c16="http://schemas.microsoft.com/office/drawing/2014/chart" uri="{C3380CC4-5D6E-409C-BE32-E72D297353CC}">
              <c16:uniqueId val="{00000000-9FD1-43C9-9BD4-97D1ABCBFACE}"/>
            </c:ext>
          </c:extLst>
        </c:ser>
        <c:ser>
          <c:idx val="1"/>
          <c:order val="1"/>
          <c:spPr>
            <a:solidFill>
              <a:srgbClr val="C8C8C8"/>
            </a:solidFill>
            <a:ln>
              <a:noFill/>
            </a:ln>
          </c:spPr>
          <c:invertIfNegative val="0"/>
          <c:val>
            <c:numRef>
              <c:f>Sheet1!$A$2</c:f>
              <c:numCache>
                <c:formatCode>General</c:formatCode>
                <c:ptCount val="1"/>
                <c:pt idx="0">
                  <c:v>46.099999999999994</c:v>
                </c:pt>
              </c:numCache>
            </c:numRef>
          </c:val>
          <c:extLst>
            <c:ext xmlns:c16="http://schemas.microsoft.com/office/drawing/2014/chart" uri="{C3380CC4-5D6E-409C-BE32-E72D297353CC}">
              <c16:uniqueId val="{00000001-9FD1-43C9-9BD4-97D1ABCBFACE}"/>
            </c:ext>
          </c:extLst>
        </c:ser>
        <c:dLbls>
          <c:showLegendKey val="0"/>
          <c:showVal val="0"/>
          <c:showCatName val="0"/>
          <c:showSerName val="0"/>
          <c:showPercent val="0"/>
          <c:showBubbleSize val="0"/>
        </c:dLbls>
        <c:gapWidth val="60"/>
        <c:overlap val="100"/>
        <c:axId val="36777855"/>
        <c:axId val="1"/>
      </c:barChart>
      <c:catAx>
        <c:axId val="36777855"/>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36777855"/>
        <c:crosses val="max"/>
        <c:crossBetween val="between"/>
      </c:valAx>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3698-4B00-BFE6-7B0601CCB231}"/>
              </c:ext>
            </c:extLst>
          </c:dPt>
          <c:dPt>
            <c:idx val="1"/>
            <c:bubble3D val="0"/>
            <c:spPr>
              <a:solidFill>
                <a:schemeClr val="accent2"/>
              </a:solidFill>
              <a:ln>
                <a:noFill/>
              </a:ln>
            </c:spPr>
            <c:extLst>
              <c:ext xmlns:c16="http://schemas.microsoft.com/office/drawing/2014/chart" uri="{C3380CC4-5D6E-409C-BE32-E72D297353CC}">
                <c16:uniqueId val="{00000001-3698-4B00-BFE6-7B0601CCB231}"/>
              </c:ext>
            </c:extLst>
          </c:dPt>
          <c:dPt>
            <c:idx val="2"/>
            <c:bubble3D val="0"/>
            <c:spPr>
              <a:solidFill>
                <a:srgbClr val="C8C8C8"/>
              </a:solidFill>
              <a:ln>
                <a:noFill/>
              </a:ln>
            </c:spPr>
            <c:extLst>
              <c:ext xmlns:c16="http://schemas.microsoft.com/office/drawing/2014/chart" uri="{C3380CC4-5D6E-409C-BE32-E72D297353CC}">
                <c16:uniqueId val="{00000002-3698-4B00-BFE6-7B0601CCB231}"/>
              </c:ext>
            </c:extLst>
          </c:dPt>
          <c:dPt>
            <c:idx val="3"/>
            <c:bubble3D val="0"/>
            <c:spPr>
              <a:solidFill>
                <a:srgbClr val="ABA8B3"/>
              </a:solidFill>
              <a:ln>
                <a:noFill/>
              </a:ln>
            </c:spPr>
            <c:extLst>
              <c:ext xmlns:c16="http://schemas.microsoft.com/office/drawing/2014/chart" uri="{C3380CC4-5D6E-409C-BE32-E72D297353CC}">
                <c16:uniqueId val="{00000003-3698-4B00-BFE6-7B0601CCB231}"/>
              </c:ext>
            </c:extLst>
          </c:dPt>
          <c:dPt>
            <c:idx val="4"/>
            <c:bubble3D val="0"/>
            <c:spPr>
              <a:solidFill>
                <a:srgbClr val="837F7F"/>
              </a:solidFill>
              <a:ln>
                <a:noFill/>
              </a:ln>
            </c:spPr>
            <c:extLst>
              <c:ext xmlns:c16="http://schemas.microsoft.com/office/drawing/2014/chart" uri="{C3380CC4-5D6E-409C-BE32-E72D297353CC}">
                <c16:uniqueId val="{00000004-3698-4B00-BFE6-7B0601CCB231}"/>
              </c:ext>
            </c:extLst>
          </c:dPt>
          <c:val>
            <c:numRef>
              <c:f>Sheet1!$A$1:$A$5</c:f>
              <c:numCache>
                <c:formatCode>General</c:formatCode>
                <c:ptCount val="5"/>
                <c:pt idx="0">
                  <c:v>39.300000000000004</c:v>
                </c:pt>
                <c:pt idx="1">
                  <c:v>41.44</c:v>
                </c:pt>
                <c:pt idx="2">
                  <c:v>13.23</c:v>
                </c:pt>
                <c:pt idx="3">
                  <c:v>5.0599999999999996</c:v>
                </c:pt>
                <c:pt idx="4">
                  <c:v>0.97</c:v>
                </c:pt>
              </c:numCache>
            </c:numRef>
          </c:val>
          <c:extLst>
            <c:ext xmlns:c16="http://schemas.microsoft.com/office/drawing/2014/chart" uri="{C3380CC4-5D6E-409C-BE32-E72D297353CC}">
              <c16:uniqueId val="{00000005-3698-4B00-BFE6-7B0601CCB231}"/>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03B7-4D5A-B45D-7F564343A70C}"/>
              </c:ext>
            </c:extLst>
          </c:dPt>
          <c:dPt>
            <c:idx val="1"/>
            <c:bubble3D val="0"/>
            <c:spPr>
              <a:solidFill>
                <a:schemeClr val="accent2"/>
              </a:solidFill>
              <a:ln>
                <a:noFill/>
              </a:ln>
            </c:spPr>
            <c:extLst>
              <c:ext xmlns:c16="http://schemas.microsoft.com/office/drawing/2014/chart" uri="{C3380CC4-5D6E-409C-BE32-E72D297353CC}">
                <c16:uniqueId val="{00000001-03B7-4D5A-B45D-7F564343A70C}"/>
              </c:ext>
            </c:extLst>
          </c:dPt>
          <c:dPt>
            <c:idx val="2"/>
            <c:bubble3D val="0"/>
            <c:spPr>
              <a:solidFill>
                <a:srgbClr val="C8C8C8"/>
              </a:solidFill>
              <a:ln>
                <a:noFill/>
              </a:ln>
            </c:spPr>
            <c:extLst>
              <c:ext xmlns:c16="http://schemas.microsoft.com/office/drawing/2014/chart" uri="{C3380CC4-5D6E-409C-BE32-E72D297353CC}">
                <c16:uniqueId val="{00000002-03B7-4D5A-B45D-7F564343A70C}"/>
              </c:ext>
            </c:extLst>
          </c:dPt>
          <c:dPt>
            <c:idx val="3"/>
            <c:bubble3D val="0"/>
            <c:spPr>
              <a:solidFill>
                <a:srgbClr val="ABA8B3"/>
              </a:solidFill>
              <a:ln>
                <a:noFill/>
              </a:ln>
            </c:spPr>
            <c:extLst>
              <c:ext xmlns:c16="http://schemas.microsoft.com/office/drawing/2014/chart" uri="{C3380CC4-5D6E-409C-BE32-E72D297353CC}">
                <c16:uniqueId val="{00000003-03B7-4D5A-B45D-7F564343A70C}"/>
              </c:ext>
            </c:extLst>
          </c:dPt>
          <c:dPt>
            <c:idx val="4"/>
            <c:bubble3D val="0"/>
            <c:spPr>
              <a:solidFill>
                <a:srgbClr val="837F7F"/>
              </a:solidFill>
              <a:ln>
                <a:noFill/>
              </a:ln>
            </c:spPr>
            <c:extLst>
              <c:ext xmlns:c16="http://schemas.microsoft.com/office/drawing/2014/chart" uri="{C3380CC4-5D6E-409C-BE32-E72D297353CC}">
                <c16:uniqueId val="{00000004-03B7-4D5A-B45D-7F564343A70C}"/>
              </c:ext>
            </c:extLst>
          </c:dPt>
          <c:val>
            <c:numRef>
              <c:f>Sheet1!$A$1:$A$5</c:f>
              <c:numCache>
                <c:formatCode>General</c:formatCode>
                <c:ptCount val="5"/>
                <c:pt idx="0">
                  <c:v>45.629999999999995</c:v>
                </c:pt>
                <c:pt idx="1">
                  <c:v>46.129999999999995</c:v>
                </c:pt>
                <c:pt idx="2">
                  <c:v>6.2600000000000007</c:v>
                </c:pt>
                <c:pt idx="3">
                  <c:v>1.6500000000000001</c:v>
                </c:pt>
                <c:pt idx="4">
                  <c:v>0.33</c:v>
                </c:pt>
              </c:numCache>
            </c:numRef>
          </c:val>
          <c:extLst>
            <c:ext xmlns:c16="http://schemas.microsoft.com/office/drawing/2014/chart" uri="{C3380CC4-5D6E-409C-BE32-E72D297353CC}">
              <c16:uniqueId val="{00000005-03B7-4D5A-B45D-7F564343A70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093F-433F-9B80-62011AE37071}"/>
              </c:ext>
            </c:extLst>
          </c:dPt>
          <c:dPt>
            <c:idx val="1"/>
            <c:bubble3D val="0"/>
            <c:spPr>
              <a:solidFill>
                <a:schemeClr val="accent2"/>
              </a:solidFill>
              <a:ln>
                <a:noFill/>
              </a:ln>
            </c:spPr>
            <c:extLst>
              <c:ext xmlns:c16="http://schemas.microsoft.com/office/drawing/2014/chart" uri="{C3380CC4-5D6E-409C-BE32-E72D297353CC}">
                <c16:uniqueId val="{00000001-093F-433F-9B80-62011AE37071}"/>
              </c:ext>
            </c:extLst>
          </c:dPt>
          <c:dPt>
            <c:idx val="2"/>
            <c:bubble3D val="0"/>
            <c:spPr>
              <a:solidFill>
                <a:srgbClr val="C8C8C8"/>
              </a:solidFill>
              <a:ln>
                <a:noFill/>
              </a:ln>
            </c:spPr>
            <c:extLst>
              <c:ext xmlns:c16="http://schemas.microsoft.com/office/drawing/2014/chart" uri="{C3380CC4-5D6E-409C-BE32-E72D297353CC}">
                <c16:uniqueId val="{00000002-093F-433F-9B80-62011AE37071}"/>
              </c:ext>
            </c:extLst>
          </c:dPt>
          <c:dPt>
            <c:idx val="3"/>
            <c:bubble3D val="0"/>
            <c:spPr>
              <a:solidFill>
                <a:srgbClr val="ABA8B3"/>
              </a:solidFill>
              <a:ln>
                <a:noFill/>
              </a:ln>
            </c:spPr>
            <c:extLst>
              <c:ext xmlns:c16="http://schemas.microsoft.com/office/drawing/2014/chart" uri="{C3380CC4-5D6E-409C-BE32-E72D297353CC}">
                <c16:uniqueId val="{00000003-093F-433F-9B80-62011AE37071}"/>
              </c:ext>
            </c:extLst>
          </c:dPt>
          <c:dPt>
            <c:idx val="4"/>
            <c:bubble3D val="0"/>
            <c:spPr>
              <a:solidFill>
                <a:srgbClr val="837F7F"/>
              </a:solidFill>
              <a:ln>
                <a:noFill/>
              </a:ln>
            </c:spPr>
            <c:extLst>
              <c:ext xmlns:c16="http://schemas.microsoft.com/office/drawing/2014/chart" uri="{C3380CC4-5D6E-409C-BE32-E72D297353CC}">
                <c16:uniqueId val="{00000004-093F-433F-9B80-62011AE37071}"/>
              </c:ext>
            </c:extLst>
          </c:dPt>
          <c:val>
            <c:numRef>
              <c:f>Sheet1!$A$1:$A$5</c:f>
              <c:numCache>
                <c:formatCode>General</c:formatCode>
                <c:ptCount val="5"/>
                <c:pt idx="0">
                  <c:v>39.61</c:v>
                </c:pt>
                <c:pt idx="1">
                  <c:v>45.18</c:v>
                </c:pt>
                <c:pt idx="2">
                  <c:v>12.24</c:v>
                </c:pt>
                <c:pt idx="3">
                  <c:v>1.95</c:v>
                </c:pt>
                <c:pt idx="4">
                  <c:v>1.02</c:v>
                </c:pt>
              </c:numCache>
            </c:numRef>
          </c:val>
          <c:extLst>
            <c:ext xmlns:c16="http://schemas.microsoft.com/office/drawing/2014/chart" uri="{C3380CC4-5D6E-409C-BE32-E72D297353CC}">
              <c16:uniqueId val="{00000005-093F-433F-9B80-62011AE37071}"/>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712D-4164-80D6-FC79D6C85A72}"/>
              </c:ext>
            </c:extLst>
          </c:dPt>
          <c:dPt>
            <c:idx val="1"/>
            <c:bubble3D val="0"/>
            <c:spPr>
              <a:solidFill>
                <a:schemeClr val="accent2"/>
              </a:solidFill>
              <a:ln>
                <a:noFill/>
              </a:ln>
            </c:spPr>
            <c:extLst>
              <c:ext xmlns:c16="http://schemas.microsoft.com/office/drawing/2014/chart" uri="{C3380CC4-5D6E-409C-BE32-E72D297353CC}">
                <c16:uniqueId val="{00000001-712D-4164-80D6-FC79D6C85A72}"/>
              </c:ext>
            </c:extLst>
          </c:dPt>
          <c:dPt>
            <c:idx val="2"/>
            <c:bubble3D val="0"/>
            <c:spPr>
              <a:solidFill>
                <a:srgbClr val="C8C8C8"/>
              </a:solidFill>
              <a:ln>
                <a:noFill/>
              </a:ln>
            </c:spPr>
            <c:extLst>
              <c:ext xmlns:c16="http://schemas.microsoft.com/office/drawing/2014/chart" uri="{C3380CC4-5D6E-409C-BE32-E72D297353CC}">
                <c16:uniqueId val="{00000002-712D-4164-80D6-FC79D6C85A72}"/>
              </c:ext>
            </c:extLst>
          </c:dPt>
          <c:dPt>
            <c:idx val="3"/>
            <c:bubble3D val="0"/>
            <c:spPr>
              <a:solidFill>
                <a:srgbClr val="ABA8B3"/>
              </a:solidFill>
              <a:ln>
                <a:noFill/>
              </a:ln>
            </c:spPr>
            <c:extLst>
              <c:ext xmlns:c16="http://schemas.microsoft.com/office/drawing/2014/chart" uri="{C3380CC4-5D6E-409C-BE32-E72D297353CC}">
                <c16:uniqueId val="{00000003-712D-4164-80D6-FC79D6C85A72}"/>
              </c:ext>
            </c:extLst>
          </c:dPt>
          <c:dPt>
            <c:idx val="4"/>
            <c:bubble3D val="0"/>
            <c:spPr>
              <a:solidFill>
                <a:srgbClr val="837F7F"/>
              </a:solidFill>
              <a:ln>
                <a:noFill/>
              </a:ln>
            </c:spPr>
            <c:extLst>
              <c:ext xmlns:c16="http://schemas.microsoft.com/office/drawing/2014/chart" uri="{C3380CC4-5D6E-409C-BE32-E72D297353CC}">
                <c16:uniqueId val="{00000004-712D-4164-80D6-FC79D6C85A72}"/>
              </c:ext>
            </c:extLst>
          </c:dPt>
          <c:val>
            <c:numRef>
              <c:f>Sheet1!$A$1:$A$5</c:f>
              <c:numCache>
                <c:formatCode>General</c:formatCode>
                <c:ptCount val="5"/>
                <c:pt idx="0">
                  <c:v>34.5</c:v>
                </c:pt>
                <c:pt idx="1">
                  <c:v>46.589999999999996</c:v>
                </c:pt>
                <c:pt idx="2">
                  <c:v>14.81</c:v>
                </c:pt>
                <c:pt idx="3">
                  <c:v>2.92</c:v>
                </c:pt>
                <c:pt idx="4">
                  <c:v>1.17</c:v>
                </c:pt>
              </c:numCache>
            </c:numRef>
          </c:val>
          <c:extLst>
            <c:ext xmlns:c16="http://schemas.microsoft.com/office/drawing/2014/chart" uri="{C3380CC4-5D6E-409C-BE32-E72D297353CC}">
              <c16:uniqueId val="{00000005-712D-4164-80D6-FC79D6C85A72}"/>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6E29-41B1-8FDF-6028E2D903DF}"/>
              </c:ext>
            </c:extLst>
          </c:dPt>
          <c:dPt>
            <c:idx val="1"/>
            <c:bubble3D val="0"/>
            <c:spPr>
              <a:solidFill>
                <a:schemeClr val="accent2"/>
              </a:solidFill>
              <a:ln>
                <a:noFill/>
              </a:ln>
            </c:spPr>
            <c:extLst>
              <c:ext xmlns:c16="http://schemas.microsoft.com/office/drawing/2014/chart" uri="{C3380CC4-5D6E-409C-BE32-E72D297353CC}">
                <c16:uniqueId val="{00000001-6E29-41B1-8FDF-6028E2D903DF}"/>
              </c:ext>
            </c:extLst>
          </c:dPt>
          <c:dPt>
            <c:idx val="2"/>
            <c:bubble3D val="0"/>
            <c:spPr>
              <a:solidFill>
                <a:srgbClr val="C8C8C8"/>
              </a:solidFill>
              <a:ln>
                <a:noFill/>
              </a:ln>
            </c:spPr>
            <c:extLst>
              <c:ext xmlns:c16="http://schemas.microsoft.com/office/drawing/2014/chart" uri="{C3380CC4-5D6E-409C-BE32-E72D297353CC}">
                <c16:uniqueId val="{00000002-6E29-41B1-8FDF-6028E2D903DF}"/>
              </c:ext>
            </c:extLst>
          </c:dPt>
          <c:dPt>
            <c:idx val="3"/>
            <c:bubble3D val="0"/>
            <c:spPr>
              <a:solidFill>
                <a:srgbClr val="ABA8B3"/>
              </a:solidFill>
              <a:ln>
                <a:noFill/>
              </a:ln>
            </c:spPr>
            <c:extLst>
              <c:ext xmlns:c16="http://schemas.microsoft.com/office/drawing/2014/chart" uri="{C3380CC4-5D6E-409C-BE32-E72D297353CC}">
                <c16:uniqueId val="{00000003-6E29-41B1-8FDF-6028E2D903DF}"/>
              </c:ext>
            </c:extLst>
          </c:dPt>
          <c:dPt>
            <c:idx val="4"/>
            <c:bubble3D val="0"/>
            <c:spPr>
              <a:solidFill>
                <a:srgbClr val="837F7F"/>
              </a:solidFill>
              <a:ln>
                <a:noFill/>
              </a:ln>
            </c:spPr>
            <c:extLst>
              <c:ext xmlns:c16="http://schemas.microsoft.com/office/drawing/2014/chart" uri="{C3380CC4-5D6E-409C-BE32-E72D297353CC}">
                <c16:uniqueId val="{00000004-6E29-41B1-8FDF-6028E2D903DF}"/>
              </c:ext>
            </c:extLst>
          </c:dPt>
          <c:val>
            <c:numRef>
              <c:f>Sheet1!$A$1:$A$5</c:f>
              <c:numCache>
                <c:formatCode>General</c:formatCode>
                <c:ptCount val="5"/>
                <c:pt idx="0">
                  <c:v>40.300000000000004</c:v>
                </c:pt>
                <c:pt idx="1">
                  <c:v>49.75</c:v>
                </c:pt>
                <c:pt idx="2">
                  <c:v>8.129999999999999</c:v>
                </c:pt>
                <c:pt idx="3">
                  <c:v>1.66</c:v>
                </c:pt>
                <c:pt idx="4">
                  <c:v>0.16999999999999998</c:v>
                </c:pt>
              </c:numCache>
            </c:numRef>
          </c:val>
          <c:extLst>
            <c:ext xmlns:c16="http://schemas.microsoft.com/office/drawing/2014/chart" uri="{C3380CC4-5D6E-409C-BE32-E72D297353CC}">
              <c16:uniqueId val="{00000005-6E29-41B1-8FDF-6028E2D903DF}"/>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11182450508293E-2"/>
          <c:y val="6.1104582843713277E-2"/>
          <c:w val="0.97217763509898336"/>
          <c:h val="0.87779083431257343"/>
        </c:manualLayout>
      </c:layout>
      <c:barChart>
        <c:barDir val="bar"/>
        <c:grouping val="stacked"/>
        <c:varyColors val="0"/>
        <c:ser>
          <c:idx val="0"/>
          <c:order val="0"/>
          <c:spPr>
            <a:solidFill>
              <a:srgbClr val="A1E26F"/>
            </a:solidFill>
            <a:ln>
              <a:noFill/>
            </a:ln>
          </c:spPr>
          <c:invertIfNegative val="0"/>
          <c:dLbls>
            <c:dLbl>
              <c:idx val="0"/>
              <c:layout>
                <c:manualLayout>
                  <c:x val="0"/>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04-4CFC-9584-2927394357D3}"/>
                </c:ext>
              </c:extLst>
            </c:dLbl>
            <c:dLbl>
              <c:idx val="1"/>
              <c:layout>
                <c:manualLayout>
                  <c:x val="0"/>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04-4CFC-9584-2927394357D3}"/>
                </c:ext>
              </c:extLst>
            </c:dLbl>
            <c:dLbl>
              <c:idx val="2"/>
              <c:layout>
                <c:manualLayout>
                  <c:x val="0"/>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604-4CFC-9584-2927394357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8.181818181818183</c:v>
                </c:pt>
                <c:pt idx="1">
                  <c:v>15.789473684210526</c:v>
                </c:pt>
                <c:pt idx="2">
                  <c:v>37.5</c:v>
                </c:pt>
              </c:numCache>
            </c:numRef>
          </c:val>
          <c:extLst>
            <c:ext xmlns:c16="http://schemas.microsoft.com/office/drawing/2014/chart" uri="{C3380CC4-5D6E-409C-BE32-E72D297353CC}">
              <c16:uniqueId val="{00000003-2604-4CFC-9584-2927394357D3}"/>
            </c:ext>
          </c:extLst>
        </c:ser>
        <c:ser>
          <c:idx val="1"/>
          <c:order val="1"/>
          <c:spPr>
            <a:solidFill>
              <a:srgbClr val="C8C8C8"/>
            </a:solidFill>
            <a:ln>
              <a:noFill/>
            </a:ln>
          </c:spPr>
          <c:invertIfNegative val="0"/>
          <c:dLbls>
            <c:dLbl>
              <c:idx val="0"/>
              <c:layout>
                <c:manualLayout>
                  <c:x val="0"/>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604-4CFC-9584-2927394357D3}"/>
                </c:ext>
              </c:extLst>
            </c:dLbl>
            <c:dLbl>
              <c:idx val="1"/>
              <c:layout>
                <c:manualLayout>
                  <c:x val="0"/>
                  <c:y val="-3.525264394829612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604-4CFC-9584-2927394357D3}"/>
                </c:ext>
              </c:extLst>
            </c:dLbl>
            <c:dLbl>
              <c:idx val="2"/>
              <c:layout>
                <c:manualLayout>
                  <c:x val="0"/>
                  <c:y val="-3.5252643948296123E-3"/>
                </c:manualLayout>
              </c:layout>
              <c:numFmt formatCode="#,##0&quot;%&quot;;&quot;-&quot;#,##0&quot;%&quot;" sourceLinked="0"/>
              <c:spPr>
                <a:noFill/>
                <a:ln>
                  <a:noFill/>
                </a:ln>
              </c:spPr>
              <c:txPr>
                <a:bodyPr wrap="none"/>
                <a:lstStyle/>
                <a:p>
                  <a:pPr>
                    <a:defRPr sz="12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604-4CFC-9584-2927394357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5454545454545467</c:v>
                </c:pt>
                <c:pt idx="1">
                  <c:v>10.526315789473683</c:v>
                </c:pt>
                <c:pt idx="2">
                  <c:v>50</c:v>
                </c:pt>
              </c:numCache>
            </c:numRef>
          </c:val>
          <c:extLst>
            <c:ext xmlns:c16="http://schemas.microsoft.com/office/drawing/2014/chart" uri="{C3380CC4-5D6E-409C-BE32-E72D297353CC}">
              <c16:uniqueId val="{00000007-2604-4CFC-9584-2927394357D3}"/>
            </c:ext>
          </c:extLst>
        </c:ser>
        <c:ser>
          <c:idx val="2"/>
          <c:order val="2"/>
          <c:spPr>
            <a:solidFill>
              <a:srgbClr val="837F7F"/>
            </a:solidFill>
            <a:ln>
              <a:noFill/>
            </a:ln>
          </c:spPr>
          <c:invertIfNegative val="0"/>
          <c:dLbls>
            <c:dLbl>
              <c:idx val="0"/>
              <c:layout>
                <c:manualLayout>
                  <c:x val="0"/>
                  <c:y val="-3.525264394829612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604-4CFC-9584-2927394357D3}"/>
                </c:ext>
              </c:extLst>
            </c:dLbl>
            <c:dLbl>
              <c:idx val="1"/>
              <c:layout>
                <c:manualLayout>
                  <c:x val="0"/>
                  <c:y val="-3.525264394829612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604-4CFC-9584-2927394357D3}"/>
                </c:ext>
              </c:extLst>
            </c:dLbl>
            <c:dLbl>
              <c:idx val="2"/>
              <c:layout>
                <c:manualLayout>
                  <c:x val="0"/>
                  <c:y val="-3.525264394829612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604-4CFC-9584-2927394357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77.272727272727266</c:v>
                </c:pt>
                <c:pt idx="1">
                  <c:v>73.684210526315795</c:v>
                </c:pt>
                <c:pt idx="2">
                  <c:v>12.5</c:v>
                </c:pt>
              </c:numCache>
            </c:numRef>
          </c:val>
          <c:extLst>
            <c:ext xmlns:c16="http://schemas.microsoft.com/office/drawing/2014/chart" uri="{C3380CC4-5D6E-409C-BE32-E72D297353CC}">
              <c16:uniqueId val="{0000000B-2604-4CFC-9584-2927394357D3}"/>
            </c:ext>
          </c:extLst>
        </c:ser>
        <c:dLbls>
          <c:showLegendKey val="0"/>
          <c:showVal val="0"/>
          <c:showCatName val="0"/>
          <c:showSerName val="0"/>
          <c:showPercent val="0"/>
          <c:showBubbleSize val="0"/>
        </c:dLbls>
        <c:gapWidth val="60"/>
        <c:overlap val="100"/>
        <c:axId val="1411536424"/>
        <c:axId val="1"/>
      </c:barChart>
      <c:catAx>
        <c:axId val="1411536424"/>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411536424"/>
        <c:crosses val="max"/>
        <c:crossBetween val="between"/>
      </c:valAx>
    </c:plotArea>
    <c:plotVisOnly val="0"/>
    <c:dispBlanksAs val="gap"/>
    <c:showDLblsOverMax val="1"/>
  </c:chart>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789811555187407E-2"/>
          <c:y val="9.6132596685082866E-2"/>
          <c:w val="0.9304203768896252"/>
          <c:h val="0.67513812154696129"/>
        </c:manualLayout>
      </c:layout>
      <c:barChart>
        <c:barDir val="bar"/>
        <c:grouping val="stacked"/>
        <c:varyColors val="0"/>
        <c:ser>
          <c:idx val="0"/>
          <c:order val="0"/>
          <c:spPr>
            <a:solidFill>
              <a:schemeClr val="tx2"/>
            </a:solidFill>
            <a:ln>
              <a:noFill/>
            </a:ln>
          </c:spPr>
          <c:invertIfNegative val="0"/>
          <c:dLbls>
            <c:dLbl>
              <c:idx val="0"/>
              <c:layout>
                <c:manualLayout>
                  <c:x val="-2.0708221163802029E-4"/>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81-4BDF-843C-E077134F18C6}"/>
                </c:ext>
              </c:extLst>
            </c:dLbl>
            <c:dLbl>
              <c:idx val="1"/>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81-4BDF-843C-E077134F18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0.129999999999995</c:v>
                </c:pt>
                <c:pt idx="1">
                  <c:v>29.43</c:v>
                </c:pt>
              </c:numCache>
            </c:numRef>
          </c:val>
          <c:extLst>
            <c:ext xmlns:c16="http://schemas.microsoft.com/office/drawing/2014/chart" uri="{C3380CC4-5D6E-409C-BE32-E72D297353CC}">
              <c16:uniqueId val="{00000002-1681-4BDF-843C-E077134F18C6}"/>
            </c:ext>
          </c:extLst>
        </c:ser>
        <c:ser>
          <c:idx val="1"/>
          <c:order val="1"/>
          <c:spPr>
            <a:solidFill>
              <a:schemeClr val="accent2"/>
            </a:solidFill>
            <a:ln>
              <a:noFill/>
            </a:ln>
          </c:spPr>
          <c:invertIfNegative val="0"/>
          <c:dLbls>
            <c:dLbl>
              <c:idx val="0"/>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81-4BDF-843C-E077134F18C6}"/>
                </c:ext>
              </c:extLst>
            </c:dLbl>
            <c:dLbl>
              <c:idx val="1"/>
              <c:layout>
                <c:manualLayout>
                  <c:x val="-2.0708221163802029E-4"/>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681-4BDF-843C-E077134F18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41.129999999999995</c:v>
                </c:pt>
                <c:pt idx="1">
                  <c:v>39.940000000000005</c:v>
                </c:pt>
              </c:numCache>
            </c:numRef>
          </c:val>
          <c:extLst>
            <c:ext xmlns:c16="http://schemas.microsoft.com/office/drawing/2014/chart" uri="{C3380CC4-5D6E-409C-BE32-E72D297353CC}">
              <c16:uniqueId val="{00000005-1681-4BDF-843C-E077134F18C6}"/>
            </c:ext>
          </c:extLst>
        </c:ser>
        <c:ser>
          <c:idx val="2"/>
          <c:order val="2"/>
          <c:spPr>
            <a:solidFill>
              <a:srgbClr val="C8C8C8"/>
            </a:solidFill>
            <a:ln>
              <a:noFill/>
            </a:ln>
          </c:spPr>
          <c:invertIfNegative val="0"/>
          <c:dLbls>
            <c:dLbl>
              <c:idx val="0"/>
              <c:layout>
                <c:manualLayout>
                  <c:x val="0"/>
                  <c:y val="-3.3149171270718232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681-4BDF-843C-E077134F18C6}"/>
                </c:ext>
              </c:extLst>
            </c:dLbl>
            <c:dLbl>
              <c:idx val="1"/>
              <c:layout>
                <c:manualLayout>
                  <c:x val="0"/>
                  <c:y val="-3.3149171270718232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681-4BDF-843C-E077134F18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1.700000000000003</c:v>
                </c:pt>
                <c:pt idx="1">
                  <c:v>17.120000000000005</c:v>
                </c:pt>
              </c:numCache>
            </c:numRef>
          </c:val>
          <c:extLst>
            <c:ext xmlns:c16="http://schemas.microsoft.com/office/drawing/2014/chart" uri="{C3380CC4-5D6E-409C-BE32-E72D297353CC}">
              <c16:uniqueId val="{00000008-1681-4BDF-843C-E077134F18C6}"/>
            </c:ext>
          </c:extLst>
        </c:ser>
        <c:ser>
          <c:idx val="3"/>
          <c:order val="3"/>
          <c:spPr>
            <a:solidFill>
              <a:srgbClr val="ABA8B3"/>
            </a:solidFill>
            <a:ln>
              <a:noFill/>
            </a:ln>
          </c:spPr>
          <c:invertIfNegative val="0"/>
          <c:dLbls>
            <c:dLbl>
              <c:idx val="0"/>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681-4BDF-843C-E077134F18C6}"/>
                </c:ext>
              </c:extLst>
            </c:dLbl>
            <c:dLbl>
              <c:idx val="1"/>
              <c:layout>
                <c:manualLayout>
                  <c:x val="0"/>
                  <c:y val="-3.314917127071823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681-4BDF-843C-E077134F18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5.6700000000000017</c:v>
                </c:pt>
                <c:pt idx="1">
                  <c:v>10.409999999999997</c:v>
                </c:pt>
              </c:numCache>
            </c:numRef>
          </c:val>
          <c:extLst>
            <c:ext xmlns:c16="http://schemas.microsoft.com/office/drawing/2014/chart" uri="{C3380CC4-5D6E-409C-BE32-E72D297353CC}">
              <c16:uniqueId val="{0000000B-1681-4BDF-843C-E077134F18C6}"/>
            </c:ext>
          </c:extLst>
        </c:ser>
        <c:ser>
          <c:idx val="4"/>
          <c:order val="4"/>
          <c:spPr>
            <a:solidFill>
              <a:srgbClr val="837F7F"/>
            </a:solidFill>
            <a:ln>
              <a:noFill/>
            </a:ln>
          </c:spPr>
          <c:invertIfNegative val="0"/>
          <c:dLbls>
            <c:dLbl>
              <c:idx val="0"/>
              <c:layout>
                <c:manualLayout>
                  <c:x val="-1.2424932698281218E-3"/>
                  <c:y val="0.18674033149171271"/>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681-4BDF-843C-E077134F18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1.3700000000000045</c:v>
                </c:pt>
                <c:pt idx="1">
                  <c:v>3.0999999999999943</c:v>
                </c:pt>
              </c:numCache>
            </c:numRef>
          </c:val>
          <c:extLst>
            <c:ext xmlns:c16="http://schemas.microsoft.com/office/drawing/2014/chart" uri="{C3380CC4-5D6E-409C-BE32-E72D297353CC}">
              <c16:uniqueId val="{0000000D-1681-4BDF-843C-E077134F18C6}"/>
            </c:ext>
          </c:extLst>
        </c:ser>
        <c:dLbls>
          <c:showLegendKey val="0"/>
          <c:showVal val="0"/>
          <c:showCatName val="0"/>
          <c:showSerName val="0"/>
          <c:showPercent val="0"/>
          <c:showBubbleSize val="0"/>
        </c:dLbls>
        <c:gapWidth val="60"/>
        <c:overlap val="100"/>
        <c:axId val="1502183352"/>
        <c:axId val="1"/>
      </c:barChart>
      <c:catAx>
        <c:axId val="150218335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502183352"/>
        <c:crosses val="max"/>
        <c:crossBetween val="between"/>
        <c:majorUnit val="20"/>
      </c:valAx>
    </c:plotArea>
    <c:plotVisOnly val="0"/>
    <c:dispBlanksAs val="gap"/>
    <c:showDLblsOverMax val="1"/>
  </c:chart>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68150179287071E-2"/>
          <c:y val="9.1388400702987704E-2"/>
          <c:w val="0.97806369964142581"/>
          <c:h val="0.81722319859402459"/>
        </c:manualLayout>
      </c:layout>
      <c:barChart>
        <c:barDir val="bar"/>
        <c:grouping val="stacked"/>
        <c:varyColors val="0"/>
        <c:ser>
          <c:idx val="0"/>
          <c:order val="0"/>
          <c:spPr>
            <a:solidFill>
              <a:srgbClr val="A1E26F"/>
            </a:solidFill>
            <a:ln>
              <a:noFill/>
            </a:ln>
          </c:spPr>
          <c:invertIfNegative val="0"/>
          <c:dLbls>
            <c:dLbl>
              <c:idx val="0"/>
              <c:layout>
                <c:manualLayout>
                  <c:x val="0"/>
                  <c:y val="-5.2724077328646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E1-44B1-99E2-9223D2B913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4545454545454541</c:v>
                </c:pt>
              </c:numCache>
            </c:numRef>
          </c:val>
          <c:extLst>
            <c:ext xmlns:c16="http://schemas.microsoft.com/office/drawing/2014/chart" uri="{C3380CC4-5D6E-409C-BE32-E72D297353CC}">
              <c16:uniqueId val="{00000001-93E1-44B1-99E2-9223D2B9137C}"/>
            </c:ext>
          </c:extLst>
        </c:ser>
        <c:ser>
          <c:idx val="1"/>
          <c:order val="1"/>
          <c:spPr>
            <a:solidFill>
              <a:srgbClr val="C8C8C8"/>
            </a:solidFill>
            <a:ln>
              <a:noFill/>
            </a:ln>
          </c:spPr>
          <c:invertIfNegative val="0"/>
          <c:dLbls>
            <c:dLbl>
              <c:idx val="0"/>
              <c:layout>
                <c:manualLayout>
                  <c:x val="0"/>
                  <c:y val="-5.2724077328646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E1-44B1-99E2-9223D2B913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1.818181818181817</c:v>
                </c:pt>
              </c:numCache>
            </c:numRef>
          </c:val>
          <c:extLst>
            <c:ext xmlns:c16="http://schemas.microsoft.com/office/drawing/2014/chart" uri="{C3380CC4-5D6E-409C-BE32-E72D297353CC}">
              <c16:uniqueId val="{00000003-93E1-44B1-99E2-9223D2B9137C}"/>
            </c:ext>
          </c:extLst>
        </c:ser>
        <c:ser>
          <c:idx val="2"/>
          <c:order val="2"/>
          <c:spPr>
            <a:solidFill>
              <a:srgbClr val="837F7F"/>
            </a:solidFill>
            <a:ln>
              <a:noFill/>
            </a:ln>
          </c:spPr>
          <c:invertIfNegative val="0"/>
          <c:dLbls>
            <c:dLbl>
              <c:idx val="0"/>
              <c:layout>
                <c:manualLayout>
                  <c:x val="0"/>
                  <c:y val="-5.2724077328646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3E1-44B1-99E2-9223D2B913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72.727272727272734</c:v>
                </c:pt>
              </c:numCache>
            </c:numRef>
          </c:val>
          <c:extLst>
            <c:ext xmlns:c16="http://schemas.microsoft.com/office/drawing/2014/chart" uri="{C3380CC4-5D6E-409C-BE32-E72D297353CC}">
              <c16:uniqueId val="{00000005-93E1-44B1-99E2-9223D2B9137C}"/>
            </c:ext>
          </c:extLst>
        </c:ser>
        <c:dLbls>
          <c:showLegendKey val="0"/>
          <c:showVal val="0"/>
          <c:showCatName val="0"/>
          <c:showSerName val="0"/>
          <c:showPercent val="0"/>
          <c:showBubbleSize val="0"/>
        </c:dLbls>
        <c:gapWidth val="60"/>
        <c:overlap val="100"/>
        <c:axId val="1517047952"/>
        <c:axId val="1"/>
      </c:barChart>
      <c:catAx>
        <c:axId val="151704795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517047952"/>
        <c:crosses val="max"/>
        <c:crossBetween val="between"/>
      </c:valAx>
    </c:plotArea>
    <c:plotVisOnly val="0"/>
    <c:dispBlanksAs val="gap"/>
    <c:showDLblsOverMax val="1"/>
  </c:chart>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250C-481A-99D6-49DD646051AC}"/>
              </c:ext>
            </c:extLst>
          </c:dPt>
          <c:dPt>
            <c:idx val="1"/>
            <c:bubble3D val="0"/>
            <c:spPr>
              <a:solidFill>
                <a:schemeClr val="accent2"/>
              </a:solidFill>
              <a:ln>
                <a:noFill/>
              </a:ln>
            </c:spPr>
            <c:extLst>
              <c:ext xmlns:c16="http://schemas.microsoft.com/office/drawing/2014/chart" uri="{C3380CC4-5D6E-409C-BE32-E72D297353CC}">
                <c16:uniqueId val="{00000001-250C-481A-99D6-49DD646051AC}"/>
              </c:ext>
            </c:extLst>
          </c:dPt>
          <c:dPt>
            <c:idx val="2"/>
            <c:bubble3D val="0"/>
            <c:spPr>
              <a:solidFill>
                <a:srgbClr val="C8C8C8"/>
              </a:solidFill>
              <a:ln>
                <a:noFill/>
              </a:ln>
            </c:spPr>
            <c:extLst>
              <c:ext xmlns:c16="http://schemas.microsoft.com/office/drawing/2014/chart" uri="{C3380CC4-5D6E-409C-BE32-E72D297353CC}">
                <c16:uniqueId val="{00000002-250C-481A-99D6-49DD646051AC}"/>
              </c:ext>
            </c:extLst>
          </c:dPt>
          <c:dPt>
            <c:idx val="3"/>
            <c:bubble3D val="0"/>
            <c:spPr>
              <a:solidFill>
                <a:srgbClr val="ABA8B3"/>
              </a:solidFill>
              <a:ln>
                <a:noFill/>
              </a:ln>
            </c:spPr>
            <c:extLst>
              <c:ext xmlns:c16="http://schemas.microsoft.com/office/drawing/2014/chart" uri="{C3380CC4-5D6E-409C-BE32-E72D297353CC}">
                <c16:uniqueId val="{00000003-250C-481A-99D6-49DD646051AC}"/>
              </c:ext>
            </c:extLst>
          </c:dPt>
          <c:dPt>
            <c:idx val="4"/>
            <c:bubble3D val="0"/>
            <c:spPr>
              <a:solidFill>
                <a:srgbClr val="837F7F"/>
              </a:solidFill>
              <a:ln>
                <a:noFill/>
              </a:ln>
            </c:spPr>
            <c:extLst>
              <c:ext xmlns:c16="http://schemas.microsoft.com/office/drawing/2014/chart" uri="{C3380CC4-5D6E-409C-BE32-E72D297353CC}">
                <c16:uniqueId val="{00000004-250C-481A-99D6-49DD646051AC}"/>
              </c:ext>
            </c:extLst>
          </c:dPt>
          <c:val>
            <c:numRef>
              <c:f>Sheet1!$A$1:$A$5</c:f>
              <c:numCache>
                <c:formatCode>General</c:formatCode>
                <c:ptCount val="5"/>
                <c:pt idx="0">
                  <c:v>30.520000000000003</c:v>
                </c:pt>
                <c:pt idx="1">
                  <c:v>48.29</c:v>
                </c:pt>
                <c:pt idx="2">
                  <c:v>19.39</c:v>
                </c:pt>
                <c:pt idx="3">
                  <c:v>1.08</c:v>
                </c:pt>
                <c:pt idx="4">
                  <c:v>0.72</c:v>
                </c:pt>
              </c:numCache>
            </c:numRef>
          </c:val>
          <c:extLst>
            <c:ext xmlns:c16="http://schemas.microsoft.com/office/drawing/2014/chart" uri="{C3380CC4-5D6E-409C-BE32-E72D297353CC}">
              <c16:uniqueId val="{00000005-250C-481A-99D6-49DD646051A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73B4-4AAC-8EA5-91EA7A6FEC58}"/>
              </c:ext>
            </c:extLst>
          </c:dPt>
          <c:dPt>
            <c:idx val="1"/>
            <c:bubble3D val="0"/>
            <c:spPr>
              <a:solidFill>
                <a:schemeClr val="accent2"/>
              </a:solidFill>
              <a:ln>
                <a:noFill/>
              </a:ln>
            </c:spPr>
            <c:extLst>
              <c:ext xmlns:c16="http://schemas.microsoft.com/office/drawing/2014/chart" uri="{C3380CC4-5D6E-409C-BE32-E72D297353CC}">
                <c16:uniqueId val="{00000001-73B4-4AAC-8EA5-91EA7A6FEC58}"/>
              </c:ext>
            </c:extLst>
          </c:dPt>
          <c:dPt>
            <c:idx val="2"/>
            <c:bubble3D val="0"/>
            <c:spPr>
              <a:solidFill>
                <a:srgbClr val="C8C8C8"/>
              </a:solidFill>
              <a:ln>
                <a:noFill/>
              </a:ln>
            </c:spPr>
            <c:extLst>
              <c:ext xmlns:c16="http://schemas.microsoft.com/office/drawing/2014/chart" uri="{C3380CC4-5D6E-409C-BE32-E72D297353CC}">
                <c16:uniqueId val="{00000002-73B4-4AAC-8EA5-91EA7A6FEC58}"/>
              </c:ext>
            </c:extLst>
          </c:dPt>
          <c:dPt>
            <c:idx val="3"/>
            <c:bubble3D val="0"/>
            <c:spPr>
              <a:solidFill>
                <a:srgbClr val="ABA8B3"/>
              </a:solidFill>
              <a:ln>
                <a:noFill/>
              </a:ln>
            </c:spPr>
            <c:extLst>
              <c:ext xmlns:c16="http://schemas.microsoft.com/office/drawing/2014/chart" uri="{C3380CC4-5D6E-409C-BE32-E72D297353CC}">
                <c16:uniqueId val="{00000003-73B4-4AAC-8EA5-91EA7A6FEC58}"/>
              </c:ext>
            </c:extLst>
          </c:dPt>
          <c:dPt>
            <c:idx val="4"/>
            <c:bubble3D val="0"/>
            <c:spPr>
              <a:solidFill>
                <a:srgbClr val="837F7F"/>
              </a:solidFill>
              <a:ln>
                <a:noFill/>
              </a:ln>
            </c:spPr>
            <c:extLst>
              <c:ext xmlns:c16="http://schemas.microsoft.com/office/drawing/2014/chart" uri="{C3380CC4-5D6E-409C-BE32-E72D297353CC}">
                <c16:uniqueId val="{00000004-73B4-4AAC-8EA5-91EA7A6FEC58}"/>
              </c:ext>
            </c:extLst>
          </c:dPt>
          <c:val>
            <c:numRef>
              <c:f>Sheet1!$A$1:$A$5</c:f>
              <c:numCache>
                <c:formatCode>General</c:formatCode>
                <c:ptCount val="5"/>
                <c:pt idx="0">
                  <c:v>31.840000000000003</c:v>
                </c:pt>
                <c:pt idx="1">
                  <c:v>52.070000000000007</c:v>
                </c:pt>
                <c:pt idx="2">
                  <c:v>14.93</c:v>
                </c:pt>
                <c:pt idx="3">
                  <c:v>0.5</c:v>
                </c:pt>
                <c:pt idx="4">
                  <c:v>0.66</c:v>
                </c:pt>
              </c:numCache>
            </c:numRef>
          </c:val>
          <c:extLst>
            <c:ext xmlns:c16="http://schemas.microsoft.com/office/drawing/2014/chart" uri="{C3380CC4-5D6E-409C-BE32-E72D297353CC}">
              <c16:uniqueId val="{00000005-73B4-4AAC-8EA5-91EA7A6FEC5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0079155672823E-2"/>
          <c:y val="0.19047619047619047"/>
          <c:w val="0.93139841688654357"/>
          <c:h val="0.61904761904761907"/>
        </c:manualLayout>
      </c:layout>
      <c:barChart>
        <c:barDir val="bar"/>
        <c:grouping val="stacked"/>
        <c:varyColors val="0"/>
        <c:ser>
          <c:idx val="0"/>
          <c:order val="0"/>
          <c:spPr>
            <a:solidFill>
              <a:srgbClr val="295E7E"/>
            </a:solidFill>
            <a:ln>
              <a:noFill/>
            </a:ln>
          </c:spPr>
          <c:invertIfNegative val="0"/>
          <c:val>
            <c:numRef>
              <c:f>Sheet1!$A$1</c:f>
              <c:numCache>
                <c:formatCode>General</c:formatCode>
                <c:ptCount val="1"/>
                <c:pt idx="0">
                  <c:v>47.99</c:v>
                </c:pt>
              </c:numCache>
            </c:numRef>
          </c:val>
          <c:extLst>
            <c:ext xmlns:c16="http://schemas.microsoft.com/office/drawing/2014/chart" uri="{C3380CC4-5D6E-409C-BE32-E72D297353CC}">
              <c16:uniqueId val="{00000000-8E12-4A48-8496-86B8E039449F}"/>
            </c:ext>
          </c:extLst>
        </c:ser>
        <c:ser>
          <c:idx val="1"/>
          <c:order val="1"/>
          <c:spPr>
            <a:solidFill>
              <a:srgbClr val="C8C8C8"/>
            </a:solidFill>
            <a:ln>
              <a:noFill/>
            </a:ln>
          </c:spPr>
          <c:invertIfNegative val="0"/>
          <c:val>
            <c:numRef>
              <c:f>Sheet1!$A$2</c:f>
              <c:numCache>
                <c:formatCode>General</c:formatCode>
                <c:ptCount val="1"/>
                <c:pt idx="0">
                  <c:v>52.01</c:v>
                </c:pt>
              </c:numCache>
            </c:numRef>
          </c:val>
          <c:extLst>
            <c:ext xmlns:c16="http://schemas.microsoft.com/office/drawing/2014/chart" uri="{C3380CC4-5D6E-409C-BE32-E72D297353CC}">
              <c16:uniqueId val="{00000001-8E12-4A48-8496-86B8E039449F}"/>
            </c:ext>
          </c:extLst>
        </c:ser>
        <c:dLbls>
          <c:showLegendKey val="0"/>
          <c:showVal val="0"/>
          <c:showCatName val="0"/>
          <c:showSerName val="0"/>
          <c:showPercent val="0"/>
          <c:showBubbleSize val="0"/>
        </c:dLbls>
        <c:gapWidth val="60"/>
        <c:overlap val="100"/>
        <c:axId val="14339415"/>
        <c:axId val="1"/>
      </c:barChart>
      <c:catAx>
        <c:axId val="14339415"/>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4339415"/>
        <c:crosses val="max"/>
        <c:crossBetween val="between"/>
      </c:valAx>
    </c:plotArea>
    <c:plotVisOnly val="0"/>
    <c:dispBlanksAs val="gap"/>
    <c:showDLblsOverMax val="1"/>
  </c:chart>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5B44-4F64-8CCB-D4ABFAE46811}"/>
              </c:ext>
            </c:extLst>
          </c:dPt>
          <c:dPt>
            <c:idx val="1"/>
            <c:bubble3D val="0"/>
            <c:spPr>
              <a:solidFill>
                <a:schemeClr val="accent2"/>
              </a:solidFill>
              <a:ln>
                <a:noFill/>
              </a:ln>
            </c:spPr>
            <c:extLst>
              <c:ext xmlns:c16="http://schemas.microsoft.com/office/drawing/2014/chart" uri="{C3380CC4-5D6E-409C-BE32-E72D297353CC}">
                <c16:uniqueId val="{00000001-5B44-4F64-8CCB-D4ABFAE46811}"/>
              </c:ext>
            </c:extLst>
          </c:dPt>
          <c:dPt>
            <c:idx val="2"/>
            <c:bubble3D val="0"/>
            <c:spPr>
              <a:solidFill>
                <a:srgbClr val="C8C8C8"/>
              </a:solidFill>
              <a:ln>
                <a:noFill/>
              </a:ln>
            </c:spPr>
            <c:extLst>
              <c:ext xmlns:c16="http://schemas.microsoft.com/office/drawing/2014/chart" uri="{C3380CC4-5D6E-409C-BE32-E72D297353CC}">
                <c16:uniqueId val="{00000002-5B44-4F64-8CCB-D4ABFAE46811}"/>
              </c:ext>
            </c:extLst>
          </c:dPt>
          <c:dPt>
            <c:idx val="3"/>
            <c:bubble3D val="0"/>
            <c:spPr>
              <a:solidFill>
                <a:srgbClr val="ABA8B3"/>
              </a:solidFill>
              <a:ln>
                <a:noFill/>
              </a:ln>
            </c:spPr>
            <c:extLst>
              <c:ext xmlns:c16="http://schemas.microsoft.com/office/drawing/2014/chart" uri="{C3380CC4-5D6E-409C-BE32-E72D297353CC}">
                <c16:uniqueId val="{00000003-5B44-4F64-8CCB-D4ABFAE46811}"/>
              </c:ext>
            </c:extLst>
          </c:dPt>
          <c:dPt>
            <c:idx val="4"/>
            <c:bubble3D val="0"/>
            <c:spPr>
              <a:solidFill>
                <a:srgbClr val="837F7F"/>
              </a:solidFill>
              <a:ln>
                <a:noFill/>
              </a:ln>
            </c:spPr>
            <c:extLst>
              <c:ext xmlns:c16="http://schemas.microsoft.com/office/drawing/2014/chart" uri="{C3380CC4-5D6E-409C-BE32-E72D297353CC}">
                <c16:uniqueId val="{00000004-5B44-4F64-8CCB-D4ABFAE46811}"/>
              </c:ext>
            </c:extLst>
          </c:dPt>
          <c:val>
            <c:numRef>
              <c:f>Sheet1!$A$1:$A$5</c:f>
              <c:numCache>
                <c:formatCode>General</c:formatCode>
                <c:ptCount val="5"/>
                <c:pt idx="0">
                  <c:v>28.96</c:v>
                </c:pt>
                <c:pt idx="1">
                  <c:v>43.84</c:v>
                </c:pt>
                <c:pt idx="2">
                  <c:v>24.66</c:v>
                </c:pt>
                <c:pt idx="3">
                  <c:v>1.76</c:v>
                </c:pt>
                <c:pt idx="4">
                  <c:v>0.77999999999999992</c:v>
                </c:pt>
              </c:numCache>
            </c:numRef>
          </c:val>
          <c:extLst>
            <c:ext xmlns:c16="http://schemas.microsoft.com/office/drawing/2014/chart" uri="{C3380CC4-5D6E-409C-BE32-E72D297353CC}">
              <c16:uniqueId val="{00000005-5B44-4F64-8CCB-D4ABFAE46811}"/>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5AFC-4CE5-81F2-B4C43FFC7DC7}"/>
              </c:ext>
            </c:extLst>
          </c:dPt>
          <c:dPt>
            <c:idx val="1"/>
            <c:bubble3D val="0"/>
            <c:spPr>
              <a:solidFill>
                <a:schemeClr val="accent2"/>
              </a:solidFill>
              <a:ln>
                <a:noFill/>
              </a:ln>
            </c:spPr>
            <c:extLst>
              <c:ext xmlns:c16="http://schemas.microsoft.com/office/drawing/2014/chart" uri="{C3380CC4-5D6E-409C-BE32-E72D297353CC}">
                <c16:uniqueId val="{00000001-5AFC-4CE5-81F2-B4C43FFC7DC7}"/>
              </c:ext>
            </c:extLst>
          </c:dPt>
          <c:dPt>
            <c:idx val="2"/>
            <c:bubble3D val="0"/>
            <c:spPr>
              <a:solidFill>
                <a:srgbClr val="C8C8C8"/>
              </a:solidFill>
              <a:ln>
                <a:noFill/>
              </a:ln>
            </c:spPr>
            <c:extLst>
              <c:ext xmlns:c16="http://schemas.microsoft.com/office/drawing/2014/chart" uri="{C3380CC4-5D6E-409C-BE32-E72D297353CC}">
                <c16:uniqueId val="{00000002-5AFC-4CE5-81F2-B4C43FFC7DC7}"/>
              </c:ext>
            </c:extLst>
          </c:dPt>
          <c:dPt>
            <c:idx val="3"/>
            <c:bubble3D val="0"/>
            <c:spPr>
              <a:solidFill>
                <a:srgbClr val="ABA8B3"/>
              </a:solidFill>
              <a:ln>
                <a:noFill/>
              </a:ln>
            </c:spPr>
            <c:extLst>
              <c:ext xmlns:c16="http://schemas.microsoft.com/office/drawing/2014/chart" uri="{C3380CC4-5D6E-409C-BE32-E72D297353CC}">
                <c16:uniqueId val="{00000003-5AFC-4CE5-81F2-B4C43FFC7DC7}"/>
              </c:ext>
            </c:extLst>
          </c:dPt>
          <c:dPt>
            <c:idx val="4"/>
            <c:bubble3D val="0"/>
            <c:spPr>
              <a:solidFill>
                <a:srgbClr val="837F7F"/>
              </a:solidFill>
              <a:ln>
                <a:noFill/>
              </a:ln>
            </c:spPr>
            <c:extLst>
              <c:ext xmlns:c16="http://schemas.microsoft.com/office/drawing/2014/chart" uri="{C3380CC4-5D6E-409C-BE32-E72D297353CC}">
                <c16:uniqueId val="{00000004-5AFC-4CE5-81F2-B4C43FFC7DC7}"/>
              </c:ext>
            </c:extLst>
          </c:dPt>
          <c:val>
            <c:numRef>
              <c:f>Sheet1!$A$1:$A$5</c:f>
              <c:numCache>
                <c:formatCode>General</c:formatCode>
                <c:ptCount val="5"/>
                <c:pt idx="0">
                  <c:v>29.13</c:v>
                </c:pt>
                <c:pt idx="1">
                  <c:v>44.32</c:v>
                </c:pt>
                <c:pt idx="2">
                  <c:v>23.849999999999998</c:v>
                </c:pt>
                <c:pt idx="3">
                  <c:v>2.4699999999999998</c:v>
                </c:pt>
                <c:pt idx="4">
                  <c:v>0.22</c:v>
                </c:pt>
              </c:numCache>
            </c:numRef>
          </c:val>
          <c:extLst>
            <c:ext xmlns:c16="http://schemas.microsoft.com/office/drawing/2014/chart" uri="{C3380CC4-5D6E-409C-BE32-E72D297353CC}">
              <c16:uniqueId val="{00000005-5AFC-4CE5-81F2-B4C43FFC7DC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AB45-4480-869A-EFA290903DE5}"/>
              </c:ext>
            </c:extLst>
          </c:dPt>
          <c:dPt>
            <c:idx val="1"/>
            <c:bubble3D val="0"/>
            <c:spPr>
              <a:solidFill>
                <a:schemeClr val="accent2"/>
              </a:solidFill>
              <a:ln>
                <a:noFill/>
              </a:ln>
            </c:spPr>
            <c:extLst>
              <c:ext xmlns:c16="http://schemas.microsoft.com/office/drawing/2014/chart" uri="{C3380CC4-5D6E-409C-BE32-E72D297353CC}">
                <c16:uniqueId val="{00000001-AB45-4480-869A-EFA290903DE5}"/>
              </c:ext>
            </c:extLst>
          </c:dPt>
          <c:dPt>
            <c:idx val="2"/>
            <c:bubble3D val="0"/>
            <c:spPr>
              <a:solidFill>
                <a:srgbClr val="C8C8C8"/>
              </a:solidFill>
              <a:ln>
                <a:noFill/>
              </a:ln>
            </c:spPr>
            <c:extLst>
              <c:ext xmlns:c16="http://schemas.microsoft.com/office/drawing/2014/chart" uri="{C3380CC4-5D6E-409C-BE32-E72D297353CC}">
                <c16:uniqueId val="{00000002-AB45-4480-869A-EFA290903DE5}"/>
              </c:ext>
            </c:extLst>
          </c:dPt>
          <c:dPt>
            <c:idx val="3"/>
            <c:bubble3D val="0"/>
            <c:spPr>
              <a:solidFill>
                <a:srgbClr val="ABA8B3"/>
              </a:solidFill>
              <a:ln>
                <a:noFill/>
              </a:ln>
            </c:spPr>
            <c:extLst>
              <c:ext xmlns:c16="http://schemas.microsoft.com/office/drawing/2014/chart" uri="{C3380CC4-5D6E-409C-BE32-E72D297353CC}">
                <c16:uniqueId val="{00000003-AB45-4480-869A-EFA290903DE5}"/>
              </c:ext>
            </c:extLst>
          </c:dPt>
          <c:dPt>
            <c:idx val="4"/>
            <c:bubble3D val="0"/>
            <c:spPr>
              <a:solidFill>
                <a:srgbClr val="837F7F"/>
              </a:solidFill>
              <a:ln>
                <a:noFill/>
              </a:ln>
            </c:spPr>
            <c:extLst>
              <c:ext xmlns:c16="http://schemas.microsoft.com/office/drawing/2014/chart" uri="{C3380CC4-5D6E-409C-BE32-E72D297353CC}">
                <c16:uniqueId val="{00000004-AB45-4480-869A-EFA290903DE5}"/>
              </c:ext>
            </c:extLst>
          </c:dPt>
          <c:val>
            <c:numRef>
              <c:f>Sheet1!$A$1:$A$5</c:f>
              <c:numCache>
                <c:formatCode>General</c:formatCode>
                <c:ptCount val="5"/>
                <c:pt idx="0">
                  <c:v>31.929999999999996</c:v>
                </c:pt>
                <c:pt idx="1">
                  <c:v>43.78</c:v>
                </c:pt>
                <c:pt idx="2">
                  <c:v>21.29</c:v>
                </c:pt>
                <c:pt idx="3">
                  <c:v>2.81</c:v>
                </c:pt>
                <c:pt idx="4">
                  <c:v>0.2</c:v>
                </c:pt>
              </c:numCache>
            </c:numRef>
          </c:val>
          <c:extLst>
            <c:ext xmlns:c16="http://schemas.microsoft.com/office/drawing/2014/chart" uri="{C3380CC4-5D6E-409C-BE32-E72D297353CC}">
              <c16:uniqueId val="{00000005-AB45-4480-869A-EFA290903DE5}"/>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E5B7-4173-9B66-B369CDE59DC7}"/>
              </c:ext>
            </c:extLst>
          </c:dPt>
          <c:dPt>
            <c:idx val="1"/>
            <c:bubble3D val="0"/>
            <c:spPr>
              <a:solidFill>
                <a:schemeClr val="accent2"/>
              </a:solidFill>
              <a:ln>
                <a:noFill/>
              </a:ln>
            </c:spPr>
            <c:extLst>
              <c:ext xmlns:c16="http://schemas.microsoft.com/office/drawing/2014/chart" uri="{C3380CC4-5D6E-409C-BE32-E72D297353CC}">
                <c16:uniqueId val="{00000001-E5B7-4173-9B66-B369CDE59DC7}"/>
              </c:ext>
            </c:extLst>
          </c:dPt>
          <c:dPt>
            <c:idx val="2"/>
            <c:bubble3D val="0"/>
            <c:spPr>
              <a:solidFill>
                <a:srgbClr val="C8C8C8"/>
              </a:solidFill>
              <a:ln>
                <a:noFill/>
              </a:ln>
            </c:spPr>
            <c:extLst>
              <c:ext xmlns:c16="http://schemas.microsoft.com/office/drawing/2014/chart" uri="{C3380CC4-5D6E-409C-BE32-E72D297353CC}">
                <c16:uniqueId val="{00000002-E5B7-4173-9B66-B369CDE59DC7}"/>
              </c:ext>
            </c:extLst>
          </c:dPt>
          <c:dPt>
            <c:idx val="3"/>
            <c:bubble3D val="0"/>
            <c:spPr>
              <a:solidFill>
                <a:srgbClr val="ABA8B3"/>
              </a:solidFill>
              <a:ln>
                <a:noFill/>
              </a:ln>
            </c:spPr>
            <c:extLst>
              <c:ext xmlns:c16="http://schemas.microsoft.com/office/drawing/2014/chart" uri="{C3380CC4-5D6E-409C-BE32-E72D297353CC}">
                <c16:uniqueId val="{00000003-E5B7-4173-9B66-B369CDE59DC7}"/>
              </c:ext>
            </c:extLst>
          </c:dPt>
          <c:dPt>
            <c:idx val="4"/>
            <c:bubble3D val="0"/>
            <c:spPr>
              <a:solidFill>
                <a:srgbClr val="837F7F"/>
              </a:solidFill>
              <a:ln>
                <a:noFill/>
              </a:ln>
            </c:spPr>
            <c:extLst>
              <c:ext xmlns:c16="http://schemas.microsoft.com/office/drawing/2014/chart" uri="{C3380CC4-5D6E-409C-BE32-E72D297353CC}">
                <c16:uniqueId val="{00000004-E5B7-4173-9B66-B369CDE59DC7}"/>
              </c:ext>
            </c:extLst>
          </c:dPt>
          <c:val>
            <c:numRef>
              <c:f>Sheet1!$A$1:$A$5</c:f>
              <c:numCache>
                <c:formatCode>General</c:formatCode>
                <c:ptCount val="5"/>
                <c:pt idx="0">
                  <c:v>25.580000000000002</c:v>
                </c:pt>
                <c:pt idx="1">
                  <c:v>45.01</c:v>
                </c:pt>
                <c:pt idx="2">
                  <c:v>27.11</c:v>
                </c:pt>
                <c:pt idx="3">
                  <c:v>2.0500000000000003</c:v>
                </c:pt>
                <c:pt idx="4">
                  <c:v>0.26</c:v>
                </c:pt>
              </c:numCache>
            </c:numRef>
          </c:val>
          <c:extLst>
            <c:ext xmlns:c16="http://schemas.microsoft.com/office/drawing/2014/chart" uri="{C3380CC4-5D6E-409C-BE32-E72D297353CC}">
              <c16:uniqueId val="{00000005-E5B7-4173-9B66-B369CDE59DC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68610113290964E-2"/>
          <c:y val="6.4516129032258063E-2"/>
          <c:w val="0.97126277977341802"/>
          <c:h val="0.87096774193548387"/>
        </c:manualLayout>
      </c:layout>
      <c:barChart>
        <c:barDir val="bar"/>
        <c:grouping val="stacked"/>
        <c:varyColors val="0"/>
        <c:ser>
          <c:idx val="0"/>
          <c:order val="0"/>
          <c:spPr>
            <a:solidFill>
              <a:srgbClr val="A1E26F"/>
            </a:solidFill>
            <a:ln>
              <a:noFill/>
            </a:ln>
          </c:spPr>
          <c:invertIfNegative val="0"/>
          <c:dLbls>
            <c:dLbl>
              <c:idx val="0"/>
              <c:layout>
                <c:manualLayout>
                  <c:x val="0"/>
                  <c:y val="-3.722084367245657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1F1-4AD5-A5A1-CC845C1638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666666666666664</c:v>
                </c:pt>
                <c:pt idx="1">
                  <c:v>0</c:v>
                </c:pt>
              </c:numCache>
            </c:numRef>
          </c:val>
          <c:extLst>
            <c:ext xmlns:c16="http://schemas.microsoft.com/office/drawing/2014/chart" uri="{C3380CC4-5D6E-409C-BE32-E72D297353CC}">
              <c16:uniqueId val="{00000001-E1F1-4AD5-A5A1-CC845C163878}"/>
            </c:ext>
          </c:extLst>
        </c:ser>
        <c:ser>
          <c:idx val="1"/>
          <c:order val="1"/>
          <c:spPr>
            <a:solidFill>
              <a:srgbClr val="C8C8C8"/>
            </a:solidFill>
            <a:ln>
              <a:noFill/>
            </a:ln>
          </c:spPr>
          <c:invertIfNegative val="0"/>
          <c:dLbls>
            <c:dLbl>
              <c:idx val="0"/>
              <c:layout>
                <c:manualLayout>
                  <c:x val="0"/>
                  <c:y val="-3.722084367245657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1F1-4AD5-A5A1-CC845C163878}"/>
                </c:ext>
              </c:extLst>
            </c:dLbl>
            <c:dLbl>
              <c:idx val="1"/>
              <c:layout>
                <c:manualLayout>
                  <c:x val="0"/>
                  <c:y val="-3.722084367245657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1F1-4AD5-A5A1-CC845C1638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6.666666666666664</c:v>
                </c:pt>
                <c:pt idx="1">
                  <c:v>80</c:v>
                </c:pt>
              </c:numCache>
            </c:numRef>
          </c:val>
          <c:extLst>
            <c:ext xmlns:c16="http://schemas.microsoft.com/office/drawing/2014/chart" uri="{C3380CC4-5D6E-409C-BE32-E72D297353CC}">
              <c16:uniqueId val="{00000004-E1F1-4AD5-A5A1-CC845C163878}"/>
            </c:ext>
          </c:extLst>
        </c:ser>
        <c:ser>
          <c:idx val="2"/>
          <c:order val="2"/>
          <c:spPr>
            <a:solidFill>
              <a:srgbClr val="837F7F"/>
            </a:solidFill>
            <a:ln>
              <a:noFill/>
            </a:ln>
          </c:spPr>
          <c:invertIfNegative val="0"/>
          <c:dLbls>
            <c:dLbl>
              <c:idx val="0"/>
              <c:layout>
                <c:manualLayout>
                  <c:x val="0"/>
                  <c:y val="-3.722084367245657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1F1-4AD5-A5A1-CC845C163878}"/>
                </c:ext>
              </c:extLst>
            </c:dLbl>
            <c:dLbl>
              <c:idx val="1"/>
              <c:layout>
                <c:manualLayout>
                  <c:x val="-2.7631942525559546E-4"/>
                  <c:y val="-3.722084367245657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1F1-4AD5-A5A1-CC845C1638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66.666666666666671</c:v>
                </c:pt>
                <c:pt idx="1">
                  <c:v>19.999999999999996</c:v>
                </c:pt>
              </c:numCache>
            </c:numRef>
          </c:val>
          <c:extLst>
            <c:ext xmlns:c16="http://schemas.microsoft.com/office/drawing/2014/chart" uri="{C3380CC4-5D6E-409C-BE32-E72D297353CC}">
              <c16:uniqueId val="{00000007-E1F1-4AD5-A5A1-CC845C163878}"/>
            </c:ext>
          </c:extLst>
        </c:ser>
        <c:dLbls>
          <c:showLegendKey val="0"/>
          <c:showVal val="0"/>
          <c:showCatName val="0"/>
          <c:showSerName val="0"/>
          <c:showPercent val="0"/>
          <c:showBubbleSize val="0"/>
        </c:dLbls>
        <c:gapWidth val="60"/>
        <c:overlap val="100"/>
        <c:axId val="845241008"/>
        <c:axId val="1"/>
      </c:barChart>
      <c:catAx>
        <c:axId val="845241008"/>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845241008"/>
        <c:crosses val="max"/>
        <c:crossBetween val="between"/>
      </c:valAx>
    </c:plotArea>
    <c:plotVisOnly val="0"/>
    <c:dispBlanksAs val="gap"/>
    <c:showDLblsOverMax val="1"/>
  </c:chart>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76377217553689E-2"/>
          <c:y val="2.4276377217553689E-2"/>
          <c:w val="0.95144724556489257"/>
          <c:h val="0.95144724556489257"/>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168C-4DA3-BB70-7AF15298E78E}"/>
              </c:ext>
            </c:extLst>
          </c:dPt>
          <c:dPt>
            <c:idx val="1"/>
            <c:bubble3D val="0"/>
            <c:spPr>
              <a:solidFill>
                <a:schemeClr val="accent2"/>
              </a:solidFill>
              <a:ln>
                <a:noFill/>
              </a:ln>
            </c:spPr>
            <c:extLst>
              <c:ext xmlns:c16="http://schemas.microsoft.com/office/drawing/2014/chart" uri="{C3380CC4-5D6E-409C-BE32-E72D297353CC}">
                <c16:uniqueId val="{00000001-168C-4DA3-BB70-7AF15298E78E}"/>
              </c:ext>
            </c:extLst>
          </c:dPt>
          <c:dPt>
            <c:idx val="2"/>
            <c:bubble3D val="0"/>
            <c:spPr>
              <a:solidFill>
                <a:srgbClr val="C8C8C8"/>
              </a:solidFill>
              <a:ln>
                <a:noFill/>
              </a:ln>
            </c:spPr>
            <c:extLst>
              <c:ext xmlns:c16="http://schemas.microsoft.com/office/drawing/2014/chart" uri="{C3380CC4-5D6E-409C-BE32-E72D297353CC}">
                <c16:uniqueId val="{00000002-168C-4DA3-BB70-7AF15298E78E}"/>
              </c:ext>
            </c:extLst>
          </c:dPt>
          <c:dPt>
            <c:idx val="3"/>
            <c:bubble3D val="0"/>
            <c:spPr>
              <a:solidFill>
                <a:srgbClr val="ABA8B3"/>
              </a:solidFill>
              <a:ln>
                <a:noFill/>
              </a:ln>
            </c:spPr>
            <c:extLst>
              <c:ext xmlns:c16="http://schemas.microsoft.com/office/drawing/2014/chart" uri="{C3380CC4-5D6E-409C-BE32-E72D297353CC}">
                <c16:uniqueId val="{00000003-168C-4DA3-BB70-7AF15298E78E}"/>
              </c:ext>
            </c:extLst>
          </c:dPt>
          <c:dPt>
            <c:idx val="4"/>
            <c:bubble3D val="0"/>
            <c:spPr>
              <a:solidFill>
                <a:srgbClr val="837F7F"/>
              </a:solidFill>
              <a:ln>
                <a:noFill/>
              </a:ln>
            </c:spPr>
            <c:extLst>
              <c:ext xmlns:c16="http://schemas.microsoft.com/office/drawing/2014/chart" uri="{C3380CC4-5D6E-409C-BE32-E72D297353CC}">
                <c16:uniqueId val="{00000004-168C-4DA3-BB70-7AF15298E78E}"/>
              </c:ext>
            </c:extLst>
          </c:dPt>
          <c:val>
            <c:numRef>
              <c:f>Sheet1!$A$1:$A$5</c:f>
              <c:numCache>
                <c:formatCode>General</c:formatCode>
                <c:ptCount val="5"/>
                <c:pt idx="0">
                  <c:v>15.27</c:v>
                </c:pt>
                <c:pt idx="1">
                  <c:v>49.79</c:v>
                </c:pt>
                <c:pt idx="2">
                  <c:v>31.04</c:v>
                </c:pt>
                <c:pt idx="3">
                  <c:v>3.39</c:v>
                </c:pt>
                <c:pt idx="4">
                  <c:v>0.51</c:v>
                </c:pt>
              </c:numCache>
            </c:numRef>
          </c:val>
          <c:extLst>
            <c:ext xmlns:c16="http://schemas.microsoft.com/office/drawing/2014/chart" uri="{C3380CC4-5D6E-409C-BE32-E72D297353CC}">
              <c16:uniqueId val="{00000005-168C-4DA3-BB70-7AF15298E78E}"/>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9209-4934-ADB1-613859007562}"/>
              </c:ext>
            </c:extLst>
          </c:dPt>
          <c:dPt>
            <c:idx val="1"/>
            <c:bubble3D val="0"/>
            <c:spPr>
              <a:solidFill>
                <a:schemeClr val="accent2"/>
              </a:solidFill>
              <a:ln>
                <a:noFill/>
              </a:ln>
            </c:spPr>
            <c:extLst>
              <c:ext xmlns:c16="http://schemas.microsoft.com/office/drawing/2014/chart" uri="{C3380CC4-5D6E-409C-BE32-E72D297353CC}">
                <c16:uniqueId val="{00000001-9209-4934-ADB1-613859007562}"/>
              </c:ext>
            </c:extLst>
          </c:dPt>
          <c:dPt>
            <c:idx val="2"/>
            <c:bubble3D val="0"/>
            <c:spPr>
              <a:solidFill>
                <a:srgbClr val="C8C8C8"/>
              </a:solidFill>
              <a:ln>
                <a:noFill/>
              </a:ln>
            </c:spPr>
            <c:extLst>
              <c:ext xmlns:c16="http://schemas.microsoft.com/office/drawing/2014/chart" uri="{C3380CC4-5D6E-409C-BE32-E72D297353CC}">
                <c16:uniqueId val="{00000002-9209-4934-ADB1-613859007562}"/>
              </c:ext>
            </c:extLst>
          </c:dPt>
          <c:dPt>
            <c:idx val="3"/>
            <c:bubble3D val="0"/>
            <c:spPr>
              <a:solidFill>
                <a:srgbClr val="ABA8B3"/>
              </a:solidFill>
              <a:ln>
                <a:noFill/>
              </a:ln>
            </c:spPr>
            <c:extLst>
              <c:ext xmlns:c16="http://schemas.microsoft.com/office/drawing/2014/chart" uri="{C3380CC4-5D6E-409C-BE32-E72D297353CC}">
                <c16:uniqueId val="{00000003-9209-4934-ADB1-613859007562}"/>
              </c:ext>
            </c:extLst>
          </c:dPt>
          <c:dPt>
            <c:idx val="4"/>
            <c:bubble3D val="0"/>
            <c:spPr>
              <a:solidFill>
                <a:srgbClr val="837F7F"/>
              </a:solidFill>
              <a:ln>
                <a:noFill/>
              </a:ln>
            </c:spPr>
            <c:extLst>
              <c:ext xmlns:c16="http://schemas.microsoft.com/office/drawing/2014/chart" uri="{C3380CC4-5D6E-409C-BE32-E72D297353CC}">
                <c16:uniqueId val="{00000004-9209-4934-ADB1-613859007562}"/>
              </c:ext>
            </c:extLst>
          </c:dPt>
          <c:val>
            <c:numRef>
              <c:f>Sheet1!$A$1:$A$5</c:f>
              <c:numCache>
                <c:formatCode>General</c:formatCode>
                <c:ptCount val="5"/>
                <c:pt idx="0">
                  <c:v>16.28</c:v>
                </c:pt>
                <c:pt idx="1">
                  <c:v>55.089999999999996</c:v>
                </c:pt>
                <c:pt idx="2">
                  <c:v>26.13</c:v>
                </c:pt>
                <c:pt idx="3">
                  <c:v>2.0299999999999998</c:v>
                </c:pt>
                <c:pt idx="4">
                  <c:v>0.47000000000000003</c:v>
                </c:pt>
              </c:numCache>
            </c:numRef>
          </c:val>
          <c:extLst>
            <c:ext xmlns:c16="http://schemas.microsoft.com/office/drawing/2014/chart" uri="{C3380CC4-5D6E-409C-BE32-E72D297353CC}">
              <c16:uniqueId val="{00000005-9209-4934-ADB1-613859007562}"/>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18091697645598E-2"/>
          <c:y val="3.2218091697645598E-2"/>
          <c:w val="0.93556381660470878"/>
          <c:h val="0.93556381660470878"/>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36A-4679-B70F-537DC1D4248B}"/>
              </c:ext>
            </c:extLst>
          </c:dPt>
          <c:dPt>
            <c:idx val="1"/>
            <c:bubble3D val="0"/>
            <c:spPr>
              <a:solidFill>
                <a:schemeClr val="accent2"/>
              </a:solidFill>
              <a:ln>
                <a:noFill/>
              </a:ln>
            </c:spPr>
            <c:extLst>
              <c:ext xmlns:c16="http://schemas.microsoft.com/office/drawing/2014/chart" uri="{C3380CC4-5D6E-409C-BE32-E72D297353CC}">
                <c16:uniqueId val="{00000001-D36A-4679-B70F-537DC1D4248B}"/>
              </c:ext>
            </c:extLst>
          </c:dPt>
          <c:dPt>
            <c:idx val="2"/>
            <c:bubble3D val="0"/>
            <c:spPr>
              <a:solidFill>
                <a:srgbClr val="C8C8C8"/>
              </a:solidFill>
              <a:ln>
                <a:noFill/>
              </a:ln>
            </c:spPr>
            <c:extLst>
              <c:ext xmlns:c16="http://schemas.microsoft.com/office/drawing/2014/chart" uri="{C3380CC4-5D6E-409C-BE32-E72D297353CC}">
                <c16:uniqueId val="{00000002-D36A-4679-B70F-537DC1D4248B}"/>
              </c:ext>
            </c:extLst>
          </c:dPt>
          <c:dPt>
            <c:idx val="3"/>
            <c:bubble3D val="0"/>
            <c:spPr>
              <a:solidFill>
                <a:srgbClr val="ABA8B3"/>
              </a:solidFill>
              <a:ln>
                <a:noFill/>
              </a:ln>
            </c:spPr>
            <c:extLst>
              <c:ext xmlns:c16="http://schemas.microsoft.com/office/drawing/2014/chart" uri="{C3380CC4-5D6E-409C-BE32-E72D297353CC}">
                <c16:uniqueId val="{00000003-D36A-4679-B70F-537DC1D4248B}"/>
              </c:ext>
            </c:extLst>
          </c:dPt>
          <c:dPt>
            <c:idx val="4"/>
            <c:bubble3D val="0"/>
            <c:spPr>
              <a:solidFill>
                <a:srgbClr val="837F7F"/>
              </a:solidFill>
              <a:ln>
                <a:noFill/>
              </a:ln>
            </c:spPr>
            <c:extLst>
              <c:ext xmlns:c16="http://schemas.microsoft.com/office/drawing/2014/chart" uri="{C3380CC4-5D6E-409C-BE32-E72D297353CC}">
                <c16:uniqueId val="{00000004-D36A-4679-B70F-537DC1D4248B}"/>
              </c:ext>
            </c:extLst>
          </c:dPt>
          <c:val>
            <c:numRef>
              <c:f>Sheet1!$A$1:$A$5</c:f>
              <c:numCache>
                <c:formatCode>General</c:formatCode>
                <c:ptCount val="5"/>
                <c:pt idx="0">
                  <c:v>14.069999999999999</c:v>
                </c:pt>
                <c:pt idx="1">
                  <c:v>43.519999999999996</c:v>
                </c:pt>
                <c:pt idx="2">
                  <c:v>36.85</c:v>
                </c:pt>
                <c:pt idx="3">
                  <c:v>5</c:v>
                </c:pt>
                <c:pt idx="4">
                  <c:v>0.55999999999999994</c:v>
                </c:pt>
              </c:numCache>
            </c:numRef>
          </c:val>
          <c:extLst>
            <c:ext xmlns:c16="http://schemas.microsoft.com/office/drawing/2014/chart" uri="{C3380CC4-5D6E-409C-BE32-E72D297353CC}">
              <c16:uniqueId val="{00000005-D36A-4679-B70F-537DC1D4248B}"/>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931993817619787E-2"/>
          <c:y val="2.2618529795563287E-2"/>
          <c:w val="0.89613601236476048"/>
          <c:h val="0.88734232274902136"/>
        </c:manualLayout>
      </c:layout>
      <c:barChart>
        <c:barDir val="bar"/>
        <c:grouping val="stacked"/>
        <c:varyColors val="0"/>
        <c:ser>
          <c:idx val="0"/>
          <c:order val="0"/>
          <c:spPr>
            <a:solidFill>
              <a:schemeClr val="tx2"/>
            </a:solidFill>
            <a:ln>
              <a:noFill/>
            </a:ln>
          </c:spPr>
          <c:invertIfNegative val="0"/>
          <c:dLbls>
            <c:dLbl>
              <c:idx val="0"/>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B7-4076-8295-BB187DD5F80F}"/>
                </c:ext>
              </c:extLst>
            </c:dLbl>
            <c:dLbl>
              <c:idx val="1"/>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B7-4076-8295-BB187DD5F80F}"/>
                </c:ext>
              </c:extLst>
            </c:dLbl>
            <c:dLbl>
              <c:idx val="2"/>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7B7-4076-8295-BB187DD5F80F}"/>
                </c:ext>
              </c:extLst>
            </c:dLbl>
            <c:dLbl>
              <c:idx val="3"/>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B7-4076-8295-BB187DD5F80F}"/>
                </c:ext>
              </c:extLst>
            </c:dLbl>
            <c:dLbl>
              <c:idx val="4"/>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B7-4076-8295-BB187DD5F80F}"/>
                </c:ext>
              </c:extLst>
            </c:dLbl>
            <c:dLbl>
              <c:idx val="5"/>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B7-4076-8295-BB187DD5F80F}"/>
                </c:ext>
              </c:extLst>
            </c:dLbl>
            <c:dLbl>
              <c:idx val="6"/>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7B7-4076-8295-BB187DD5F8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8.66</c:v>
                </c:pt>
                <c:pt idx="1">
                  <c:v>17.560000000000002</c:v>
                </c:pt>
                <c:pt idx="2">
                  <c:v>15.27</c:v>
                </c:pt>
                <c:pt idx="3">
                  <c:v>16.12</c:v>
                </c:pt>
                <c:pt idx="4">
                  <c:v>17.05</c:v>
                </c:pt>
                <c:pt idx="5">
                  <c:v>14.760000000000002</c:v>
                </c:pt>
                <c:pt idx="6">
                  <c:v>13.99</c:v>
                </c:pt>
              </c:numCache>
            </c:numRef>
          </c:val>
          <c:extLst>
            <c:ext xmlns:c16="http://schemas.microsoft.com/office/drawing/2014/chart" uri="{C3380CC4-5D6E-409C-BE32-E72D297353CC}">
              <c16:uniqueId val="{00000007-27B7-4076-8295-BB187DD5F80F}"/>
            </c:ext>
          </c:extLst>
        </c:ser>
        <c:ser>
          <c:idx val="1"/>
          <c:order val="1"/>
          <c:spPr>
            <a:solidFill>
              <a:schemeClr val="accent2"/>
            </a:solidFill>
            <a:ln>
              <a:noFill/>
            </a:ln>
          </c:spPr>
          <c:invertIfNegative val="0"/>
          <c:dLbls>
            <c:dLbl>
              <c:idx val="0"/>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7B7-4076-8295-BB187DD5F80F}"/>
                </c:ext>
              </c:extLst>
            </c:dLbl>
            <c:dLbl>
              <c:idx val="1"/>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7B7-4076-8295-BB187DD5F80F}"/>
                </c:ext>
              </c:extLst>
            </c:dLbl>
            <c:dLbl>
              <c:idx val="2"/>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7B7-4076-8295-BB187DD5F80F}"/>
                </c:ext>
              </c:extLst>
            </c:dLbl>
            <c:dLbl>
              <c:idx val="3"/>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7B7-4076-8295-BB187DD5F80F}"/>
                </c:ext>
              </c:extLst>
            </c:dLbl>
            <c:dLbl>
              <c:idx val="4"/>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7B7-4076-8295-BB187DD5F80F}"/>
                </c:ext>
              </c:extLst>
            </c:dLbl>
            <c:dLbl>
              <c:idx val="5"/>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7B7-4076-8295-BB187DD5F80F}"/>
                </c:ext>
              </c:extLst>
            </c:dLbl>
            <c:dLbl>
              <c:idx val="6"/>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7B7-4076-8295-BB187DD5F8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48.600000000000009</c:v>
                </c:pt>
                <c:pt idx="1">
                  <c:v>48.69</c:v>
                </c:pt>
                <c:pt idx="2">
                  <c:v>49.790000000000006</c:v>
                </c:pt>
                <c:pt idx="3">
                  <c:v>45.459999999999994</c:v>
                </c:pt>
                <c:pt idx="4">
                  <c:v>41.980000000000004</c:v>
                </c:pt>
                <c:pt idx="5">
                  <c:v>42.489999999999995</c:v>
                </c:pt>
                <c:pt idx="6">
                  <c:v>40.46</c:v>
                </c:pt>
              </c:numCache>
            </c:numRef>
          </c:val>
          <c:extLst>
            <c:ext xmlns:c16="http://schemas.microsoft.com/office/drawing/2014/chart" uri="{C3380CC4-5D6E-409C-BE32-E72D297353CC}">
              <c16:uniqueId val="{0000000F-27B7-4076-8295-BB187DD5F80F}"/>
            </c:ext>
          </c:extLst>
        </c:ser>
        <c:ser>
          <c:idx val="2"/>
          <c:order val="2"/>
          <c:spPr>
            <a:solidFill>
              <a:srgbClr val="C8C8C8"/>
            </a:solidFill>
            <a:ln>
              <a:noFill/>
            </a:ln>
          </c:spPr>
          <c:invertIfNegative val="0"/>
          <c:dLbls>
            <c:dLbl>
              <c:idx val="0"/>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7B7-4076-8295-BB187DD5F80F}"/>
                </c:ext>
              </c:extLst>
            </c:dLbl>
            <c:dLbl>
              <c:idx val="1"/>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7B7-4076-8295-BB187DD5F80F}"/>
                </c:ext>
              </c:extLst>
            </c:dLbl>
            <c:dLbl>
              <c:idx val="2"/>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7B7-4076-8295-BB187DD5F80F}"/>
                </c:ext>
              </c:extLst>
            </c:dLbl>
            <c:dLbl>
              <c:idx val="3"/>
              <c:layout>
                <c:manualLayout>
                  <c:x val="-3.0911901081916539E-4"/>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7B7-4076-8295-BB187DD5F80F}"/>
                </c:ext>
              </c:extLst>
            </c:dLbl>
            <c:dLbl>
              <c:idx val="4"/>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7B7-4076-8295-BB187DD5F80F}"/>
                </c:ext>
              </c:extLst>
            </c:dLbl>
            <c:dLbl>
              <c:idx val="5"/>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7B7-4076-8295-BB187DD5F80F}"/>
                </c:ext>
              </c:extLst>
            </c:dLbl>
            <c:dLbl>
              <c:idx val="6"/>
              <c:layout>
                <c:manualLayout>
                  <c:x val="0"/>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7B7-4076-8295-BB187DD5F8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26.64</c:v>
                </c:pt>
                <c:pt idx="1">
                  <c:v>30.620000000000005</c:v>
                </c:pt>
                <c:pt idx="2">
                  <c:v>31.039999999999992</c:v>
                </c:pt>
                <c:pt idx="3">
                  <c:v>33.42</c:v>
                </c:pt>
                <c:pt idx="4">
                  <c:v>37.580000000000013</c:v>
                </c:pt>
                <c:pt idx="5">
                  <c:v>39.19</c:v>
                </c:pt>
                <c:pt idx="6">
                  <c:v>35.459999999999994</c:v>
                </c:pt>
              </c:numCache>
            </c:numRef>
          </c:val>
          <c:extLst>
            <c:ext xmlns:c16="http://schemas.microsoft.com/office/drawing/2014/chart" uri="{C3380CC4-5D6E-409C-BE32-E72D297353CC}">
              <c16:uniqueId val="{00000017-27B7-4076-8295-BB187DD5F80F}"/>
            </c:ext>
          </c:extLst>
        </c:ser>
        <c:ser>
          <c:idx val="3"/>
          <c:order val="3"/>
          <c:spPr>
            <a:solidFill>
              <a:srgbClr val="ABA8B3"/>
            </a:solidFill>
            <a:ln>
              <a:noFill/>
            </a:ln>
          </c:spPr>
          <c:invertIfNegative val="0"/>
          <c:dLbls>
            <c:dLbl>
              <c:idx val="0"/>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7B7-4076-8295-BB187DD5F80F}"/>
                </c:ext>
              </c:extLst>
            </c:dLbl>
            <c:dLbl>
              <c:idx val="1"/>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7B7-4076-8295-BB187DD5F80F}"/>
                </c:ext>
              </c:extLst>
            </c:dLbl>
            <c:dLbl>
              <c:idx val="2"/>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7B7-4076-8295-BB187DD5F80F}"/>
                </c:ext>
              </c:extLst>
            </c:dLbl>
            <c:dLbl>
              <c:idx val="3"/>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7B7-4076-8295-BB187DD5F80F}"/>
                </c:ext>
              </c:extLst>
            </c:dLbl>
            <c:dLbl>
              <c:idx val="4"/>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7B7-4076-8295-BB187DD5F80F}"/>
                </c:ext>
              </c:extLst>
            </c:dLbl>
            <c:dLbl>
              <c:idx val="5"/>
              <c:layout>
                <c:manualLayout>
                  <c:x val="0"/>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7B7-4076-8295-BB187DD5F80F}"/>
                </c:ext>
              </c:extLst>
            </c:dLbl>
            <c:dLbl>
              <c:idx val="6"/>
              <c:layout>
                <c:manualLayout>
                  <c:x val="-3.0911901081916539E-4"/>
                  <c:y val="-1.304915180513266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7B7-4076-8295-BB187DD5F8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G$4</c:f>
              <c:numCache>
                <c:formatCode>General</c:formatCode>
                <c:ptCount val="7"/>
                <c:pt idx="0">
                  <c:v>4.8299999999999983</c:v>
                </c:pt>
                <c:pt idx="1">
                  <c:v>2.8799999999999955</c:v>
                </c:pt>
                <c:pt idx="2">
                  <c:v>3.3900000000000006</c:v>
                </c:pt>
                <c:pt idx="3">
                  <c:v>3.8199999999999932</c:v>
                </c:pt>
                <c:pt idx="4">
                  <c:v>2.2900000000000063</c:v>
                </c:pt>
                <c:pt idx="5">
                  <c:v>2.7099999999999937</c:v>
                </c:pt>
                <c:pt idx="6">
                  <c:v>8.6500000000000057</c:v>
                </c:pt>
              </c:numCache>
            </c:numRef>
          </c:val>
          <c:extLst>
            <c:ext xmlns:c16="http://schemas.microsoft.com/office/drawing/2014/chart" uri="{C3380CC4-5D6E-409C-BE32-E72D297353CC}">
              <c16:uniqueId val="{0000001F-27B7-4076-8295-BB187DD5F80F}"/>
            </c:ext>
          </c:extLst>
        </c:ser>
        <c:ser>
          <c:idx val="4"/>
          <c:order val="4"/>
          <c:spPr>
            <a:solidFill>
              <a:srgbClr val="837F7F"/>
            </a:solidFill>
            <a:ln>
              <a:noFill/>
            </a:ln>
          </c:spPr>
          <c:invertIfNegative val="0"/>
          <c:dLbls>
            <c:dLbl>
              <c:idx val="1"/>
              <c:layout>
                <c:manualLayout>
                  <c:x val="1.7619783616692426E-2"/>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7B7-4076-8295-BB187DD5F80F}"/>
                </c:ext>
              </c:extLst>
            </c:dLbl>
            <c:dLbl>
              <c:idx val="2"/>
              <c:layout>
                <c:manualLayout>
                  <c:x val="1.8547140649149921E-2"/>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7B7-4076-8295-BB187DD5F80F}"/>
                </c:ext>
              </c:extLst>
            </c:dLbl>
            <c:dLbl>
              <c:idx val="4"/>
              <c:layout>
                <c:manualLayout>
                  <c:x val="2.1329211746522411E-2"/>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7B7-4076-8295-BB187DD5F80F}"/>
                </c:ext>
              </c:extLst>
            </c:dLbl>
            <c:dLbl>
              <c:idx val="5"/>
              <c:layout>
                <c:manualLayout>
                  <c:x val="2.009273570324575E-2"/>
                  <c:y val="-1.304915180513266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7B7-4076-8295-BB187DD5F8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1.269999999999996</c:v>
                </c:pt>
                <c:pt idx="1">
                  <c:v>0.25</c:v>
                </c:pt>
                <c:pt idx="2">
                  <c:v>0.51000000000000512</c:v>
                </c:pt>
                <c:pt idx="3">
                  <c:v>1.1800000000000068</c:v>
                </c:pt>
                <c:pt idx="4">
                  <c:v>1.0999999999999943</c:v>
                </c:pt>
                <c:pt idx="5">
                  <c:v>0.84999999999999432</c:v>
                </c:pt>
                <c:pt idx="6">
                  <c:v>1.4399999999999977</c:v>
                </c:pt>
              </c:numCache>
            </c:numRef>
          </c:val>
          <c:extLst>
            <c:ext xmlns:c16="http://schemas.microsoft.com/office/drawing/2014/chart" uri="{C3380CC4-5D6E-409C-BE32-E72D297353CC}">
              <c16:uniqueId val="{00000024-27B7-4076-8295-BB187DD5F80F}"/>
            </c:ext>
          </c:extLst>
        </c:ser>
        <c:dLbls>
          <c:showLegendKey val="0"/>
          <c:showVal val="0"/>
          <c:showCatName val="0"/>
          <c:showSerName val="0"/>
          <c:showPercent val="0"/>
          <c:showBubbleSize val="0"/>
        </c:dLbls>
        <c:gapWidth val="60"/>
        <c:overlap val="100"/>
        <c:axId val="1010350016"/>
        <c:axId val="1"/>
      </c:barChart>
      <c:catAx>
        <c:axId val="1010350016"/>
        <c:scaling>
          <c:orientation val="maxMin"/>
        </c:scaling>
        <c:delete val="0"/>
        <c:axPos val="l"/>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ap="flat" algn="ctr">
            <a:solidFill>
              <a:srgbClr val="7F7F7F"/>
            </a:solidFill>
            <a:prstDash val="solid"/>
          </a:ln>
        </c:spPr>
        <c:txPr>
          <a:bodyPr wrap="none"/>
          <a:lstStyle/>
          <a:p>
            <a:pPr>
              <a:defRPr sz="1200" kern="1200">
                <a:solidFill>
                  <a:schemeClr val="tx1"/>
                </a:solidFill>
                <a:latin typeface="+mn-lt"/>
                <a:ea typeface="+mn-ea"/>
                <a:cs typeface="+mn-cs"/>
                <a:sym typeface="+mn-lt"/>
              </a:defRPr>
            </a:pPr>
            <a:endParaRPr lang="en-US"/>
          </a:p>
        </c:txPr>
        <c:crossAx val="1010350016"/>
        <c:crosses val="max"/>
        <c:crossBetween val="between"/>
        <c:majorUnit val="20"/>
      </c:valAx>
    </c:plotArea>
    <c:plotVisOnly val="0"/>
    <c:dispBlanksAs val="gap"/>
    <c:showDLblsOverMax val="1"/>
  </c:chart>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72077590607452E-2"/>
          <c:y val="6.5326633165829151E-2"/>
          <c:w val="0.97345584481878511"/>
          <c:h val="0.8693467336683417"/>
        </c:manualLayout>
      </c:layout>
      <c:barChart>
        <c:barDir val="bar"/>
        <c:grouping val="stacked"/>
        <c:varyColors val="0"/>
        <c:ser>
          <c:idx val="0"/>
          <c:order val="0"/>
          <c:spPr>
            <a:solidFill>
              <a:srgbClr val="A1E26F"/>
            </a:solidFill>
            <a:ln>
              <a:noFill/>
            </a:ln>
          </c:spPr>
          <c:invertIfNegative val="0"/>
          <c:dLbls>
            <c:dLbl>
              <c:idx val="0"/>
              <c:layout>
                <c:manualLayout>
                  <c:x val="-2.5523226135783564E-4"/>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AA-4A5D-8CA8-71EAD37CFEA0}"/>
                </c:ext>
              </c:extLst>
            </c:dLbl>
            <c:dLbl>
              <c:idx val="1"/>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AA-4A5D-8CA8-71EAD37CFEA0}"/>
                </c:ext>
              </c:extLst>
            </c:dLbl>
            <c:dLbl>
              <c:idx val="2"/>
              <c:layout>
                <c:manualLayout>
                  <c:x val="-2.5523226135783564E-4"/>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AA-4A5D-8CA8-71EAD37CFEA0}"/>
                </c:ext>
              </c:extLst>
            </c:dLbl>
            <c:dLbl>
              <c:idx val="3"/>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8AA-4A5D-8CA8-71EAD37CFE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3.924050632911392</c:v>
                </c:pt>
                <c:pt idx="1">
                  <c:v>22.413793103448278</c:v>
                </c:pt>
                <c:pt idx="2">
                  <c:v>20.689655172413794</c:v>
                </c:pt>
                <c:pt idx="3">
                  <c:v>34</c:v>
                </c:pt>
              </c:numCache>
            </c:numRef>
          </c:val>
          <c:extLst>
            <c:ext xmlns:c16="http://schemas.microsoft.com/office/drawing/2014/chart" uri="{C3380CC4-5D6E-409C-BE32-E72D297353CC}">
              <c16:uniqueId val="{00000004-F8AA-4A5D-8CA8-71EAD37CFEA0}"/>
            </c:ext>
          </c:extLst>
        </c:ser>
        <c:ser>
          <c:idx val="1"/>
          <c:order val="1"/>
          <c:spPr>
            <a:solidFill>
              <a:srgbClr val="C8C8C8"/>
            </a:solidFill>
            <a:ln>
              <a:noFill/>
            </a:ln>
          </c:spPr>
          <c:invertIfNegative val="0"/>
          <c:dLbls>
            <c:dLbl>
              <c:idx val="0"/>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8AA-4A5D-8CA8-71EAD37CFEA0}"/>
                </c:ext>
              </c:extLst>
            </c:dLbl>
            <c:dLbl>
              <c:idx val="1"/>
              <c:layout>
                <c:manualLayout>
                  <c:x val="-2.5523226135783564E-4"/>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8AA-4A5D-8CA8-71EAD37CFEA0}"/>
                </c:ext>
              </c:extLst>
            </c:dLbl>
            <c:dLbl>
              <c:idx val="2"/>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8AA-4A5D-8CA8-71EAD37CFEA0}"/>
                </c:ext>
              </c:extLst>
            </c:dLbl>
            <c:dLbl>
              <c:idx val="3"/>
              <c:layout>
                <c:manualLayout>
                  <c:x val="0"/>
                  <c:y val="-3.7688442211055275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8AA-4A5D-8CA8-71EAD37CFE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8.987341772151897</c:v>
                </c:pt>
                <c:pt idx="1">
                  <c:v>32.758620689655174</c:v>
                </c:pt>
                <c:pt idx="2">
                  <c:v>24.137931034482758</c:v>
                </c:pt>
                <c:pt idx="3">
                  <c:v>35.999999999999993</c:v>
                </c:pt>
              </c:numCache>
            </c:numRef>
          </c:val>
          <c:extLst>
            <c:ext xmlns:c16="http://schemas.microsoft.com/office/drawing/2014/chart" uri="{C3380CC4-5D6E-409C-BE32-E72D297353CC}">
              <c16:uniqueId val="{00000009-F8AA-4A5D-8CA8-71EAD37CFEA0}"/>
            </c:ext>
          </c:extLst>
        </c:ser>
        <c:ser>
          <c:idx val="2"/>
          <c:order val="2"/>
          <c:spPr>
            <a:solidFill>
              <a:srgbClr val="837F7F"/>
            </a:solidFill>
            <a:ln>
              <a:noFill/>
            </a:ln>
          </c:spPr>
          <c:invertIfNegative val="0"/>
          <c:dLbls>
            <c:dLbl>
              <c:idx val="0"/>
              <c:layout>
                <c:manualLayout>
                  <c:x val="-2.5523226135783564E-4"/>
                  <c:y val="-3.76884422110552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8AA-4A5D-8CA8-71EAD37CFEA0}"/>
                </c:ext>
              </c:extLst>
            </c:dLbl>
            <c:dLbl>
              <c:idx val="1"/>
              <c:layout>
                <c:manualLayout>
                  <c:x val="0"/>
                  <c:y val="-3.76884422110552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8AA-4A5D-8CA8-71EAD37CFEA0}"/>
                </c:ext>
              </c:extLst>
            </c:dLbl>
            <c:dLbl>
              <c:idx val="2"/>
              <c:layout>
                <c:manualLayout>
                  <c:x val="0"/>
                  <c:y val="-3.76884422110552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8AA-4A5D-8CA8-71EAD37CFEA0}"/>
                </c:ext>
              </c:extLst>
            </c:dLbl>
            <c:dLbl>
              <c:idx val="3"/>
              <c:layout>
                <c:manualLayout>
                  <c:x val="0"/>
                  <c:y val="-3.768844221105527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8AA-4A5D-8CA8-71EAD37CFE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67.088607594936718</c:v>
                </c:pt>
                <c:pt idx="1">
                  <c:v>44.827586206896555</c:v>
                </c:pt>
                <c:pt idx="2">
                  <c:v>55.172413793103445</c:v>
                </c:pt>
                <c:pt idx="3">
                  <c:v>30.000000000000004</c:v>
                </c:pt>
              </c:numCache>
            </c:numRef>
          </c:val>
          <c:extLst>
            <c:ext xmlns:c16="http://schemas.microsoft.com/office/drawing/2014/chart" uri="{C3380CC4-5D6E-409C-BE32-E72D297353CC}">
              <c16:uniqueId val="{0000000E-F8AA-4A5D-8CA8-71EAD37CFEA0}"/>
            </c:ext>
          </c:extLst>
        </c:ser>
        <c:dLbls>
          <c:showLegendKey val="0"/>
          <c:showVal val="0"/>
          <c:showCatName val="0"/>
          <c:showSerName val="0"/>
          <c:showPercent val="0"/>
          <c:showBubbleSize val="0"/>
        </c:dLbls>
        <c:gapWidth val="60"/>
        <c:overlap val="100"/>
        <c:axId val="1438056544"/>
        <c:axId val="1"/>
      </c:barChart>
      <c:catAx>
        <c:axId val="1438056544"/>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438056544"/>
        <c:crosses val="max"/>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8.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16.emf"/></Relationships>
</file>

<file path=ppt/drawings/_rels/vmlDrawing59.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1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16/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16/2021</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253161506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2</a:t>
            </a:fld>
            <a:endParaRPr lang="en-US" dirty="0"/>
          </a:p>
        </p:txBody>
      </p:sp>
    </p:spTree>
    <p:extLst>
      <p:ext uri="{BB962C8B-B14F-4D97-AF65-F5344CB8AC3E}">
        <p14:creationId xmlns:p14="http://schemas.microsoft.com/office/powerpoint/2010/main" val="92756970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14</a:t>
            </a:fld>
            <a:endParaRPr lang="en-US" dirty="0"/>
          </a:p>
        </p:txBody>
      </p:sp>
    </p:spTree>
    <p:extLst>
      <p:ext uri="{BB962C8B-B14F-4D97-AF65-F5344CB8AC3E}">
        <p14:creationId xmlns:p14="http://schemas.microsoft.com/office/powerpoint/2010/main" val="221516877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115</a:t>
            </a:fld>
            <a:endParaRPr lang="en-US" dirty="0"/>
          </a:p>
        </p:txBody>
      </p:sp>
    </p:spTree>
    <p:extLst>
      <p:ext uri="{BB962C8B-B14F-4D97-AF65-F5344CB8AC3E}">
        <p14:creationId xmlns:p14="http://schemas.microsoft.com/office/powerpoint/2010/main" val="30840621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16</a:t>
            </a:fld>
            <a:endParaRPr lang="en-US" dirty="0"/>
          </a:p>
        </p:txBody>
      </p:sp>
    </p:spTree>
    <p:extLst>
      <p:ext uri="{BB962C8B-B14F-4D97-AF65-F5344CB8AC3E}">
        <p14:creationId xmlns:p14="http://schemas.microsoft.com/office/powerpoint/2010/main" val="278161104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17</a:t>
            </a:fld>
            <a:endParaRPr lang="en-US" dirty="0"/>
          </a:p>
        </p:txBody>
      </p:sp>
    </p:spTree>
    <p:extLst>
      <p:ext uri="{BB962C8B-B14F-4D97-AF65-F5344CB8AC3E}">
        <p14:creationId xmlns:p14="http://schemas.microsoft.com/office/powerpoint/2010/main" val="165932276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8</a:t>
            </a:fld>
            <a:endParaRPr lang="en-US" dirty="0"/>
          </a:p>
        </p:txBody>
      </p:sp>
    </p:spTree>
    <p:extLst>
      <p:ext uri="{BB962C8B-B14F-4D97-AF65-F5344CB8AC3E}">
        <p14:creationId xmlns:p14="http://schemas.microsoft.com/office/powerpoint/2010/main" val="136236566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b="0" dirty="0"/>
              <a:t>Whilst LAB aligns to the Learner Experience Squad, in this section we have included feedback relating to the broader learning experience, as many employees talk about learning / training &amp; LAB together. Learning experience crosses multiple Tribes &amp; Squads. </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9</a:t>
            </a:fld>
            <a:endParaRPr lang="en-US" dirty="0"/>
          </a:p>
        </p:txBody>
      </p:sp>
    </p:spTree>
    <p:extLst>
      <p:ext uri="{BB962C8B-B14F-4D97-AF65-F5344CB8AC3E}">
        <p14:creationId xmlns:p14="http://schemas.microsoft.com/office/powerpoint/2010/main" val="4539151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20</a:t>
            </a:fld>
            <a:endParaRPr lang="en-US" dirty="0"/>
          </a:p>
        </p:txBody>
      </p:sp>
    </p:spTree>
    <p:extLst>
      <p:ext uri="{BB962C8B-B14F-4D97-AF65-F5344CB8AC3E}">
        <p14:creationId xmlns:p14="http://schemas.microsoft.com/office/powerpoint/2010/main" val="339798220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21</a:t>
            </a:fld>
            <a:endParaRPr lang="en-US" dirty="0"/>
          </a:p>
        </p:txBody>
      </p:sp>
    </p:spTree>
    <p:extLst>
      <p:ext uri="{BB962C8B-B14F-4D97-AF65-F5344CB8AC3E}">
        <p14:creationId xmlns:p14="http://schemas.microsoft.com/office/powerpoint/2010/main" val="103039789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t>Rounding Notes – </a:t>
            </a:r>
            <a:endParaRPr lang="en-US" b="0"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0" dirty="0"/>
              <a:t>LAB Platform – 18.66 (Very satisfied) + 48.60 (Satisfied) = 67.26 </a:t>
            </a:r>
            <a:r>
              <a:rPr lang="en-US" b="0" dirty="0">
                <a:sym typeface="Wingdings" panose="05000000000000000000" pitchFamily="2" charset="2"/>
              </a:rPr>
              <a:t></a:t>
            </a:r>
            <a:r>
              <a:rPr lang="en-US" b="0" dirty="0"/>
              <a:t> 67%</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0" dirty="0"/>
              <a:t>Learning Topics– 17.56 (Very satisfied) + 48.69 (Satisfied) = 66.25 </a:t>
            </a:r>
            <a:r>
              <a:rPr lang="en-US" b="0" dirty="0">
                <a:sym typeface="Wingdings" panose="05000000000000000000" pitchFamily="2" charset="2"/>
              </a:rPr>
              <a:t></a:t>
            </a:r>
            <a:r>
              <a:rPr lang="en-US" b="0" dirty="0"/>
              <a:t> 66%</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0" dirty="0"/>
              <a:t>How live virtual learning is delivered– 16.12 (Very satisfied) + 45.46 (Satisfied) = 61.58 </a:t>
            </a:r>
            <a:r>
              <a:rPr lang="en-US" b="0" dirty="0">
                <a:sym typeface="Wingdings" panose="05000000000000000000" pitchFamily="2" charset="2"/>
              </a:rPr>
              <a:t></a:t>
            </a:r>
            <a:r>
              <a:rPr lang="en-US" b="0" dirty="0"/>
              <a:t> 62%</a:t>
            </a:r>
          </a:p>
          <a:p>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122</a:t>
            </a:fld>
            <a:endParaRPr lang="en-US" dirty="0"/>
          </a:p>
        </p:txBody>
      </p:sp>
    </p:spTree>
    <p:extLst>
      <p:ext uri="{BB962C8B-B14F-4D97-AF65-F5344CB8AC3E}">
        <p14:creationId xmlns:p14="http://schemas.microsoft.com/office/powerpoint/2010/main" val="3666505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74414921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200" dirty="0">
              <a:solidFill>
                <a:srgbClr val="575757"/>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dirty="0">
              <a:solidFill>
                <a:srgbClr val="575757"/>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23</a:t>
            </a:fld>
            <a:endParaRPr lang="en-US" dirty="0"/>
          </a:p>
        </p:txBody>
      </p:sp>
    </p:spTree>
    <p:extLst>
      <p:ext uri="{BB962C8B-B14F-4D97-AF65-F5344CB8AC3E}">
        <p14:creationId xmlns:p14="http://schemas.microsoft.com/office/powerpoint/2010/main" val="19941218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4</a:t>
            </a:fld>
            <a:endParaRPr lang="en-US" dirty="0"/>
          </a:p>
        </p:txBody>
      </p:sp>
    </p:spTree>
    <p:extLst>
      <p:ext uri="{BB962C8B-B14F-4D97-AF65-F5344CB8AC3E}">
        <p14:creationId xmlns:p14="http://schemas.microsoft.com/office/powerpoint/2010/main" val="330346406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5</a:t>
            </a:fld>
            <a:endParaRPr lang="en-US" dirty="0"/>
          </a:p>
        </p:txBody>
      </p:sp>
    </p:spTree>
    <p:extLst>
      <p:ext uri="{BB962C8B-B14F-4D97-AF65-F5344CB8AC3E}">
        <p14:creationId xmlns:p14="http://schemas.microsoft.com/office/powerpoint/2010/main" val="72965603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sz="1400" dirty="0">
              <a:solidFill>
                <a:srgbClr val="FFFFFF"/>
              </a:solidFill>
              <a:cs typeface="Arial" pitchFamily="34" charset="0"/>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27</a:t>
            </a:fld>
            <a:endParaRPr lang="en-US" dirty="0"/>
          </a:p>
        </p:txBody>
      </p:sp>
    </p:spTree>
    <p:extLst>
      <p:ext uri="{BB962C8B-B14F-4D97-AF65-F5344CB8AC3E}">
        <p14:creationId xmlns:p14="http://schemas.microsoft.com/office/powerpoint/2010/main" val="194377884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sym typeface="Wingdings" panose="05000000000000000000" pitchFamily="2" charset="2"/>
              </a:rPr>
              <a:t>Rounding Notes –</a:t>
            </a:r>
          </a:p>
          <a:p>
            <a:r>
              <a:rPr lang="en-US" b="0" dirty="0">
                <a:sym typeface="Wingdings" panose="05000000000000000000" pitchFamily="2" charset="2"/>
              </a:rPr>
              <a:t>Expenses – Chrome River– 25.33 (Very satisfied) + 44.41 (Satisfied) = 69.74 70%</a:t>
            </a:r>
          </a:p>
        </p:txBody>
      </p:sp>
      <p:sp>
        <p:nvSpPr>
          <p:cNvPr id="4" name="Slide Number Placeholder 3"/>
          <p:cNvSpPr>
            <a:spLocks noGrp="1"/>
          </p:cNvSpPr>
          <p:nvPr>
            <p:ph type="sldNum" sz="quarter" idx="10"/>
          </p:nvPr>
        </p:nvSpPr>
        <p:spPr/>
        <p:txBody>
          <a:bodyPr/>
          <a:lstStyle/>
          <a:p>
            <a:fld id="{8BB5466B-1857-43FB-B46F-C4153A210AF3}" type="slidenum">
              <a:rPr lang="en-US" smtClean="0"/>
              <a:t>128</a:t>
            </a:fld>
            <a:endParaRPr lang="en-US" dirty="0"/>
          </a:p>
        </p:txBody>
      </p:sp>
    </p:spTree>
    <p:extLst>
      <p:ext uri="{BB962C8B-B14F-4D97-AF65-F5344CB8AC3E}">
        <p14:creationId xmlns:p14="http://schemas.microsoft.com/office/powerpoint/2010/main" val="150907114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29</a:t>
            </a:fld>
            <a:endParaRPr lang="en-US" dirty="0"/>
          </a:p>
        </p:txBody>
      </p:sp>
    </p:spTree>
    <p:extLst>
      <p:ext uri="{BB962C8B-B14F-4D97-AF65-F5344CB8AC3E}">
        <p14:creationId xmlns:p14="http://schemas.microsoft.com/office/powerpoint/2010/main" val="30489412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575757"/>
                </a:solidFill>
              </a:rPr>
              <a:t>Note 1 – </a:t>
            </a:r>
            <a:r>
              <a:rPr lang="en-US" sz="1200" dirty="0">
                <a:solidFill>
                  <a:srgbClr val="575757"/>
                </a:solidFill>
              </a:rPr>
              <a:t>This was new in Q3 2020, hence average is for Q3 &amp; Q4 2020 only.</a:t>
            </a:r>
          </a:p>
        </p:txBody>
      </p:sp>
      <p:sp>
        <p:nvSpPr>
          <p:cNvPr id="4" name="Slide Number Placeholder 3"/>
          <p:cNvSpPr>
            <a:spLocks noGrp="1"/>
          </p:cNvSpPr>
          <p:nvPr>
            <p:ph type="sldNum" sz="quarter" idx="10"/>
          </p:nvPr>
        </p:nvSpPr>
        <p:spPr/>
        <p:txBody>
          <a:bodyPr/>
          <a:lstStyle/>
          <a:p>
            <a:fld id="{8BB5466B-1857-43FB-B46F-C4153A210AF3}" type="slidenum">
              <a:rPr lang="en-US" smtClean="0"/>
              <a:t>130</a:t>
            </a:fld>
            <a:endParaRPr lang="en-US" dirty="0"/>
          </a:p>
        </p:txBody>
      </p:sp>
    </p:spTree>
    <p:extLst>
      <p:ext uri="{BB962C8B-B14F-4D97-AF65-F5344CB8AC3E}">
        <p14:creationId xmlns:p14="http://schemas.microsoft.com/office/powerpoint/2010/main" val="63256440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1</a:t>
            </a:fld>
            <a:endParaRPr lang="en-US" dirty="0"/>
          </a:p>
        </p:txBody>
      </p:sp>
    </p:spTree>
    <p:extLst>
      <p:ext uri="{BB962C8B-B14F-4D97-AF65-F5344CB8AC3E}">
        <p14:creationId xmlns:p14="http://schemas.microsoft.com/office/powerpoint/2010/main" val="95445219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33</a:t>
            </a:fld>
            <a:endParaRPr lang="en-US" dirty="0"/>
          </a:p>
        </p:txBody>
      </p:sp>
    </p:spTree>
    <p:extLst>
      <p:ext uri="{BB962C8B-B14F-4D97-AF65-F5344CB8AC3E}">
        <p14:creationId xmlns:p14="http://schemas.microsoft.com/office/powerpoint/2010/main" val="252886618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sz="1200" dirty="0">
              <a:solidFill>
                <a:srgbClr val="575757"/>
              </a:solidFill>
              <a:sym typeface="+mn-lt"/>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34</a:t>
            </a:fld>
            <a:endParaRPr lang="en-US" dirty="0"/>
          </a:p>
        </p:txBody>
      </p:sp>
    </p:spTree>
    <p:extLst>
      <p:ext uri="{BB962C8B-B14F-4D97-AF65-F5344CB8AC3E}">
        <p14:creationId xmlns:p14="http://schemas.microsoft.com/office/powerpoint/2010/main" val="2812330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182820967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5</a:t>
            </a:fld>
            <a:endParaRPr lang="en-US" dirty="0"/>
          </a:p>
        </p:txBody>
      </p:sp>
    </p:spTree>
    <p:extLst>
      <p:ext uri="{BB962C8B-B14F-4D97-AF65-F5344CB8AC3E}">
        <p14:creationId xmlns:p14="http://schemas.microsoft.com/office/powerpoint/2010/main" val="274036736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37</a:t>
            </a:fld>
            <a:endParaRPr lang="en-US" dirty="0"/>
          </a:p>
        </p:txBody>
      </p:sp>
    </p:spTree>
    <p:extLst>
      <p:ext uri="{BB962C8B-B14F-4D97-AF65-F5344CB8AC3E}">
        <p14:creationId xmlns:p14="http://schemas.microsoft.com/office/powerpoint/2010/main" val="311993984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endParaRPr lang="en-US" b="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38</a:t>
            </a:fld>
            <a:endParaRPr lang="en-US" dirty="0"/>
          </a:p>
        </p:txBody>
      </p:sp>
    </p:spTree>
    <p:extLst>
      <p:ext uri="{BB962C8B-B14F-4D97-AF65-F5344CB8AC3E}">
        <p14:creationId xmlns:p14="http://schemas.microsoft.com/office/powerpoint/2010/main" val="218131949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baseline="0" dirty="0">
                <a:sym typeface="Wingdings" panose="05000000000000000000" pitchFamily="2" charset="2"/>
              </a:rPr>
              <a:t>Rounding Notes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en-US" sz="1200" b="0" baseline="0" dirty="0">
                <a:solidFill>
                  <a:srgbClr val="575757"/>
                </a:solidFill>
                <a:sym typeface="+mn-lt"/>
              </a:rPr>
              <a:t>Updates from IT Leadership</a:t>
            </a:r>
            <a:r>
              <a:rPr lang="en-US" altLang="en-US" sz="1200" b="0" baseline="0" dirty="0">
                <a:solidFill>
                  <a:srgbClr val="575757"/>
                </a:solidFill>
                <a:sym typeface="Wingdings" panose="05000000000000000000" pitchFamily="2" charset="2"/>
              </a:rPr>
              <a:t>– 20.75 (Very satisfied) + 47.65 (Satisfied) = 68.40  68%</a:t>
            </a:r>
            <a:endParaRPr lang="en-US" sz="1200" dirty="0">
              <a:solidFill>
                <a:srgbClr val="575757"/>
              </a:solidFill>
              <a:sym typeface="+mn-lt"/>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39</a:t>
            </a:fld>
            <a:endParaRPr lang="en-US" dirty="0"/>
          </a:p>
        </p:txBody>
      </p:sp>
    </p:spTree>
    <p:extLst>
      <p:ext uri="{BB962C8B-B14F-4D97-AF65-F5344CB8AC3E}">
        <p14:creationId xmlns:p14="http://schemas.microsoft.com/office/powerpoint/2010/main" val="355831826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a:t>
            </a:r>
            <a:r>
              <a:rPr lang="en-US" sz="1200" b="0" dirty="0">
                <a:solidFill>
                  <a:srgbClr val="FFFFFF"/>
                </a:solidFill>
              </a:rPr>
              <a:t>– 'overall' question introduced in 2020. </a:t>
            </a:r>
          </a:p>
        </p:txBody>
      </p:sp>
      <p:sp>
        <p:nvSpPr>
          <p:cNvPr id="4" name="Slide Number Placeholder 3"/>
          <p:cNvSpPr>
            <a:spLocks noGrp="1"/>
          </p:cNvSpPr>
          <p:nvPr>
            <p:ph type="sldNum" sz="quarter" idx="10"/>
          </p:nvPr>
        </p:nvSpPr>
        <p:spPr/>
        <p:txBody>
          <a:bodyPr/>
          <a:lstStyle/>
          <a:p>
            <a:fld id="{8BB5466B-1857-43FB-B46F-C4153A210AF3}" type="slidenum">
              <a:rPr lang="en-US" smtClean="0"/>
              <a:t>140</a:t>
            </a:fld>
            <a:endParaRPr lang="en-US" dirty="0"/>
          </a:p>
        </p:txBody>
      </p:sp>
    </p:spTree>
    <p:extLst>
      <p:ext uri="{BB962C8B-B14F-4D97-AF65-F5344CB8AC3E}">
        <p14:creationId xmlns:p14="http://schemas.microsoft.com/office/powerpoint/2010/main" val="342320151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1</a:t>
            </a:fld>
            <a:endParaRPr lang="en-US" dirty="0"/>
          </a:p>
        </p:txBody>
      </p:sp>
    </p:spTree>
    <p:extLst>
      <p:ext uri="{BB962C8B-B14F-4D97-AF65-F5344CB8AC3E}">
        <p14:creationId xmlns:p14="http://schemas.microsoft.com/office/powerpoint/2010/main" val="385949730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143</a:t>
            </a:fld>
            <a:endParaRPr lang="en-US" dirty="0"/>
          </a:p>
        </p:txBody>
      </p:sp>
    </p:spTree>
    <p:extLst>
      <p:ext uri="{BB962C8B-B14F-4D97-AF65-F5344CB8AC3E}">
        <p14:creationId xmlns:p14="http://schemas.microsoft.com/office/powerpoint/2010/main" val="240233555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44</a:t>
            </a:fld>
            <a:endParaRPr lang="en-US" dirty="0"/>
          </a:p>
        </p:txBody>
      </p:sp>
    </p:spTree>
    <p:extLst>
      <p:ext uri="{BB962C8B-B14F-4D97-AF65-F5344CB8AC3E}">
        <p14:creationId xmlns:p14="http://schemas.microsoft.com/office/powerpoint/2010/main" val="366395052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45</a:t>
            </a:fld>
            <a:endParaRPr lang="en-US" dirty="0"/>
          </a:p>
        </p:txBody>
      </p:sp>
    </p:spTree>
    <p:extLst>
      <p:ext uri="{BB962C8B-B14F-4D97-AF65-F5344CB8AC3E}">
        <p14:creationId xmlns:p14="http://schemas.microsoft.com/office/powerpoint/2010/main" val="274952368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t>Rounding Notes - </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0" i="0" u="none" strike="noStrike" kern="1200" baseline="0" dirty="0">
                <a:solidFill>
                  <a:schemeClr val="tx1"/>
                </a:solidFill>
                <a:effectLst/>
                <a:latin typeface="+mn-lt"/>
                <a:ea typeface="+mn-ea"/>
                <a:cs typeface="+mn-cs"/>
                <a:sym typeface="Wingdings" panose="05000000000000000000" pitchFamily="2" charset="2"/>
              </a:rPr>
              <a:t>Collaborate on files – 10.65</a:t>
            </a:r>
            <a:r>
              <a:rPr lang="en-US" dirty="0"/>
              <a:t> (Very Satisfied) + </a:t>
            </a:r>
            <a:r>
              <a:rPr lang="en-US" sz="1200" b="0" i="0" u="none" strike="noStrike" kern="1200" dirty="0">
                <a:solidFill>
                  <a:schemeClr val="tx1"/>
                </a:solidFill>
                <a:effectLst/>
                <a:latin typeface="+mn-lt"/>
                <a:ea typeface="+mn-ea"/>
                <a:cs typeface="+mn-cs"/>
              </a:rPr>
              <a:t>20.52</a:t>
            </a:r>
            <a:r>
              <a:rPr lang="en-US" dirty="0"/>
              <a:t> (Satisfied) = </a:t>
            </a:r>
            <a:r>
              <a:rPr lang="en-US" sz="1200" b="0" i="0" u="none" strike="noStrike" kern="1200" dirty="0">
                <a:solidFill>
                  <a:schemeClr val="tx1"/>
                </a:solidFill>
                <a:effectLst/>
                <a:latin typeface="+mn-lt"/>
                <a:ea typeface="+mn-ea"/>
                <a:cs typeface="+mn-cs"/>
              </a:rPr>
              <a:t>31.17</a:t>
            </a:r>
            <a:r>
              <a:rPr lang="en-US" dirty="0"/>
              <a:t> </a:t>
            </a:r>
            <a:r>
              <a:rPr lang="en-US" dirty="0">
                <a:sym typeface="Wingdings" panose="05000000000000000000" pitchFamily="2" charset="2"/>
              </a:rPr>
              <a:t> 31%</a:t>
            </a:r>
            <a:endParaRPr lang="en-GB" sz="1200" b="0" i="0" u="none" strike="noStrike" kern="1200" baseline="0" dirty="0">
              <a:solidFill>
                <a:schemeClr val="tx1"/>
              </a:solidFill>
              <a:effectLst/>
              <a:latin typeface="+mn-lt"/>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46</a:t>
            </a:fld>
            <a:endParaRPr lang="en-US" dirty="0"/>
          </a:p>
        </p:txBody>
      </p:sp>
    </p:spTree>
    <p:extLst>
      <p:ext uri="{BB962C8B-B14F-4D97-AF65-F5344CB8AC3E}">
        <p14:creationId xmlns:p14="http://schemas.microsoft.com/office/powerpoint/2010/main" val="1967047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b="1" dirty="0"/>
              <a:t>Note 1 - </a:t>
            </a:r>
            <a:r>
              <a:rPr lang="en-US" dirty="0"/>
              <a:t>This question was included only in Q3, therefore 35% is the total number of respondents in Q3 &amp; Q4 2020</a:t>
            </a:r>
          </a:p>
          <a:p>
            <a:pPr>
              <a:buNone/>
            </a:pPr>
            <a:r>
              <a:rPr lang="en-US" b="1" dirty="0"/>
              <a:t>Note 2 </a:t>
            </a:r>
            <a:r>
              <a:rPr lang="en-US" b="0" dirty="0"/>
              <a:t>– </a:t>
            </a:r>
            <a:r>
              <a:rPr lang="en-US" dirty="0"/>
              <a:t>Senior CT = MDP, Partners, Senior ECT &amp; Principals</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380595153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a:t>
            </a:r>
            <a:r>
              <a:rPr lang="en-US" sz="1200" b="0" dirty="0">
                <a:solidFill>
                  <a:srgbClr val="FFFFFF"/>
                </a:solidFill>
              </a:rPr>
              <a:t>– Average is only for Q3 &amp; Q4 2020.</a:t>
            </a:r>
          </a:p>
        </p:txBody>
      </p:sp>
      <p:sp>
        <p:nvSpPr>
          <p:cNvPr id="4" name="Slide Number Placeholder 3"/>
          <p:cNvSpPr>
            <a:spLocks noGrp="1"/>
          </p:cNvSpPr>
          <p:nvPr>
            <p:ph type="sldNum" sz="quarter" idx="10"/>
          </p:nvPr>
        </p:nvSpPr>
        <p:spPr/>
        <p:txBody>
          <a:bodyPr/>
          <a:lstStyle/>
          <a:p>
            <a:fld id="{8BB5466B-1857-43FB-B46F-C4153A210AF3}" type="slidenum">
              <a:rPr lang="en-US" smtClean="0"/>
              <a:t>147</a:t>
            </a:fld>
            <a:endParaRPr lang="en-US" dirty="0"/>
          </a:p>
        </p:txBody>
      </p:sp>
    </p:spTree>
    <p:extLst>
      <p:ext uri="{BB962C8B-B14F-4D97-AF65-F5344CB8AC3E}">
        <p14:creationId xmlns:p14="http://schemas.microsoft.com/office/powerpoint/2010/main" val="391037258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a:t>
            </a:r>
            <a:r>
              <a:rPr lang="en-US" b="0" dirty="0"/>
              <a:t>– Senior CT = MDP, Partner, Principal &amp; Senior EC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11590416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9</a:t>
            </a:fld>
            <a:endParaRPr lang="en-US" dirty="0"/>
          </a:p>
        </p:txBody>
      </p:sp>
    </p:spTree>
    <p:extLst>
      <p:ext uri="{BB962C8B-B14F-4D97-AF65-F5344CB8AC3E}">
        <p14:creationId xmlns:p14="http://schemas.microsoft.com/office/powerpoint/2010/main" val="3359169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69B6249-0AA8-46D6-9F67-94CCA4B8A413}"/>
              </a:ext>
            </a:extLst>
          </p:cNvPr>
          <p:cNvSpPr>
            <a:spLocks noGrp="1"/>
          </p:cNvSpPr>
          <p:nvPr>
            <p:ph type="body" idx="1"/>
          </p:nvPr>
        </p:nvSpPr>
        <p:spPr/>
        <p:txBody>
          <a:bodyPr/>
          <a:lstStyle/>
          <a:p>
            <a:r>
              <a:rPr lang="en-US" b="1" dirty="0"/>
              <a:t>Note 1 – </a:t>
            </a:r>
            <a:r>
              <a:rPr lang="en-US" dirty="0"/>
              <a:t>Tom Tustin's team are co-ordinating the outreach.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2 – </a:t>
            </a:r>
            <a:r>
              <a:rPr lang="en-US" b="0" dirty="0"/>
              <a:t>The IT Service team* continue to investigate. The team have a </a:t>
            </a:r>
            <a:r>
              <a:rPr lang="en-US" sz="1200" kern="1200" dirty="0">
                <a:solidFill>
                  <a:schemeClr val="tx1"/>
                </a:solidFill>
                <a:effectLst/>
                <a:latin typeface="+mn-lt"/>
                <a:ea typeface="+mn-ea"/>
                <a:cs typeface="+mn-cs"/>
              </a:rPr>
              <a:t>dashboard to compare known Laptop metrics (e.g. applications crashes, </a:t>
            </a:r>
            <a:r>
              <a:rPr lang="en-US" sz="1200" kern="1200" dirty="0" err="1">
                <a:solidFill>
                  <a:schemeClr val="tx1"/>
                </a:solidFill>
                <a:effectLst/>
                <a:latin typeface="+mn-lt"/>
                <a:ea typeface="+mn-ea"/>
                <a:cs typeface="+mn-cs"/>
              </a:rPr>
              <a:t>BSODs</a:t>
            </a:r>
            <a:r>
              <a:rPr lang="en-US" sz="1200" kern="1200" dirty="0">
                <a:solidFill>
                  <a:schemeClr val="tx1"/>
                </a:solidFill>
                <a:effectLst/>
                <a:latin typeface="+mn-lt"/>
                <a:ea typeface="+mn-ea"/>
                <a:cs typeface="+mn-cs"/>
              </a:rPr>
              <a:t> etc.) and see where these users diverge from the average. The team aim to investigate the reason(s) for this divergence and to identify the underlying conditions which might affect their digital experienc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 Martin Wokes, Damanjeet Singh, Simon Pelletier, Vaibhav Srivastava, Travis Bonnstetter, Ali Matay</a:t>
            </a:r>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383941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dirty="0">
                <a:solidFill>
                  <a:srgbClr val="575757"/>
                </a:solidFill>
              </a:rPr>
              <a:t>Note 1 – </a:t>
            </a:r>
            <a:r>
              <a:rPr lang="en-US" b="0" dirty="0">
                <a:solidFill>
                  <a:srgbClr val="575757"/>
                </a:solidFill>
              </a:rPr>
              <a:t>'BIC' stands for 'Best-in-Class'. Critical products or services need to meet or exceed a BIC target of 80%, &amp; Business Supporting products or services 70%.</a:t>
            </a:r>
            <a:endParaRPr lang="en-US" b="1" dirty="0">
              <a:solidFill>
                <a:srgbClr val="575757"/>
              </a:solidFill>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37246046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solidFill>
                  <a:srgbClr val="575757"/>
                </a:solidFill>
              </a:rPr>
              <a:t>Note 1 – </a:t>
            </a:r>
            <a:r>
              <a:rPr lang="en-US" b="0" dirty="0">
                <a:solidFill>
                  <a:srgbClr val="575757"/>
                </a:solidFill>
              </a:rPr>
              <a:t>other channels are: </a:t>
            </a:r>
            <a:r>
              <a:rPr lang="en-GB" sz="1100" dirty="0">
                <a:effectLst/>
                <a:latin typeface="Calibri" panose="020F0502020204030204" pitchFamily="34" charset="0"/>
                <a:ea typeface="Times New Roman" panose="02020603050405020304" pitchFamily="18" charset="0"/>
              </a:rPr>
              <a:t>Email - +2% improved to 75%, Phone – trended flat at 77%</a:t>
            </a:r>
            <a:endParaRPr lang="en-US" b="1" dirty="0">
              <a:solidFill>
                <a:srgbClr val="575757"/>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solidFill>
                  <a:srgbClr val="575757"/>
                </a:solidFill>
              </a:rPr>
              <a:t>Note 2 – </a:t>
            </a:r>
            <a:r>
              <a:rPr lang="en-US" b="0" dirty="0">
                <a:solidFill>
                  <a:srgbClr val="575757"/>
                </a:solidFill>
              </a:rPr>
              <a:t>question introduced in Q2, 2021 so no annual average trending yet.</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804935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solidFill>
                  <a:srgbClr val="575757"/>
                </a:solidFill>
              </a:rPr>
              <a:t>Note 1 – </a:t>
            </a:r>
            <a:r>
              <a:rPr lang="en-US" b="0" dirty="0">
                <a:solidFill>
                  <a:srgbClr val="575757"/>
                </a:solidFill>
              </a:rPr>
              <a:t>ability to: videoconference, share files, chat, manage tasks, collaborate on files – with clients. </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382367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solidFill>
                  <a:srgbClr val="575757"/>
                </a:solidFill>
              </a:rPr>
              <a:t>Note 1 – </a:t>
            </a:r>
            <a:r>
              <a:rPr lang="en-US" b="0" dirty="0">
                <a:solidFill>
                  <a:srgbClr val="575757"/>
                </a:solidFill>
              </a:rPr>
              <a:t>The annual average decreased -1% from 2020 to 73%, this is also a decline of -4% away from the 2019 E-SAT of 77%</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solidFill>
                  <a:srgbClr val="575757"/>
                </a:solidFill>
              </a:rPr>
              <a:t>Note 2 – </a:t>
            </a:r>
            <a:r>
              <a:rPr lang="en-US" b="0" dirty="0">
                <a:solidFill>
                  <a:srgbClr val="575757"/>
                </a:solidFill>
              </a:rPr>
              <a:t>Search is joint second furthest away from BIC target (jointly -13% with Egnyte), only Timesheets is further off at -26%</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3</a:t>
            </a:fld>
            <a:endParaRPr lang="en-US" dirty="0"/>
          </a:p>
        </p:txBody>
      </p:sp>
    </p:spTree>
    <p:extLst>
      <p:ext uri="{BB962C8B-B14F-4D97-AF65-F5344CB8AC3E}">
        <p14:creationId xmlns:p14="http://schemas.microsoft.com/office/powerpoint/2010/main" val="3289937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5509507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 </a:t>
            </a:r>
            <a:r>
              <a:rPr lang="en-US" sz="1200" dirty="0">
                <a:solidFill>
                  <a:srgbClr val="295E7E"/>
                </a:solidFill>
              </a:rPr>
              <a:t>This chart shows trends for repeat responders who took part in all the 2019, 2020 &amp; 2021 surveys - totaling 978 employees. </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3982610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 </a:t>
            </a:r>
            <a:r>
              <a:rPr lang="en-US" sz="1200" dirty="0">
                <a:solidFill>
                  <a:srgbClr val="295E7E"/>
                </a:solidFill>
              </a:rPr>
              <a:t>This chart shows trends for repeat responders who took part in all three year surveys - 2019, 2020 &amp; 2021 – Total 978 employees. </a:t>
            </a:r>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5</a:t>
            </a:fld>
            <a:endParaRPr lang="en-US" dirty="0"/>
          </a:p>
        </p:txBody>
      </p:sp>
    </p:spTree>
    <p:extLst>
      <p:ext uri="{BB962C8B-B14F-4D97-AF65-F5344CB8AC3E}">
        <p14:creationId xmlns:p14="http://schemas.microsoft.com/office/powerpoint/2010/main" val="22941028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30929408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424084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19208731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baseline="0" dirty="0"/>
              <a:t>Note 1 </a:t>
            </a:r>
            <a:r>
              <a:rPr lang="en-US" baseline="0" dirty="0"/>
              <a:t>– These products were introduced in Q3 2020, hence the average us for Q3 &amp; Q4 </a:t>
            </a:r>
            <a:r>
              <a:rPr lang="en-US" baseline="0"/>
              <a:t>2020 only</a:t>
            </a:r>
            <a:endParaRPr lang="en-US" baseline="0" dirty="0"/>
          </a:p>
          <a:p>
            <a:r>
              <a:rPr lang="en-US" b="1" baseline="0" dirty="0"/>
              <a:t>Note 2 </a:t>
            </a:r>
            <a:r>
              <a:rPr lang="en-US" baseline="0" dirty="0"/>
              <a:t>– These products were introduced in Q3 2019, hence the 2019 average is for Q3 &amp; Q4 2019 only</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3 </a:t>
            </a:r>
            <a:r>
              <a:rPr lang="en-US" baseline="0" dirty="0"/>
              <a:t>– Knowledge Navigator questions were significantly redefined in Q4 2021. Comparing with historical data would not be comparing like-for-like.</a:t>
            </a:r>
          </a:p>
          <a:p>
            <a:endParaRPr lang="en-US"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29</a:t>
            </a:fld>
            <a:endParaRPr lang="en-US" dirty="0"/>
          </a:p>
        </p:txBody>
      </p:sp>
    </p:spTree>
    <p:extLst>
      <p:ext uri="{BB962C8B-B14F-4D97-AF65-F5344CB8AC3E}">
        <p14:creationId xmlns:p14="http://schemas.microsoft.com/office/powerpoint/2010/main" val="29724923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baseline="0" dirty="0"/>
              <a:t>Note 1 </a:t>
            </a:r>
            <a:r>
              <a:rPr lang="en-US" baseline="0" dirty="0"/>
              <a:t>– These experience areas were introduced in Q3 2019, hence the 2019 average is only for Q3 &amp; Q4 2019</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2 </a:t>
            </a:r>
            <a:r>
              <a:rPr lang="en-US" baseline="0" dirty="0"/>
              <a:t>– These experience areas were introduced in Q2 2019, hence the 2019 average is only for Q2, Q3 &amp; Q4 2019</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3 </a:t>
            </a:r>
            <a:r>
              <a:rPr lang="en-US" baseline="0" dirty="0"/>
              <a:t>– These experience areas were introduced in Q3 2020, hence the 2020 average is only for Q3 &amp; Q4 2020</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4 </a:t>
            </a:r>
            <a:r>
              <a:rPr lang="en-US" baseline="0" dirty="0"/>
              <a:t>– These experience areas were introduced in Q2 2020, hence the 2020 average is only for Q2, Q3 &amp; Q4 2020</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baseline="0" dirty="0"/>
          </a:p>
          <a:p>
            <a:endParaRPr lang="en-US"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30</a:t>
            </a:fld>
            <a:endParaRPr lang="en-US" dirty="0"/>
          </a:p>
        </p:txBody>
      </p:sp>
    </p:spTree>
    <p:extLst>
      <p:ext uri="{BB962C8B-B14F-4D97-AF65-F5344CB8AC3E}">
        <p14:creationId xmlns:p14="http://schemas.microsoft.com/office/powerpoint/2010/main" val="9382326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1</a:t>
            </a:r>
            <a:r>
              <a:rPr lang="en-US" baseline="0" dirty="0"/>
              <a:t> – New questions included in Q4 2021, hence average is only for Q4 2021</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2</a:t>
            </a:r>
            <a:r>
              <a:rPr lang="en-US" baseline="0" dirty="0"/>
              <a:t> – New questions included in Q3 2021, hence average is only for Q3 &amp; Q4 2021</a:t>
            </a:r>
          </a:p>
          <a:p>
            <a:endParaRPr lang="en-US"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31</a:t>
            </a:fld>
            <a:endParaRPr lang="en-US" dirty="0"/>
          </a:p>
        </p:txBody>
      </p:sp>
    </p:spTree>
    <p:extLst>
      <p:ext uri="{BB962C8B-B14F-4D97-AF65-F5344CB8AC3E}">
        <p14:creationId xmlns:p14="http://schemas.microsoft.com/office/powerpoint/2010/main" val="28543392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baseline="0" dirty="0"/>
              <a:t>Note 2 </a:t>
            </a:r>
            <a:r>
              <a:rPr lang="en-US" baseline="0" dirty="0"/>
              <a:t>– 2020 Average is for Q3 &amp; Q4 2020</a:t>
            </a:r>
          </a:p>
          <a:p>
            <a:pPr marL="0" indent="0">
              <a:buFont typeface="Arial" panose="020B0604020202020204" pitchFamily="34" charset="0"/>
              <a:buNone/>
            </a:pPr>
            <a:endParaRPr lang="en-GB"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32</a:t>
            </a:fld>
            <a:endParaRPr lang="en-US" dirty="0"/>
          </a:p>
        </p:txBody>
      </p:sp>
    </p:spTree>
    <p:extLst>
      <p:ext uri="{BB962C8B-B14F-4D97-AF65-F5344CB8AC3E}">
        <p14:creationId xmlns:p14="http://schemas.microsoft.com/office/powerpoint/2010/main" val="31415444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baseline="0" dirty="0"/>
              <a:t>Note 1 </a:t>
            </a:r>
            <a:r>
              <a:rPr lang="en-US" baseline="0" dirty="0"/>
              <a:t>– 2020 average is for Q3 &amp; Q4 2020</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baseline="0" dirty="0"/>
              <a:t>Note 2 </a:t>
            </a:r>
            <a:r>
              <a:rPr lang="en-US" baseline="0" dirty="0"/>
              <a:t>– OneDrive 2021 average is for Q4 only</a:t>
            </a:r>
          </a:p>
          <a:p>
            <a:pPr marL="0" indent="0">
              <a:buFont typeface="Arial" panose="020B0604020202020204" pitchFamily="34" charset="0"/>
              <a:buNone/>
            </a:pPr>
            <a:endParaRPr lang="en-GB"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33</a:t>
            </a:fld>
            <a:endParaRPr lang="en-US" dirty="0"/>
          </a:p>
        </p:txBody>
      </p:sp>
    </p:spTree>
    <p:extLst>
      <p:ext uri="{BB962C8B-B14F-4D97-AF65-F5344CB8AC3E}">
        <p14:creationId xmlns:p14="http://schemas.microsoft.com/office/powerpoint/2010/main" val="2675992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5690278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4</a:t>
            </a:fld>
            <a:endParaRPr lang="en-US" dirty="0"/>
          </a:p>
        </p:txBody>
      </p:sp>
    </p:spTree>
    <p:extLst>
      <p:ext uri="{BB962C8B-B14F-4D97-AF65-F5344CB8AC3E}">
        <p14:creationId xmlns:p14="http://schemas.microsoft.com/office/powerpoint/2010/main" val="32533507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1 – </a:t>
            </a:r>
            <a:r>
              <a:rPr lang="en-US" sz="1200" b="0" baseline="0" dirty="0">
                <a:solidFill>
                  <a:srgbClr val="575757"/>
                </a:solidFill>
              </a:rPr>
              <a:t>Italicized items are 'other areas measured' in Pulse &amp; not products or services.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2 –</a:t>
            </a:r>
            <a:r>
              <a:rPr lang="en-US" sz="1200" b="0" baseline="0" dirty="0">
                <a:solidFill>
                  <a:srgbClr val="575757"/>
                </a:solidFill>
              </a:rPr>
              <a:t> Question introduced in Q2 2021, hence 2021 average is only for Q2, Q3, Q4 2021</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3 – </a:t>
            </a:r>
            <a:r>
              <a:rPr lang="en-US" sz="1200" b="0" baseline="0" dirty="0">
                <a:solidFill>
                  <a:srgbClr val="575757"/>
                </a:solidFill>
              </a:rPr>
              <a:t>Question introduced in Q4 2021, hence 2021 average is only for Q4 2021</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1" baseline="0" dirty="0"/>
          </a:p>
          <a:p>
            <a:pPr>
              <a:buNone/>
            </a:pPr>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33626679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1 – </a:t>
            </a:r>
            <a:r>
              <a:rPr lang="en-US" sz="1200" b="0" baseline="0" dirty="0">
                <a:solidFill>
                  <a:srgbClr val="575757"/>
                </a:solidFill>
              </a:rPr>
              <a:t>Italicized items are 'other areas measured' in Pulse &amp; not products or services.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2 –</a:t>
            </a:r>
            <a:r>
              <a:rPr lang="en-US" sz="1200" b="0" baseline="0" dirty="0">
                <a:solidFill>
                  <a:srgbClr val="575757"/>
                </a:solidFill>
              </a:rPr>
              <a:t> Question introduced in Q2 2021, hence 2021 average is only for Q2, Q3, Q4 2021</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3 – </a:t>
            </a:r>
            <a:r>
              <a:rPr lang="en-US" sz="1200" b="0" baseline="0" dirty="0">
                <a:solidFill>
                  <a:srgbClr val="575757"/>
                </a:solidFill>
              </a:rPr>
              <a:t>Question introduced in Q4 2021, hence 2021 average is only for Q4 2021</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rPr>
              <a:t>Note 4 – </a:t>
            </a:r>
            <a:r>
              <a:rPr lang="en-US" sz="1200" b="0" baseline="0" dirty="0">
                <a:solidFill>
                  <a:srgbClr val="575757"/>
                </a:solidFill>
              </a:rPr>
              <a:t>Question was introduced in Q3 2020 hence 2020 average is only for Q3 &amp; Q4 2020</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1" baseline="0" dirty="0"/>
          </a:p>
          <a:p>
            <a:pPr>
              <a:buNone/>
            </a:pPr>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6052820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39</a:t>
            </a:fld>
            <a:endParaRPr lang="en-US" dirty="0"/>
          </a:p>
        </p:txBody>
      </p:sp>
    </p:spTree>
    <p:extLst>
      <p:ext uri="{BB962C8B-B14F-4D97-AF65-F5344CB8AC3E}">
        <p14:creationId xmlns:p14="http://schemas.microsoft.com/office/powerpoint/2010/main" val="16506529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0</a:t>
            </a:fld>
            <a:endParaRPr lang="en-US" dirty="0"/>
          </a:p>
        </p:txBody>
      </p:sp>
    </p:spTree>
    <p:extLst>
      <p:ext uri="{BB962C8B-B14F-4D97-AF65-F5344CB8AC3E}">
        <p14:creationId xmlns:p14="http://schemas.microsoft.com/office/powerpoint/2010/main" val="24402687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1</a:t>
            </a:fld>
            <a:endParaRPr lang="en-US" dirty="0"/>
          </a:p>
        </p:txBody>
      </p:sp>
    </p:spTree>
    <p:extLst>
      <p:ext uri="{BB962C8B-B14F-4D97-AF65-F5344CB8AC3E}">
        <p14:creationId xmlns:p14="http://schemas.microsoft.com/office/powerpoint/2010/main" val="26590185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dirty="0">
                <a:sym typeface="Wingdings" panose="05000000000000000000" pitchFamily="2" charset="2"/>
              </a:rPr>
              <a:t>Rounding Notes - </a:t>
            </a: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sym typeface="Wingdings" panose="05000000000000000000" pitchFamily="2" charset="2"/>
              </a:rPr>
              <a:t>BST – 36.69 (Very satisfied) + 53.64 (Satisfied) = 90.34  90%</a:t>
            </a:r>
          </a:p>
        </p:txBody>
      </p:sp>
      <p:sp>
        <p:nvSpPr>
          <p:cNvPr id="4" name="Slide Number Placeholder 3"/>
          <p:cNvSpPr>
            <a:spLocks noGrp="1"/>
          </p:cNvSpPr>
          <p:nvPr>
            <p:ph type="sldNum" sz="quarter" idx="10"/>
          </p:nvPr>
        </p:nvSpPr>
        <p:spPr/>
        <p:txBody>
          <a:bodyPr/>
          <a:lstStyle/>
          <a:p>
            <a:fld id="{8BB5466B-1857-43FB-B46F-C4153A210AF3}" type="slidenum">
              <a:rPr lang="en-US" smtClean="0"/>
              <a:t>42</a:t>
            </a:fld>
            <a:endParaRPr lang="en-US" dirty="0"/>
          </a:p>
        </p:txBody>
      </p:sp>
    </p:spTree>
    <p:extLst>
      <p:ext uri="{BB962C8B-B14F-4D97-AF65-F5344CB8AC3E}">
        <p14:creationId xmlns:p14="http://schemas.microsoft.com/office/powerpoint/2010/main" val="22380860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GB" sz="1400" b="1" dirty="0">
                <a:solidFill>
                  <a:srgbClr val="FFFFFF"/>
                </a:solidFill>
                <a:cs typeface="Arial" pitchFamily="34" charset="0"/>
              </a:rPr>
              <a:t>Rounding Notes - </a:t>
            </a:r>
          </a:p>
          <a:p>
            <a:pPr>
              <a:buNone/>
            </a:pPr>
            <a:r>
              <a:rPr lang="en-GB" sz="1400" b="0" dirty="0">
                <a:solidFill>
                  <a:srgbClr val="FFFFFF"/>
                </a:solidFill>
                <a:cs typeface="Arial" pitchFamily="34" charset="0"/>
              </a:rPr>
              <a:t>Home – 40.49 (Very satisfied) + 43.23 (Satisfied) = 83.71 </a:t>
            </a:r>
            <a:r>
              <a:rPr lang="en-GB" sz="1400" b="0" dirty="0">
                <a:solidFill>
                  <a:srgbClr val="FFFFFF"/>
                </a:solidFill>
                <a:cs typeface="Arial" pitchFamily="34" charset="0"/>
                <a:sym typeface="Wingdings" panose="05000000000000000000" pitchFamily="2" charset="2"/>
              </a:rPr>
              <a:t> 84% </a:t>
            </a:r>
          </a:p>
          <a:p>
            <a:pPr>
              <a:buNone/>
            </a:pPr>
            <a:endParaRPr lang="en-GB" sz="1400" b="1" dirty="0">
              <a:solidFill>
                <a:srgbClr val="FFFFFF"/>
              </a:solidFill>
              <a:cs typeface="Arial" pitchFamily="34" charset="0"/>
            </a:endParaRPr>
          </a:p>
          <a:p>
            <a:r>
              <a:rPr lang="en-GB" sz="1400" b="1" dirty="0">
                <a:solidFill>
                  <a:srgbClr val="FFFFFF"/>
                </a:solidFill>
                <a:cs typeface="Arial" pitchFamily="34" charset="0"/>
              </a:rPr>
              <a:t>Note 1 – </a:t>
            </a:r>
            <a:r>
              <a:rPr lang="en-GB" sz="1400" dirty="0">
                <a:solidFill>
                  <a:srgbClr val="FFFFFF"/>
                </a:solidFill>
                <a:cs typeface="Arial" pitchFamily="34" charset="0"/>
              </a:rPr>
              <a:t>employees were given the option to select 'N/A' if any of these working environments did not apply to them. The 'At Client Sites' option only includes CT respondents.</a:t>
            </a:r>
          </a:p>
        </p:txBody>
      </p:sp>
      <p:sp>
        <p:nvSpPr>
          <p:cNvPr id="4" name="Slide Number Placeholder 3"/>
          <p:cNvSpPr>
            <a:spLocks noGrp="1"/>
          </p:cNvSpPr>
          <p:nvPr>
            <p:ph type="sldNum" sz="quarter" idx="10"/>
          </p:nvPr>
        </p:nvSpPr>
        <p:spPr/>
        <p:txBody>
          <a:bodyPr/>
          <a:lstStyle/>
          <a:p>
            <a:fld id="{8BB5466B-1857-43FB-B46F-C4153A210AF3}" type="slidenum">
              <a:rPr lang="en-US" smtClean="0"/>
              <a:t>44</a:t>
            </a:fld>
            <a:endParaRPr lang="en-US" dirty="0"/>
          </a:p>
        </p:txBody>
      </p:sp>
    </p:spTree>
    <p:extLst>
      <p:ext uri="{BB962C8B-B14F-4D97-AF65-F5344CB8AC3E}">
        <p14:creationId xmlns:p14="http://schemas.microsoft.com/office/powerpoint/2010/main" val="36617426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GB" sz="1400" b="1" dirty="0">
                <a:solidFill>
                  <a:srgbClr val="FFFFFF"/>
                </a:solidFill>
                <a:cs typeface="Arial" pitchFamily="34" charset="0"/>
              </a:rPr>
              <a:t>Note 1 – </a:t>
            </a:r>
            <a:r>
              <a:rPr lang="en-GB" sz="1400" b="0" dirty="0">
                <a:solidFill>
                  <a:srgbClr val="FFFFFF"/>
                </a:solidFill>
                <a:cs typeface="Arial" pitchFamily="34" charset="0"/>
              </a:rPr>
              <a:t>The 2021 average represents Q2, Q3 &amp; Q4 2021 only.</a:t>
            </a:r>
          </a:p>
          <a:p>
            <a:r>
              <a:rPr lang="en-GB" sz="1400" b="1" dirty="0">
                <a:solidFill>
                  <a:srgbClr val="FFFFFF"/>
                </a:solidFill>
                <a:cs typeface="Arial" pitchFamily="34" charset="0"/>
              </a:rPr>
              <a:t>Note 2 </a:t>
            </a:r>
            <a:r>
              <a:rPr lang="en-GB" sz="1400" dirty="0">
                <a:solidFill>
                  <a:srgbClr val="FFFFFF"/>
                </a:solidFill>
                <a:cs typeface="Arial" pitchFamily="34" charset="0"/>
              </a:rPr>
              <a:t>– 'On-the-Go' was new in Q4 2021, hence the 2021 Average is the same as Q4.</a:t>
            </a:r>
          </a:p>
        </p:txBody>
      </p:sp>
      <p:sp>
        <p:nvSpPr>
          <p:cNvPr id="4" name="Slide Number Placeholder 3"/>
          <p:cNvSpPr>
            <a:spLocks noGrp="1"/>
          </p:cNvSpPr>
          <p:nvPr>
            <p:ph type="sldNum" sz="quarter" idx="10"/>
          </p:nvPr>
        </p:nvSpPr>
        <p:spPr/>
        <p:txBody>
          <a:bodyPr/>
          <a:lstStyle/>
          <a:p>
            <a:fld id="{8BB5466B-1857-43FB-B46F-C4153A210AF3}" type="slidenum">
              <a:rPr lang="en-US" smtClean="0"/>
              <a:t>45</a:t>
            </a:fld>
            <a:endParaRPr lang="en-US" dirty="0"/>
          </a:p>
        </p:txBody>
      </p:sp>
    </p:spTree>
    <p:extLst>
      <p:ext uri="{BB962C8B-B14F-4D97-AF65-F5344CB8AC3E}">
        <p14:creationId xmlns:p14="http://schemas.microsoft.com/office/powerpoint/2010/main" val="756437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6</a:t>
            </a:fld>
            <a:endParaRPr lang="en-US" dirty="0"/>
          </a:p>
        </p:txBody>
      </p:sp>
    </p:spTree>
    <p:extLst>
      <p:ext uri="{BB962C8B-B14F-4D97-AF65-F5344CB8AC3E}">
        <p14:creationId xmlns:p14="http://schemas.microsoft.com/office/powerpoint/2010/main" val="1769868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i="1" dirty="0">
                <a:solidFill>
                  <a:srgbClr val="575757"/>
                </a:solidFill>
              </a:rPr>
              <a:t>*</a:t>
            </a:r>
            <a:r>
              <a:rPr lang="en-US" sz="1200" i="1" dirty="0">
                <a:solidFill>
                  <a:srgbClr val="575757"/>
                </a:solidFill>
              </a:rPr>
              <a:t> - </a:t>
            </a:r>
            <a:r>
              <a:rPr lang="en-US" sz="1200" i="0" dirty="0">
                <a:solidFill>
                  <a:srgbClr val="575757"/>
                </a:solidFill>
              </a:rPr>
              <a:t>Alternative IT product or service that helps deliver the same or similar tasks </a:t>
            </a:r>
          </a:p>
          <a:p>
            <a:pPr>
              <a:buNone/>
            </a:pPr>
            <a:endParaRPr lang="en-US" b="1" dirty="0"/>
          </a:p>
          <a:p>
            <a:r>
              <a:rPr lang="en-US" b="1" dirty="0"/>
              <a:t>Note 1 </a:t>
            </a:r>
            <a:r>
              <a:rPr lang="en-US" dirty="0"/>
              <a:t>– Includes IT Support Overall, Local IT &amp; the IT Service Center</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2 </a:t>
            </a:r>
            <a:r>
              <a:rPr lang="en-US" dirty="0"/>
              <a:t>– Egnyt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3</a:t>
            </a:r>
            <a:r>
              <a:rPr lang="en-US" dirty="0"/>
              <a:t> – Slack</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4 </a:t>
            </a:r>
            <a:r>
              <a:rPr lang="en-US" dirty="0"/>
              <a:t>– Chrome River &amp; Infor</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5 </a:t>
            </a:r>
            <a:r>
              <a:rPr lang="en-US" dirty="0"/>
              <a:t>– Newly added in Q1, 2021 – and reflected as Business Critical aligning with the criticality in Service Now.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6 </a:t>
            </a:r>
            <a:r>
              <a:rPr lang="en-US" dirty="0"/>
              <a:t>– Office WiFi was not included since the Q2, 2020 survey given the remote working situation</a:t>
            </a:r>
          </a:p>
          <a:p>
            <a:pPr>
              <a:buNone/>
            </a:pPr>
            <a:r>
              <a:rPr lang="en-US" b="1" dirty="0"/>
              <a:t>Note 7 </a:t>
            </a:r>
            <a:r>
              <a:rPr lang="en-US" dirty="0"/>
              <a:t>– Includes Zoom &amp; meeting rooms (e.g., booking a room, in-room conferencing equipment). Questions on meeting rooms were not asked since Q2, 2020 given the remote working situation</a:t>
            </a:r>
          </a:p>
          <a:p>
            <a:pPr lvl="0"/>
            <a:r>
              <a:rPr lang="en-US" b="1" dirty="0"/>
              <a:t>Note 8</a:t>
            </a:r>
            <a:r>
              <a:rPr lang="en-US" dirty="0"/>
              <a:t> – </a:t>
            </a:r>
            <a:r>
              <a:rPr lang="en-US" sz="1200" kern="1200" dirty="0">
                <a:solidFill>
                  <a:schemeClr val="tx1"/>
                </a:solidFill>
                <a:effectLst/>
                <a:latin typeface="+mn-lt"/>
                <a:ea typeface="+mn-ea"/>
                <a:cs typeface="+mn-cs"/>
              </a:rPr>
              <a:t>Slack, Egnyte, Chrome River, Chrome River SNAP, Okta, Zoom, Email, Calendaring, OneNote, PowerPoint, Excel, Word</a:t>
            </a: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8084132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7</a:t>
            </a:fld>
            <a:endParaRPr lang="en-US" dirty="0"/>
          </a:p>
        </p:txBody>
      </p:sp>
    </p:spTree>
    <p:extLst>
      <p:ext uri="{BB962C8B-B14F-4D97-AF65-F5344CB8AC3E}">
        <p14:creationId xmlns:p14="http://schemas.microsoft.com/office/powerpoint/2010/main" val="24891731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8</a:t>
            </a:fld>
            <a:endParaRPr lang="en-US" dirty="0"/>
          </a:p>
        </p:txBody>
      </p:sp>
    </p:spTree>
    <p:extLst>
      <p:ext uri="{BB962C8B-B14F-4D97-AF65-F5344CB8AC3E}">
        <p14:creationId xmlns:p14="http://schemas.microsoft.com/office/powerpoint/2010/main" val="201603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9</a:t>
            </a:fld>
            <a:endParaRPr lang="en-US" dirty="0"/>
          </a:p>
        </p:txBody>
      </p:sp>
    </p:spTree>
    <p:extLst>
      <p:ext uri="{BB962C8B-B14F-4D97-AF65-F5344CB8AC3E}">
        <p14:creationId xmlns:p14="http://schemas.microsoft.com/office/powerpoint/2010/main" val="37277164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a:t>
            </a:r>
            <a:r>
              <a:rPr lang="en-US" dirty="0"/>
              <a:t>– given Tribe re-alignment, Outlook / Email no longer appears in this section &amp; can be found in the Digital Collaboration Tribe section (slide 67).</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0</a:t>
            </a:fld>
            <a:endParaRPr lang="en-US" dirty="0"/>
          </a:p>
        </p:txBody>
      </p:sp>
    </p:spTree>
    <p:extLst>
      <p:ext uri="{BB962C8B-B14F-4D97-AF65-F5344CB8AC3E}">
        <p14:creationId xmlns:p14="http://schemas.microsoft.com/office/powerpoint/2010/main" val="30144218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Rounding Notes - </a:t>
            </a:r>
            <a:endParaRPr lang="en-US" b="0"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0" dirty="0"/>
              <a:t>Laptop – 20.73 (Very satisfied) + 41.71 (satisfied) = 62.44</a:t>
            </a:r>
            <a:r>
              <a:rPr lang="en-US" b="0" dirty="0">
                <a:sym typeface="Wingdings" panose="05000000000000000000" pitchFamily="2" charset="2"/>
              </a:rPr>
              <a:t> 62%</a:t>
            </a:r>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51</a:t>
            </a:fld>
            <a:endParaRPr lang="en-US" dirty="0"/>
          </a:p>
        </p:txBody>
      </p:sp>
    </p:spTree>
    <p:extLst>
      <p:ext uri="{BB962C8B-B14F-4D97-AF65-F5344CB8AC3E}">
        <p14:creationId xmlns:p14="http://schemas.microsoft.com/office/powerpoint/2010/main" val="19682366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262418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53</a:t>
            </a:fld>
            <a:endParaRPr lang="en-US" dirty="0"/>
          </a:p>
        </p:txBody>
      </p:sp>
    </p:spTree>
    <p:extLst>
      <p:ext uri="{BB962C8B-B14F-4D97-AF65-F5344CB8AC3E}">
        <p14:creationId xmlns:p14="http://schemas.microsoft.com/office/powerpoint/2010/main" val="10077064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Rounding Notes –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0" dirty="0"/>
              <a:t>Word – 30.54 (Very satisfied)+ 47.61 (Satisfied) = 78.15 </a:t>
            </a:r>
            <a:r>
              <a:rPr lang="en-US" b="0" dirty="0">
                <a:sym typeface="Wingdings" panose="05000000000000000000" pitchFamily="2" charset="2"/>
              </a:rPr>
              <a:t> 78%</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54</a:t>
            </a:fld>
            <a:endParaRPr lang="en-US" dirty="0"/>
          </a:p>
        </p:txBody>
      </p:sp>
    </p:spTree>
    <p:extLst>
      <p:ext uri="{BB962C8B-B14F-4D97-AF65-F5344CB8AC3E}">
        <p14:creationId xmlns:p14="http://schemas.microsoft.com/office/powerpoint/2010/main" val="24719854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55</a:t>
            </a:fld>
            <a:endParaRPr lang="en-US" dirty="0"/>
          </a:p>
        </p:txBody>
      </p:sp>
    </p:spTree>
    <p:extLst>
      <p:ext uri="{BB962C8B-B14F-4D97-AF65-F5344CB8AC3E}">
        <p14:creationId xmlns:p14="http://schemas.microsoft.com/office/powerpoint/2010/main" val="11959078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 </a:t>
            </a:r>
            <a:r>
              <a:rPr lang="en-US" sz="1200" b="0" dirty="0">
                <a:solidFill>
                  <a:srgbClr val="FFFFFF"/>
                </a:solidFill>
              </a:rPr>
              <a:t>previously, in 2019 Laptop Performance &amp; Stability were separate measures. From Q3 2020, they were combined, and a decision was made to separate again in Q4, 2020.</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56</a:t>
            </a:fld>
            <a:endParaRPr lang="en-US" dirty="0"/>
          </a:p>
        </p:txBody>
      </p:sp>
    </p:spTree>
    <p:extLst>
      <p:ext uri="{BB962C8B-B14F-4D97-AF65-F5344CB8AC3E}">
        <p14:creationId xmlns:p14="http://schemas.microsoft.com/office/powerpoint/2010/main" val="10761370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dirty="0"/>
              <a:t>depending on when your product or service was introduced in Pulse, there may not be a full annual average available.</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8293933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7</a:t>
            </a:fld>
            <a:endParaRPr lang="en-US" dirty="0"/>
          </a:p>
        </p:txBody>
      </p:sp>
    </p:spTree>
    <p:extLst>
      <p:ext uri="{BB962C8B-B14F-4D97-AF65-F5344CB8AC3E}">
        <p14:creationId xmlns:p14="http://schemas.microsoft.com/office/powerpoint/2010/main" val="6403659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dirty="0"/>
              <a:t>Not Outlook as this is now part of the Digital Collaboration Tribe. For comments that include Outlook, please see slide 76.</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8</a:t>
            </a:fld>
            <a:endParaRPr lang="en-US" dirty="0"/>
          </a:p>
        </p:txBody>
      </p:sp>
    </p:spTree>
    <p:extLst>
      <p:ext uri="{BB962C8B-B14F-4D97-AF65-F5344CB8AC3E}">
        <p14:creationId xmlns:p14="http://schemas.microsoft.com/office/powerpoint/2010/main" val="41012479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b="0" baseline="0" dirty="0"/>
          </a:p>
        </p:txBody>
      </p:sp>
      <p:sp>
        <p:nvSpPr>
          <p:cNvPr id="4" name="Slide Number Placeholder 3"/>
          <p:cNvSpPr>
            <a:spLocks noGrp="1"/>
          </p:cNvSpPr>
          <p:nvPr>
            <p:ph type="sldNum" sz="quarter" idx="10"/>
          </p:nvPr>
        </p:nvSpPr>
        <p:spPr/>
        <p:txBody>
          <a:bodyPr/>
          <a:lstStyle/>
          <a:p>
            <a:fld id="{8BB5466B-1857-43FB-B46F-C4153A210AF3}" type="slidenum">
              <a:rPr lang="en-US" smtClean="0"/>
              <a:t>59</a:t>
            </a:fld>
            <a:endParaRPr lang="en-US" dirty="0"/>
          </a:p>
        </p:txBody>
      </p:sp>
    </p:spTree>
    <p:extLst>
      <p:ext uri="{BB962C8B-B14F-4D97-AF65-F5344CB8AC3E}">
        <p14:creationId xmlns:p14="http://schemas.microsoft.com/office/powerpoint/2010/main" val="22376596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dirty="0"/>
              <a:t>Note 1 </a:t>
            </a:r>
            <a:r>
              <a:rPr lang="en-US" dirty="0"/>
              <a:t>– given Tribe re-alignment, Outlook for Mobile &amp; Calendaring no longer appears in this section &amp; can be found in the Digital Collaboration Tribe section (slide 74).</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0"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0"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60</a:t>
            </a:fld>
            <a:endParaRPr lang="en-US" dirty="0"/>
          </a:p>
        </p:txBody>
      </p:sp>
    </p:spTree>
    <p:extLst>
      <p:ext uri="{BB962C8B-B14F-4D97-AF65-F5344CB8AC3E}">
        <p14:creationId xmlns:p14="http://schemas.microsoft.com/office/powerpoint/2010/main" val="438655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dirty="0"/>
              <a:t>Note 1 </a:t>
            </a:r>
            <a:r>
              <a:rPr lang="en-US" dirty="0"/>
              <a:t>– given Tribe re-alignment, Outlook for Mobile &amp; Calendaring no longer appears in this section &amp; can be found in the Digital Collaboration Tribe section (slide 74).</a:t>
            </a:r>
            <a:endParaRPr lang="en-US" sz="1200" b="1" dirty="0">
              <a:solidFill>
                <a:srgbClr val="575757"/>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575757"/>
                </a:solidFill>
              </a:rPr>
              <a:t>Note 2 – </a:t>
            </a:r>
            <a:r>
              <a:rPr lang="en-US" sz="1200" dirty="0">
                <a:solidFill>
                  <a:srgbClr val="575757"/>
                </a:solidFill>
              </a:rPr>
              <a:t>the average is for Q3 &amp; Q4 only.</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dirty="0">
              <a:solidFill>
                <a:srgbClr val="575757"/>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61</a:t>
            </a:fld>
            <a:endParaRPr lang="en-US" dirty="0"/>
          </a:p>
        </p:txBody>
      </p:sp>
    </p:spTree>
    <p:extLst>
      <p:ext uri="{BB962C8B-B14F-4D97-AF65-F5344CB8AC3E}">
        <p14:creationId xmlns:p14="http://schemas.microsoft.com/office/powerpoint/2010/main" val="36671469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 </a:t>
            </a:r>
            <a:r>
              <a:rPr lang="en-US" dirty="0"/>
              <a:t>Outlook as this is now part of the Digital Collaboration Tribe. For comments that include Outlook, please see slide 76.</a:t>
            </a: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2</a:t>
            </a:fld>
            <a:endParaRPr lang="en-US" dirty="0"/>
          </a:p>
        </p:txBody>
      </p:sp>
    </p:spTree>
    <p:extLst>
      <p:ext uri="{BB962C8B-B14F-4D97-AF65-F5344CB8AC3E}">
        <p14:creationId xmlns:p14="http://schemas.microsoft.com/office/powerpoint/2010/main" val="140302273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64</a:t>
            </a:fld>
            <a:endParaRPr lang="en-US" dirty="0"/>
          </a:p>
        </p:txBody>
      </p:sp>
    </p:spTree>
    <p:extLst>
      <p:ext uri="{BB962C8B-B14F-4D97-AF65-F5344CB8AC3E}">
        <p14:creationId xmlns:p14="http://schemas.microsoft.com/office/powerpoint/2010/main" val="242982872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463233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6</a:t>
            </a:fld>
            <a:endParaRPr lang="en-US" dirty="0"/>
          </a:p>
        </p:txBody>
      </p:sp>
    </p:spTree>
    <p:extLst>
      <p:ext uri="{BB962C8B-B14F-4D97-AF65-F5344CB8AC3E}">
        <p14:creationId xmlns:p14="http://schemas.microsoft.com/office/powerpoint/2010/main" val="194114891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dirty="0"/>
              <a:t>Outlook, Outlook for Mobile &amp; Calendaring are newly added in the Digital Collaboration Tribe, formerly appearing in the Personal Productivity Tribe section. </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7</a:t>
            </a:fld>
            <a:endParaRPr lang="en-US" dirty="0"/>
          </a:p>
        </p:txBody>
      </p:sp>
    </p:spTree>
    <p:extLst>
      <p:ext uri="{BB962C8B-B14F-4D97-AF65-F5344CB8AC3E}">
        <p14:creationId xmlns:p14="http://schemas.microsoft.com/office/powerpoint/2010/main" val="1576943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00714165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68</a:t>
            </a:fld>
            <a:endParaRPr lang="en-US" dirty="0"/>
          </a:p>
        </p:txBody>
      </p:sp>
    </p:spTree>
    <p:extLst>
      <p:ext uri="{BB962C8B-B14F-4D97-AF65-F5344CB8AC3E}">
        <p14:creationId xmlns:p14="http://schemas.microsoft.com/office/powerpoint/2010/main" val="38005801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t>Rounding Notes - </a:t>
            </a:r>
          </a:p>
          <a:p>
            <a:r>
              <a:rPr lang="en-US" b="0" dirty="0"/>
              <a:t>BST – 28.66 (Very satisfied) + 55.64 (Satisfied) = 84.30 </a:t>
            </a:r>
            <a:r>
              <a:rPr lang="en-US" b="0" dirty="0">
                <a:sym typeface="Wingdings" panose="05000000000000000000" pitchFamily="2" charset="2"/>
              </a:rPr>
              <a:t> 84%</a:t>
            </a:r>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69</a:t>
            </a:fld>
            <a:endParaRPr lang="en-US" dirty="0"/>
          </a:p>
        </p:txBody>
      </p:sp>
    </p:spTree>
    <p:extLst>
      <p:ext uri="{BB962C8B-B14F-4D97-AF65-F5344CB8AC3E}">
        <p14:creationId xmlns:p14="http://schemas.microsoft.com/office/powerpoint/2010/main" val="13569627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GB" sz="1200" b="1" dirty="0">
                <a:solidFill>
                  <a:srgbClr val="FFFFFF"/>
                </a:solidFill>
                <a:cs typeface="Arial" pitchFamily="34" charset="0"/>
              </a:rPr>
              <a:t>Rounding Notes - </a:t>
            </a:r>
            <a:endParaRPr lang="en-GB" sz="1200" dirty="0">
              <a:solidFill>
                <a:srgbClr val="FFFFFF"/>
              </a:solidFill>
              <a:cs typeface="Arial" pitchFamily="34" charset="0"/>
            </a:endParaRPr>
          </a:p>
          <a:p>
            <a:pPr>
              <a:buNone/>
            </a:pPr>
            <a:r>
              <a:rPr lang="en-GB" sz="1200" dirty="0">
                <a:solidFill>
                  <a:srgbClr val="FFFFFF"/>
                </a:solidFill>
                <a:cs typeface="Arial" pitchFamily="34" charset="0"/>
              </a:rPr>
              <a:t>Outlook (Email)– 26.58 (Very satisfied) + 45.65 (Satisfied) = 72.23 </a:t>
            </a:r>
            <a:r>
              <a:rPr lang="en-GB" sz="1200" dirty="0">
                <a:solidFill>
                  <a:srgbClr val="FFFFFF"/>
                </a:solidFill>
                <a:cs typeface="Arial" pitchFamily="34" charset="0"/>
                <a:sym typeface="Wingdings" panose="05000000000000000000" pitchFamily="2" charset="2"/>
              </a:rPr>
              <a:t> 72%</a:t>
            </a:r>
          </a:p>
          <a:p>
            <a:pPr>
              <a:buNone/>
            </a:pPr>
            <a:r>
              <a:rPr lang="en-GB" sz="1200" dirty="0">
                <a:solidFill>
                  <a:srgbClr val="FFFFFF"/>
                </a:solidFill>
                <a:cs typeface="Arial" pitchFamily="34" charset="0"/>
                <a:sym typeface="Wingdings" panose="05000000000000000000" pitchFamily="2" charset="2"/>
              </a:rPr>
              <a:t>File Sharing using Egnyte – 29.35 (very satisfied) + 40.33 (Satisfied) = 69.68  70%</a:t>
            </a:r>
          </a:p>
          <a:p>
            <a:pPr>
              <a:buNone/>
            </a:pPr>
            <a:endParaRPr lang="en-GB" sz="1200" dirty="0">
              <a:solidFill>
                <a:srgbClr val="FFFFFF"/>
              </a:solidFill>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66723393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55625544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a:t>
            </a:r>
            <a:r>
              <a:rPr lang="en-US" sz="1200" b="0" dirty="0">
                <a:solidFill>
                  <a:srgbClr val="FFFFFF"/>
                </a:solidFill>
              </a:rPr>
              <a:t>– Zoom was included from Q3 2020, so the 2020 average is only for Q3 &amp; Q4.</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2 </a:t>
            </a:r>
            <a:r>
              <a:rPr lang="en-US" sz="1200" b="0" dirty="0">
                <a:solidFill>
                  <a:srgbClr val="FFFFFF"/>
                </a:solidFill>
              </a:rPr>
              <a:t>– OneDrive was introduced in Q4 '21, so average is same as the Q4 2021 sc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0584850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endParaRPr lang="en-GB" sz="1200" dirty="0">
              <a:solidFill>
                <a:srgbClr val="FFFFFF"/>
              </a:solidFill>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49558881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GB" sz="1200" b="1" dirty="0">
                <a:solidFill>
                  <a:srgbClr val="FFFFFF"/>
                </a:solidFill>
                <a:cs typeface="Arial" pitchFamily="34" charset="0"/>
              </a:rPr>
              <a:t>Rounding Notes -</a:t>
            </a:r>
            <a:endParaRPr lang="en-GB" sz="1200" dirty="0">
              <a:solidFill>
                <a:srgbClr val="FFFFFF"/>
              </a:solidFill>
              <a:cs typeface="Arial" pitchFamily="34" charset="0"/>
            </a:endParaRPr>
          </a:p>
          <a:p>
            <a:pPr>
              <a:buNone/>
            </a:pPr>
            <a:r>
              <a:rPr lang="en-GB" sz="1200" dirty="0">
                <a:solidFill>
                  <a:srgbClr val="FFFFFF"/>
                </a:solidFill>
                <a:cs typeface="Arial" pitchFamily="34" charset="0"/>
              </a:rPr>
              <a:t>Slack for Mobile – 54.41 (Very satisfied) + 35.61 (Satisfied) = 89.57 </a:t>
            </a:r>
            <a:r>
              <a:rPr lang="en-GB" sz="1200" dirty="0">
                <a:solidFill>
                  <a:srgbClr val="FFFFFF"/>
                </a:solidFill>
                <a:cs typeface="Arial" pitchFamily="34" charset="0"/>
                <a:sym typeface="Wingdings" panose="05000000000000000000" pitchFamily="2" charset="2"/>
              </a:rPr>
              <a:t> 90%</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200" dirty="0">
                <a:solidFill>
                  <a:srgbClr val="FFFFFF"/>
                </a:solidFill>
                <a:cs typeface="Arial" pitchFamily="34" charset="0"/>
              </a:rPr>
              <a:t>Native Email App – 21.75 (Very satisfied) + 52.72 (Satisfied) = 74.47 </a:t>
            </a:r>
            <a:r>
              <a:rPr lang="en-GB" sz="1200" dirty="0">
                <a:solidFill>
                  <a:srgbClr val="FFFFFF"/>
                </a:solidFill>
                <a:cs typeface="Arial" pitchFamily="34" charset="0"/>
                <a:sym typeface="Wingdings" panose="05000000000000000000" pitchFamily="2" charset="2"/>
              </a:rPr>
              <a:t> 74%</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200" dirty="0">
              <a:solidFill>
                <a:srgbClr val="FFFFFF"/>
              </a:solidFill>
              <a:cs typeface="Arial" pitchFamily="34" charset="0"/>
              <a:sym typeface="Wingdings" panose="05000000000000000000" pitchFamily="2" charset="2"/>
            </a:endParaRPr>
          </a:p>
          <a:p>
            <a:pPr>
              <a:buNone/>
            </a:pPr>
            <a:endParaRPr lang="en-GB" sz="1200" dirty="0">
              <a:solidFill>
                <a:srgbClr val="FFFFFF"/>
              </a:solidFill>
              <a:cs typeface="Arial" pitchFamily="34" charset="0"/>
              <a:sym typeface="Wingdings" panose="05000000000000000000" pitchFamily="2" charset="2"/>
            </a:endParaRPr>
          </a:p>
          <a:p>
            <a:pPr>
              <a:buNone/>
            </a:pPr>
            <a:endParaRPr lang="en-GB" sz="1200" dirty="0">
              <a:solidFill>
                <a:srgbClr val="FFFFFF"/>
              </a:solidFill>
              <a:cs typeface="Arial" pitchFamily="34" charset="0"/>
            </a:endParaRPr>
          </a:p>
          <a:p>
            <a:pPr>
              <a:buNone/>
            </a:pPr>
            <a:endParaRPr lang="en-GB" sz="1200" dirty="0">
              <a:solidFill>
                <a:srgbClr val="FFFFFF"/>
              </a:solidFill>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360647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a:t>
            </a:r>
            <a:r>
              <a:rPr lang="en-US" sz="1200" b="0" dirty="0">
                <a:solidFill>
                  <a:srgbClr val="FFFFFF"/>
                </a:solidFill>
              </a:rPr>
              <a:t>– these products were included from Q3 2020 &amp; so the 2020 average is only for Q3 &amp; Q4.</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B5466B-1857-43FB-B46F-C4153A210AF3}"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65148177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6</a:t>
            </a:fld>
            <a:endParaRPr lang="en-US" dirty="0"/>
          </a:p>
        </p:txBody>
      </p:sp>
    </p:spTree>
    <p:extLst>
      <p:ext uri="{BB962C8B-B14F-4D97-AF65-F5344CB8AC3E}">
        <p14:creationId xmlns:p14="http://schemas.microsoft.com/office/powerpoint/2010/main" val="419275042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8</a:t>
            </a:fld>
            <a:endParaRPr lang="en-US" dirty="0"/>
          </a:p>
        </p:txBody>
      </p:sp>
    </p:spTree>
    <p:extLst>
      <p:ext uri="{BB962C8B-B14F-4D97-AF65-F5344CB8AC3E}">
        <p14:creationId xmlns:p14="http://schemas.microsoft.com/office/powerpoint/2010/main" val="23512343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236568524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9</a:t>
            </a:fld>
            <a:endParaRPr lang="en-US" dirty="0"/>
          </a:p>
        </p:txBody>
      </p:sp>
    </p:spTree>
    <p:extLst>
      <p:ext uri="{BB962C8B-B14F-4D97-AF65-F5344CB8AC3E}">
        <p14:creationId xmlns:p14="http://schemas.microsoft.com/office/powerpoint/2010/main" val="373308528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b="1" i="0" u="none" strike="noStrike" kern="1200" baseline="0" dirty="0">
                <a:solidFill>
                  <a:schemeClr val="tx1"/>
                </a:solidFill>
                <a:effectLst/>
                <a:latin typeface="+mn-lt"/>
                <a:ea typeface="+mn-ea"/>
                <a:cs typeface="+mn-cs"/>
                <a:sym typeface="Wingdings" panose="05000000000000000000" pitchFamily="2" charset="2"/>
              </a:rPr>
              <a:t>Note 1 – </a:t>
            </a:r>
            <a:r>
              <a:rPr lang="en-GB" sz="1200" b="0" i="0" u="none" strike="noStrike" kern="1200" baseline="0" dirty="0">
                <a:solidFill>
                  <a:schemeClr val="tx1"/>
                </a:solidFill>
                <a:effectLst/>
                <a:latin typeface="+mn-lt"/>
                <a:ea typeface="+mn-ea"/>
                <a:cs typeface="+mn-cs"/>
                <a:sym typeface="Wingdings" panose="05000000000000000000" pitchFamily="2" charset="2"/>
              </a:rPr>
              <a:t>Whilst KN has had an overall score in past surveys from a dedicated question, from Q4 2021 this score is now derived as an average of the other three experience area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b="1" i="0" u="none" strike="noStrike" kern="1200" baseline="0" dirty="0">
                <a:solidFill>
                  <a:schemeClr val="tx1"/>
                </a:solidFill>
                <a:effectLst/>
                <a:latin typeface="+mn-lt"/>
                <a:ea typeface="+mn-ea"/>
                <a:cs typeface="+mn-cs"/>
                <a:sym typeface="Wingdings" panose="05000000000000000000" pitchFamily="2" charset="2"/>
              </a:rPr>
              <a:t>Rounding Notes - </a:t>
            </a:r>
            <a:endParaRPr lang="en-GB" sz="1200" b="0" i="0" u="none" strike="noStrike" kern="1200" baseline="0" dirty="0">
              <a:solidFill>
                <a:schemeClr val="tx1"/>
              </a:solidFill>
              <a:effectLst/>
              <a:latin typeface="+mn-lt"/>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b="0" i="0" u="none" strike="noStrike" kern="1200" baseline="0" dirty="0" err="1">
                <a:solidFill>
                  <a:schemeClr val="tx1"/>
                </a:solidFill>
                <a:effectLst/>
                <a:latin typeface="+mn-lt"/>
                <a:ea typeface="+mn-ea"/>
                <a:cs typeface="+mn-cs"/>
                <a:sym typeface="Wingdings" panose="05000000000000000000" pitchFamily="2" charset="2"/>
              </a:rPr>
              <a:t>KN</a:t>
            </a:r>
            <a:r>
              <a:rPr lang="en-GB" sz="1200" b="0" i="0" u="none" strike="noStrike" kern="1200" baseline="0" dirty="0">
                <a:solidFill>
                  <a:schemeClr val="tx1"/>
                </a:solidFill>
                <a:effectLst/>
                <a:latin typeface="+mn-lt"/>
                <a:ea typeface="+mn-ea"/>
                <a:cs typeface="+mn-cs"/>
                <a:sym typeface="Wingdings" panose="05000000000000000000" pitchFamily="2" charset="2"/>
              </a:rPr>
              <a:t> – Search : 21.63 (Very satisfied) + 42.68 (Satisfied) = 64.31  64%</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b="0" i="0" u="none" strike="noStrike" kern="1200" baseline="0" dirty="0" err="1">
                <a:solidFill>
                  <a:schemeClr val="tx1"/>
                </a:solidFill>
                <a:effectLst/>
                <a:latin typeface="+mn-lt"/>
                <a:ea typeface="+mn-ea"/>
                <a:cs typeface="+mn-cs"/>
                <a:sym typeface="Wingdings" panose="05000000000000000000" pitchFamily="2" charset="2"/>
              </a:rPr>
              <a:t>KN</a:t>
            </a:r>
            <a:r>
              <a:rPr lang="en-GB" sz="1200" b="0" i="0" u="none" strike="noStrike" kern="1200" baseline="0" dirty="0">
                <a:solidFill>
                  <a:schemeClr val="tx1"/>
                </a:solidFill>
                <a:effectLst/>
                <a:latin typeface="+mn-lt"/>
                <a:ea typeface="+mn-ea"/>
                <a:cs typeface="+mn-cs"/>
                <a:sym typeface="Wingdings" panose="05000000000000000000" pitchFamily="2" charset="2"/>
              </a:rPr>
              <a:t> – Knowledge Contribution : 19.70 (Very satisfied) + 43.69 (Satisfied) = 63.39  63%</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b="0" i="0" u="none" strike="noStrike" kern="1200" baseline="0" dirty="0" err="1">
                <a:solidFill>
                  <a:schemeClr val="tx1"/>
                </a:solidFill>
                <a:effectLst/>
                <a:latin typeface="+mn-lt"/>
                <a:ea typeface="+mn-ea"/>
                <a:cs typeface="+mn-cs"/>
                <a:sym typeface="Wingdings" panose="05000000000000000000" pitchFamily="2" charset="2"/>
              </a:rPr>
              <a:t>KN</a:t>
            </a:r>
            <a:r>
              <a:rPr lang="en-GB" sz="1200" b="0" i="0" u="none" strike="noStrike" kern="1200" baseline="0" dirty="0">
                <a:solidFill>
                  <a:schemeClr val="tx1"/>
                </a:solidFill>
                <a:effectLst/>
                <a:latin typeface="+mn-lt"/>
                <a:ea typeface="+mn-ea"/>
                <a:cs typeface="+mn-cs"/>
                <a:sym typeface="Wingdings" panose="05000000000000000000" pitchFamily="2" charset="2"/>
              </a:rPr>
              <a:t> – Topic Pages : 18.51 (Very satisfied) + 43.97 (Satisfied) = 62.48  62%</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b="0" i="0" u="none" strike="noStrike" kern="1200" baseline="0" dirty="0">
                <a:solidFill>
                  <a:schemeClr val="tx1"/>
                </a:solidFill>
                <a:effectLst/>
                <a:latin typeface="+mn-lt"/>
                <a:ea typeface="+mn-ea"/>
                <a:cs typeface="+mn-cs"/>
                <a:sym typeface="Wingdings" panose="05000000000000000000" pitchFamily="2" charset="2"/>
              </a:rPr>
              <a:t>Search Overall – 11.28 (Very satisfied) + 44.49 (Satisfied) = 55.77  56%</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u="none" strike="noStrike" kern="1200" baseline="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80</a:t>
            </a:fld>
            <a:endParaRPr lang="en-US" dirty="0"/>
          </a:p>
        </p:txBody>
      </p:sp>
    </p:spTree>
    <p:extLst>
      <p:ext uri="{BB962C8B-B14F-4D97-AF65-F5344CB8AC3E}">
        <p14:creationId xmlns:p14="http://schemas.microsoft.com/office/powerpoint/2010/main" val="14259203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81</a:t>
            </a:fld>
            <a:endParaRPr lang="en-US" dirty="0"/>
          </a:p>
        </p:txBody>
      </p:sp>
    </p:spTree>
    <p:extLst>
      <p:ext uri="{BB962C8B-B14F-4D97-AF65-F5344CB8AC3E}">
        <p14:creationId xmlns:p14="http://schemas.microsoft.com/office/powerpoint/2010/main" val="30629386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1 </a:t>
            </a:r>
            <a:r>
              <a:rPr lang="en-US" sz="1200" b="0" dirty="0">
                <a:solidFill>
                  <a:srgbClr val="FFFFFF"/>
                </a:solidFill>
              </a:rPr>
              <a:t>– </a:t>
            </a:r>
            <a:r>
              <a:rPr lang="en-US" baseline="0" dirty="0"/>
              <a:t>Knowledge Navigator questions were significantly redefined in Q4 2021. Comparing with historical data (e.g. Q4 '20 or annual averages) would not be comparing like-for-like.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FFFFFF"/>
                </a:solidFill>
              </a:rPr>
              <a:t>Note 2</a:t>
            </a:r>
            <a:r>
              <a:rPr lang="en-US" sz="1200" b="0" baseline="0" dirty="0">
                <a:solidFill>
                  <a:srgbClr val="FFFFFF"/>
                </a:solidFill>
              </a:rPr>
              <a:t> - </a:t>
            </a:r>
            <a:r>
              <a:rPr lang="en-US" sz="1200" b="0" dirty="0">
                <a:solidFill>
                  <a:srgbClr val="FFFFFF"/>
                </a:solidFill>
              </a:rPr>
              <a:t>The overall satisfaction is an average of the 3 sub-questions (KN – Search, KN – Knowledge Contribution, KN – Topic Pages). 2021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solidFill>
                  <a:srgbClr val="FFFFFF"/>
                </a:solidFill>
              </a:rPr>
              <a:t>Note 3 – </a:t>
            </a:r>
            <a:r>
              <a:rPr lang="en-US" sz="1200" b="0" dirty="0">
                <a:solidFill>
                  <a:srgbClr val="FFFFFF"/>
                </a:solidFill>
              </a:rPr>
              <a:t>The 2021 average for KN items is only Q4.</a:t>
            </a:r>
          </a:p>
        </p:txBody>
      </p:sp>
      <p:sp>
        <p:nvSpPr>
          <p:cNvPr id="4" name="Slide Number Placeholder 3"/>
          <p:cNvSpPr>
            <a:spLocks noGrp="1"/>
          </p:cNvSpPr>
          <p:nvPr>
            <p:ph type="sldNum" sz="quarter" idx="10"/>
          </p:nvPr>
        </p:nvSpPr>
        <p:spPr/>
        <p:txBody>
          <a:bodyPr/>
          <a:lstStyle/>
          <a:p>
            <a:fld id="{8BB5466B-1857-43FB-B46F-C4153A210AF3}" type="slidenum">
              <a:rPr lang="en-US" smtClean="0"/>
              <a:t>82</a:t>
            </a:fld>
            <a:endParaRPr lang="en-US" dirty="0"/>
          </a:p>
        </p:txBody>
      </p:sp>
    </p:spTree>
    <p:extLst>
      <p:ext uri="{BB962C8B-B14F-4D97-AF65-F5344CB8AC3E}">
        <p14:creationId xmlns:p14="http://schemas.microsoft.com/office/powerpoint/2010/main" val="116668518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3</a:t>
            </a:fld>
            <a:endParaRPr lang="en-US" dirty="0"/>
          </a:p>
        </p:txBody>
      </p:sp>
    </p:spTree>
    <p:extLst>
      <p:ext uri="{BB962C8B-B14F-4D97-AF65-F5344CB8AC3E}">
        <p14:creationId xmlns:p14="http://schemas.microsoft.com/office/powerpoint/2010/main" val="385975905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4</a:t>
            </a:fld>
            <a:endParaRPr lang="en-US" dirty="0"/>
          </a:p>
        </p:txBody>
      </p:sp>
    </p:spTree>
    <p:extLst>
      <p:ext uri="{BB962C8B-B14F-4D97-AF65-F5344CB8AC3E}">
        <p14:creationId xmlns:p14="http://schemas.microsoft.com/office/powerpoint/2010/main" val="282890477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5</a:t>
            </a:fld>
            <a:endParaRPr lang="en-US" dirty="0"/>
          </a:p>
        </p:txBody>
      </p:sp>
    </p:spTree>
    <p:extLst>
      <p:ext uri="{BB962C8B-B14F-4D97-AF65-F5344CB8AC3E}">
        <p14:creationId xmlns:p14="http://schemas.microsoft.com/office/powerpoint/2010/main" val="356191279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7</a:t>
            </a:fld>
            <a:endParaRPr lang="en-US" dirty="0"/>
          </a:p>
        </p:txBody>
      </p:sp>
    </p:spTree>
    <p:extLst>
      <p:ext uri="{BB962C8B-B14F-4D97-AF65-F5344CB8AC3E}">
        <p14:creationId xmlns:p14="http://schemas.microsoft.com/office/powerpoint/2010/main" val="85019735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BB5466B-1857-43FB-B46F-C4153A210AF3}" type="slidenum">
              <a:rPr lang="en-US" smtClean="0"/>
              <a:t>88</a:t>
            </a:fld>
            <a:endParaRPr lang="en-US" dirty="0"/>
          </a:p>
        </p:txBody>
      </p:sp>
    </p:spTree>
    <p:extLst>
      <p:ext uri="{BB962C8B-B14F-4D97-AF65-F5344CB8AC3E}">
        <p14:creationId xmlns:p14="http://schemas.microsoft.com/office/powerpoint/2010/main" val="425428838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Rounding Notes </a:t>
            </a:r>
            <a:r>
              <a:rPr lang="en-US" dirty="0"/>
              <a:t>–</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CT – 37.69 (Very satisfied) + 44.51 (Satisfied) = 82.20 </a:t>
            </a:r>
            <a:r>
              <a:rPr lang="en-US" dirty="0">
                <a:sym typeface="Wingdings" panose="05000000000000000000" pitchFamily="2" charset="2"/>
              </a:rPr>
              <a:t> 82%</a:t>
            </a:r>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89</a:t>
            </a:fld>
            <a:endParaRPr lang="en-US" dirty="0"/>
          </a:p>
        </p:txBody>
      </p:sp>
    </p:spTree>
    <p:extLst>
      <p:ext uri="{BB962C8B-B14F-4D97-AF65-F5344CB8AC3E}">
        <p14:creationId xmlns:p14="http://schemas.microsoft.com/office/powerpoint/2010/main" val="4174909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35553662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US" b="1" dirty="0">
                <a:sym typeface="Wingdings" panose="05000000000000000000" pitchFamily="2" charset="2"/>
              </a:rPr>
              <a:t>Rounding Notes</a:t>
            </a:r>
            <a:endParaRPr lang="en-US" dirty="0">
              <a:sym typeface="Wingdings" panose="05000000000000000000" pitchFamily="2" charset="2"/>
            </a:endParaRPr>
          </a:p>
          <a:p>
            <a:r>
              <a:rPr lang="en-US" dirty="0">
                <a:sym typeface="Wingdings" panose="05000000000000000000" pitchFamily="2" charset="2"/>
              </a:rPr>
              <a:t>AP – 36.93 (Very satisfied) + 46.69 (Satisfied) = 83.62  84%</a:t>
            </a:r>
          </a:p>
        </p:txBody>
      </p:sp>
      <p:sp>
        <p:nvSpPr>
          <p:cNvPr id="4" name="Slide Number Placeholder 3"/>
          <p:cNvSpPr>
            <a:spLocks noGrp="1"/>
          </p:cNvSpPr>
          <p:nvPr>
            <p:ph type="sldNum" sz="quarter" idx="10"/>
          </p:nvPr>
        </p:nvSpPr>
        <p:spPr/>
        <p:txBody>
          <a:bodyPr/>
          <a:lstStyle/>
          <a:p>
            <a:fld id="{8BB5466B-1857-43FB-B46F-C4153A210AF3}" type="slidenum">
              <a:rPr lang="en-US" smtClean="0"/>
              <a:t>90</a:t>
            </a:fld>
            <a:endParaRPr lang="en-US" dirty="0"/>
          </a:p>
        </p:txBody>
      </p:sp>
    </p:spTree>
    <p:extLst>
      <p:ext uri="{BB962C8B-B14F-4D97-AF65-F5344CB8AC3E}">
        <p14:creationId xmlns:p14="http://schemas.microsoft.com/office/powerpoint/2010/main" val="228200263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dirty="0">
              <a:solidFill>
                <a:srgbClr val="575757"/>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1</a:t>
            </a:fld>
            <a:endParaRPr lang="en-US" dirty="0"/>
          </a:p>
        </p:txBody>
      </p:sp>
    </p:spTree>
    <p:extLst>
      <p:ext uri="{BB962C8B-B14F-4D97-AF65-F5344CB8AC3E}">
        <p14:creationId xmlns:p14="http://schemas.microsoft.com/office/powerpoint/2010/main" val="273638676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92</a:t>
            </a:fld>
            <a:endParaRPr lang="en-US" dirty="0"/>
          </a:p>
        </p:txBody>
      </p:sp>
    </p:spTree>
    <p:extLst>
      <p:ext uri="{BB962C8B-B14F-4D97-AF65-F5344CB8AC3E}">
        <p14:creationId xmlns:p14="http://schemas.microsoft.com/office/powerpoint/2010/main" val="3346198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93</a:t>
            </a:fld>
            <a:endParaRPr lang="en-US" dirty="0"/>
          </a:p>
        </p:txBody>
      </p:sp>
    </p:spTree>
    <p:extLst>
      <p:ext uri="{BB962C8B-B14F-4D97-AF65-F5344CB8AC3E}">
        <p14:creationId xmlns:p14="http://schemas.microsoft.com/office/powerpoint/2010/main" val="2480731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4</a:t>
            </a:fld>
            <a:endParaRPr lang="en-US" dirty="0"/>
          </a:p>
        </p:txBody>
      </p:sp>
    </p:spTree>
    <p:extLst>
      <p:ext uri="{BB962C8B-B14F-4D97-AF65-F5344CB8AC3E}">
        <p14:creationId xmlns:p14="http://schemas.microsoft.com/office/powerpoint/2010/main" val="33509937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5</a:t>
            </a:fld>
            <a:endParaRPr lang="en-US" dirty="0"/>
          </a:p>
        </p:txBody>
      </p:sp>
    </p:spTree>
    <p:extLst>
      <p:ext uri="{BB962C8B-B14F-4D97-AF65-F5344CB8AC3E}">
        <p14:creationId xmlns:p14="http://schemas.microsoft.com/office/powerpoint/2010/main" val="2430132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96</a:t>
            </a:fld>
            <a:endParaRPr lang="en-US" dirty="0"/>
          </a:p>
        </p:txBody>
      </p:sp>
    </p:spTree>
    <p:extLst>
      <p:ext uri="{BB962C8B-B14F-4D97-AF65-F5344CB8AC3E}">
        <p14:creationId xmlns:p14="http://schemas.microsoft.com/office/powerpoint/2010/main" val="203836770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baseline="0" dirty="0">
                <a:solidFill>
                  <a:srgbClr val="575757"/>
                </a:solidFill>
                <a:sym typeface="Wingdings" panose="05000000000000000000" pitchFamily="2" charset="2"/>
              </a:rPr>
              <a:t>Rounding Notes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0" baseline="0" dirty="0">
                <a:solidFill>
                  <a:srgbClr val="575757"/>
                </a:solidFill>
                <a:sym typeface="Wingdings" panose="05000000000000000000" pitchFamily="2" charset="2"/>
              </a:rPr>
              <a:t>Local IT – 65.10 (Very satisfied) + 27.48 (Satisfied) = 92.58  93%</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0" baseline="0" dirty="0">
                <a:solidFill>
                  <a:srgbClr val="575757"/>
                </a:solidFill>
                <a:sym typeface="Wingdings" panose="05000000000000000000" pitchFamily="2" charset="2"/>
              </a:rPr>
              <a:t>IT Connect - </a:t>
            </a:r>
            <a:r>
              <a:rPr lang="en-US" sz="1200" b="1" baseline="0" dirty="0">
                <a:solidFill>
                  <a:srgbClr val="575757"/>
                </a:solidFill>
                <a:sym typeface="Wingdings" panose="05000000000000000000" pitchFamily="2" charset="2"/>
              </a:rPr>
              <a:t> </a:t>
            </a:r>
            <a:r>
              <a:rPr lang="en-US" sz="1200" b="0" baseline="0" dirty="0">
                <a:solidFill>
                  <a:srgbClr val="575757"/>
                </a:solidFill>
                <a:sym typeface="Wingdings" panose="05000000000000000000" pitchFamily="2" charset="2"/>
              </a:rPr>
              <a:t>33.23 (Very satisfied) + 48.31 (Satisfied) = 81.54  82%</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baseline="0" dirty="0">
              <a:solidFill>
                <a:srgbClr val="575757"/>
              </a:solidFill>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7</a:t>
            </a:fld>
            <a:endParaRPr lang="en-US" dirty="0"/>
          </a:p>
        </p:txBody>
      </p:sp>
    </p:spTree>
    <p:extLst>
      <p:ext uri="{BB962C8B-B14F-4D97-AF65-F5344CB8AC3E}">
        <p14:creationId xmlns:p14="http://schemas.microsoft.com/office/powerpoint/2010/main" val="291803275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98</a:t>
            </a:fld>
            <a:endParaRPr lang="en-US" dirty="0"/>
          </a:p>
        </p:txBody>
      </p:sp>
    </p:spTree>
    <p:extLst>
      <p:ext uri="{BB962C8B-B14F-4D97-AF65-F5344CB8AC3E}">
        <p14:creationId xmlns:p14="http://schemas.microsoft.com/office/powerpoint/2010/main" val="392346202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9</a:t>
            </a:fld>
            <a:endParaRPr lang="en-US" dirty="0"/>
          </a:p>
        </p:txBody>
      </p:sp>
    </p:spTree>
    <p:extLst>
      <p:ext uri="{BB962C8B-B14F-4D97-AF65-F5344CB8AC3E}">
        <p14:creationId xmlns:p14="http://schemas.microsoft.com/office/powerpoint/2010/main" val="532781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354511114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0</a:t>
            </a:fld>
            <a:endParaRPr lang="en-US" dirty="0"/>
          </a:p>
        </p:txBody>
      </p:sp>
    </p:spTree>
    <p:extLst>
      <p:ext uri="{BB962C8B-B14F-4D97-AF65-F5344CB8AC3E}">
        <p14:creationId xmlns:p14="http://schemas.microsoft.com/office/powerpoint/2010/main" val="324825263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r>
              <a:rPr lang="en-GB" sz="1200" b="1" i="0" u="none" strike="noStrike" kern="1200" baseline="0" dirty="0">
                <a:solidFill>
                  <a:schemeClr val="tx1"/>
                </a:solidFill>
                <a:latin typeface="+mn-lt"/>
                <a:ea typeface="+mn-ea"/>
                <a:cs typeface="+mn-cs"/>
              </a:rPr>
              <a:t>Rounding Notes - </a:t>
            </a:r>
          </a:p>
          <a:p>
            <a:r>
              <a:rPr lang="en-GB" sz="1200" b="0" i="0" u="none" strike="noStrike" kern="1200" baseline="0" dirty="0">
                <a:solidFill>
                  <a:schemeClr val="tx1"/>
                </a:solidFill>
                <a:latin typeface="+mn-lt"/>
                <a:ea typeface="+mn-ea"/>
                <a:cs typeface="+mn-cs"/>
              </a:rPr>
              <a:t>32.22 (Very satisfied) + 41.45 (Satisfied) = 73.78 </a:t>
            </a:r>
            <a:r>
              <a:rPr lang="en-GB" sz="1200" b="0" i="0" u="none" strike="noStrike" kern="1200" baseline="0" dirty="0">
                <a:solidFill>
                  <a:schemeClr val="tx1"/>
                </a:solidFill>
                <a:latin typeface="+mn-lt"/>
                <a:ea typeface="+mn-ea"/>
                <a:cs typeface="+mn-cs"/>
                <a:sym typeface="Wingdings" panose="05000000000000000000" pitchFamily="2" charset="2"/>
              </a:rPr>
              <a:t> 74%</a:t>
            </a:r>
            <a:endParaRPr lang="en-GB"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01</a:t>
            </a:fld>
            <a:endParaRPr lang="en-US" dirty="0"/>
          </a:p>
        </p:txBody>
      </p:sp>
    </p:spTree>
    <p:extLst>
      <p:ext uri="{BB962C8B-B14F-4D97-AF65-F5344CB8AC3E}">
        <p14:creationId xmlns:p14="http://schemas.microsoft.com/office/powerpoint/2010/main" val="25522934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02</a:t>
            </a:fld>
            <a:endParaRPr lang="en-US" dirty="0"/>
          </a:p>
        </p:txBody>
      </p:sp>
    </p:spTree>
    <p:extLst>
      <p:ext uri="{BB962C8B-B14F-4D97-AF65-F5344CB8AC3E}">
        <p14:creationId xmlns:p14="http://schemas.microsoft.com/office/powerpoint/2010/main" val="62752534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3</a:t>
            </a:fld>
            <a:endParaRPr lang="en-US" dirty="0"/>
          </a:p>
        </p:txBody>
      </p:sp>
    </p:spTree>
    <p:extLst>
      <p:ext uri="{BB962C8B-B14F-4D97-AF65-F5344CB8AC3E}">
        <p14:creationId xmlns:p14="http://schemas.microsoft.com/office/powerpoint/2010/main" val="68870607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b="0" dirty="0">
              <a:solidFill>
                <a:srgbClr val="FFFFFF"/>
              </a:solidFill>
            </a:endParaRPr>
          </a:p>
        </p:txBody>
      </p:sp>
      <p:sp>
        <p:nvSpPr>
          <p:cNvPr id="4" name="Slide Number Placeholder 3"/>
          <p:cNvSpPr>
            <a:spLocks noGrp="1"/>
          </p:cNvSpPr>
          <p:nvPr>
            <p:ph type="sldNum" sz="quarter" idx="10"/>
          </p:nvPr>
        </p:nvSpPr>
        <p:spPr/>
        <p:txBody>
          <a:bodyPr/>
          <a:lstStyle/>
          <a:p>
            <a:fld id="{8BB5466B-1857-43FB-B46F-C4153A210AF3}" type="slidenum">
              <a:rPr lang="en-US" smtClean="0"/>
              <a:t>105</a:t>
            </a:fld>
            <a:endParaRPr lang="en-US" dirty="0"/>
          </a:p>
        </p:txBody>
      </p:sp>
    </p:spTree>
    <p:extLst>
      <p:ext uri="{BB962C8B-B14F-4D97-AF65-F5344CB8AC3E}">
        <p14:creationId xmlns:p14="http://schemas.microsoft.com/office/powerpoint/2010/main" val="25768870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US" b="1" dirty="0">
                <a:sym typeface="Wingdings" panose="05000000000000000000" pitchFamily="2" charset="2"/>
              </a:rPr>
              <a:t>Rounding Notes - </a:t>
            </a:r>
          </a:p>
          <a:p>
            <a:pPr>
              <a:buNone/>
            </a:pPr>
            <a:r>
              <a:rPr lang="en-US" b="0" dirty="0">
                <a:sym typeface="Wingdings" panose="05000000000000000000" pitchFamily="2" charset="2"/>
              </a:rPr>
              <a:t>CT – 39.30 (Very satisfied) + 41.44 (Satisfied) = 80.74%  81%</a:t>
            </a:r>
          </a:p>
        </p:txBody>
      </p:sp>
      <p:sp>
        <p:nvSpPr>
          <p:cNvPr id="4" name="Slide Number Placeholder 3"/>
          <p:cNvSpPr>
            <a:spLocks noGrp="1"/>
          </p:cNvSpPr>
          <p:nvPr>
            <p:ph type="sldNum" sz="quarter" idx="10"/>
          </p:nvPr>
        </p:nvSpPr>
        <p:spPr/>
        <p:txBody>
          <a:bodyPr/>
          <a:lstStyle/>
          <a:p>
            <a:fld id="{8BB5466B-1857-43FB-B46F-C4153A210AF3}" type="slidenum">
              <a:rPr lang="en-US" smtClean="0"/>
              <a:t>106</a:t>
            </a:fld>
            <a:endParaRPr lang="en-US" dirty="0"/>
          </a:p>
        </p:txBody>
      </p:sp>
    </p:spTree>
    <p:extLst>
      <p:ext uri="{BB962C8B-B14F-4D97-AF65-F5344CB8AC3E}">
        <p14:creationId xmlns:p14="http://schemas.microsoft.com/office/powerpoint/2010/main" val="88065923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5466B-1857-43FB-B46F-C4153A210AF3}" type="slidenum">
              <a:rPr lang="en-US" smtClean="0"/>
              <a:t>107</a:t>
            </a:fld>
            <a:endParaRPr lang="en-US" dirty="0"/>
          </a:p>
        </p:txBody>
      </p:sp>
    </p:spTree>
    <p:extLst>
      <p:ext uri="{BB962C8B-B14F-4D97-AF65-F5344CB8AC3E}">
        <p14:creationId xmlns:p14="http://schemas.microsoft.com/office/powerpoint/2010/main" val="223257394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US" b="1" dirty="0">
                <a:sym typeface="Wingdings" panose="05000000000000000000" pitchFamily="2" charset="2"/>
              </a:rPr>
              <a:t>Rounding Notes - </a:t>
            </a:r>
          </a:p>
          <a:p>
            <a:pPr>
              <a:buNone/>
            </a:pPr>
            <a:r>
              <a:rPr lang="en-US" b="0" dirty="0">
                <a:sym typeface="Wingdings" panose="05000000000000000000" pitchFamily="2" charset="2"/>
              </a:rPr>
              <a:t>CT – 34.50 (Very satisfied) + 46.59 (Satisfied) = 81.09  81%</a:t>
            </a:r>
          </a:p>
        </p:txBody>
      </p:sp>
      <p:sp>
        <p:nvSpPr>
          <p:cNvPr id="4" name="Slide Number Placeholder 3"/>
          <p:cNvSpPr>
            <a:spLocks noGrp="1"/>
          </p:cNvSpPr>
          <p:nvPr>
            <p:ph type="sldNum" sz="quarter" idx="10"/>
          </p:nvPr>
        </p:nvSpPr>
        <p:spPr/>
        <p:txBody>
          <a:bodyPr/>
          <a:lstStyle/>
          <a:p>
            <a:fld id="{8BB5466B-1857-43FB-B46F-C4153A210AF3}" type="slidenum">
              <a:rPr lang="en-US" smtClean="0"/>
              <a:t>108</a:t>
            </a:fld>
            <a:endParaRPr lang="en-US" dirty="0"/>
          </a:p>
        </p:txBody>
      </p:sp>
    </p:spTree>
    <p:extLst>
      <p:ext uri="{BB962C8B-B14F-4D97-AF65-F5344CB8AC3E}">
        <p14:creationId xmlns:p14="http://schemas.microsoft.com/office/powerpoint/2010/main" val="4089707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9</a:t>
            </a:fld>
            <a:endParaRPr lang="en-US" dirty="0"/>
          </a:p>
        </p:txBody>
      </p:sp>
    </p:spTree>
    <p:extLst>
      <p:ext uri="{BB962C8B-B14F-4D97-AF65-F5344CB8AC3E}">
        <p14:creationId xmlns:p14="http://schemas.microsoft.com/office/powerpoint/2010/main" val="372264857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pPr>
              <a:buNone/>
            </a:pPr>
            <a:r>
              <a:rPr lang="en-GB" sz="1200" b="1" dirty="0">
                <a:solidFill>
                  <a:srgbClr val="FFFFFF"/>
                </a:solidFill>
                <a:cs typeface="Arial" pitchFamily="34" charset="0"/>
              </a:rPr>
              <a:t>Note 1 </a:t>
            </a:r>
            <a:r>
              <a:rPr lang="en-GB" sz="1200" dirty="0">
                <a:solidFill>
                  <a:srgbClr val="FFFFFF"/>
                </a:solidFill>
                <a:cs typeface="Arial" pitchFamily="34" charset="0"/>
              </a:rPr>
              <a:t>– new question in Q3, '20. 2020 average is only for Q3 &amp; Q4</a:t>
            </a:r>
          </a:p>
        </p:txBody>
      </p:sp>
      <p:sp>
        <p:nvSpPr>
          <p:cNvPr id="4" name="Slide Number Placeholder 3"/>
          <p:cNvSpPr>
            <a:spLocks noGrp="1"/>
          </p:cNvSpPr>
          <p:nvPr>
            <p:ph type="sldNum" sz="quarter" idx="10"/>
          </p:nvPr>
        </p:nvSpPr>
        <p:spPr/>
        <p:txBody>
          <a:bodyPr/>
          <a:lstStyle/>
          <a:p>
            <a:fld id="{8BB5466B-1857-43FB-B46F-C4153A210AF3}" type="slidenum">
              <a:rPr lang="en-US" smtClean="0"/>
              <a:t>111</a:t>
            </a:fld>
            <a:endParaRPr lang="en-US" dirty="0"/>
          </a:p>
        </p:txBody>
      </p:sp>
    </p:spTree>
    <p:extLst>
      <p:ext uri="{BB962C8B-B14F-4D97-AF65-F5344CB8AC3E}">
        <p14:creationId xmlns:p14="http://schemas.microsoft.com/office/powerpoint/2010/main" val="17510424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7.xml"/><Relationship Id="rId10" Type="http://schemas.openxmlformats.org/officeDocument/2006/relationships/image" Target="../media/image4.jpeg"/><Relationship Id="rId4" Type="http://schemas.openxmlformats.org/officeDocument/2006/relationships/tags" Target="../tags/tag6.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50.xml"/><Relationship Id="rId7" Type="http://schemas.openxmlformats.org/officeDocument/2006/relationships/image" Target="../media/image2.emf"/><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2.xml"/><Relationship Id="rId4" Type="http://schemas.openxmlformats.org/officeDocument/2006/relationships/tags" Target="../tags/tag5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3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3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xml"/><Relationship Id="rId7" Type="http://schemas.openxmlformats.org/officeDocument/2006/relationships/oleObject" Target="../embeddings/oleObject6.bin"/><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6.xml"/><Relationship Id="rId10" Type="http://schemas.openxmlformats.org/officeDocument/2006/relationships/image" Target="../media/image4.jpeg"/><Relationship Id="rId4" Type="http://schemas.openxmlformats.org/officeDocument/2006/relationships/tags" Target="../tags/tag15.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20.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20.bin"/><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slideMaster" Target="../slideMasters/slideMaster2.xml"/><Relationship Id="rId5" Type="http://schemas.openxmlformats.org/officeDocument/2006/relationships/tags" Target="../tags/tag38.xml"/><Relationship Id="rId10" Type="http://schemas.openxmlformats.org/officeDocument/2006/relationships/image" Target="../media/image4.jpeg"/><Relationship Id="rId4" Type="http://schemas.openxmlformats.org/officeDocument/2006/relationships/tags" Target="../tags/tag37.xml"/><Relationship Id="rId9"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42.xml"/><Relationship Id="rId7" Type="http://schemas.openxmlformats.org/officeDocument/2006/relationships/image" Target="../media/image12.jpe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4.xml"/><Relationship Id="rId7" Type="http://schemas.openxmlformats.org/officeDocument/2006/relationships/oleObject" Target="../embeddings/oleObject24.bin"/><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46.xml"/><Relationship Id="rId10" Type="http://schemas.openxmlformats.org/officeDocument/2006/relationships/image" Target="../media/image4.jpeg"/><Relationship Id="rId4" Type="http://schemas.openxmlformats.org/officeDocument/2006/relationships/tags" Target="../tags/tag45.xml"/><Relationship Id="rId9" Type="http://schemas.openxmlformats.org/officeDocument/2006/relationships/image" Target="../media/image3.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32" name="TitleAndEndImages"/>
          <p:cNvPicPr>
            <a:picLocks noChangeAspect="1"/>
          </p:cNvPicPr>
          <p:nvPr userDrawn="1">
            <p:custDataLst>
              <p:tags r:id="rId4"/>
            </p:custDataLst>
          </p:nvPr>
        </p:nvPicPr>
        <p:blipFill rotWithShape="1">
          <a:blip r:embed="rId10" cstate="screen">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8472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78741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193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27856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23837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87368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43078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32821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69936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1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8098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64288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9340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1845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4700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84939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0089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8652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20488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93293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3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867551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16561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89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extBox 10"/>
          <p:cNvSpPr txBox="1"/>
          <p:nvPr userDrawn="1"/>
        </p:nvSpPr>
        <p:spPr>
          <a:xfrm>
            <a:off x="11616107" y="6558924"/>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49066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85845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28040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6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2"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58620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879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8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922645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09340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0784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092947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10147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093153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9808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98498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540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2"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33" name="TitleAndEndImages"/>
          <p:cNvPicPr>
            <a:picLocks noChangeAspect="1"/>
          </p:cNvPicPr>
          <p:nvPr userDrawn="1">
            <p:custDataLst>
              <p:tags r:id="rId4"/>
            </p:custDataLst>
          </p:nvPr>
        </p:nvPicPr>
        <p:blipFill rotWithShape="1">
          <a:blip r:embed="rId10" cstate="screen">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654890" y="65480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lin ang="27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extBox 10"/>
          <p:cNvSpPr txBox="1"/>
          <p:nvPr userDrawn="1"/>
        </p:nvSpPr>
        <p:spPr>
          <a:xfrm>
            <a:off x="11616107" y="6558924"/>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2"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61189A-9828-5E4D-B74F-37134CB1E053}"/>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contrast="66000"/>
                    </a14:imgEffect>
                  </a14:imgLayer>
                </a14:imgProps>
              </a:ext>
            </a:extLst>
          </a:blip>
          <a:srcRect/>
          <a:stretch/>
        </p:blipFill>
        <p:spPr>
          <a:xfrm flipH="1">
            <a:off x="2467" y="1"/>
            <a:ext cx="12187063" cy="6857999"/>
          </a:xfrm>
          <a:prstGeom prst="rect">
            <a:avLst/>
          </a:prstGeom>
        </p:spPr>
      </p:pic>
      <p:sp>
        <p:nvSpPr>
          <p:cNvPr id="8" name="Rectangle 7">
            <a:extLst>
              <a:ext uri="{FF2B5EF4-FFF2-40B4-BE49-F238E27FC236}">
                <a16:creationId xmlns:a16="http://schemas.microsoft.com/office/drawing/2014/main" id="{9F413CAF-84A6-F04F-AA88-8D406FF0CDA4}"/>
              </a:ext>
            </a:extLst>
          </p:cNvPr>
          <p:cNvSpPr/>
          <p:nvPr userDrawn="1"/>
        </p:nvSpPr>
        <p:spPr>
          <a:xfrm>
            <a:off x="-1" y="-2"/>
            <a:ext cx="12189531" cy="6858001"/>
          </a:xfrm>
          <a:prstGeom prst="rect">
            <a:avLst/>
          </a:prstGeom>
          <a:solidFill>
            <a:srgbClr val="2E3558">
              <a:alpha val="9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Title 4"/>
          <p:cNvSpPr>
            <a:spLocks noGrp="1"/>
          </p:cNvSpPr>
          <p:nvPr>
            <p:ph type="title" hasCustomPrompt="1"/>
          </p:nvPr>
        </p:nvSpPr>
        <p:spPr>
          <a:xfrm>
            <a:off x="630000" y="622800"/>
            <a:ext cx="9047400" cy="9694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7000" b="1" i="0" u="none" kern="1200" spc="-300" baseline="0">
                <a:solidFill>
                  <a:schemeClr val="bg1"/>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545097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3"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32" name="TitleAndEndImages"/>
          <p:cNvPicPr>
            <a:picLocks noChangeAspect="1"/>
          </p:cNvPicPr>
          <p:nvPr userDrawn="1">
            <p:custDataLst>
              <p:tags r:id="rId4"/>
            </p:custDataLst>
          </p:nvPr>
        </p:nvPicPr>
        <p:blipFill rotWithShape="1">
          <a:blip r:embed="rId10" cstate="screen">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527760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86488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97779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9623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7435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3164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1198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131683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07435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75026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5698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587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6391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36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187907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6085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16747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989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538428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22482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773271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4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313924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132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816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53905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34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6409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5"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8B672AA-ACD7-4F0B-AF6E-72AF185B53B8}"/>
              </a:ext>
            </a:extLst>
          </p:cNvPr>
          <p:cNvPicPr>
            <a:picLocks noChangeAspect="1"/>
          </p:cNvPicPr>
          <p:nvPr userDrawn="1"/>
        </p:nvPicPr>
        <p:blipFill>
          <a:blip r:embed="rId7">
            <a:extLst>
              <a:ext uri="{BEBA8EAE-BF5A-486C-A8C5-ECC9F3942E4B}">
                <a14:imgProps xmlns:a14="http://schemas.microsoft.com/office/drawing/2010/main">
                  <a14:imgLayer r:embed="rId8">
                    <a14:imgEffect>
                      <a14:saturation sat="0"/>
                    </a14:imgEffect>
                    <a14:imgEffect>
                      <a14:brightnessContrast contrast="66000"/>
                    </a14:imgEffect>
                  </a14:imgLayer>
                </a14:imgProps>
              </a:ext>
            </a:extLst>
          </a:blip>
          <a:srcRect/>
          <a:stretch/>
        </p:blipFill>
        <p:spPr>
          <a:xfrm flipH="1">
            <a:off x="2467" y="1"/>
            <a:ext cx="12187063" cy="6857999"/>
          </a:xfrm>
          <a:prstGeom prst="rect">
            <a:avLst/>
          </a:prstGeom>
        </p:spPr>
      </p:pic>
      <p:sp>
        <p:nvSpPr>
          <p:cNvPr id="11" name="Rectangle 10">
            <a:extLst>
              <a:ext uri="{FF2B5EF4-FFF2-40B4-BE49-F238E27FC236}">
                <a16:creationId xmlns:a16="http://schemas.microsoft.com/office/drawing/2014/main" id="{2C6DBA6D-1664-40F4-8206-097F20D64922}"/>
              </a:ext>
            </a:extLst>
          </p:cNvPr>
          <p:cNvSpPr/>
          <p:nvPr userDrawn="1"/>
        </p:nvSpPr>
        <p:spPr>
          <a:xfrm>
            <a:off x="2469" y="0"/>
            <a:ext cx="12189531" cy="6858001"/>
          </a:xfrm>
          <a:prstGeom prst="rect">
            <a:avLst/>
          </a:prstGeom>
          <a:solidFill>
            <a:srgbClr val="2E3558">
              <a:alpha val="9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Rectangle 7"/>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272424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42700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9"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33" name="TitleAndEndImages"/>
          <p:cNvPicPr>
            <a:picLocks noChangeAspect="1"/>
          </p:cNvPicPr>
          <p:nvPr userDrawn="1">
            <p:custDataLst>
              <p:tags r:id="rId4"/>
            </p:custDataLst>
          </p:nvPr>
        </p:nvPicPr>
        <p:blipFill rotWithShape="1">
          <a:blip r:embed="rId10" cstate="screen">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370711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8713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61255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slideLayout" Target="../slideLayouts/slideLayout118.xml"/><Relationship Id="rId55" Type="http://schemas.openxmlformats.org/officeDocument/2006/relationships/slideLayout" Target="../slideLayouts/slideLayout123.xml"/><Relationship Id="rId63" Type="http://schemas.openxmlformats.org/officeDocument/2006/relationships/slideLayout" Target="../slideLayouts/slideLayout131.xml"/><Relationship Id="rId68" Type="http://schemas.openxmlformats.org/officeDocument/2006/relationships/theme" Target="../theme/theme2.xml"/><Relationship Id="rId7" Type="http://schemas.openxmlformats.org/officeDocument/2006/relationships/slideLayout" Target="../slideLayouts/slideLayout75.xml"/><Relationship Id="rId71" Type="http://schemas.openxmlformats.org/officeDocument/2006/relationships/tags" Target="../tags/tag34.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slideLayout" Target="../slideLayouts/slideLayout121.xml"/><Relationship Id="rId58" Type="http://schemas.openxmlformats.org/officeDocument/2006/relationships/slideLayout" Target="../slideLayouts/slideLayout126.xml"/><Relationship Id="rId66" Type="http://schemas.openxmlformats.org/officeDocument/2006/relationships/slideLayout" Target="../slideLayouts/slideLayout13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57" Type="http://schemas.openxmlformats.org/officeDocument/2006/relationships/slideLayout" Target="../slideLayouts/slideLayout125.xml"/><Relationship Id="rId61" Type="http://schemas.openxmlformats.org/officeDocument/2006/relationships/slideLayout" Target="../slideLayouts/slideLayout129.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slideLayout" Target="../slideLayouts/slideLayout120.xml"/><Relationship Id="rId60" Type="http://schemas.openxmlformats.org/officeDocument/2006/relationships/slideLayout" Target="../slideLayouts/slideLayout128.xml"/><Relationship Id="rId65" Type="http://schemas.openxmlformats.org/officeDocument/2006/relationships/slideLayout" Target="../slideLayouts/slideLayout133.xml"/><Relationship Id="rId73" Type="http://schemas.openxmlformats.org/officeDocument/2006/relationships/image" Target="../media/image1.emf"/><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56" Type="http://schemas.openxmlformats.org/officeDocument/2006/relationships/slideLayout" Target="../slideLayouts/slideLayout124.xml"/><Relationship Id="rId64" Type="http://schemas.openxmlformats.org/officeDocument/2006/relationships/slideLayout" Target="../slideLayouts/slideLayout132.xml"/><Relationship Id="rId69" Type="http://schemas.openxmlformats.org/officeDocument/2006/relationships/vmlDrawing" Target="../drawings/vmlDrawing19.vml"/><Relationship Id="rId8" Type="http://schemas.openxmlformats.org/officeDocument/2006/relationships/slideLayout" Target="../slideLayouts/slideLayout76.xml"/><Relationship Id="rId51" Type="http://schemas.openxmlformats.org/officeDocument/2006/relationships/slideLayout" Target="../slideLayouts/slideLayout119.xml"/><Relationship Id="rId72" Type="http://schemas.openxmlformats.org/officeDocument/2006/relationships/oleObject" Target="../embeddings/oleObject19.bin"/><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59" Type="http://schemas.openxmlformats.org/officeDocument/2006/relationships/slideLayout" Target="../slideLayouts/slideLayout127.xml"/><Relationship Id="rId67" Type="http://schemas.openxmlformats.org/officeDocument/2006/relationships/slideLayout" Target="../slideLayouts/slideLayout135.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54" Type="http://schemas.openxmlformats.org/officeDocument/2006/relationships/slideLayout" Target="../slideLayouts/slideLayout122.xml"/><Relationship Id="rId62" Type="http://schemas.openxmlformats.org/officeDocument/2006/relationships/slideLayout" Target="../slideLayouts/slideLayout130.xml"/><Relationship Id="rId70" Type="http://schemas.openxmlformats.org/officeDocument/2006/relationships/tags" Target="../tags/tag33.xml"/><Relationship Id="rId1" Type="http://schemas.openxmlformats.org/officeDocument/2006/relationships/slideLayout" Target="../slideLayouts/slideLayout69.xml"/><Relationship Id="rId6"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462757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 name="think-cell Slide" r:id="rId73" imgW="270" imgH="270" progId="TCLayout.ActiveDocument.1">
                  <p:embed/>
                </p:oleObj>
              </mc:Choice>
              <mc:Fallback>
                <p:oleObj name="think-cell Slide" r:id="rId73" imgW="270" imgH="270" progId="TCLayout.ActiveDocument.1">
                  <p:embed/>
                  <p:pic>
                    <p:nvPicPr>
                      <p:cNvPr id="0" name=""/>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253"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9"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199587742"/>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64.xml"/><Relationship Id="rId7" Type="http://schemas.openxmlformats.org/officeDocument/2006/relationships/image" Target="../media/image2.emf"/><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xml"/><Relationship Id="rId4" Type="http://schemas.openxmlformats.org/officeDocument/2006/relationships/slideLayout" Target="../slideLayouts/slideLayout68.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image" Target="../media/image24.jpeg"/><Relationship Id="rId2" Type="http://schemas.openxmlformats.org/officeDocument/2006/relationships/tags" Target="../tags/tag95.xml"/><Relationship Id="rId1" Type="http://schemas.openxmlformats.org/officeDocument/2006/relationships/vmlDrawing" Target="../drawings/vmlDrawing46.vml"/><Relationship Id="rId6" Type="http://schemas.openxmlformats.org/officeDocument/2006/relationships/image" Target="../media/image16.emf"/><Relationship Id="rId5" Type="http://schemas.openxmlformats.org/officeDocument/2006/relationships/oleObject" Target="../embeddings/oleObject47.bin"/><Relationship Id="rId4" Type="http://schemas.openxmlformats.org/officeDocument/2006/relationships/notesSlide" Target="../notesSlides/notesSlide7.xml"/></Relationships>
</file>

<file path=ppt/slides/_rels/slide100.xml.rels><?xml version="1.0" encoding="UTF-8" standalone="yes"?>
<Relationships xmlns="http://schemas.openxmlformats.org/package/2006/relationships"><Relationship Id="rId8" Type="http://schemas.openxmlformats.org/officeDocument/2006/relationships/tags" Target="../tags/tag1150.xml"/><Relationship Id="rId13" Type="http://schemas.openxmlformats.org/officeDocument/2006/relationships/slideLayout" Target="../slideLayouts/slideLayout11.xml"/><Relationship Id="rId18" Type="http://schemas.openxmlformats.org/officeDocument/2006/relationships/chart" Target="../charts/chart74.xml"/><Relationship Id="rId3" Type="http://schemas.openxmlformats.org/officeDocument/2006/relationships/tags" Target="../tags/tag1145.xml"/><Relationship Id="rId7" Type="http://schemas.openxmlformats.org/officeDocument/2006/relationships/tags" Target="../tags/tag1149.xml"/><Relationship Id="rId12" Type="http://schemas.openxmlformats.org/officeDocument/2006/relationships/tags" Target="../tags/tag1154.xml"/><Relationship Id="rId17" Type="http://schemas.openxmlformats.org/officeDocument/2006/relationships/image" Target="../media/image55.jpeg"/><Relationship Id="rId2" Type="http://schemas.openxmlformats.org/officeDocument/2006/relationships/tags" Target="../tags/tag1144.xml"/><Relationship Id="rId16" Type="http://schemas.openxmlformats.org/officeDocument/2006/relationships/image" Target="../media/image40.emf"/><Relationship Id="rId1" Type="http://schemas.openxmlformats.org/officeDocument/2006/relationships/vmlDrawing" Target="../drawings/vmlDrawing136.vml"/><Relationship Id="rId6" Type="http://schemas.openxmlformats.org/officeDocument/2006/relationships/tags" Target="../tags/tag1148.xml"/><Relationship Id="rId11" Type="http://schemas.openxmlformats.org/officeDocument/2006/relationships/tags" Target="../tags/tag1153.xml"/><Relationship Id="rId5" Type="http://schemas.openxmlformats.org/officeDocument/2006/relationships/tags" Target="../tags/tag1147.xml"/><Relationship Id="rId15" Type="http://schemas.openxmlformats.org/officeDocument/2006/relationships/oleObject" Target="../embeddings/oleObject140.bin"/><Relationship Id="rId10" Type="http://schemas.openxmlformats.org/officeDocument/2006/relationships/tags" Target="../tags/tag1152.xml"/><Relationship Id="rId4" Type="http://schemas.openxmlformats.org/officeDocument/2006/relationships/tags" Target="../tags/tag1146.xml"/><Relationship Id="rId9" Type="http://schemas.openxmlformats.org/officeDocument/2006/relationships/tags" Target="../tags/tag1151.xml"/><Relationship Id="rId14" Type="http://schemas.openxmlformats.org/officeDocument/2006/relationships/notesSlide" Target="../notesSlides/notesSlide89.xml"/></Relationships>
</file>

<file path=ppt/slides/_rels/slide101.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tags" Target="../tags/tag1156.xml"/><Relationship Id="rId7" Type="http://schemas.openxmlformats.org/officeDocument/2006/relationships/oleObject" Target="../embeddings/oleObject141.bin"/><Relationship Id="rId2" Type="http://schemas.openxmlformats.org/officeDocument/2006/relationships/tags" Target="../tags/tag1155.xml"/><Relationship Id="rId1" Type="http://schemas.openxmlformats.org/officeDocument/2006/relationships/vmlDrawing" Target="../drawings/vmlDrawing137.vml"/><Relationship Id="rId6" Type="http://schemas.openxmlformats.org/officeDocument/2006/relationships/notesSlide" Target="../notesSlides/notesSlide90.xml"/><Relationship Id="rId5" Type="http://schemas.openxmlformats.org/officeDocument/2006/relationships/slideLayout" Target="../slideLayouts/slideLayout30.xml"/><Relationship Id="rId4" Type="http://schemas.openxmlformats.org/officeDocument/2006/relationships/tags" Target="../tags/tag1157.xml"/></Relationships>
</file>

<file path=ppt/slides/_rels/slide102.xml.rels><?xml version="1.0" encoding="UTF-8" standalone="yes"?>
<Relationships xmlns="http://schemas.openxmlformats.org/package/2006/relationships"><Relationship Id="rId8" Type="http://schemas.openxmlformats.org/officeDocument/2006/relationships/tags" Target="../tags/tag1164.xml"/><Relationship Id="rId13" Type="http://schemas.openxmlformats.org/officeDocument/2006/relationships/tags" Target="../tags/tag1169.xml"/><Relationship Id="rId18" Type="http://schemas.openxmlformats.org/officeDocument/2006/relationships/tags" Target="../tags/tag1174.xml"/><Relationship Id="rId3" Type="http://schemas.openxmlformats.org/officeDocument/2006/relationships/tags" Target="../tags/tag1159.xml"/><Relationship Id="rId21" Type="http://schemas.openxmlformats.org/officeDocument/2006/relationships/slideLayout" Target="../slideLayouts/slideLayout37.xml"/><Relationship Id="rId7" Type="http://schemas.openxmlformats.org/officeDocument/2006/relationships/tags" Target="../tags/tag1163.xml"/><Relationship Id="rId12" Type="http://schemas.openxmlformats.org/officeDocument/2006/relationships/tags" Target="../tags/tag1168.xml"/><Relationship Id="rId17" Type="http://schemas.openxmlformats.org/officeDocument/2006/relationships/tags" Target="../tags/tag1173.xml"/><Relationship Id="rId25" Type="http://schemas.openxmlformats.org/officeDocument/2006/relationships/chart" Target="../charts/chart75.xml"/><Relationship Id="rId2" Type="http://schemas.openxmlformats.org/officeDocument/2006/relationships/tags" Target="../tags/tag1158.xml"/><Relationship Id="rId16" Type="http://schemas.openxmlformats.org/officeDocument/2006/relationships/tags" Target="../tags/tag1172.xml"/><Relationship Id="rId20" Type="http://schemas.openxmlformats.org/officeDocument/2006/relationships/tags" Target="../tags/tag1176.xml"/><Relationship Id="rId1" Type="http://schemas.openxmlformats.org/officeDocument/2006/relationships/vmlDrawing" Target="../drawings/vmlDrawing138.vml"/><Relationship Id="rId6" Type="http://schemas.openxmlformats.org/officeDocument/2006/relationships/tags" Target="../tags/tag1162.xml"/><Relationship Id="rId11" Type="http://schemas.openxmlformats.org/officeDocument/2006/relationships/tags" Target="../tags/tag1167.xml"/><Relationship Id="rId24" Type="http://schemas.openxmlformats.org/officeDocument/2006/relationships/image" Target="../media/image16.emf"/><Relationship Id="rId5" Type="http://schemas.openxmlformats.org/officeDocument/2006/relationships/tags" Target="../tags/tag1161.xml"/><Relationship Id="rId15" Type="http://schemas.openxmlformats.org/officeDocument/2006/relationships/tags" Target="../tags/tag1171.xml"/><Relationship Id="rId23" Type="http://schemas.openxmlformats.org/officeDocument/2006/relationships/oleObject" Target="../embeddings/oleObject142.bin"/><Relationship Id="rId10" Type="http://schemas.openxmlformats.org/officeDocument/2006/relationships/tags" Target="../tags/tag1166.xml"/><Relationship Id="rId19" Type="http://schemas.openxmlformats.org/officeDocument/2006/relationships/tags" Target="../tags/tag1175.xml"/><Relationship Id="rId4" Type="http://schemas.openxmlformats.org/officeDocument/2006/relationships/tags" Target="../tags/tag1160.xml"/><Relationship Id="rId9" Type="http://schemas.openxmlformats.org/officeDocument/2006/relationships/tags" Target="../tags/tag1165.xml"/><Relationship Id="rId14" Type="http://schemas.openxmlformats.org/officeDocument/2006/relationships/tags" Target="../tags/tag1170.xml"/><Relationship Id="rId22" Type="http://schemas.openxmlformats.org/officeDocument/2006/relationships/notesSlide" Target="../notesSlides/notesSlide91.xml"/></Relationships>
</file>

<file path=ppt/slides/_rels/slide103.xml.rels><?xml version="1.0" encoding="UTF-8" standalone="yes"?>
<Relationships xmlns="http://schemas.openxmlformats.org/package/2006/relationships"><Relationship Id="rId8" Type="http://schemas.openxmlformats.org/officeDocument/2006/relationships/tags" Target="../tags/tag1183.xml"/><Relationship Id="rId13" Type="http://schemas.openxmlformats.org/officeDocument/2006/relationships/tags" Target="../tags/tag1188.xml"/><Relationship Id="rId18" Type="http://schemas.openxmlformats.org/officeDocument/2006/relationships/tags" Target="../tags/tag1193.xml"/><Relationship Id="rId26" Type="http://schemas.openxmlformats.org/officeDocument/2006/relationships/tags" Target="../tags/tag1201.xml"/><Relationship Id="rId3" Type="http://schemas.openxmlformats.org/officeDocument/2006/relationships/tags" Target="../tags/tag1178.xml"/><Relationship Id="rId21" Type="http://schemas.openxmlformats.org/officeDocument/2006/relationships/tags" Target="../tags/tag1196.xml"/><Relationship Id="rId7" Type="http://schemas.openxmlformats.org/officeDocument/2006/relationships/tags" Target="../tags/tag1182.xml"/><Relationship Id="rId12" Type="http://schemas.openxmlformats.org/officeDocument/2006/relationships/tags" Target="../tags/tag1187.xml"/><Relationship Id="rId17" Type="http://schemas.openxmlformats.org/officeDocument/2006/relationships/tags" Target="../tags/tag1192.xml"/><Relationship Id="rId25" Type="http://schemas.openxmlformats.org/officeDocument/2006/relationships/tags" Target="../tags/tag1200.xml"/><Relationship Id="rId2" Type="http://schemas.openxmlformats.org/officeDocument/2006/relationships/tags" Target="../tags/tag1177.xml"/><Relationship Id="rId16" Type="http://schemas.openxmlformats.org/officeDocument/2006/relationships/tags" Target="../tags/tag1191.xml"/><Relationship Id="rId20" Type="http://schemas.openxmlformats.org/officeDocument/2006/relationships/tags" Target="../tags/tag1195.xml"/><Relationship Id="rId29" Type="http://schemas.openxmlformats.org/officeDocument/2006/relationships/oleObject" Target="../embeddings/oleObject143.bin"/><Relationship Id="rId1" Type="http://schemas.openxmlformats.org/officeDocument/2006/relationships/vmlDrawing" Target="../drawings/vmlDrawing139.vml"/><Relationship Id="rId6" Type="http://schemas.openxmlformats.org/officeDocument/2006/relationships/tags" Target="../tags/tag1181.xml"/><Relationship Id="rId11" Type="http://schemas.openxmlformats.org/officeDocument/2006/relationships/tags" Target="../tags/tag1186.xml"/><Relationship Id="rId24" Type="http://schemas.openxmlformats.org/officeDocument/2006/relationships/tags" Target="../tags/tag1199.xml"/><Relationship Id="rId32" Type="http://schemas.openxmlformats.org/officeDocument/2006/relationships/chart" Target="../charts/chart77.xml"/><Relationship Id="rId5" Type="http://schemas.openxmlformats.org/officeDocument/2006/relationships/tags" Target="../tags/tag1180.xml"/><Relationship Id="rId15" Type="http://schemas.openxmlformats.org/officeDocument/2006/relationships/tags" Target="../tags/tag1190.xml"/><Relationship Id="rId23" Type="http://schemas.openxmlformats.org/officeDocument/2006/relationships/tags" Target="../tags/tag1198.xml"/><Relationship Id="rId28" Type="http://schemas.openxmlformats.org/officeDocument/2006/relationships/notesSlide" Target="../notesSlides/notesSlide92.xml"/><Relationship Id="rId10" Type="http://schemas.openxmlformats.org/officeDocument/2006/relationships/tags" Target="../tags/tag1185.xml"/><Relationship Id="rId19" Type="http://schemas.openxmlformats.org/officeDocument/2006/relationships/tags" Target="../tags/tag1194.xml"/><Relationship Id="rId31" Type="http://schemas.openxmlformats.org/officeDocument/2006/relationships/chart" Target="../charts/chart76.xml"/><Relationship Id="rId4" Type="http://schemas.openxmlformats.org/officeDocument/2006/relationships/tags" Target="../tags/tag1179.xml"/><Relationship Id="rId9" Type="http://schemas.openxmlformats.org/officeDocument/2006/relationships/tags" Target="../tags/tag1184.xml"/><Relationship Id="rId14" Type="http://schemas.openxmlformats.org/officeDocument/2006/relationships/tags" Target="../tags/tag1189.xml"/><Relationship Id="rId22" Type="http://schemas.openxmlformats.org/officeDocument/2006/relationships/tags" Target="../tags/tag1197.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104.xml.rels><?xml version="1.0" encoding="UTF-8" standalone="yes"?>
<Relationships xmlns="http://schemas.openxmlformats.org/package/2006/relationships"><Relationship Id="rId8" Type="http://schemas.openxmlformats.org/officeDocument/2006/relationships/tags" Target="../tags/tag1208.xml"/><Relationship Id="rId13" Type="http://schemas.openxmlformats.org/officeDocument/2006/relationships/oleObject" Target="../embeddings/oleObject144.bin"/><Relationship Id="rId3" Type="http://schemas.openxmlformats.org/officeDocument/2006/relationships/tags" Target="../tags/tag1203.xml"/><Relationship Id="rId7" Type="http://schemas.openxmlformats.org/officeDocument/2006/relationships/tags" Target="../tags/tag1207.xml"/><Relationship Id="rId12" Type="http://schemas.openxmlformats.org/officeDocument/2006/relationships/notesSlide" Target="../notesSlides/notesSlide93.xml"/><Relationship Id="rId2" Type="http://schemas.openxmlformats.org/officeDocument/2006/relationships/tags" Target="../tags/tag1202.xml"/><Relationship Id="rId16" Type="http://schemas.openxmlformats.org/officeDocument/2006/relationships/chart" Target="../charts/chart78.xml"/><Relationship Id="rId1" Type="http://schemas.openxmlformats.org/officeDocument/2006/relationships/vmlDrawing" Target="../drawings/vmlDrawing140.vml"/><Relationship Id="rId6" Type="http://schemas.openxmlformats.org/officeDocument/2006/relationships/tags" Target="../tags/tag1206.xml"/><Relationship Id="rId11" Type="http://schemas.openxmlformats.org/officeDocument/2006/relationships/slideLayout" Target="../slideLayouts/slideLayout11.xml"/><Relationship Id="rId5" Type="http://schemas.openxmlformats.org/officeDocument/2006/relationships/tags" Target="../tags/tag1205.xml"/><Relationship Id="rId15" Type="http://schemas.openxmlformats.org/officeDocument/2006/relationships/image" Target="../media/image56.jpeg"/><Relationship Id="rId10" Type="http://schemas.openxmlformats.org/officeDocument/2006/relationships/tags" Target="../tags/tag1210.xml"/><Relationship Id="rId4" Type="http://schemas.openxmlformats.org/officeDocument/2006/relationships/tags" Target="../tags/tag1204.xml"/><Relationship Id="rId9" Type="http://schemas.openxmlformats.org/officeDocument/2006/relationships/tags" Target="../tags/tag1209.xml"/><Relationship Id="rId14" Type="http://schemas.openxmlformats.org/officeDocument/2006/relationships/image" Target="../media/image40.emf"/></Relationships>
</file>

<file path=ppt/slides/_rels/slide105.xml.rels><?xml version="1.0" encoding="UTF-8" standalone="yes"?>
<Relationships xmlns="http://schemas.openxmlformats.org/package/2006/relationships"><Relationship Id="rId3" Type="http://schemas.openxmlformats.org/officeDocument/2006/relationships/tags" Target="../tags/tag1212.xml"/><Relationship Id="rId2" Type="http://schemas.openxmlformats.org/officeDocument/2006/relationships/tags" Target="../tags/tag1211.xml"/><Relationship Id="rId1" Type="http://schemas.openxmlformats.org/officeDocument/2006/relationships/vmlDrawing" Target="../drawings/vmlDrawing141.vml"/><Relationship Id="rId6" Type="http://schemas.openxmlformats.org/officeDocument/2006/relationships/image" Target="../media/image16.emf"/><Relationship Id="rId5" Type="http://schemas.openxmlformats.org/officeDocument/2006/relationships/oleObject" Target="../embeddings/oleObject145.bin"/><Relationship Id="rId4"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8" Type="http://schemas.openxmlformats.org/officeDocument/2006/relationships/tags" Target="../tags/tag1219.xml"/><Relationship Id="rId13" Type="http://schemas.openxmlformats.org/officeDocument/2006/relationships/tags" Target="../tags/tag1224.xml"/><Relationship Id="rId18" Type="http://schemas.openxmlformats.org/officeDocument/2006/relationships/slideLayout" Target="../slideLayouts/slideLayout30.xml"/><Relationship Id="rId3" Type="http://schemas.openxmlformats.org/officeDocument/2006/relationships/tags" Target="../tags/tag1214.xml"/><Relationship Id="rId21" Type="http://schemas.openxmlformats.org/officeDocument/2006/relationships/image" Target="../media/image16.emf"/><Relationship Id="rId7" Type="http://schemas.openxmlformats.org/officeDocument/2006/relationships/tags" Target="../tags/tag1218.xml"/><Relationship Id="rId12" Type="http://schemas.openxmlformats.org/officeDocument/2006/relationships/tags" Target="../tags/tag1223.xml"/><Relationship Id="rId17" Type="http://schemas.openxmlformats.org/officeDocument/2006/relationships/tags" Target="../tags/tag1228.xml"/><Relationship Id="rId2" Type="http://schemas.openxmlformats.org/officeDocument/2006/relationships/tags" Target="../tags/tag1213.xml"/><Relationship Id="rId16" Type="http://schemas.openxmlformats.org/officeDocument/2006/relationships/tags" Target="../tags/tag1227.xml"/><Relationship Id="rId20" Type="http://schemas.openxmlformats.org/officeDocument/2006/relationships/oleObject" Target="../embeddings/oleObject146.bin"/><Relationship Id="rId1" Type="http://schemas.openxmlformats.org/officeDocument/2006/relationships/vmlDrawing" Target="../drawings/vmlDrawing142.vml"/><Relationship Id="rId6" Type="http://schemas.openxmlformats.org/officeDocument/2006/relationships/tags" Target="../tags/tag1217.xml"/><Relationship Id="rId11" Type="http://schemas.openxmlformats.org/officeDocument/2006/relationships/tags" Target="../tags/tag1222.xml"/><Relationship Id="rId5" Type="http://schemas.openxmlformats.org/officeDocument/2006/relationships/tags" Target="../tags/tag1216.xml"/><Relationship Id="rId15" Type="http://schemas.openxmlformats.org/officeDocument/2006/relationships/tags" Target="../tags/tag1226.xml"/><Relationship Id="rId10" Type="http://schemas.openxmlformats.org/officeDocument/2006/relationships/tags" Target="../tags/tag1221.xml"/><Relationship Id="rId19" Type="http://schemas.openxmlformats.org/officeDocument/2006/relationships/notesSlide" Target="../notesSlides/notesSlide94.xml"/><Relationship Id="rId4" Type="http://schemas.openxmlformats.org/officeDocument/2006/relationships/tags" Target="../tags/tag1215.xml"/><Relationship Id="rId9" Type="http://schemas.openxmlformats.org/officeDocument/2006/relationships/tags" Target="../tags/tag1220.xml"/><Relationship Id="rId14" Type="http://schemas.openxmlformats.org/officeDocument/2006/relationships/tags" Target="../tags/tag1225.xml"/><Relationship Id="rId22" Type="http://schemas.openxmlformats.org/officeDocument/2006/relationships/chart" Target="../charts/chart79.xml"/></Relationships>
</file>

<file path=ppt/slides/_rels/slide107.xml.rels><?xml version="1.0" encoding="UTF-8" standalone="yes"?>
<Relationships xmlns="http://schemas.openxmlformats.org/package/2006/relationships"><Relationship Id="rId8" Type="http://schemas.openxmlformats.org/officeDocument/2006/relationships/tags" Target="../tags/tag1235.xml"/><Relationship Id="rId13" Type="http://schemas.openxmlformats.org/officeDocument/2006/relationships/tags" Target="../tags/tag1240.xml"/><Relationship Id="rId18" Type="http://schemas.openxmlformats.org/officeDocument/2006/relationships/tags" Target="../tags/tag1245.xml"/><Relationship Id="rId26" Type="http://schemas.openxmlformats.org/officeDocument/2006/relationships/tags" Target="../tags/tag1253.xml"/><Relationship Id="rId3" Type="http://schemas.openxmlformats.org/officeDocument/2006/relationships/tags" Target="../tags/tag1230.xml"/><Relationship Id="rId21" Type="http://schemas.openxmlformats.org/officeDocument/2006/relationships/tags" Target="../tags/tag1248.xml"/><Relationship Id="rId7" Type="http://schemas.openxmlformats.org/officeDocument/2006/relationships/tags" Target="../tags/tag1234.xml"/><Relationship Id="rId12" Type="http://schemas.openxmlformats.org/officeDocument/2006/relationships/tags" Target="../tags/tag1239.xml"/><Relationship Id="rId17" Type="http://schemas.openxmlformats.org/officeDocument/2006/relationships/tags" Target="../tags/tag1244.xml"/><Relationship Id="rId25" Type="http://schemas.openxmlformats.org/officeDocument/2006/relationships/tags" Target="../tags/tag1252.xml"/><Relationship Id="rId2" Type="http://schemas.openxmlformats.org/officeDocument/2006/relationships/tags" Target="../tags/tag1229.xml"/><Relationship Id="rId16" Type="http://schemas.openxmlformats.org/officeDocument/2006/relationships/tags" Target="../tags/tag1243.xml"/><Relationship Id="rId20" Type="http://schemas.openxmlformats.org/officeDocument/2006/relationships/tags" Target="../tags/tag1247.xml"/><Relationship Id="rId29" Type="http://schemas.openxmlformats.org/officeDocument/2006/relationships/oleObject" Target="../embeddings/oleObject147.bin"/><Relationship Id="rId1" Type="http://schemas.openxmlformats.org/officeDocument/2006/relationships/vmlDrawing" Target="../drawings/vmlDrawing143.vml"/><Relationship Id="rId6" Type="http://schemas.openxmlformats.org/officeDocument/2006/relationships/tags" Target="../tags/tag1233.xml"/><Relationship Id="rId11" Type="http://schemas.openxmlformats.org/officeDocument/2006/relationships/tags" Target="../tags/tag1238.xml"/><Relationship Id="rId24" Type="http://schemas.openxmlformats.org/officeDocument/2006/relationships/tags" Target="../tags/tag1251.xml"/><Relationship Id="rId32" Type="http://schemas.openxmlformats.org/officeDocument/2006/relationships/chart" Target="../charts/chart81.xml"/><Relationship Id="rId5" Type="http://schemas.openxmlformats.org/officeDocument/2006/relationships/tags" Target="../tags/tag1232.xml"/><Relationship Id="rId15" Type="http://schemas.openxmlformats.org/officeDocument/2006/relationships/tags" Target="../tags/tag1242.xml"/><Relationship Id="rId23" Type="http://schemas.openxmlformats.org/officeDocument/2006/relationships/tags" Target="../tags/tag1250.xml"/><Relationship Id="rId28" Type="http://schemas.openxmlformats.org/officeDocument/2006/relationships/notesSlide" Target="../notesSlides/notesSlide95.xml"/><Relationship Id="rId10" Type="http://schemas.openxmlformats.org/officeDocument/2006/relationships/tags" Target="../tags/tag1237.xml"/><Relationship Id="rId19" Type="http://schemas.openxmlformats.org/officeDocument/2006/relationships/tags" Target="../tags/tag1246.xml"/><Relationship Id="rId31" Type="http://schemas.openxmlformats.org/officeDocument/2006/relationships/chart" Target="../charts/chart80.xml"/><Relationship Id="rId4" Type="http://schemas.openxmlformats.org/officeDocument/2006/relationships/tags" Target="../tags/tag1231.xml"/><Relationship Id="rId9" Type="http://schemas.openxmlformats.org/officeDocument/2006/relationships/tags" Target="../tags/tag1236.xml"/><Relationship Id="rId14" Type="http://schemas.openxmlformats.org/officeDocument/2006/relationships/tags" Target="../tags/tag1241.xml"/><Relationship Id="rId22" Type="http://schemas.openxmlformats.org/officeDocument/2006/relationships/tags" Target="../tags/tag1249.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108.xml.rels><?xml version="1.0" encoding="UTF-8" standalone="yes"?>
<Relationships xmlns="http://schemas.openxmlformats.org/package/2006/relationships"><Relationship Id="rId8" Type="http://schemas.openxmlformats.org/officeDocument/2006/relationships/tags" Target="../tags/tag1260.xml"/><Relationship Id="rId13" Type="http://schemas.openxmlformats.org/officeDocument/2006/relationships/tags" Target="../tags/tag1265.xml"/><Relationship Id="rId18" Type="http://schemas.openxmlformats.org/officeDocument/2006/relationships/tags" Target="../tags/tag1270.xml"/><Relationship Id="rId3" Type="http://schemas.openxmlformats.org/officeDocument/2006/relationships/tags" Target="../tags/tag1255.xml"/><Relationship Id="rId21" Type="http://schemas.openxmlformats.org/officeDocument/2006/relationships/slideLayout" Target="../slideLayouts/slideLayout37.xml"/><Relationship Id="rId7" Type="http://schemas.openxmlformats.org/officeDocument/2006/relationships/tags" Target="../tags/tag1259.xml"/><Relationship Id="rId12" Type="http://schemas.openxmlformats.org/officeDocument/2006/relationships/tags" Target="../tags/tag1264.xml"/><Relationship Id="rId17" Type="http://schemas.openxmlformats.org/officeDocument/2006/relationships/tags" Target="../tags/tag1269.xml"/><Relationship Id="rId25" Type="http://schemas.openxmlformats.org/officeDocument/2006/relationships/chart" Target="../charts/chart82.xml"/><Relationship Id="rId2" Type="http://schemas.openxmlformats.org/officeDocument/2006/relationships/tags" Target="../tags/tag1254.xml"/><Relationship Id="rId16" Type="http://schemas.openxmlformats.org/officeDocument/2006/relationships/tags" Target="../tags/tag1268.xml"/><Relationship Id="rId20" Type="http://schemas.openxmlformats.org/officeDocument/2006/relationships/tags" Target="../tags/tag1272.xml"/><Relationship Id="rId1" Type="http://schemas.openxmlformats.org/officeDocument/2006/relationships/vmlDrawing" Target="../drawings/vmlDrawing144.vml"/><Relationship Id="rId6" Type="http://schemas.openxmlformats.org/officeDocument/2006/relationships/tags" Target="../tags/tag1258.xml"/><Relationship Id="rId11" Type="http://schemas.openxmlformats.org/officeDocument/2006/relationships/tags" Target="../tags/tag1263.xml"/><Relationship Id="rId24" Type="http://schemas.openxmlformats.org/officeDocument/2006/relationships/image" Target="../media/image16.emf"/><Relationship Id="rId5" Type="http://schemas.openxmlformats.org/officeDocument/2006/relationships/tags" Target="../tags/tag1257.xml"/><Relationship Id="rId15" Type="http://schemas.openxmlformats.org/officeDocument/2006/relationships/tags" Target="../tags/tag1267.xml"/><Relationship Id="rId23" Type="http://schemas.openxmlformats.org/officeDocument/2006/relationships/oleObject" Target="../embeddings/oleObject148.bin"/><Relationship Id="rId10" Type="http://schemas.openxmlformats.org/officeDocument/2006/relationships/tags" Target="../tags/tag1262.xml"/><Relationship Id="rId19" Type="http://schemas.openxmlformats.org/officeDocument/2006/relationships/tags" Target="../tags/tag1271.xml"/><Relationship Id="rId4" Type="http://schemas.openxmlformats.org/officeDocument/2006/relationships/tags" Target="../tags/tag1256.xml"/><Relationship Id="rId9" Type="http://schemas.openxmlformats.org/officeDocument/2006/relationships/tags" Target="../tags/tag1261.xml"/><Relationship Id="rId14" Type="http://schemas.openxmlformats.org/officeDocument/2006/relationships/tags" Target="../tags/tag1266.xml"/><Relationship Id="rId22" Type="http://schemas.openxmlformats.org/officeDocument/2006/relationships/notesSlide" Target="../notesSlides/notesSlide96.xml"/></Relationships>
</file>

<file path=ppt/slides/_rels/slide109.xml.rels><?xml version="1.0" encoding="UTF-8" standalone="yes"?>
<Relationships xmlns="http://schemas.openxmlformats.org/package/2006/relationships"><Relationship Id="rId8" Type="http://schemas.openxmlformats.org/officeDocument/2006/relationships/tags" Target="../tags/tag1279.xml"/><Relationship Id="rId13" Type="http://schemas.openxmlformats.org/officeDocument/2006/relationships/tags" Target="../tags/tag1284.xml"/><Relationship Id="rId18" Type="http://schemas.openxmlformats.org/officeDocument/2006/relationships/tags" Target="../tags/tag1289.xml"/><Relationship Id="rId26" Type="http://schemas.openxmlformats.org/officeDocument/2006/relationships/tags" Target="../tags/tag1297.xml"/><Relationship Id="rId3" Type="http://schemas.openxmlformats.org/officeDocument/2006/relationships/tags" Target="../tags/tag1274.xml"/><Relationship Id="rId21" Type="http://schemas.openxmlformats.org/officeDocument/2006/relationships/tags" Target="../tags/tag1292.xml"/><Relationship Id="rId7" Type="http://schemas.openxmlformats.org/officeDocument/2006/relationships/tags" Target="../tags/tag1278.xml"/><Relationship Id="rId12" Type="http://schemas.openxmlformats.org/officeDocument/2006/relationships/tags" Target="../tags/tag1283.xml"/><Relationship Id="rId17" Type="http://schemas.openxmlformats.org/officeDocument/2006/relationships/tags" Target="../tags/tag1288.xml"/><Relationship Id="rId25" Type="http://schemas.openxmlformats.org/officeDocument/2006/relationships/tags" Target="../tags/tag1296.xml"/><Relationship Id="rId2" Type="http://schemas.openxmlformats.org/officeDocument/2006/relationships/tags" Target="../tags/tag1273.xml"/><Relationship Id="rId16" Type="http://schemas.openxmlformats.org/officeDocument/2006/relationships/tags" Target="../tags/tag1287.xml"/><Relationship Id="rId20" Type="http://schemas.openxmlformats.org/officeDocument/2006/relationships/tags" Target="../tags/tag1291.xml"/><Relationship Id="rId29" Type="http://schemas.openxmlformats.org/officeDocument/2006/relationships/oleObject" Target="../embeddings/oleObject149.bin"/><Relationship Id="rId1" Type="http://schemas.openxmlformats.org/officeDocument/2006/relationships/vmlDrawing" Target="../drawings/vmlDrawing145.vml"/><Relationship Id="rId6" Type="http://schemas.openxmlformats.org/officeDocument/2006/relationships/tags" Target="../tags/tag1277.xml"/><Relationship Id="rId11" Type="http://schemas.openxmlformats.org/officeDocument/2006/relationships/tags" Target="../tags/tag1282.xml"/><Relationship Id="rId24" Type="http://schemas.openxmlformats.org/officeDocument/2006/relationships/tags" Target="../tags/tag1295.xml"/><Relationship Id="rId32" Type="http://schemas.openxmlformats.org/officeDocument/2006/relationships/chart" Target="../charts/chart84.xml"/><Relationship Id="rId5" Type="http://schemas.openxmlformats.org/officeDocument/2006/relationships/tags" Target="../tags/tag1276.xml"/><Relationship Id="rId15" Type="http://schemas.openxmlformats.org/officeDocument/2006/relationships/tags" Target="../tags/tag1286.xml"/><Relationship Id="rId23" Type="http://schemas.openxmlformats.org/officeDocument/2006/relationships/tags" Target="../tags/tag1294.xml"/><Relationship Id="rId28" Type="http://schemas.openxmlformats.org/officeDocument/2006/relationships/notesSlide" Target="../notesSlides/notesSlide97.xml"/><Relationship Id="rId10" Type="http://schemas.openxmlformats.org/officeDocument/2006/relationships/tags" Target="../tags/tag1281.xml"/><Relationship Id="rId19" Type="http://schemas.openxmlformats.org/officeDocument/2006/relationships/tags" Target="../tags/tag1290.xml"/><Relationship Id="rId31" Type="http://schemas.openxmlformats.org/officeDocument/2006/relationships/chart" Target="../charts/chart83.xml"/><Relationship Id="rId4" Type="http://schemas.openxmlformats.org/officeDocument/2006/relationships/tags" Target="../tags/tag1275.xml"/><Relationship Id="rId9" Type="http://schemas.openxmlformats.org/officeDocument/2006/relationships/tags" Target="../tags/tag1280.xml"/><Relationship Id="rId14" Type="http://schemas.openxmlformats.org/officeDocument/2006/relationships/tags" Target="../tags/tag1285.xml"/><Relationship Id="rId22" Type="http://schemas.openxmlformats.org/officeDocument/2006/relationships/tags" Target="../tags/tag1293.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11.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7.emf"/><Relationship Id="rId2" Type="http://schemas.openxmlformats.org/officeDocument/2006/relationships/tags" Target="../tags/tag96.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8" Type="http://schemas.openxmlformats.org/officeDocument/2006/relationships/tags" Target="../tags/tag1304.xml"/><Relationship Id="rId13" Type="http://schemas.openxmlformats.org/officeDocument/2006/relationships/tags" Target="../tags/tag1309.xml"/><Relationship Id="rId18" Type="http://schemas.openxmlformats.org/officeDocument/2006/relationships/image" Target="../media/image57.jpeg"/><Relationship Id="rId3" Type="http://schemas.openxmlformats.org/officeDocument/2006/relationships/tags" Target="../tags/tag1299.xml"/><Relationship Id="rId7" Type="http://schemas.openxmlformats.org/officeDocument/2006/relationships/tags" Target="../tags/tag1303.xml"/><Relationship Id="rId12" Type="http://schemas.openxmlformats.org/officeDocument/2006/relationships/tags" Target="../tags/tag1308.xml"/><Relationship Id="rId17" Type="http://schemas.openxmlformats.org/officeDocument/2006/relationships/image" Target="../media/image40.emf"/><Relationship Id="rId2" Type="http://schemas.openxmlformats.org/officeDocument/2006/relationships/tags" Target="../tags/tag1298.xml"/><Relationship Id="rId16" Type="http://schemas.openxmlformats.org/officeDocument/2006/relationships/oleObject" Target="../embeddings/oleObject150.bin"/><Relationship Id="rId1" Type="http://schemas.openxmlformats.org/officeDocument/2006/relationships/vmlDrawing" Target="../drawings/vmlDrawing146.vml"/><Relationship Id="rId6" Type="http://schemas.openxmlformats.org/officeDocument/2006/relationships/tags" Target="../tags/tag1302.xml"/><Relationship Id="rId11" Type="http://schemas.openxmlformats.org/officeDocument/2006/relationships/tags" Target="../tags/tag1307.xml"/><Relationship Id="rId5" Type="http://schemas.openxmlformats.org/officeDocument/2006/relationships/tags" Target="../tags/tag1301.xml"/><Relationship Id="rId15" Type="http://schemas.openxmlformats.org/officeDocument/2006/relationships/notesSlide" Target="../notesSlides/notesSlide98.xml"/><Relationship Id="rId10" Type="http://schemas.openxmlformats.org/officeDocument/2006/relationships/tags" Target="../tags/tag1306.xml"/><Relationship Id="rId19" Type="http://schemas.openxmlformats.org/officeDocument/2006/relationships/chart" Target="../charts/chart85.xml"/><Relationship Id="rId4" Type="http://schemas.openxmlformats.org/officeDocument/2006/relationships/tags" Target="../tags/tag1300.xml"/><Relationship Id="rId9" Type="http://schemas.openxmlformats.org/officeDocument/2006/relationships/tags" Target="../tags/tag1305.xml"/><Relationship Id="rId14" Type="http://schemas.openxmlformats.org/officeDocument/2006/relationships/slideLayout" Target="../slideLayouts/slideLayout11.xml"/></Relationships>
</file>

<file path=ppt/slides/_rels/slide111.xml.rels><?xml version="1.0" encoding="UTF-8" standalone="yes"?>
<Relationships xmlns="http://schemas.openxmlformats.org/package/2006/relationships"><Relationship Id="rId3" Type="http://schemas.openxmlformats.org/officeDocument/2006/relationships/tags" Target="../tags/tag1311.xml"/><Relationship Id="rId2" Type="http://schemas.openxmlformats.org/officeDocument/2006/relationships/tags" Target="../tags/tag1310.xml"/><Relationship Id="rId1" Type="http://schemas.openxmlformats.org/officeDocument/2006/relationships/vmlDrawing" Target="../drawings/vmlDrawing147.vml"/><Relationship Id="rId6" Type="http://schemas.openxmlformats.org/officeDocument/2006/relationships/image" Target="../media/image16.emf"/><Relationship Id="rId5" Type="http://schemas.openxmlformats.org/officeDocument/2006/relationships/oleObject" Target="../embeddings/oleObject151.bin"/><Relationship Id="rId4"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8" Type="http://schemas.openxmlformats.org/officeDocument/2006/relationships/tags" Target="../tags/tag1318.xml"/><Relationship Id="rId13" Type="http://schemas.openxmlformats.org/officeDocument/2006/relationships/tags" Target="../tags/tag1323.xml"/><Relationship Id="rId18" Type="http://schemas.openxmlformats.org/officeDocument/2006/relationships/tags" Target="../tags/tag1328.xml"/><Relationship Id="rId3" Type="http://schemas.openxmlformats.org/officeDocument/2006/relationships/tags" Target="../tags/tag1313.xml"/><Relationship Id="rId21" Type="http://schemas.openxmlformats.org/officeDocument/2006/relationships/slideLayout" Target="../slideLayouts/slideLayout30.xml"/><Relationship Id="rId7" Type="http://schemas.openxmlformats.org/officeDocument/2006/relationships/tags" Target="../tags/tag1317.xml"/><Relationship Id="rId12" Type="http://schemas.openxmlformats.org/officeDocument/2006/relationships/tags" Target="../tags/tag1322.xml"/><Relationship Id="rId17" Type="http://schemas.openxmlformats.org/officeDocument/2006/relationships/tags" Target="../tags/tag1327.xml"/><Relationship Id="rId25" Type="http://schemas.openxmlformats.org/officeDocument/2006/relationships/chart" Target="../charts/chart86.xml"/><Relationship Id="rId2" Type="http://schemas.openxmlformats.org/officeDocument/2006/relationships/tags" Target="../tags/tag1312.xml"/><Relationship Id="rId16" Type="http://schemas.openxmlformats.org/officeDocument/2006/relationships/tags" Target="../tags/tag1326.xml"/><Relationship Id="rId20" Type="http://schemas.openxmlformats.org/officeDocument/2006/relationships/tags" Target="../tags/tag1330.xml"/><Relationship Id="rId1" Type="http://schemas.openxmlformats.org/officeDocument/2006/relationships/vmlDrawing" Target="../drawings/vmlDrawing148.vml"/><Relationship Id="rId6" Type="http://schemas.openxmlformats.org/officeDocument/2006/relationships/tags" Target="../tags/tag1316.xml"/><Relationship Id="rId11" Type="http://schemas.openxmlformats.org/officeDocument/2006/relationships/tags" Target="../tags/tag1321.xml"/><Relationship Id="rId24" Type="http://schemas.openxmlformats.org/officeDocument/2006/relationships/image" Target="../media/image16.emf"/><Relationship Id="rId5" Type="http://schemas.openxmlformats.org/officeDocument/2006/relationships/tags" Target="../tags/tag1315.xml"/><Relationship Id="rId15" Type="http://schemas.openxmlformats.org/officeDocument/2006/relationships/tags" Target="../tags/tag1325.xml"/><Relationship Id="rId23" Type="http://schemas.openxmlformats.org/officeDocument/2006/relationships/oleObject" Target="../embeddings/oleObject152.bin"/><Relationship Id="rId10" Type="http://schemas.openxmlformats.org/officeDocument/2006/relationships/tags" Target="../tags/tag1320.xml"/><Relationship Id="rId19" Type="http://schemas.openxmlformats.org/officeDocument/2006/relationships/tags" Target="../tags/tag1329.xml"/><Relationship Id="rId4" Type="http://schemas.openxmlformats.org/officeDocument/2006/relationships/tags" Target="../tags/tag1314.xml"/><Relationship Id="rId9" Type="http://schemas.openxmlformats.org/officeDocument/2006/relationships/tags" Target="../tags/tag1319.xml"/><Relationship Id="rId14" Type="http://schemas.openxmlformats.org/officeDocument/2006/relationships/tags" Target="../tags/tag1324.xml"/><Relationship Id="rId22" Type="http://schemas.openxmlformats.org/officeDocument/2006/relationships/notesSlide" Target="../notesSlides/notesSlide99.xml"/></Relationships>
</file>

<file path=ppt/slides/_rels/slide113.xml.rels><?xml version="1.0" encoding="UTF-8" standalone="yes"?>
<Relationships xmlns="http://schemas.openxmlformats.org/package/2006/relationships"><Relationship Id="rId8" Type="http://schemas.openxmlformats.org/officeDocument/2006/relationships/tags" Target="../tags/tag1337.xml"/><Relationship Id="rId13" Type="http://schemas.openxmlformats.org/officeDocument/2006/relationships/oleObject" Target="../embeddings/oleObject153.bin"/><Relationship Id="rId3" Type="http://schemas.openxmlformats.org/officeDocument/2006/relationships/tags" Target="../tags/tag1332.xml"/><Relationship Id="rId7" Type="http://schemas.openxmlformats.org/officeDocument/2006/relationships/tags" Target="../tags/tag1336.xml"/><Relationship Id="rId12" Type="http://schemas.openxmlformats.org/officeDocument/2006/relationships/notesSlide" Target="../notesSlides/notesSlide100.xml"/><Relationship Id="rId2" Type="http://schemas.openxmlformats.org/officeDocument/2006/relationships/tags" Target="../tags/tag1331.xml"/><Relationship Id="rId16" Type="http://schemas.openxmlformats.org/officeDocument/2006/relationships/chart" Target="../charts/chart87.xml"/><Relationship Id="rId1" Type="http://schemas.openxmlformats.org/officeDocument/2006/relationships/vmlDrawing" Target="../drawings/vmlDrawing149.vml"/><Relationship Id="rId6" Type="http://schemas.openxmlformats.org/officeDocument/2006/relationships/tags" Target="../tags/tag1335.xml"/><Relationship Id="rId11" Type="http://schemas.openxmlformats.org/officeDocument/2006/relationships/slideLayout" Target="../slideLayouts/slideLayout11.xml"/><Relationship Id="rId5" Type="http://schemas.openxmlformats.org/officeDocument/2006/relationships/tags" Target="../tags/tag1334.xml"/><Relationship Id="rId15" Type="http://schemas.openxmlformats.org/officeDocument/2006/relationships/image" Target="../media/image58.jpeg"/><Relationship Id="rId10" Type="http://schemas.openxmlformats.org/officeDocument/2006/relationships/tags" Target="../tags/tag1339.xml"/><Relationship Id="rId4" Type="http://schemas.openxmlformats.org/officeDocument/2006/relationships/tags" Target="../tags/tag1333.xml"/><Relationship Id="rId9" Type="http://schemas.openxmlformats.org/officeDocument/2006/relationships/tags" Target="../tags/tag1338.xml"/><Relationship Id="rId14" Type="http://schemas.openxmlformats.org/officeDocument/2006/relationships/image" Target="../media/image40.emf"/></Relationships>
</file>

<file path=ppt/slides/_rels/slide114.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150.vml"/><Relationship Id="rId6" Type="http://schemas.openxmlformats.org/officeDocument/2006/relationships/image" Target="../media/image16.emf"/><Relationship Id="rId5" Type="http://schemas.openxmlformats.org/officeDocument/2006/relationships/oleObject" Target="../embeddings/oleObject154.bin"/><Relationship Id="rId4"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8" Type="http://schemas.openxmlformats.org/officeDocument/2006/relationships/tags" Target="../tags/tag1348.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tags" Target="../tags/tag1343.xml"/><Relationship Id="rId21" Type="http://schemas.openxmlformats.org/officeDocument/2006/relationships/slideLayout" Target="../slideLayouts/slideLayout37.xml"/><Relationship Id="rId7" Type="http://schemas.openxmlformats.org/officeDocument/2006/relationships/tags" Target="../tags/tag1347.xml"/><Relationship Id="rId12" Type="http://schemas.openxmlformats.org/officeDocument/2006/relationships/tags" Target="../tags/tag1352.xml"/><Relationship Id="rId17" Type="http://schemas.openxmlformats.org/officeDocument/2006/relationships/tags" Target="../tags/tag1357.xml"/><Relationship Id="rId25" Type="http://schemas.openxmlformats.org/officeDocument/2006/relationships/chart" Target="../charts/chart88.xml"/><Relationship Id="rId2" Type="http://schemas.openxmlformats.org/officeDocument/2006/relationships/tags" Target="../tags/tag1342.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vmlDrawing" Target="../drawings/vmlDrawing151.vml"/><Relationship Id="rId6" Type="http://schemas.openxmlformats.org/officeDocument/2006/relationships/tags" Target="../tags/tag1346.xml"/><Relationship Id="rId11" Type="http://schemas.openxmlformats.org/officeDocument/2006/relationships/tags" Target="../tags/tag1351.xml"/><Relationship Id="rId24" Type="http://schemas.openxmlformats.org/officeDocument/2006/relationships/image" Target="../media/image16.emf"/><Relationship Id="rId5" Type="http://schemas.openxmlformats.org/officeDocument/2006/relationships/tags" Target="../tags/tag1345.xml"/><Relationship Id="rId15" Type="http://schemas.openxmlformats.org/officeDocument/2006/relationships/tags" Target="../tags/tag1355.xml"/><Relationship Id="rId23" Type="http://schemas.openxmlformats.org/officeDocument/2006/relationships/oleObject" Target="../embeddings/oleObject155.bin"/><Relationship Id="rId10" Type="http://schemas.openxmlformats.org/officeDocument/2006/relationships/tags" Target="../tags/tag1350.xml"/><Relationship Id="rId19" Type="http://schemas.openxmlformats.org/officeDocument/2006/relationships/tags" Target="../tags/tag1359.xml"/><Relationship Id="rId4" Type="http://schemas.openxmlformats.org/officeDocument/2006/relationships/tags" Target="../tags/tag1344.xml"/><Relationship Id="rId9" Type="http://schemas.openxmlformats.org/officeDocument/2006/relationships/tags" Target="../tags/tag1349.xml"/><Relationship Id="rId14" Type="http://schemas.openxmlformats.org/officeDocument/2006/relationships/tags" Target="../tags/tag1354.xml"/><Relationship Id="rId22" Type="http://schemas.openxmlformats.org/officeDocument/2006/relationships/notesSlide" Target="../notesSlides/notesSlide101.xml"/></Relationships>
</file>

<file path=ppt/slides/_rels/slide116.xml.rels><?xml version="1.0" encoding="UTF-8" standalone="yes"?>
<Relationships xmlns="http://schemas.openxmlformats.org/package/2006/relationships"><Relationship Id="rId8" Type="http://schemas.openxmlformats.org/officeDocument/2006/relationships/tags" Target="../tags/tag1367.xml"/><Relationship Id="rId13" Type="http://schemas.openxmlformats.org/officeDocument/2006/relationships/tags" Target="../tags/tag1372.xml"/><Relationship Id="rId18" Type="http://schemas.openxmlformats.org/officeDocument/2006/relationships/tags" Target="../tags/tag1377.xml"/><Relationship Id="rId26" Type="http://schemas.openxmlformats.org/officeDocument/2006/relationships/tags" Target="../tags/tag1385.xml"/><Relationship Id="rId3" Type="http://schemas.openxmlformats.org/officeDocument/2006/relationships/tags" Target="../tags/tag1362.xml"/><Relationship Id="rId21" Type="http://schemas.openxmlformats.org/officeDocument/2006/relationships/tags" Target="../tags/tag1380.xml"/><Relationship Id="rId7" Type="http://schemas.openxmlformats.org/officeDocument/2006/relationships/tags" Target="../tags/tag1366.xml"/><Relationship Id="rId12" Type="http://schemas.openxmlformats.org/officeDocument/2006/relationships/tags" Target="../tags/tag1371.xml"/><Relationship Id="rId17" Type="http://schemas.openxmlformats.org/officeDocument/2006/relationships/tags" Target="../tags/tag1376.xml"/><Relationship Id="rId25" Type="http://schemas.openxmlformats.org/officeDocument/2006/relationships/tags" Target="../tags/tag1384.xml"/><Relationship Id="rId2" Type="http://schemas.openxmlformats.org/officeDocument/2006/relationships/tags" Target="../tags/tag1361.xml"/><Relationship Id="rId16" Type="http://schemas.openxmlformats.org/officeDocument/2006/relationships/tags" Target="../tags/tag1375.xml"/><Relationship Id="rId20" Type="http://schemas.openxmlformats.org/officeDocument/2006/relationships/tags" Target="../tags/tag1379.xml"/><Relationship Id="rId29" Type="http://schemas.openxmlformats.org/officeDocument/2006/relationships/oleObject" Target="../embeddings/oleObject156.bin"/><Relationship Id="rId1" Type="http://schemas.openxmlformats.org/officeDocument/2006/relationships/vmlDrawing" Target="../drawings/vmlDrawing152.vml"/><Relationship Id="rId6" Type="http://schemas.openxmlformats.org/officeDocument/2006/relationships/tags" Target="../tags/tag1365.xml"/><Relationship Id="rId11" Type="http://schemas.openxmlformats.org/officeDocument/2006/relationships/tags" Target="../tags/tag1370.xml"/><Relationship Id="rId24" Type="http://schemas.openxmlformats.org/officeDocument/2006/relationships/tags" Target="../tags/tag1383.xml"/><Relationship Id="rId32" Type="http://schemas.openxmlformats.org/officeDocument/2006/relationships/chart" Target="../charts/chart90.xml"/><Relationship Id="rId5" Type="http://schemas.openxmlformats.org/officeDocument/2006/relationships/tags" Target="../tags/tag1364.xml"/><Relationship Id="rId15" Type="http://schemas.openxmlformats.org/officeDocument/2006/relationships/tags" Target="../tags/tag1374.xml"/><Relationship Id="rId23" Type="http://schemas.openxmlformats.org/officeDocument/2006/relationships/tags" Target="../tags/tag1382.xml"/><Relationship Id="rId28" Type="http://schemas.openxmlformats.org/officeDocument/2006/relationships/notesSlide" Target="../notesSlides/notesSlide102.xml"/><Relationship Id="rId10" Type="http://schemas.openxmlformats.org/officeDocument/2006/relationships/tags" Target="../tags/tag1369.xml"/><Relationship Id="rId19" Type="http://schemas.openxmlformats.org/officeDocument/2006/relationships/tags" Target="../tags/tag1378.xml"/><Relationship Id="rId31" Type="http://schemas.openxmlformats.org/officeDocument/2006/relationships/chart" Target="../charts/chart89.xml"/><Relationship Id="rId4" Type="http://schemas.openxmlformats.org/officeDocument/2006/relationships/tags" Target="../tags/tag1363.xml"/><Relationship Id="rId9" Type="http://schemas.openxmlformats.org/officeDocument/2006/relationships/tags" Target="../tags/tag1368.xml"/><Relationship Id="rId14" Type="http://schemas.openxmlformats.org/officeDocument/2006/relationships/tags" Target="../tags/tag1373.xml"/><Relationship Id="rId22" Type="http://schemas.openxmlformats.org/officeDocument/2006/relationships/tags" Target="../tags/tag1381.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117.xml.rels><?xml version="1.0" encoding="UTF-8" standalone="yes"?>
<Relationships xmlns="http://schemas.openxmlformats.org/package/2006/relationships"><Relationship Id="rId8" Type="http://schemas.openxmlformats.org/officeDocument/2006/relationships/tags" Target="../tags/tag1392.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tags" Target="../tags/tag1387.xml"/><Relationship Id="rId21" Type="http://schemas.openxmlformats.org/officeDocument/2006/relationships/slideLayout" Target="../slideLayouts/slideLayout37.xml"/><Relationship Id="rId7" Type="http://schemas.openxmlformats.org/officeDocument/2006/relationships/tags" Target="../tags/tag1391.xml"/><Relationship Id="rId12" Type="http://schemas.openxmlformats.org/officeDocument/2006/relationships/tags" Target="../tags/tag1396.xml"/><Relationship Id="rId17" Type="http://schemas.openxmlformats.org/officeDocument/2006/relationships/tags" Target="../tags/tag1401.xml"/><Relationship Id="rId25" Type="http://schemas.openxmlformats.org/officeDocument/2006/relationships/chart" Target="../charts/chart91.xml"/><Relationship Id="rId2" Type="http://schemas.openxmlformats.org/officeDocument/2006/relationships/tags" Target="../tags/tag1386.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vmlDrawing" Target="../drawings/vmlDrawing153.vml"/><Relationship Id="rId6" Type="http://schemas.openxmlformats.org/officeDocument/2006/relationships/tags" Target="../tags/tag1390.xml"/><Relationship Id="rId11" Type="http://schemas.openxmlformats.org/officeDocument/2006/relationships/tags" Target="../tags/tag1395.xml"/><Relationship Id="rId24" Type="http://schemas.openxmlformats.org/officeDocument/2006/relationships/image" Target="../media/image16.emf"/><Relationship Id="rId5" Type="http://schemas.openxmlformats.org/officeDocument/2006/relationships/tags" Target="../tags/tag1389.xml"/><Relationship Id="rId15" Type="http://schemas.openxmlformats.org/officeDocument/2006/relationships/tags" Target="../tags/tag1399.xml"/><Relationship Id="rId23" Type="http://schemas.openxmlformats.org/officeDocument/2006/relationships/oleObject" Target="../embeddings/oleObject157.bin"/><Relationship Id="rId10" Type="http://schemas.openxmlformats.org/officeDocument/2006/relationships/tags" Target="../tags/tag1394.xml"/><Relationship Id="rId19" Type="http://schemas.openxmlformats.org/officeDocument/2006/relationships/tags" Target="../tags/tag1403.xml"/><Relationship Id="rId4" Type="http://schemas.openxmlformats.org/officeDocument/2006/relationships/tags" Target="../tags/tag1388.xml"/><Relationship Id="rId9" Type="http://schemas.openxmlformats.org/officeDocument/2006/relationships/tags" Target="../tags/tag1393.xml"/><Relationship Id="rId14" Type="http://schemas.openxmlformats.org/officeDocument/2006/relationships/tags" Target="../tags/tag1398.xml"/><Relationship Id="rId22" Type="http://schemas.openxmlformats.org/officeDocument/2006/relationships/notesSlide" Target="../notesSlides/notesSlide103.xml"/></Relationships>
</file>

<file path=ppt/slides/_rels/slide118.xml.rels><?xml version="1.0" encoding="UTF-8" standalone="yes"?>
<Relationships xmlns="http://schemas.openxmlformats.org/package/2006/relationships"><Relationship Id="rId8" Type="http://schemas.openxmlformats.org/officeDocument/2006/relationships/tags" Target="../tags/tag1411.xml"/><Relationship Id="rId13" Type="http://schemas.openxmlformats.org/officeDocument/2006/relationships/tags" Target="../tags/tag1416.xml"/><Relationship Id="rId18" Type="http://schemas.openxmlformats.org/officeDocument/2006/relationships/tags" Target="../tags/tag1421.xml"/><Relationship Id="rId26" Type="http://schemas.openxmlformats.org/officeDocument/2006/relationships/tags" Target="../tags/tag1429.xml"/><Relationship Id="rId3" Type="http://schemas.openxmlformats.org/officeDocument/2006/relationships/tags" Target="../tags/tag1406.xml"/><Relationship Id="rId21" Type="http://schemas.openxmlformats.org/officeDocument/2006/relationships/tags" Target="../tags/tag1424.xml"/><Relationship Id="rId7" Type="http://schemas.openxmlformats.org/officeDocument/2006/relationships/tags" Target="../tags/tag1410.xml"/><Relationship Id="rId12" Type="http://schemas.openxmlformats.org/officeDocument/2006/relationships/tags" Target="../tags/tag1415.xml"/><Relationship Id="rId17" Type="http://schemas.openxmlformats.org/officeDocument/2006/relationships/tags" Target="../tags/tag1420.xml"/><Relationship Id="rId25" Type="http://schemas.openxmlformats.org/officeDocument/2006/relationships/tags" Target="../tags/tag1428.xml"/><Relationship Id="rId2" Type="http://schemas.openxmlformats.org/officeDocument/2006/relationships/tags" Target="../tags/tag1405.xml"/><Relationship Id="rId16" Type="http://schemas.openxmlformats.org/officeDocument/2006/relationships/tags" Target="../tags/tag1419.xml"/><Relationship Id="rId20" Type="http://schemas.openxmlformats.org/officeDocument/2006/relationships/tags" Target="../tags/tag1423.xml"/><Relationship Id="rId29" Type="http://schemas.openxmlformats.org/officeDocument/2006/relationships/oleObject" Target="../embeddings/oleObject158.bin"/><Relationship Id="rId1" Type="http://schemas.openxmlformats.org/officeDocument/2006/relationships/vmlDrawing" Target="../drawings/vmlDrawing154.vml"/><Relationship Id="rId6" Type="http://schemas.openxmlformats.org/officeDocument/2006/relationships/tags" Target="../tags/tag1409.xml"/><Relationship Id="rId11" Type="http://schemas.openxmlformats.org/officeDocument/2006/relationships/tags" Target="../tags/tag1414.xml"/><Relationship Id="rId24" Type="http://schemas.openxmlformats.org/officeDocument/2006/relationships/tags" Target="../tags/tag1427.xml"/><Relationship Id="rId32" Type="http://schemas.openxmlformats.org/officeDocument/2006/relationships/chart" Target="../charts/chart93.xml"/><Relationship Id="rId5" Type="http://schemas.openxmlformats.org/officeDocument/2006/relationships/tags" Target="../tags/tag1408.xml"/><Relationship Id="rId15" Type="http://schemas.openxmlformats.org/officeDocument/2006/relationships/tags" Target="../tags/tag1418.xml"/><Relationship Id="rId23" Type="http://schemas.openxmlformats.org/officeDocument/2006/relationships/tags" Target="../tags/tag1426.xml"/><Relationship Id="rId28" Type="http://schemas.openxmlformats.org/officeDocument/2006/relationships/notesSlide" Target="../notesSlides/notesSlide104.xml"/><Relationship Id="rId10" Type="http://schemas.openxmlformats.org/officeDocument/2006/relationships/tags" Target="../tags/tag1413.xml"/><Relationship Id="rId19" Type="http://schemas.openxmlformats.org/officeDocument/2006/relationships/tags" Target="../tags/tag1422.xml"/><Relationship Id="rId31" Type="http://schemas.openxmlformats.org/officeDocument/2006/relationships/chart" Target="../charts/chart92.xml"/><Relationship Id="rId4" Type="http://schemas.openxmlformats.org/officeDocument/2006/relationships/tags" Target="../tags/tag1407.xml"/><Relationship Id="rId9" Type="http://schemas.openxmlformats.org/officeDocument/2006/relationships/tags" Target="../tags/tag1412.xml"/><Relationship Id="rId14" Type="http://schemas.openxmlformats.org/officeDocument/2006/relationships/tags" Target="../tags/tag1417.xml"/><Relationship Id="rId22" Type="http://schemas.openxmlformats.org/officeDocument/2006/relationships/tags" Target="../tags/tag1425.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119.xml.rels><?xml version="1.0" encoding="UTF-8" standalone="yes"?>
<Relationships xmlns="http://schemas.openxmlformats.org/package/2006/relationships"><Relationship Id="rId8" Type="http://schemas.openxmlformats.org/officeDocument/2006/relationships/tags" Target="../tags/tag1436.xml"/><Relationship Id="rId13" Type="http://schemas.openxmlformats.org/officeDocument/2006/relationships/tags" Target="../tags/tag1441.xml"/><Relationship Id="rId18" Type="http://schemas.openxmlformats.org/officeDocument/2006/relationships/image" Target="../media/image58.jpeg"/><Relationship Id="rId3" Type="http://schemas.openxmlformats.org/officeDocument/2006/relationships/tags" Target="../tags/tag1431.xml"/><Relationship Id="rId7" Type="http://schemas.openxmlformats.org/officeDocument/2006/relationships/tags" Target="../tags/tag1435.xml"/><Relationship Id="rId12" Type="http://schemas.openxmlformats.org/officeDocument/2006/relationships/tags" Target="../tags/tag1440.xml"/><Relationship Id="rId17" Type="http://schemas.openxmlformats.org/officeDocument/2006/relationships/image" Target="../media/image40.emf"/><Relationship Id="rId2" Type="http://schemas.openxmlformats.org/officeDocument/2006/relationships/tags" Target="../tags/tag1430.xml"/><Relationship Id="rId16" Type="http://schemas.openxmlformats.org/officeDocument/2006/relationships/oleObject" Target="../embeddings/oleObject159.bin"/><Relationship Id="rId1" Type="http://schemas.openxmlformats.org/officeDocument/2006/relationships/vmlDrawing" Target="../drawings/vmlDrawing155.vml"/><Relationship Id="rId6" Type="http://schemas.openxmlformats.org/officeDocument/2006/relationships/tags" Target="../tags/tag1434.xml"/><Relationship Id="rId11" Type="http://schemas.openxmlformats.org/officeDocument/2006/relationships/tags" Target="../tags/tag1439.xml"/><Relationship Id="rId5" Type="http://schemas.openxmlformats.org/officeDocument/2006/relationships/tags" Target="../tags/tag1433.xml"/><Relationship Id="rId15" Type="http://schemas.openxmlformats.org/officeDocument/2006/relationships/notesSlide" Target="../notesSlides/notesSlide105.xml"/><Relationship Id="rId10" Type="http://schemas.openxmlformats.org/officeDocument/2006/relationships/tags" Target="../tags/tag1438.xml"/><Relationship Id="rId19" Type="http://schemas.openxmlformats.org/officeDocument/2006/relationships/chart" Target="../charts/chart94.xml"/><Relationship Id="rId4" Type="http://schemas.openxmlformats.org/officeDocument/2006/relationships/tags" Target="../tags/tag1432.xml"/><Relationship Id="rId9" Type="http://schemas.openxmlformats.org/officeDocument/2006/relationships/tags" Target="../tags/tag1437.xml"/><Relationship Id="rId14"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5.jpeg"/><Relationship Id="rId2" Type="http://schemas.openxmlformats.org/officeDocument/2006/relationships/tags" Target="../tags/tag98.xml"/><Relationship Id="rId1" Type="http://schemas.openxmlformats.org/officeDocument/2006/relationships/vmlDrawing" Target="../drawings/vmlDrawing48.vml"/><Relationship Id="rId6" Type="http://schemas.openxmlformats.org/officeDocument/2006/relationships/image" Target="../media/image16.emf"/><Relationship Id="rId5" Type="http://schemas.openxmlformats.org/officeDocument/2006/relationships/oleObject" Target="../embeddings/oleObject49.bin"/><Relationship Id="rId4" Type="http://schemas.openxmlformats.org/officeDocument/2006/relationships/notesSlide" Target="../notesSlides/notesSlide9.xml"/></Relationships>
</file>

<file path=ppt/slides/_rels/slide120.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1443.xml"/><Relationship Id="rId7" Type="http://schemas.openxmlformats.org/officeDocument/2006/relationships/image" Target="../media/image16.emf"/><Relationship Id="rId2" Type="http://schemas.openxmlformats.org/officeDocument/2006/relationships/tags" Target="../tags/tag1442.xml"/><Relationship Id="rId1" Type="http://schemas.openxmlformats.org/officeDocument/2006/relationships/vmlDrawing" Target="../drawings/vmlDrawing156.vml"/><Relationship Id="rId6" Type="http://schemas.openxmlformats.org/officeDocument/2006/relationships/oleObject" Target="../embeddings/oleObject160.bin"/><Relationship Id="rId5" Type="http://schemas.openxmlformats.org/officeDocument/2006/relationships/notesSlide" Target="../notesSlides/notesSlide106.xml"/><Relationship Id="rId4"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8" Type="http://schemas.openxmlformats.org/officeDocument/2006/relationships/tags" Target="../tags/tag1450.xml"/><Relationship Id="rId13" Type="http://schemas.openxmlformats.org/officeDocument/2006/relationships/tags" Target="../tags/tag1455.xml"/><Relationship Id="rId18" Type="http://schemas.openxmlformats.org/officeDocument/2006/relationships/tags" Target="../tags/tag1460.xml"/><Relationship Id="rId3" Type="http://schemas.openxmlformats.org/officeDocument/2006/relationships/tags" Target="../tags/tag1445.xml"/><Relationship Id="rId21" Type="http://schemas.openxmlformats.org/officeDocument/2006/relationships/slideLayout" Target="../slideLayouts/slideLayout37.xml"/><Relationship Id="rId7" Type="http://schemas.openxmlformats.org/officeDocument/2006/relationships/tags" Target="../tags/tag1449.xml"/><Relationship Id="rId12" Type="http://schemas.openxmlformats.org/officeDocument/2006/relationships/tags" Target="../tags/tag1454.xml"/><Relationship Id="rId17" Type="http://schemas.openxmlformats.org/officeDocument/2006/relationships/tags" Target="../tags/tag1459.xml"/><Relationship Id="rId25" Type="http://schemas.openxmlformats.org/officeDocument/2006/relationships/chart" Target="../charts/chart95.xml"/><Relationship Id="rId2" Type="http://schemas.openxmlformats.org/officeDocument/2006/relationships/tags" Target="../tags/tag1444.xml"/><Relationship Id="rId16" Type="http://schemas.openxmlformats.org/officeDocument/2006/relationships/tags" Target="../tags/tag1458.xml"/><Relationship Id="rId20" Type="http://schemas.openxmlformats.org/officeDocument/2006/relationships/tags" Target="../tags/tag1462.xml"/><Relationship Id="rId1" Type="http://schemas.openxmlformats.org/officeDocument/2006/relationships/vmlDrawing" Target="../drawings/vmlDrawing157.vml"/><Relationship Id="rId6" Type="http://schemas.openxmlformats.org/officeDocument/2006/relationships/tags" Target="../tags/tag1448.xml"/><Relationship Id="rId11" Type="http://schemas.openxmlformats.org/officeDocument/2006/relationships/tags" Target="../tags/tag1453.xml"/><Relationship Id="rId24" Type="http://schemas.openxmlformats.org/officeDocument/2006/relationships/image" Target="../media/image16.emf"/><Relationship Id="rId5" Type="http://schemas.openxmlformats.org/officeDocument/2006/relationships/tags" Target="../tags/tag1447.xml"/><Relationship Id="rId15" Type="http://schemas.openxmlformats.org/officeDocument/2006/relationships/tags" Target="../tags/tag1457.xml"/><Relationship Id="rId23" Type="http://schemas.openxmlformats.org/officeDocument/2006/relationships/oleObject" Target="../embeddings/oleObject161.bin"/><Relationship Id="rId10" Type="http://schemas.openxmlformats.org/officeDocument/2006/relationships/tags" Target="../tags/tag1452.xml"/><Relationship Id="rId19" Type="http://schemas.openxmlformats.org/officeDocument/2006/relationships/tags" Target="../tags/tag1461.xml"/><Relationship Id="rId4" Type="http://schemas.openxmlformats.org/officeDocument/2006/relationships/tags" Target="../tags/tag1446.xml"/><Relationship Id="rId9" Type="http://schemas.openxmlformats.org/officeDocument/2006/relationships/tags" Target="../tags/tag1451.xml"/><Relationship Id="rId14" Type="http://schemas.openxmlformats.org/officeDocument/2006/relationships/tags" Target="../tags/tag1456.xml"/><Relationship Id="rId22" Type="http://schemas.openxmlformats.org/officeDocument/2006/relationships/notesSlide" Target="../notesSlides/notesSlide107.xml"/></Relationships>
</file>

<file path=ppt/slides/_rels/slide122.xml.rels><?xml version="1.0" encoding="UTF-8" standalone="yes"?>
<Relationships xmlns="http://schemas.openxmlformats.org/package/2006/relationships"><Relationship Id="rId8" Type="http://schemas.openxmlformats.org/officeDocument/2006/relationships/tags" Target="../tags/tag1469.xml"/><Relationship Id="rId13" Type="http://schemas.openxmlformats.org/officeDocument/2006/relationships/tags" Target="../tags/tag1474.xml"/><Relationship Id="rId18" Type="http://schemas.openxmlformats.org/officeDocument/2006/relationships/tags" Target="../tags/tag1479.xml"/><Relationship Id="rId26" Type="http://schemas.openxmlformats.org/officeDocument/2006/relationships/tags" Target="../tags/tag1487.xml"/><Relationship Id="rId3" Type="http://schemas.openxmlformats.org/officeDocument/2006/relationships/tags" Target="../tags/tag1464.xml"/><Relationship Id="rId21" Type="http://schemas.openxmlformats.org/officeDocument/2006/relationships/tags" Target="../tags/tag1482.xml"/><Relationship Id="rId7" Type="http://schemas.openxmlformats.org/officeDocument/2006/relationships/tags" Target="../tags/tag1468.xml"/><Relationship Id="rId12" Type="http://schemas.openxmlformats.org/officeDocument/2006/relationships/tags" Target="../tags/tag1473.xml"/><Relationship Id="rId17" Type="http://schemas.openxmlformats.org/officeDocument/2006/relationships/tags" Target="../tags/tag1478.xml"/><Relationship Id="rId25" Type="http://schemas.openxmlformats.org/officeDocument/2006/relationships/tags" Target="../tags/tag1486.xml"/><Relationship Id="rId2" Type="http://schemas.openxmlformats.org/officeDocument/2006/relationships/tags" Target="../tags/tag1463.xml"/><Relationship Id="rId16" Type="http://schemas.openxmlformats.org/officeDocument/2006/relationships/tags" Target="../tags/tag1477.xml"/><Relationship Id="rId20" Type="http://schemas.openxmlformats.org/officeDocument/2006/relationships/tags" Target="../tags/tag1481.xml"/><Relationship Id="rId29" Type="http://schemas.openxmlformats.org/officeDocument/2006/relationships/oleObject" Target="../embeddings/oleObject162.bin"/><Relationship Id="rId1" Type="http://schemas.openxmlformats.org/officeDocument/2006/relationships/vmlDrawing" Target="../drawings/vmlDrawing158.vml"/><Relationship Id="rId6" Type="http://schemas.openxmlformats.org/officeDocument/2006/relationships/tags" Target="../tags/tag1467.xml"/><Relationship Id="rId11" Type="http://schemas.openxmlformats.org/officeDocument/2006/relationships/tags" Target="../tags/tag1472.xml"/><Relationship Id="rId24" Type="http://schemas.openxmlformats.org/officeDocument/2006/relationships/tags" Target="../tags/tag1485.xml"/><Relationship Id="rId32" Type="http://schemas.openxmlformats.org/officeDocument/2006/relationships/chart" Target="../charts/chart97.xml"/><Relationship Id="rId5" Type="http://schemas.openxmlformats.org/officeDocument/2006/relationships/tags" Target="../tags/tag1466.xml"/><Relationship Id="rId15" Type="http://schemas.openxmlformats.org/officeDocument/2006/relationships/tags" Target="../tags/tag1476.xml"/><Relationship Id="rId23" Type="http://schemas.openxmlformats.org/officeDocument/2006/relationships/tags" Target="../tags/tag1484.xml"/><Relationship Id="rId28" Type="http://schemas.openxmlformats.org/officeDocument/2006/relationships/notesSlide" Target="../notesSlides/notesSlide108.xml"/><Relationship Id="rId10" Type="http://schemas.openxmlformats.org/officeDocument/2006/relationships/tags" Target="../tags/tag1471.xml"/><Relationship Id="rId19" Type="http://schemas.openxmlformats.org/officeDocument/2006/relationships/tags" Target="../tags/tag1480.xml"/><Relationship Id="rId31" Type="http://schemas.openxmlformats.org/officeDocument/2006/relationships/chart" Target="../charts/chart96.xml"/><Relationship Id="rId4" Type="http://schemas.openxmlformats.org/officeDocument/2006/relationships/tags" Target="../tags/tag1465.xml"/><Relationship Id="rId9" Type="http://schemas.openxmlformats.org/officeDocument/2006/relationships/tags" Target="../tags/tag1470.xml"/><Relationship Id="rId14" Type="http://schemas.openxmlformats.org/officeDocument/2006/relationships/tags" Target="../tags/tag1475.xml"/><Relationship Id="rId22" Type="http://schemas.openxmlformats.org/officeDocument/2006/relationships/tags" Target="../tags/tag1483.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123.xml.rels><?xml version="1.0" encoding="UTF-8" standalone="yes"?>
<Relationships xmlns="http://schemas.openxmlformats.org/package/2006/relationships"><Relationship Id="rId8" Type="http://schemas.openxmlformats.org/officeDocument/2006/relationships/tags" Target="../tags/tag1494.xml"/><Relationship Id="rId13" Type="http://schemas.openxmlformats.org/officeDocument/2006/relationships/tags" Target="../tags/tag1499.xml"/><Relationship Id="rId18" Type="http://schemas.openxmlformats.org/officeDocument/2006/relationships/oleObject" Target="../embeddings/oleObject163.bin"/><Relationship Id="rId3" Type="http://schemas.openxmlformats.org/officeDocument/2006/relationships/tags" Target="../tags/tag1489.xml"/><Relationship Id="rId7" Type="http://schemas.openxmlformats.org/officeDocument/2006/relationships/tags" Target="../tags/tag1493.xml"/><Relationship Id="rId12" Type="http://schemas.openxmlformats.org/officeDocument/2006/relationships/tags" Target="../tags/tag1498.xml"/><Relationship Id="rId17" Type="http://schemas.openxmlformats.org/officeDocument/2006/relationships/notesSlide" Target="../notesSlides/notesSlide109.xml"/><Relationship Id="rId2" Type="http://schemas.openxmlformats.org/officeDocument/2006/relationships/tags" Target="../tags/tag1488.xml"/><Relationship Id="rId16" Type="http://schemas.openxmlformats.org/officeDocument/2006/relationships/slideLayout" Target="../slideLayouts/slideLayout37.xml"/><Relationship Id="rId20" Type="http://schemas.openxmlformats.org/officeDocument/2006/relationships/chart" Target="../charts/chart98.xml"/><Relationship Id="rId1" Type="http://schemas.openxmlformats.org/officeDocument/2006/relationships/vmlDrawing" Target="../drawings/vmlDrawing159.vml"/><Relationship Id="rId6" Type="http://schemas.openxmlformats.org/officeDocument/2006/relationships/tags" Target="../tags/tag1492.xml"/><Relationship Id="rId11" Type="http://schemas.openxmlformats.org/officeDocument/2006/relationships/tags" Target="../tags/tag1497.xml"/><Relationship Id="rId5" Type="http://schemas.openxmlformats.org/officeDocument/2006/relationships/tags" Target="../tags/tag1491.xml"/><Relationship Id="rId15" Type="http://schemas.openxmlformats.org/officeDocument/2006/relationships/tags" Target="../tags/tag1501.xml"/><Relationship Id="rId10" Type="http://schemas.openxmlformats.org/officeDocument/2006/relationships/tags" Target="../tags/tag1496.xml"/><Relationship Id="rId19" Type="http://schemas.openxmlformats.org/officeDocument/2006/relationships/image" Target="../media/image16.emf"/><Relationship Id="rId4" Type="http://schemas.openxmlformats.org/officeDocument/2006/relationships/tags" Target="../tags/tag1490.xml"/><Relationship Id="rId9" Type="http://schemas.openxmlformats.org/officeDocument/2006/relationships/tags" Target="../tags/tag1495.xml"/><Relationship Id="rId14" Type="http://schemas.openxmlformats.org/officeDocument/2006/relationships/tags" Target="../tags/tag1500.xml"/></Relationships>
</file>

<file path=ppt/slides/_rels/slide1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503.xml"/><Relationship Id="rId7" Type="http://schemas.openxmlformats.org/officeDocument/2006/relationships/oleObject" Target="../embeddings/oleObject164.bin"/><Relationship Id="rId2" Type="http://schemas.openxmlformats.org/officeDocument/2006/relationships/tags" Target="../tags/tag1502.xml"/><Relationship Id="rId1" Type="http://schemas.openxmlformats.org/officeDocument/2006/relationships/vmlDrawing" Target="../drawings/vmlDrawing160.vml"/><Relationship Id="rId6" Type="http://schemas.openxmlformats.org/officeDocument/2006/relationships/notesSlide" Target="../notesSlides/notesSlide110.xml"/><Relationship Id="rId5" Type="http://schemas.openxmlformats.org/officeDocument/2006/relationships/slideLayout" Target="../slideLayouts/slideLayout30.xml"/><Relationship Id="rId4" Type="http://schemas.openxmlformats.org/officeDocument/2006/relationships/tags" Target="../tags/tag1504.xml"/></Relationships>
</file>

<file path=ppt/slides/_rels/slide125.xml.rels><?xml version="1.0" encoding="UTF-8" standalone="yes"?>
<Relationships xmlns="http://schemas.openxmlformats.org/package/2006/relationships"><Relationship Id="rId8" Type="http://schemas.openxmlformats.org/officeDocument/2006/relationships/tags" Target="../tags/tag1511.xml"/><Relationship Id="rId13" Type="http://schemas.openxmlformats.org/officeDocument/2006/relationships/tags" Target="../tags/tag1516.xml"/><Relationship Id="rId18" Type="http://schemas.openxmlformats.org/officeDocument/2006/relationships/image" Target="../media/image40.emf"/><Relationship Id="rId3" Type="http://schemas.openxmlformats.org/officeDocument/2006/relationships/tags" Target="../tags/tag1506.xml"/><Relationship Id="rId7" Type="http://schemas.openxmlformats.org/officeDocument/2006/relationships/tags" Target="../tags/tag1510.xml"/><Relationship Id="rId12" Type="http://schemas.openxmlformats.org/officeDocument/2006/relationships/tags" Target="../tags/tag1515.xml"/><Relationship Id="rId17" Type="http://schemas.openxmlformats.org/officeDocument/2006/relationships/oleObject" Target="../embeddings/oleObject165.bin"/><Relationship Id="rId2" Type="http://schemas.openxmlformats.org/officeDocument/2006/relationships/tags" Target="../tags/tag1505.xml"/><Relationship Id="rId16" Type="http://schemas.openxmlformats.org/officeDocument/2006/relationships/notesSlide" Target="../notesSlides/notesSlide111.xml"/><Relationship Id="rId20" Type="http://schemas.openxmlformats.org/officeDocument/2006/relationships/chart" Target="../charts/chart99.xml"/><Relationship Id="rId1" Type="http://schemas.openxmlformats.org/officeDocument/2006/relationships/vmlDrawing" Target="../drawings/vmlDrawing161.vml"/><Relationship Id="rId6" Type="http://schemas.openxmlformats.org/officeDocument/2006/relationships/tags" Target="../tags/tag1509.xml"/><Relationship Id="rId11" Type="http://schemas.openxmlformats.org/officeDocument/2006/relationships/tags" Target="../tags/tag1514.xml"/><Relationship Id="rId5" Type="http://schemas.openxmlformats.org/officeDocument/2006/relationships/tags" Target="../tags/tag1508.xml"/><Relationship Id="rId15" Type="http://schemas.openxmlformats.org/officeDocument/2006/relationships/slideLayout" Target="../slideLayouts/slideLayout11.xml"/><Relationship Id="rId10" Type="http://schemas.openxmlformats.org/officeDocument/2006/relationships/tags" Target="../tags/tag1513.xml"/><Relationship Id="rId19" Type="http://schemas.openxmlformats.org/officeDocument/2006/relationships/image" Target="../media/image60.jpeg"/><Relationship Id="rId4" Type="http://schemas.openxmlformats.org/officeDocument/2006/relationships/tags" Target="../tags/tag1507.xml"/><Relationship Id="rId9" Type="http://schemas.openxmlformats.org/officeDocument/2006/relationships/tags" Target="../tags/tag1512.xml"/><Relationship Id="rId14" Type="http://schemas.openxmlformats.org/officeDocument/2006/relationships/tags" Target="../tags/tag1517.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518.xml"/><Relationship Id="rId1" Type="http://schemas.openxmlformats.org/officeDocument/2006/relationships/vmlDrawing" Target="../drawings/vmlDrawing162.vml"/><Relationship Id="rId6" Type="http://schemas.openxmlformats.org/officeDocument/2006/relationships/image" Target="../media/image16.emf"/><Relationship Id="rId5" Type="http://schemas.openxmlformats.org/officeDocument/2006/relationships/oleObject" Target="../embeddings/oleObject166.bin"/><Relationship Id="rId4" Type="http://schemas.openxmlformats.org/officeDocument/2006/relationships/notesSlide" Target="../notesSlides/notesSlide112.xml"/></Relationships>
</file>

<file path=ppt/slides/_rels/slide127.xml.rels><?xml version="1.0" encoding="UTF-8" standalone="yes"?>
<Relationships xmlns="http://schemas.openxmlformats.org/package/2006/relationships"><Relationship Id="rId3" Type="http://schemas.openxmlformats.org/officeDocument/2006/relationships/tags" Target="../tags/tag1520.xml"/><Relationship Id="rId7" Type="http://schemas.openxmlformats.org/officeDocument/2006/relationships/image" Target="../media/image61.jpeg"/><Relationship Id="rId2" Type="http://schemas.openxmlformats.org/officeDocument/2006/relationships/tags" Target="../tags/tag1519.xml"/><Relationship Id="rId1" Type="http://schemas.openxmlformats.org/officeDocument/2006/relationships/vmlDrawing" Target="../drawings/vmlDrawing163.vml"/><Relationship Id="rId6" Type="http://schemas.openxmlformats.org/officeDocument/2006/relationships/image" Target="../media/image16.emf"/><Relationship Id="rId5" Type="http://schemas.openxmlformats.org/officeDocument/2006/relationships/oleObject" Target="../embeddings/oleObject167.bin"/><Relationship Id="rId4"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8" Type="http://schemas.openxmlformats.org/officeDocument/2006/relationships/tags" Target="../tags/tag1527.xml"/><Relationship Id="rId13" Type="http://schemas.openxmlformats.org/officeDocument/2006/relationships/tags" Target="../tags/tag1532.xml"/><Relationship Id="rId18" Type="http://schemas.openxmlformats.org/officeDocument/2006/relationships/tags" Target="../tags/tag1537.xml"/><Relationship Id="rId26" Type="http://schemas.openxmlformats.org/officeDocument/2006/relationships/tags" Target="../tags/tag1545.xml"/><Relationship Id="rId39" Type="http://schemas.openxmlformats.org/officeDocument/2006/relationships/image" Target="../media/image16.emf"/><Relationship Id="rId3" Type="http://schemas.openxmlformats.org/officeDocument/2006/relationships/tags" Target="../tags/tag1522.xml"/><Relationship Id="rId21" Type="http://schemas.openxmlformats.org/officeDocument/2006/relationships/tags" Target="../tags/tag1540.xml"/><Relationship Id="rId34" Type="http://schemas.openxmlformats.org/officeDocument/2006/relationships/tags" Target="../tags/tag1553.xml"/><Relationship Id="rId7" Type="http://schemas.openxmlformats.org/officeDocument/2006/relationships/tags" Target="../tags/tag1526.xml"/><Relationship Id="rId12" Type="http://schemas.openxmlformats.org/officeDocument/2006/relationships/tags" Target="../tags/tag1531.xml"/><Relationship Id="rId17" Type="http://schemas.openxmlformats.org/officeDocument/2006/relationships/tags" Target="../tags/tag1536.xml"/><Relationship Id="rId25" Type="http://schemas.openxmlformats.org/officeDocument/2006/relationships/tags" Target="../tags/tag1544.xml"/><Relationship Id="rId33" Type="http://schemas.openxmlformats.org/officeDocument/2006/relationships/tags" Target="../tags/tag1552.xml"/><Relationship Id="rId38" Type="http://schemas.openxmlformats.org/officeDocument/2006/relationships/oleObject" Target="../embeddings/oleObject168.bin"/><Relationship Id="rId2" Type="http://schemas.openxmlformats.org/officeDocument/2006/relationships/tags" Target="../tags/tag1521.xml"/><Relationship Id="rId16" Type="http://schemas.openxmlformats.org/officeDocument/2006/relationships/tags" Target="../tags/tag1535.xml"/><Relationship Id="rId20" Type="http://schemas.openxmlformats.org/officeDocument/2006/relationships/tags" Target="../tags/tag1539.xml"/><Relationship Id="rId29" Type="http://schemas.openxmlformats.org/officeDocument/2006/relationships/tags" Target="../tags/tag1548.xml"/><Relationship Id="rId41" Type="http://schemas.openxmlformats.org/officeDocument/2006/relationships/chart" Target="../charts/chart101.xml"/><Relationship Id="rId1" Type="http://schemas.openxmlformats.org/officeDocument/2006/relationships/vmlDrawing" Target="../drawings/vmlDrawing164.vml"/><Relationship Id="rId6" Type="http://schemas.openxmlformats.org/officeDocument/2006/relationships/tags" Target="../tags/tag1525.xml"/><Relationship Id="rId11" Type="http://schemas.openxmlformats.org/officeDocument/2006/relationships/tags" Target="../tags/tag1530.xml"/><Relationship Id="rId24" Type="http://schemas.openxmlformats.org/officeDocument/2006/relationships/tags" Target="../tags/tag1543.xml"/><Relationship Id="rId32" Type="http://schemas.openxmlformats.org/officeDocument/2006/relationships/tags" Target="../tags/tag1551.xml"/><Relationship Id="rId37" Type="http://schemas.openxmlformats.org/officeDocument/2006/relationships/notesSlide" Target="../notesSlides/notesSlide113.xml"/><Relationship Id="rId40" Type="http://schemas.openxmlformats.org/officeDocument/2006/relationships/chart" Target="../charts/chart100.xml"/><Relationship Id="rId5" Type="http://schemas.openxmlformats.org/officeDocument/2006/relationships/tags" Target="../tags/tag1524.xml"/><Relationship Id="rId15" Type="http://schemas.openxmlformats.org/officeDocument/2006/relationships/tags" Target="../tags/tag1534.xml"/><Relationship Id="rId23" Type="http://schemas.openxmlformats.org/officeDocument/2006/relationships/tags" Target="../tags/tag1542.xml"/><Relationship Id="rId28" Type="http://schemas.openxmlformats.org/officeDocument/2006/relationships/tags" Target="../tags/tag1547.xml"/><Relationship Id="rId36" Type="http://schemas.openxmlformats.org/officeDocument/2006/relationships/slideLayout" Target="../slideLayouts/slideLayout37.xml"/><Relationship Id="rId10" Type="http://schemas.openxmlformats.org/officeDocument/2006/relationships/tags" Target="../tags/tag1529.xml"/><Relationship Id="rId19" Type="http://schemas.openxmlformats.org/officeDocument/2006/relationships/tags" Target="../tags/tag1538.xml"/><Relationship Id="rId31" Type="http://schemas.openxmlformats.org/officeDocument/2006/relationships/tags" Target="../tags/tag1550.xml"/><Relationship Id="rId4" Type="http://schemas.openxmlformats.org/officeDocument/2006/relationships/tags" Target="../tags/tag1523.xml"/><Relationship Id="rId9" Type="http://schemas.openxmlformats.org/officeDocument/2006/relationships/tags" Target="../tags/tag1528.xml"/><Relationship Id="rId14" Type="http://schemas.openxmlformats.org/officeDocument/2006/relationships/tags" Target="../tags/tag1533.xml"/><Relationship Id="rId22" Type="http://schemas.openxmlformats.org/officeDocument/2006/relationships/tags" Target="../tags/tag1541.xml"/><Relationship Id="rId27" Type="http://schemas.openxmlformats.org/officeDocument/2006/relationships/tags" Target="../tags/tag1546.xml"/><Relationship Id="rId30" Type="http://schemas.openxmlformats.org/officeDocument/2006/relationships/tags" Target="../tags/tag1549.xml"/><Relationship Id="rId35" Type="http://schemas.openxmlformats.org/officeDocument/2006/relationships/tags" Target="../tags/tag1554.xml"/></Relationships>
</file>

<file path=ppt/slides/_rels/slide129.xml.rels><?xml version="1.0" encoding="UTF-8" standalone="yes"?>
<Relationships xmlns="http://schemas.openxmlformats.org/package/2006/relationships"><Relationship Id="rId8" Type="http://schemas.openxmlformats.org/officeDocument/2006/relationships/tags" Target="../tags/tag1561.xml"/><Relationship Id="rId13" Type="http://schemas.openxmlformats.org/officeDocument/2006/relationships/tags" Target="../tags/tag1566.xml"/><Relationship Id="rId18" Type="http://schemas.openxmlformats.org/officeDocument/2006/relationships/tags" Target="../tags/tag1571.xml"/><Relationship Id="rId3" Type="http://schemas.openxmlformats.org/officeDocument/2006/relationships/tags" Target="../tags/tag1556.xml"/><Relationship Id="rId21" Type="http://schemas.openxmlformats.org/officeDocument/2006/relationships/oleObject" Target="../embeddings/oleObject169.bin"/><Relationship Id="rId7" Type="http://schemas.openxmlformats.org/officeDocument/2006/relationships/tags" Target="../tags/tag1560.xml"/><Relationship Id="rId12" Type="http://schemas.openxmlformats.org/officeDocument/2006/relationships/tags" Target="../tags/tag1565.xml"/><Relationship Id="rId17" Type="http://schemas.openxmlformats.org/officeDocument/2006/relationships/tags" Target="../tags/tag1570.xml"/><Relationship Id="rId2" Type="http://schemas.openxmlformats.org/officeDocument/2006/relationships/tags" Target="../tags/tag1555.xml"/><Relationship Id="rId16" Type="http://schemas.openxmlformats.org/officeDocument/2006/relationships/tags" Target="../tags/tag1569.xml"/><Relationship Id="rId20" Type="http://schemas.openxmlformats.org/officeDocument/2006/relationships/notesSlide" Target="../notesSlides/notesSlide114.xml"/><Relationship Id="rId1" Type="http://schemas.openxmlformats.org/officeDocument/2006/relationships/vmlDrawing" Target="../drawings/vmlDrawing165.vml"/><Relationship Id="rId6" Type="http://schemas.openxmlformats.org/officeDocument/2006/relationships/tags" Target="../tags/tag1559.xml"/><Relationship Id="rId11" Type="http://schemas.openxmlformats.org/officeDocument/2006/relationships/tags" Target="../tags/tag1564.xml"/><Relationship Id="rId5" Type="http://schemas.openxmlformats.org/officeDocument/2006/relationships/tags" Target="../tags/tag1558.xml"/><Relationship Id="rId15" Type="http://schemas.openxmlformats.org/officeDocument/2006/relationships/tags" Target="../tags/tag1568.xml"/><Relationship Id="rId23" Type="http://schemas.openxmlformats.org/officeDocument/2006/relationships/chart" Target="../charts/chart102.xml"/><Relationship Id="rId10" Type="http://schemas.openxmlformats.org/officeDocument/2006/relationships/tags" Target="../tags/tag1563.xml"/><Relationship Id="rId19" Type="http://schemas.openxmlformats.org/officeDocument/2006/relationships/slideLayout" Target="../slideLayouts/slideLayout37.xml"/><Relationship Id="rId4" Type="http://schemas.openxmlformats.org/officeDocument/2006/relationships/tags" Target="../tags/tag1557.xml"/><Relationship Id="rId9" Type="http://schemas.openxmlformats.org/officeDocument/2006/relationships/tags" Target="../tags/tag1562.xml"/><Relationship Id="rId14" Type="http://schemas.openxmlformats.org/officeDocument/2006/relationships/tags" Target="../tags/tag1567.xml"/><Relationship Id="rId22" Type="http://schemas.openxmlformats.org/officeDocument/2006/relationships/image" Target="../media/image16.emf"/></Relationships>
</file>

<file path=ppt/slides/_rels/slide13.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notesSlide" Target="../notesSlides/notesSlide10.xml"/><Relationship Id="rId3" Type="http://schemas.openxmlformats.org/officeDocument/2006/relationships/tags" Target="../tags/tag100.xml"/><Relationship Id="rId21" Type="http://schemas.openxmlformats.org/officeDocument/2006/relationships/chart" Target="../charts/chart1.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slideLayout" Target="../slideLayouts/slideLayout37.xml"/><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image" Target="../media/image26.emf"/><Relationship Id="rId1" Type="http://schemas.openxmlformats.org/officeDocument/2006/relationships/vmlDrawing" Target="../drawings/vmlDrawing49.v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tags" Target="../tags/tag112.xml"/><Relationship Id="rId10" Type="http://schemas.openxmlformats.org/officeDocument/2006/relationships/tags" Target="../tags/tag107.xml"/><Relationship Id="rId19" Type="http://schemas.openxmlformats.org/officeDocument/2006/relationships/oleObject" Target="../embeddings/oleObject50.bin"/><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chart" Target="../charts/chart2.xml"/></Relationships>
</file>

<file path=ppt/slides/_rels/slide130.xml.rels><?xml version="1.0" encoding="UTF-8" standalone="yes"?>
<Relationships xmlns="http://schemas.openxmlformats.org/package/2006/relationships"><Relationship Id="rId8" Type="http://schemas.openxmlformats.org/officeDocument/2006/relationships/tags" Target="../tags/tag1578.xml"/><Relationship Id="rId13" Type="http://schemas.openxmlformats.org/officeDocument/2006/relationships/tags" Target="../tags/tag1583.xml"/><Relationship Id="rId18" Type="http://schemas.openxmlformats.org/officeDocument/2006/relationships/tags" Target="../tags/tag1588.xml"/><Relationship Id="rId26" Type="http://schemas.openxmlformats.org/officeDocument/2006/relationships/notesSlide" Target="../notesSlides/notesSlide115.xml"/><Relationship Id="rId3" Type="http://schemas.openxmlformats.org/officeDocument/2006/relationships/tags" Target="../tags/tag1573.xml"/><Relationship Id="rId21" Type="http://schemas.openxmlformats.org/officeDocument/2006/relationships/tags" Target="../tags/tag1591.xml"/><Relationship Id="rId7" Type="http://schemas.openxmlformats.org/officeDocument/2006/relationships/tags" Target="../tags/tag1577.xml"/><Relationship Id="rId12" Type="http://schemas.openxmlformats.org/officeDocument/2006/relationships/tags" Target="../tags/tag1582.xml"/><Relationship Id="rId17" Type="http://schemas.openxmlformats.org/officeDocument/2006/relationships/tags" Target="../tags/tag1587.xml"/><Relationship Id="rId25" Type="http://schemas.openxmlformats.org/officeDocument/2006/relationships/slideLayout" Target="../slideLayouts/slideLayout37.xml"/><Relationship Id="rId2" Type="http://schemas.openxmlformats.org/officeDocument/2006/relationships/tags" Target="../tags/tag1572.xml"/><Relationship Id="rId16" Type="http://schemas.openxmlformats.org/officeDocument/2006/relationships/tags" Target="../tags/tag1586.xml"/><Relationship Id="rId20" Type="http://schemas.openxmlformats.org/officeDocument/2006/relationships/tags" Target="../tags/tag1590.xml"/><Relationship Id="rId29" Type="http://schemas.openxmlformats.org/officeDocument/2006/relationships/chart" Target="../charts/chart103.xml"/><Relationship Id="rId1" Type="http://schemas.openxmlformats.org/officeDocument/2006/relationships/vmlDrawing" Target="../drawings/vmlDrawing166.vml"/><Relationship Id="rId6" Type="http://schemas.openxmlformats.org/officeDocument/2006/relationships/tags" Target="../tags/tag1576.xml"/><Relationship Id="rId11" Type="http://schemas.openxmlformats.org/officeDocument/2006/relationships/tags" Target="../tags/tag1581.xml"/><Relationship Id="rId24" Type="http://schemas.openxmlformats.org/officeDocument/2006/relationships/tags" Target="../tags/tag1594.xml"/><Relationship Id="rId5" Type="http://schemas.openxmlformats.org/officeDocument/2006/relationships/tags" Target="../tags/tag1575.xml"/><Relationship Id="rId15" Type="http://schemas.openxmlformats.org/officeDocument/2006/relationships/tags" Target="../tags/tag1585.xml"/><Relationship Id="rId23" Type="http://schemas.openxmlformats.org/officeDocument/2006/relationships/tags" Target="../tags/tag1593.xml"/><Relationship Id="rId28" Type="http://schemas.openxmlformats.org/officeDocument/2006/relationships/image" Target="../media/image16.emf"/><Relationship Id="rId10" Type="http://schemas.openxmlformats.org/officeDocument/2006/relationships/tags" Target="../tags/tag1580.xml"/><Relationship Id="rId19" Type="http://schemas.openxmlformats.org/officeDocument/2006/relationships/tags" Target="../tags/tag1589.xml"/><Relationship Id="rId4" Type="http://schemas.openxmlformats.org/officeDocument/2006/relationships/tags" Target="../tags/tag1574.xml"/><Relationship Id="rId9" Type="http://schemas.openxmlformats.org/officeDocument/2006/relationships/tags" Target="../tags/tag1579.xml"/><Relationship Id="rId14" Type="http://schemas.openxmlformats.org/officeDocument/2006/relationships/tags" Target="../tags/tag1584.xml"/><Relationship Id="rId22" Type="http://schemas.openxmlformats.org/officeDocument/2006/relationships/tags" Target="../tags/tag1592.xml"/><Relationship Id="rId27" Type="http://schemas.openxmlformats.org/officeDocument/2006/relationships/oleObject" Target="../embeddings/oleObject170.bin"/><Relationship Id="rId30" Type="http://schemas.openxmlformats.org/officeDocument/2006/relationships/chart" Target="../charts/chart104.xml"/></Relationships>
</file>

<file path=ppt/slides/_rels/slide13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596.xml"/><Relationship Id="rId7" Type="http://schemas.openxmlformats.org/officeDocument/2006/relationships/oleObject" Target="../embeddings/oleObject171.bin"/><Relationship Id="rId2" Type="http://schemas.openxmlformats.org/officeDocument/2006/relationships/tags" Target="../tags/tag1595.xml"/><Relationship Id="rId1" Type="http://schemas.openxmlformats.org/officeDocument/2006/relationships/vmlDrawing" Target="../drawings/vmlDrawing167.vml"/><Relationship Id="rId6" Type="http://schemas.openxmlformats.org/officeDocument/2006/relationships/notesSlide" Target="../notesSlides/notesSlide116.xml"/><Relationship Id="rId5" Type="http://schemas.openxmlformats.org/officeDocument/2006/relationships/slideLayout" Target="../slideLayouts/slideLayout30.xml"/><Relationship Id="rId4" Type="http://schemas.openxmlformats.org/officeDocument/2006/relationships/tags" Target="../tags/tag1597.xml"/></Relationships>
</file>

<file path=ppt/slides/_rels/slide132.xml.rels><?xml version="1.0" encoding="UTF-8" standalone="yes"?>
<Relationships xmlns="http://schemas.openxmlformats.org/package/2006/relationships"><Relationship Id="rId8" Type="http://schemas.openxmlformats.org/officeDocument/2006/relationships/tags" Target="../tags/tag1604.xml"/><Relationship Id="rId13" Type="http://schemas.openxmlformats.org/officeDocument/2006/relationships/slideLayout" Target="../slideLayouts/slideLayout11.xml"/><Relationship Id="rId18" Type="http://schemas.openxmlformats.org/officeDocument/2006/relationships/chart" Target="../charts/chart105.xml"/><Relationship Id="rId3" Type="http://schemas.openxmlformats.org/officeDocument/2006/relationships/tags" Target="../tags/tag1599.xml"/><Relationship Id="rId7" Type="http://schemas.openxmlformats.org/officeDocument/2006/relationships/tags" Target="../tags/tag1603.xml"/><Relationship Id="rId12" Type="http://schemas.openxmlformats.org/officeDocument/2006/relationships/tags" Target="../tags/tag1608.xml"/><Relationship Id="rId17" Type="http://schemas.openxmlformats.org/officeDocument/2006/relationships/image" Target="../media/image62.jpeg"/><Relationship Id="rId2" Type="http://schemas.openxmlformats.org/officeDocument/2006/relationships/tags" Target="../tags/tag1598.xml"/><Relationship Id="rId16" Type="http://schemas.openxmlformats.org/officeDocument/2006/relationships/image" Target="../media/image40.emf"/><Relationship Id="rId1" Type="http://schemas.openxmlformats.org/officeDocument/2006/relationships/vmlDrawing" Target="../drawings/vmlDrawing168.vml"/><Relationship Id="rId6" Type="http://schemas.openxmlformats.org/officeDocument/2006/relationships/tags" Target="../tags/tag1602.xml"/><Relationship Id="rId11" Type="http://schemas.openxmlformats.org/officeDocument/2006/relationships/tags" Target="../tags/tag1607.xml"/><Relationship Id="rId5" Type="http://schemas.openxmlformats.org/officeDocument/2006/relationships/tags" Target="../tags/tag1601.xml"/><Relationship Id="rId15" Type="http://schemas.openxmlformats.org/officeDocument/2006/relationships/oleObject" Target="../embeddings/oleObject172.bin"/><Relationship Id="rId10" Type="http://schemas.openxmlformats.org/officeDocument/2006/relationships/tags" Target="../tags/tag1606.xml"/><Relationship Id="rId4" Type="http://schemas.openxmlformats.org/officeDocument/2006/relationships/tags" Target="../tags/tag1600.xml"/><Relationship Id="rId9" Type="http://schemas.openxmlformats.org/officeDocument/2006/relationships/tags" Target="../tags/tag1605.xml"/><Relationship Id="rId14" Type="http://schemas.openxmlformats.org/officeDocument/2006/relationships/notesSlide" Target="../notesSlides/notesSlide117.xml"/></Relationships>
</file>

<file path=ppt/slides/_rels/slide133.xml.rels><?xml version="1.0" encoding="UTF-8" standalone="yes"?>
<Relationships xmlns="http://schemas.openxmlformats.org/package/2006/relationships"><Relationship Id="rId3" Type="http://schemas.openxmlformats.org/officeDocument/2006/relationships/tags" Target="../tags/tag1610.xml"/><Relationship Id="rId7" Type="http://schemas.openxmlformats.org/officeDocument/2006/relationships/image" Target="../media/image63.jpeg"/><Relationship Id="rId2" Type="http://schemas.openxmlformats.org/officeDocument/2006/relationships/tags" Target="../tags/tag1609.xml"/><Relationship Id="rId1" Type="http://schemas.openxmlformats.org/officeDocument/2006/relationships/vmlDrawing" Target="../drawings/vmlDrawing169.vml"/><Relationship Id="rId6" Type="http://schemas.openxmlformats.org/officeDocument/2006/relationships/image" Target="../media/image16.emf"/><Relationship Id="rId5" Type="http://schemas.openxmlformats.org/officeDocument/2006/relationships/oleObject" Target="../embeddings/oleObject173.bin"/><Relationship Id="rId4"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8" Type="http://schemas.openxmlformats.org/officeDocument/2006/relationships/tags" Target="../tags/tag1617.xml"/><Relationship Id="rId13" Type="http://schemas.openxmlformats.org/officeDocument/2006/relationships/tags" Target="../tags/tag1622.xml"/><Relationship Id="rId18" Type="http://schemas.openxmlformats.org/officeDocument/2006/relationships/tags" Target="../tags/tag1627.xml"/><Relationship Id="rId26" Type="http://schemas.openxmlformats.org/officeDocument/2006/relationships/image" Target="../media/image37.png"/><Relationship Id="rId3" Type="http://schemas.openxmlformats.org/officeDocument/2006/relationships/tags" Target="../tags/tag1612.xml"/><Relationship Id="rId21" Type="http://schemas.openxmlformats.org/officeDocument/2006/relationships/slideLayout" Target="../slideLayouts/slideLayout37.xml"/><Relationship Id="rId7" Type="http://schemas.openxmlformats.org/officeDocument/2006/relationships/tags" Target="../tags/tag1616.xml"/><Relationship Id="rId12" Type="http://schemas.openxmlformats.org/officeDocument/2006/relationships/tags" Target="../tags/tag1621.xml"/><Relationship Id="rId17" Type="http://schemas.openxmlformats.org/officeDocument/2006/relationships/tags" Target="../tags/tag1626.xml"/><Relationship Id="rId25" Type="http://schemas.openxmlformats.org/officeDocument/2006/relationships/chart" Target="../charts/chart106.xml"/><Relationship Id="rId2" Type="http://schemas.openxmlformats.org/officeDocument/2006/relationships/tags" Target="../tags/tag1611.xml"/><Relationship Id="rId16" Type="http://schemas.openxmlformats.org/officeDocument/2006/relationships/tags" Target="../tags/tag1625.xml"/><Relationship Id="rId20" Type="http://schemas.openxmlformats.org/officeDocument/2006/relationships/tags" Target="../tags/tag1629.xml"/><Relationship Id="rId1" Type="http://schemas.openxmlformats.org/officeDocument/2006/relationships/vmlDrawing" Target="../drawings/vmlDrawing170.vml"/><Relationship Id="rId6" Type="http://schemas.openxmlformats.org/officeDocument/2006/relationships/tags" Target="../tags/tag1615.xml"/><Relationship Id="rId11" Type="http://schemas.openxmlformats.org/officeDocument/2006/relationships/tags" Target="../tags/tag1620.xml"/><Relationship Id="rId24" Type="http://schemas.openxmlformats.org/officeDocument/2006/relationships/image" Target="../media/image16.emf"/><Relationship Id="rId5" Type="http://schemas.openxmlformats.org/officeDocument/2006/relationships/tags" Target="../tags/tag1614.xml"/><Relationship Id="rId15" Type="http://schemas.openxmlformats.org/officeDocument/2006/relationships/tags" Target="../tags/tag1624.xml"/><Relationship Id="rId23" Type="http://schemas.openxmlformats.org/officeDocument/2006/relationships/oleObject" Target="../embeddings/oleObject174.bin"/><Relationship Id="rId10" Type="http://schemas.openxmlformats.org/officeDocument/2006/relationships/tags" Target="../tags/tag1619.xml"/><Relationship Id="rId19" Type="http://schemas.openxmlformats.org/officeDocument/2006/relationships/tags" Target="../tags/tag1628.xml"/><Relationship Id="rId4" Type="http://schemas.openxmlformats.org/officeDocument/2006/relationships/tags" Target="../tags/tag1613.xml"/><Relationship Id="rId9" Type="http://schemas.openxmlformats.org/officeDocument/2006/relationships/tags" Target="../tags/tag1618.xml"/><Relationship Id="rId14" Type="http://schemas.openxmlformats.org/officeDocument/2006/relationships/tags" Target="../tags/tag1623.xml"/><Relationship Id="rId22" Type="http://schemas.openxmlformats.org/officeDocument/2006/relationships/notesSlide" Target="../notesSlides/notesSlide118.xml"/></Relationships>
</file>

<file path=ppt/slides/_rels/slide135.xml.rels><?xml version="1.0" encoding="UTF-8" standalone="yes"?>
<Relationships xmlns="http://schemas.openxmlformats.org/package/2006/relationships"><Relationship Id="rId8" Type="http://schemas.openxmlformats.org/officeDocument/2006/relationships/tags" Target="../tags/tag1636.xml"/><Relationship Id="rId13" Type="http://schemas.openxmlformats.org/officeDocument/2006/relationships/tags" Target="../tags/tag1641.xml"/><Relationship Id="rId18" Type="http://schemas.openxmlformats.org/officeDocument/2006/relationships/tags" Target="../tags/tag1646.xml"/><Relationship Id="rId3" Type="http://schemas.openxmlformats.org/officeDocument/2006/relationships/tags" Target="../tags/tag1631.xml"/><Relationship Id="rId21" Type="http://schemas.openxmlformats.org/officeDocument/2006/relationships/oleObject" Target="../embeddings/oleObject175.bin"/><Relationship Id="rId7" Type="http://schemas.openxmlformats.org/officeDocument/2006/relationships/tags" Target="../tags/tag1635.xml"/><Relationship Id="rId12" Type="http://schemas.openxmlformats.org/officeDocument/2006/relationships/tags" Target="../tags/tag1640.xml"/><Relationship Id="rId17" Type="http://schemas.openxmlformats.org/officeDocument/2006/relationships/tags" Target="../tags/tag1645.xml"/><Relationship Id="rId2" Type="http://schemas.openxmlformats.org/officeDocument/2006/relationships/tags" Target="../tags/tag1630.xml"/><Relationship Id="rId16" Type="http://schemas.openxmlformats.org/officeDocument/2006/relationships/tags" Target="../tags/tag1644.xml"/><Relationship Id="rId20" Type="http://schemas.openxmlformats.org/officeDocument/2006/relationships/notesSlide" Target="../notesSlides/notesSlide119.xml"/><Relationship Id="rId1" Type="http://schemas.openxmlformats.org/officeDocument/2006/relationships/vmlDrawing" Target="../drawings/vmlDrawing171.vml"/><Relationship Id="rId6" Type="http://schemas.openxmlformats.org/officeDocument/2006/relationships/tags" Target="../tags/tag1634.xml"/><Relationship Id="rId11" Type="http://schemas.openxmlformats.org/officeDocument/2006/relationships/tags" Target="../tags/tag1639.xml"/><Relationship Id="rId24" Type="http://schemas.openxmlformats.org/officeDocument/2006/relationships/image" Target="../media/image37.png"/><Relationship Id="rId5" Type="http://schemas.openxmlformats.org/officeDocument/2006/relationships/tags" Target="../tags/tag1633.xml"/><Relationship Id="rId15" Type="http://schemas.openxmlformats.org/officeDocument/2006/relationships/tags" Target="../tags/tag1643.xml"/><Relationship Id="rId23" Type="http://schemas.openxmlformats.org/officeDocument/2006/relationships/chart" Target="../charts/chart107.xml"/><Relationship Id="rId10" Type="http://schemas.openxmlformats.org/officeDocument/2006/relationships/tags" Target="../tags/tag1638.xml"/><Relationship Id="rId19" Type="http://schemas.openxmlformats.org/officeDocument/2006/relationships/slideLayout" Target="../slideLayouts/slideLayout37.xml"/><Relationship Id="rId4" Type="http://schemas.openxmlformats.org/officeDocument/2006/relationships/tags" Target="../tags/tag1632.xml"/><Relationship Id="rId9" Type="http://schemas.openxmlformats.org/officeDocument/2006/relationships/tags" Target="../tags/tag1637.xml"/><Relationship Id="rId14" Type="http://schemas.openxmlformats.org/officeDocument/2006/relationships/tags" Target="../tags/tag1642.xml"/><Relationship Id="rId22" Type="http://schemas.openxmlformats.org/officeDocument/2006/relationships/image" Target="../media/image16.emf"/></Relationships>
</file>

<file path=ppt/slides/_rels/slide136.xml.rels><?xml version="1.0" encoding="UTF-8" standalone="yes"?>
<Relationships xmlns="http://schemas.openxmlformats.org/package/2006/relationships"><Relationship Id="rId8" Type="http://schemas.openxmlformats.org/officeDocument/2006/relationships/tags" Target="../tags/tag1653.xml"/><Relationship Id="rId13" Type="http://schemas.openxmlformats.org/officeDocument/2006/relationships/oleObject" Target="../embeddings/oleObject176.bin"/><Relationship Id="rId3" Type="http://schemas.openxmlformats.org/officeDocument/2006/relationships/tags" Target="../tags/tag1648.xml"/><Relationship Id="rId7" Type="http://schemas.openxmlformats.org/officeDocument/2006/relationships/tags" Target="../tags/tag1652.xml"/><Relationship Id="rId12" Type="http://schemas.openxmlformats.org/officeDocument/2006/relationships/notesSlide" Target="../notesSlides/notesSlide120.xml"/><Relationship Id="rId17" Type="http://schemas.openxmlformats.org/officeDocument/2006/relationships/image" Target="../media/image37.png"/><Relationship Id="rId2" Type="http://schemas.openxmlformats.org/officeDocument/2006/relationships/tags" Target="../tags/tag1647.xml"/><Relationship Id="rId16" Type="http://schemas.openxmlformats.org/officeDocument/2006/relationships/chart" Target="../charts/chart108.xml"/><Relationship Id="rId1" Type="http://schemas.openxmlformats.org/officeDocument/2006/relationships/vmlDrawing" Target="../drawings/vmlDrawing172.vml"/><Relationship Id="rId6" Type="http://schemas.openxmlformats.org/officeDocument/2006/relationships/tags" Target="../tags/tag1651.xml"/><Relationship Id="rId11" Type="http://schemas.openxmlformats.org/officeDocument/2006/relationships/slideLayout" Target="../slideLayouts/slideLayout11.xml"/><Relationship Id="rId5" Type="http://schemas.openxmlformats.org/officeDocument/2006/relationships/tags" Target="../tags/tag1650.xml"/><Relationship Id="rId15" Type="http://schemas.openxmlformats.org/officeDocument/2006/relationships/image" Target="../media/image64.jpeg"/><Relationship Id="rId10" Type="http://schemas.openxmlformats.org/officeDocument/2006/relationships/tags" Target="../tags/tag1655.xml"/><Relationship Id="rId4" Type="http://schemas.openxmlformats.org/officeDocument/2006/relationships/tags" Target="../tags/tag1649.xml"/><Relationship Id="rId9" Type="http://schemas.openxmlformats.org/officeDocument/2006/relationships/tags" Target="../tags/tag1654.xml"/><Relationship Id="rId14" Type="http://schemas.openxmlformats.org/officeDocument/2006/relationships/image" Target="../media/image40.emf"/></Relationships>
</file>

<file path=ppt/slides/_rels/slide137.xml.rels><?xml version="1.0" encoding="UTF-8" standalone="yes"?>
<Relationships xmlns="http://schemas.openxmlformats.org/package/2006/relationships"><Relationship Id="rId3" Type="http://schemas.openxmlformats.org/officeDocument/2006/relationships/tags" Target="../tags/tag1657.xml"/><Relationship Id="rId7" Type="http://schemas.openxmlformats.org/officeDocument/2006/relationships/image" Target="../media/image65.jpeg"/><Relationship Id="rId2" Type="http://schemas.openxmlformats.org/officeDocument/2006/relationships/tags" Target="../tags/tag1656.xml"/><Relationship Id="rId1" Type="http://schemas.openxmlformats.org/officeDocument/2006/relationships/vmlDrawing" Target="../drawings/vmlDrawing173.vml"/><Relationship Id="rId6" Type="http://schemas.openxmlformats.org/officeDocument/2006/relationships/image" Target="../media/image16.emf"/><Relationship Id="rId5" Type="http://schemas.openxmlformats.org/officeDocument/2006/relationships/oleObject" Target="../embeddings/oleObject177.bin"/><Relationship Id="rId4"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8" Type="http://schemas.openxmlformats.org/officeDocument/2006/relationships/tags" Target="../tags/tag1664.xml"/><Relationship Id="rId13" Type="http://schemas.openxmlformats.org/officeDocument/2006/relationships/tags" Target="../tags/tag1669.xml"/><Relationship Id="rId18" Type="http://schemas.openxmlformats.org/officeDocument/2006/relationships/tags" Target="../tags/tag1674.xml"/><Relationship Id="rId3" Type="http://schemas.openxmlformats.org/officeDocument/2006/relationships/tags" Target="../tags/tag1659.xml"/><Relationship Id="rId21" Type="http://schemas.openxmlformats.org/officeDocument/2006/relationships/slideLayout" Target="../slideLayouts/slideLayout37.xml"/><Relationship Id="rId7" Type="http://schemas.openxmlformats.org/officeDocument/2006/relationships/tags" Target="../tags/tag1663.xml"/><Relationship Id="rId12" Type="http://schemas.openxmlformats.org/officeDocument/2006/relationships/tags" Target="../tags/tag1668.xml"/><Relationship Id="rId17" Type="http://schemas.openxmlformats.org/officeDocument/2006/relationships/tags" Target="../tags/tag1673.xml"/><Relationship Id="rId25" Type="http://schemas.openxmlformats.org/officeDocument/2006/relationships/chart" Target="../charts/chart109.xml"/><Relationship Id="rId2" Type="http://schemas.openxmlformats.org/officeDocument/2006/relationships/tags" Target="../tags/tag1658.xml"/><Relationship Id="rId16" Type="http://schemas.openxmlformats.org/officeDocument/2006/relationships/tags" Target="../tags/tag1672.xml"/><Relationship Id="rId20" Type="http://schemas.openxmlformats.org/officeDocument/2006/relationships/tags" Target="../tags/tag1676.xml"/><Relationship Id="rId1" Type="http://schemas.openxmlformats.org/officeDocument/2006/relationships/vmlDrawing" Target="../drawings/vmlDrawing174.vml"/><Relationship Id="rId6" Type="http://schemas.openxmlformats.org/officeDocument/2006/relationships/tags" Target="../tags/tag1662.xml"/><Relationship Id="rId11" Type="http://schemas.openxmlformats.org/officeDocument/2006/relationships/tags" Target="../tags/tag1667.xml"/><Relationship Id="rId24" Type="http://schemas.openxmlformats.org/officeDocument/2006/relationships/image" Target="../media/image16.emf"/><Relationship Id="rId5" Type="http://schemas.openxmlformats.org/officeDocument/2006/relationships/tags" Target="../tags/tag1661.xml"/><Relationship Id="rId15" Type="http://schemas.openxmlformats.org/officeDocument/2006/relationships/tags" Target="../tags/tag1671.xml"/><Relationship Id="rId23" Type="http://schemas.openxmlformats.org/officeDocument/2006/relationships/oleObject" Target="../embeddings/oleObject178.bin"/><Relationship Id="rId10" Type="http://schemas.openxmlformats.org/officeDocument/2006/relationships/tags" Target="../tags/tag1666.xml"/><Relationship Id="rId19" Type="http://schemas.openxmlformats.org/officeDocument/2006/relationships/tags" Target="../tags/tag1675.xml"/><Relationship Id="rId4" Type="http://schemas.openxmlformats.org/officeDocument/2006/relationships/tags" Target="../tags/tag1660.xml"/><Relationship Id="rId9" Type="http://schemas.openxmlformats.org/officeDocument/2006/relationships/tags" Target="../tags/tag1665.xml"/><Relationship Id="rId14" Type="http://schemas.openxmlformats.org/officeDocument/2006/relationships/tags" Target="../tags/tag1670.xml"/><Relationship Id="rId22" Type="http://schemas.openxmlformats.org/officeDocument/2006/relationships/notesSlide" Target="../notesSlides/notesSlide121.xml"/></Relationships>
</file>

<file path=ppt/slides/_rels/slide139.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tags" Target="../tags/tag1688.xml"/><Relationship Id="rId18" Type="http://schemas.openxmlformats.org/officeDocument/2006/relationships/tags" Target="../tags/tag1693.xml"/><Relationship Id="rId26" Type="http://schemas.openxmlformats.org/officeDocument/2006/relationships/tags" Target="../tags/tag1701.xml"/><Relationship Id="rId3" Type="http://schemas.openxmlformats.org/officeDocument/2006/relationships/tags" Target="../tags/tag1678.xml"/><Relationship Id="rId21" Type="http://schemas.openxmlformats.org/officeDocument/2006/relationships/tags" Target="../tags/tag1696.xml"/><Relationship Id="rId7" Type="http://schemas.openxmlformats.org/officeDocument/2006/relationships/tags" Target="../tags/tag1682.xml"/><Relationship Id="rId12" Type="http://schemas.openxmlformats.org/officeDocument/2006/relationships/tags" Target="../tags/tag1687.xml"/><Relationship Id="rId17" Type="http://schemas.openxmlformats.org/officeDocument/2006/relationships/tags" Target="../tags/tag1692.xml"/><Relationship Id="rId25" Type="http://schemas.openxmlformats.org/officeDocument/2006/relationships/tags" Target="../tags/tag1700.xml"/><Relationship Id="rId2" Type="http://schemas.openxmlformats.org/officeDocument/2006/relationships/tags" Target="../tags/tag1677.xml"/><Relationship Id="rId16" Type="http://schemas.openxmlformats.org/officeDocument/2006/relationships/tags" Target="../tags/tag1691.xml"/><Relationship Id="rId20" Type="http://schemas.openxmlformats.org/officeDocument/2006/relationships/tags" Target="../tags/tag1695.xml"/><Relationship Id="rId29" Type="http://schemas.openxmlformats.org/officeDocument/2006/relationships/oleObject" Target="../embeddings/oleObject179.bin"/><Relationship Id="rId1" Type="http://schemas.openxmlformats.org/officeDocument/2006/relationships/vmlDrawing" Target="../drawings/vmlDrawing175.vml"/><Relationship Id="rId6" Type="http://schemas.openxmlformats.org/officeDocument/2006/relationships/tags" Target="../tags/tag1681.xml"/><Relationship Id="rId11" Type="http://schemas.openxmlformats.org/officeDocument/2006/relationships/tags" Target="../tags/tag1686.xml"/><Relationship Id="rId24" Type="http://schemas.openxmlformats.org/officeDocument/2006/relationships/tags" Target="../tags/tag1699.xml"/><Relationship Id="rId32" Type="http://schemas.openxmlformats.org/officeDocument/2006/relationships/chart" Target="../charts/chart111.xml"/><Relationship Id="rId5" Type="http://schemas.openxmlformats.org/officeDocument/2006/relationships/tags" Target="../tags/tag1680.xml"/><Relationship Id="rId15" Type="http://schemas.openxmlformats.org/officeDocument/2006/relationships/tags" Target="../tags/tag1690.xml"/><Relationship Id="rId23" Type="http://schemas.openxmlformats.org/officeDocument/2006/relationships/tags" Target="../tags/tag1698.xml"/><Relationship Id="rId28" Type="http://schemas.openxmlformats.org/officeDocument/2006/relationships/notesSlide" Target="../notesSlides/notesSlide122.xml"/><Relationship Id="rId10" Type="http://schemas.openxmlformats.org/officeDocument/2006/relationships/tags" Target="../tags/tag1685.xml"/><Relationship Id="rId19" Type="http://schemas.openxmlformats.org/officeDocument/2006/relationships/tags" Target="../tags/tag1694.xml"/><Relationship Id="rId31" Type="http://schemas.openxmlformats.org/officeDocument/2006/relationships/chart" Target="../charts/chart110.xml"/><Relationship Id="rId4" Type="http://schemas.openxmlformats.org/officeDocument/2006/relationships/tags" Target="../tags/tag1679.xml"/><Relationship Id="rId9" Type="http://schemas.openxmlformats.org/officeDocument/2006/relationships/tags" Target="../tags/tag1684.xml"/><Relationship Id="rId14" Type="http://schemas.openxmlformats.org/officeDocument/2006/relationships/tags" Target="../tags/tag1689.xml"/><Relationship Id="rId22" Type="http://schemas.openxmlformats.org/officeDocument/2006/relationships/tags" Target="../tags/tag1697.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14.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tags" Target="../tags/tag130.xml"/><Relationship Id="rId26" Type="http://schemas.openxmlformats.org/officeDocument/2006/relationships/oleObject" Target="../embeddings/oleObject51.bin"/><Relationship Id="rId3" Type="http://schemas.openxmlformats.org/officeDocument/2006/relationships/tags" Target="../tags/tag115.xml"/><Relationship Id="rId21" Type="http://schemas.openxmlformats.org/officeDocument/2006/relationships/tags" Target="../tags/tag133.xml"/><Relationship Id="rId34" Type="http://schemas.openxmlformats.org/officeDocument/2006/relationships/chart" Target="../charts/chart9.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tags" Target="../tags/tag129.xml"/><Relationship Id="rId25" Type="http://schemas.openxmlformats.org/officeDocument/2006/relationships/notesSlide" Target="../notesSlides/notesSlide11.xml"/><Relationship Id="rId33" Type="http://schemas.openxmlformats.org/officeDocument/2006/relationships/chart" Target="../charts/chart8.xml"/><Relationship Id="rId2" Type="http://schemas.openxmlformats.org/officeDocument/2006/relationships/tags" Target="../tags/tag114.xml"/><Relationship Id="rId16" Type="http://schemas.openxmlformats.org/officeDocument/2006/relationships/tags" Target="../tags/tag128.xml"/><Relationship Id="rId20" Type="http://schemas.openxmlformats.org/officeDocument/2006/relationships/tags" Target="../tags/tag132.xml"/><Relationship Id="rId29" Type="http://schemas.openxmlformats.org/officeDocument/2006/relationships/chart" Target="../charts/chart4.xml"/><Relationship Id="rId1" Type="http://schemas.openxmlformats.org/officeDocument/2006/relationships/vmlDrawing" Target="../drawings/vmlDrawing50.vml"/><Relationship Id="rId6" Type="http://schemas.openxmlformats.org/officeDocument/2006/relationships/tags" Target="../tags/tag118.xml"/><Relationship Id="rId11" Type="http://schemas.openxmlformats.org/officeDocument/2006/relationships/tags" Target="../tags/tag123.xml"/><Relationship Id="rId24" Type="http://schemas.openxmlformats.org/officeDocument/2006/relationships/slideLayout" Target="../slideLayouts/slideLayout2.xml"/><Relationship Id="rId32" Type="http://schemas.openxmlformats.org/officeDocument/2006/relationships/chart" Target="../charts/chart7.xml"/><Relationship Id="rId37" Type="http://schemas.openxmlformats.org/officeDocument/2006/relationships/chart" Target="../charts/chart12.xml"/><Relationship Id="rId5" Type="http://schemas.openxmlformats.org/officeDocument/2006/relationships/tags" Target="../tags/tag117.xml"/><Relationship Id="rId15" Type="http://schemas.openxmlformats.org/officeDocument/2006/relationships/tags" Target="../tags/tag127.xml"/><Relationship Id="rId23" Type="http://schemas.openxmlformats.org/officeDocument/2006/relationships/tags" Target="../tags/tag135.xml"/><Relationship Id="rId28" Type="http://schemas.openxmlformats.org/officeDocument/2006/relationships/chart" Target="../charts/chart3.xml"/><Relationship Id="rId36" Type="http://schemas.openxmlformats.org/officeDocument/2006/relationships/chart" Target="../charts/chart11.xml"/><Relationship Id="rId10" Type="http://schemas.openxmlformats.org/officeDocument/2006/relationships/tags" Target="../tags/tag122.xml"/><Relationship Id="rId19" Type="http://schemas.openxmlformats.org/officeDocument/2006/relationships/tags" Target="../tags/tag131.xml"/><Relationship Id="rId31" Type="http://schemas.openxmlformats.org/officeDocument/2006/relationships/chart" Target="../charts/chart6.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 Id="rId22" Type="http://schemas.openxmlformats.org/officeDocument/2006/relationships/tags" Target="../tags/tag134.xml"/><Relationship Id="rId27" Type="http://schemas.openxmlformats.org/officeDocument/2006/relationships/image" Target="../media/image27.emf"/><Relationship Id="rId30" Type="http://schemas.openxmlformats.org/officeDocument/2006/relationships/chart" Target="../charts/chart5.xml"/><Relationship Id="rId35" Type="http://schemas.openxmlformats.org/officeDocument/2006/relationships/chart" Target="../charts/chart10.xml"/></Relationships>
</file>

<file path=ppt/slides/_rels/slide140.xml.rels><?xml version="1.0" encoding="UTF-8" standalone="yes"?>
<Relationships xmlns="http://schemas.openxmlformats.org/package/2006/relationships"><Relationship Id="rId8" Type="http://schemas.openxmlformats.org/officeDocument/2006/relationships/tags" Target="../tags/tag1708.xml"/><Relationship Id="rId13" Type="http://schemas.openxmlformats.org/officeDocument/2006/relationships/tags" Target="../tags/tag1713.xml"/><Relationship Id="rId18" Type="http://schemas.openxmlformats.org/officeDocument/2006/relationships/tags" Target="../tags/tag1718.xml"/><Relationship Id="rId26" Type="http://schemas.openxmlformats.org/officeDocument/2006/relationships/oleObject" Target="../embeddings/oleObject180.bin"/><Relationship Id="rId3" Type="http://schemas.openxmlformats.org/officeDocument/2006/relationships/tags" Target="../tags/tag1703.xml"/><Relationship Id="rId21" Type="http://schemas.openxmlformats.org/officeDocument/2006/relationships/tags" Target="../tags/tag1721.xml"/><Relationship Id="rId7" Type="http://schemas.openxmlformats.org/officeDocument/2006/relationships/tags" Target="../tags/tag1707.xml"/><Relationship Id="rId12" Type="http://schemas.openxmlformats.org/officeDocument/2006/relationships/tags" Target="../tags/tag1712.xml"/><Relationship Id="rId17" Type="http://schemas.openxmlformats.org/officeDocument/2006/relationships/tags" Target="../tags/tag1717.xml"/><Relationship Id="rId25" Type="http://schemas.openxmlformats.org/officeDocument/2006/relationships/notesSlide" Target="../notesSlides/notesSlide123.xml"/><Relationship Id="rId2" Type="http://schemas.openxmlformats.org/officeDocument/2006/relationships/tags" Target="../tags/tag1702.xml"/><Relationship Id="rId16" Type="http://schemas.openxmlformats.org/officeDocument/2006/relationships/tags" Target="../tags/tag1716.xml"/><Relationship Id="rId20" Type="http://schemas.openxmlformats.org/officeDocument/2006/relationships/tags" Target="../tags/tag1720.xml"/><Relationship Id="rId1" Type="http://schemas.openxmlformats.org/officeDocument/2006/relationships/vmlDrawing" Target="../drawings/vmlDrawing176.vml"/><Relationship Id="rId6" Type="http://schemas.openxmlformats.org/officeDocument/2006/relationships/tags" Target="../tags/tag1706.xml"/><Relationship Id="rId11" Type="http://schemas.openxmlformats.org/officeDocument/2006/relationships/tags" Target="../tags/tag1711.xml"/><Relationship Id="rId24" Type="http://schemas.openxmlformats.org/officeDocument/2006/relationships/slideLayout" Target="../slideLayouts/slideLayout37.xml"/><Relationship Id="rId5" Type="http://schemas.openxmlformats.org/officeDocument/2006/relationships/tags" Target="../tags/tag1705.xml"/><Relationship Id="rId15" Type="http://schemas.openxmlformats.org/officeDocument/2006/relationships/tags" Target="../tags/tag1715.xml"/><Relationship Id="rId23" Type="http://schemas.openxmlformats.org/officeDocument/2006/relationships/tags" Target="../tags/tag1723.xml"/><Relationship Id="rId28" Type="http://schemas.openxmlformats.org/officeDocument/2006/relationships/chart" Target="../charts/chart112.xml"/><Relationship Id="rId10" Type="http://schemas.openxmlformats.org/officeDocument/2006/relationships/tags" Target="../tags/tag1710.xml"/><Relationship Id="rId19" Type="http://schemas.openxmlformats.org/officeDocument/2006/relationships/tags" Target="../tags/tag1719.xml"/><Relationship Id="rId4" Type="http://schemas.openxmlformats.org/officeDocument/2006/relationships/tags" Target="../tags/tag1704.xml"/><Relationship Id="rId9" Type="http://schemas.openxmlformats.org/officeDocument/2006/relationships/tags" Target="../tags/tag1709.xml"/><Relationship Id="rId14" Type="http://schemas.openxmlformats.org/officeDocument/2006/relationships/tags" Target="../tags/tag1714.xml"/><Relationship Id="rId22" Type="http://schemas.openxmlformats.org/officeDocument/2006/relationships/tags" Target="../tags/tag1722.xml"/><Relationship Id="rId27" Type="http://schemas.openxmlformats.org/officeDocument/2006/relationships/image" Target="../media/image16.emf"/></Relationships>
</file>

<file path=ppt/slides/_rels/slide14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725.xml"/><Relationship Id="rId7" Type="http://schemas.openxmlformats.org/officeDocument/2006/relationships/oleObject" Target="../embeddings/oleObject181.bin"/><Relationship Id="rId2" Type="http://schemas.openxmlformats.org/officeDocument/2006/relationships/tags" Target="../tags/tag1724.xml"/><Relationship Id="rId1" Type="http://schemas.openxmlformats.org/officeDocument/2006/relationships/vmlDrawing" Target="../drawings/vmlDrawing177.vml"/><Relationship Id="rId6" Type="http://schemas.openxmlformats.org/officeDocument/2006/relationships/notesSlide" Target="../notesSlides/notesSlide124.xml"/><Relationship Id="rId5" Type="http://schemas.openxmlformats.org/officeDocument/2006/relationships/slideLayout" Target="../slideLayouts/slideLayout30.xml"/><Relationship Id="rId4" Type="http://schemas.openxmlformats.org/officeDocument/2006/relationships/tags" Target="../tags/tag1726.xml"/></Relationships>
</file>

<file path=ppt/slides/_rels/slide142.xml.rels><?xml version="1.0" encoding="UTF-8" standalone="yes"?>
<Relationships xmlns="http://schemas.openxmlformats.org/package/2006/relationships"><Relationship Id="rId8" Type="http://schemas.openxmlformats.org/officeDocument/2006/relationships/tags" Target="../tags/tag1733.xml"/><Relationship Id="rId13" Type="http://schemas.openxmlformats.org/officeDocument/2006/relationships/oleObject" Target="../embeddings/oleObject182.bin"/><Relationship Id="rId3" Type="http://schemas.openxmlformats.org/officeDocument/2006/relationships/tags" Target="../tags/tag1728.xml"/><Relationship Id="rId7" Type="http://schemas.openxmlformats.org/officeDocument/2006/relationships/tags" Target="../tags/tag1732.xml"/><Relationship Id="rId12" Type="http://schemas.openxmlformats.org/officeDocument/2006/relationships/notesSlide" Target="../notesSlides/notesSlide125.xml"/><Relationship Id="rId2" Type="http://schemas.openxmlformats.org/officeDocument/2006/relationships/tags" Target="../tags/tag1727.xml"/><Relationship Id="rId16" Type="http://schemas.openxmlformats.org/officeDocument/2006/relationships/chart" Target="../charts/chart113.xml"/><Relationship Id="rId1" Type="http://schemas.openxmlformats.org/officeDocument/2006/relationships/vmlDrawing" Target="../drawings/vmlDrawing178.vml"/><Relationship Id="rId6" Type="http://schemas.openxmlformats.org/officeDocument/2006/relationships/tags" Target="../tags/tag1731.xml"/><Relationship Id="rId11" Type="http://schemas.openxmlformats.org/officeDocument/2006/relationships/slideLayout" Target="../slideLayouts/slideLayout11.xml"/><Relationship Id="rId5" Type="http://schemas.openxmlformats.org/officeDocument/2006/relationships/tags" Target="../tags/tag1730.xml"/><Relationship Id="rId15" Type="http://schemas.openxmlformats.org/officeDocument/2006/relationships/image" Target="../media/image64.jpeg"/><Relationship Id="rId10" Type="http://schemas.openxmlformats.org/officeDocument/2006/relationships/tags" Target="../tags/tag1735.xml"/><Relationship Id="rId4" Type="http://schemas.openxmlformats.org/officeDocument/2006/relationships/tags" Target="../tags/tag1729.xml"/><Relationship Id="rId9" Type="http://schemas.openxmlformats.org/officeDocument/2006/relationships/tags" Target="../tags/tag1734.xml"/><Relationship Id="rId14" Type="http://schemas.openxmlformats.org/officeDocument/2006/relationships/image" Target="../media/image40.emf"/></Relationships>
</file>

<file path=ppt/slides/_rels/slide143.xml.rels><?xml version="1.0" encoding="UTF-8" standalone="yes"?>
<Relationships xmlns="http://schemas.openxmlformats.org/package/2006/relationships"><Relationship Id="rId3" Type="http://schemas.openxmlformats.org/officeDocument/2006/relationships/tags" Target="../tags/tag1737.xml"/><Relationship Id="rId7" Type="http://schemas.openxmlformats.org/officeDocument/2006/relationships/image" Target="../media/image65.jpeg"/><Relationship Id="rId2" Type="http://schemas.openxmlformats.org/officeDocument/2006/relationships/tags" Target="../tags/tag1736.xml"/><Relationship Id="rId1" Type="http://schemas.openxmlformats.org/officeDocument/2006/relationships/vmlDrawing" Target="../drawings/vmlDrawing179.vml"/><Relationship Id="rId6" Type="http://schemas.openxmlformats.org/officeDocument/2006/relationships/image" Target="../media/image16.emf"/><Relationship Id="rId5" Type="http://schemas.openxmlformats.org/officeDocument/2006/relationships/oleObject" Target="../embeddings/oleObject183.bin"/><Relationship Id="rId4"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8" Type="http://schemas.openxmlformats.org/officeDocument/2006/relationships/tags" Target="../tags/tag1744.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tags" Target="../tags/tag1739.xml"/><Relationship Id="rId21" Type="http://schemas.openxmlformats.org/officeDocument/2006/relationships/slideLayout" Target="../slideLayouts/slideLayout37.xml"/><Relationship Id="rId7" Type="http://schemas.openxmlformats.org/officeDocument/2006/relationships/tags" Target="../tags/tag1743.xml"/><Relationship Id="rId12" Type="http://schemas.openxmlformats.org/officeDocument/2006/relationships/tags" Target="../tags/tag1748.xml"/><Relationship Id="rId17" Type="http://schemas.openxmlformats.org/officeDocument/2006/relationships/tags" Target="../tags/tag1753.xml"/><Relationship Id="rId25" Type="http://schemas.openxmlformats.org/officeDocument/2006/relationships/chart" Target="../charts/chart114.xml"/><Relationship Id="rId2" Type="http://schemas.openxmlformats.org/officeDocument/2006/relationships/tags" Target="../tags/tag1738.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vmlDrawing" Target="../drawings/vmlDrawing180.vml"/><Relationship Id="rId6" Type="http://schemas.openxmlformats.org/officeDocument/2006/relationships/tags" Target="../tags/tag1742.xml"/><Relationship Id="rId11" Type="http://schemas.openxmlformats.org/officeDocument/2006/relationships/tags" Target="../tags/tag1747.xml"/><Relationship Id="rId24" Type="http://schemas.openxmlformats.org/officeDocument/2006/relationships/image" Target="../media/image16.emf"/><Relationship Id="rId5" Type="http://schemas.openxmlformats.org/officeDocument/2006/relationships/tags" Target="../tags/tag1741.xml"/><Relationship Id="rId15" Type="http://schemas.openxmlformats.org/officeDocument/2006/relationships/tags" Target="../tags/tag1751.xml"/><Relationship Id="rId23" Type="http://schemas.openxmlformats.org/officeDocument/2006/relationships/oleObject" Target="../embeddings/oleObject184.bin"/><Relationship Id="rId10" Type="http://schemas.openxmlformats.org/officeDocument/2006/relationships/tags" Target="../tags/tag1746.xml"/><Relationship Id="rId19" Type="http://schemas.openxmlformats.org/officeDocument/2006/relationships/tags" Target="../tags/tag1755.xml"/><Relationship Id="rId4" Type="http://schemas.openxmlformats.org/officeDocument/2006/relationships/tags" Target="../tags/tag1740.xml"/><Relationship Id="rId9" Type="http://schemas.openxmlformats.org/officeDocument/2006/relationships/tags" Target="../tags/tag1745.xml"/><Relationship Id="rId14" Type="http://schemas.openxmlformats.org/officeDocument/2006/relationships/tags" Target="../tags/tag1750.xml"/><Relationship Id="rId22" Type="http://schemas.openxmlformats.org/officeDocument/2006/relationships/notesSlide" Target="../notesSlides/notesSlide126.xml"/></Relationships>
</file>

<file path=ppt/slides/_rels/slide145.xml.rels><?xml version="1.0" encoding="UTF-8" standalone="yes"?>
<Relationships xmlns="http://schemas.openxmlformats.org/package/2006/relationships"><Relationship Id="rId8" Type="http://schemas.openxmlformats.org/officeDocument/2006/relationships/tags" Target="../tags/tag1763.xml"/><Relationship Id="rId13" Type="http://schemas.openxmlformats.org/officeDocument/2006/relationships/tags" Target="../tags/tag1768.xml"/><Relationship Id="rId18" Type="http://schemas.openxmlformats.org/officeDocument/2006/relationships/oleObject" Target="../embeddings/oleObject185.bin"/><Relationship Id="rId3" Type="http://schemas.openxmlformats.org/officeDocument/2006/relationships/tags" Target="../tags/tag1758.xml"/><Relationship Id="rId7" Type="http://schemas.openxmlformats.org/officeDocument/2006/relationships/tags" Target="../tags/tag1762.xml"/><Relationship Id="rId12" Type="http://schemas.openxmlformats.org/officeDocument/2006/relationships/tags" Target="../tags/tag1767.xml"/><Relationship Id="rId17" Type="http://schemas.openxmlformats.org/officeDocument/2006/relationships/notesSlide" Target="../notesSlides/notesSlide127.xml"/><Relationship Id="rId2" Type="http://schemas.openxmlformats.org/officeDocument/2006/relationships/tags" Target="../tags/tag1757.xml"/><Relationship Id="rId16" Type="http://schemas.openxmlformats.org/officeDocument/2006/relationships/slideLayout" Target="../slideLayouts/slideLayout37.xml"/><Relationship Id="rId20" Type="http://schemas.openxmlformats.org/officeDocument/2006/relationships/chart" Target="../charts/chart115.xml"/><Relationship Id="rId1" Type="http://schemas.openxmlformats.org/officeDocument/2006/relationships/vmlDrawing" Target="../drawings/vmlDrawing181.vml"/><Relationship Id="rId6" Type="http://schemas.openxmlformats.org/officeDocument/2006/relationships/tags" Target="../tags/tag1761.xml"/><Relationship Id="rId11" Type="http://schemas.openxmlformats.org/officeDocument/2006/relationships/tags" Target="../tags/tag1766.xml"/><Relationship Id="rId5" Type="http://schemas.openxmlformats.org/officeDocument/2006/relationships/tags" Target="../tags/tag1760.xml"/><Relationship Id="rId15" Type="http://schemas.openxmlformats.org/officeDocument/2006/relationships/tags" Target="../tags/tag1770.xml"/><Relationship Id="rId10" Type="http://schemas.openxmlformats.org/officeDocument/2006/relationships/tags" Target="../tags/tag1765.xml"/><Relationship Id="rId19" Type="http://schemas.openxmlformats.org/officeDocument/2006/relationships/image" Target="../media/image16.emf"/><Relationship Id="rId4" Type="http://schemas.openxmlformats.org/officeDocument/2006/relationships/tags" Target="../tags/tag1759.xml"/><Relationship Id="rId9" Type="http://schemas.openxmlformats.org/officeDocument/2006/relationships/tags" Target="../tags/tag1764.xml"/><Relationship Id="rId14" Type="http://schemas.openxmlformats.org/officeDocument/2006/relationships/tags" Target="../tags/tag1769.xml"/></Relationships>
</file>

<file path=ppt/slides/_rels/slide14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772.xml"/><Relationship Id="rId7" Type="http://schemas.openxmlformats.org/officeDocument/2006/relationships/oleObject" Target="../embeddings/oleObject186.bin"/><Relationship Id="rId2" Type="http://schemas.openxmlformats.org/officeDocument/2006/relationships/tags" Target="../tags/tag1771.xml"/><Relationship Id="rId1" Type="http://schemas.openxmlformats.org/officeDocument/2006/relationships/vmlDrawing" Target="../drawings/vmlDrawing182.vml"/><Relationship Id="rId6" Type="http://schemas.openxmlformats.org/officeDocument/2006/relationships/notesSlide" Target="../notesSlides/notesSlide128.xml"/><Relationship Id="rId5" Type="http://schemas.openxmlformats.org/officeDocument/2006/relationships/slideLayout" Target="../slideLayouts/slideLayout30.xml"/><Relationship Id="rId4" Type="http://schemas.openxmlformats.org/officeDocument/2006/relationships/tags" Target="../tags/tag1773.xml"/></Relationships>
</file>

<file path=ppt/slides/_rels/slide147.xml.rels><?xml version="1.0" encoding="UTF-8" standalone="yes"?>
<Relationships xmlns="http://schemas.openxmlformats.org/package/2006/relationships"><Relationship Id="rId8" Type="http://schemas.openxmlformats.org/officeDocument/2006/relationships/tags" Target="../tags/tag1780.xml"/><Relationship Id="rId13" Type="http://schemas.openxmlformats.org/officeDocument/2006/relationships/tags" Target="../tags/tag1785.xml"/><Relationship Id="rId18" Type="http://schemas.openxmlformats.org/officeDocument/2006/relationships/tags" Target="../tags/tag1790.xml"/><Relationship Id="rId26" Type="http://schemas.openxmlformats.org/officeDocument/2006/relationships/notesSlide" Target="../notesSlides/notesSlide129.xml"/><Relationship Id="rId3" Type="http://schemas.openxmlformats.org/officeDocument/2006/relationships/tags" Target="../tags/tag1775.xml"/><Relationship Id="rId21" Type="http://schemas.openxmlformats.org/officeDocument/2006/relationships/tags" Target="../tags/tag1793.xml"/><Relationship Id="rId7" Type="http://schemas.openxmlformats.org/officeDocument/2006/relationships/tags" Target="../tags/tag1779.xml"/><Relationship Id="rId12" Type="http://schemas.openxmlformats.org/officeDocument/2006/relationships/tags" Target="../tags/tag1784.xml"/><Relationship Id="rId17" Type="http://schemas.openxmlformats.org/officeDocument/2006/relationships/tags" Target="../tags/tag1789.xml"/><Relationship Id="rId25" Type="http://schemas.openxmlformats.org/officeDocument/2006/relationships/slideLayout" Target="../slideLayouts/slideLayout37.xml"/><Relationship Id="rId2" Type="http://schemas.openxmlformats.org/officeDocument/2006/relationships/tags" Target="../tags/tag1774.xml"/><Relationship Id="rId16" Type="http://schemas.openxmlformats.org/officeDocument/2006/relationships/tags" Target="../tags/tag1788.xml"/><Relationship Id="rId20" Type="http://schemas.openxmlformats.org/officeDocument/2006/relationships/tags" Target="../tags/tag1792.xml"/><Relationship Id="rId29" Type="http://schemas.openxmlformats.org/officeDocument/2006/relationships/chart" Target="../charts/chart116.xml"/><Relationship Id="rId1" Type="http://schemas.openxmlformats.org/officeDocument/2006/relationships/vmlDrawing" Target="../drawings/vmlDrawing183.vml"/><Relationship Id="rId6" Type="http://schemas.openxmlformats.org/officeDocument/2006/relationships/tags" Target="../tags/tag1778.xml"/><Relationship Id="rId11" Type="http://schemas.openxmlformats.org/officeDocument/2006/relationships/tags" Target="../tags/tag1783.xml"/><Relationship Id="rId24" Type="http://schemas.openxmlformats.org/officeDocument/2006/relationships/tags" Target="../tags/tag1796.xml"/><Relationship Id="rId5" Type="http://schemas.openxmlformats.org/officeDocument/2006/relationships/tags" Target="../tags/tag1777.xml"/><Relationship Id="rId15" Type="http://schemas.openxmlformats.org/officeDocument/2006/relationships/tags" Target="../tags/tag1787.xml"/><Relationship Id="rId23" Type="http://schemas.openxmlformats.org/officeDocument/2006/relationships/tags" Target="../tags/tag1795.xml"/><Relationship Id="rId28" Type="http://schemas.openxmlformats.org/officeDocument/2006/relationships/image" Target="../media/image16.emf"/><Relationship Id="rId10" Type="http://schemas.openxmlformats.org/officeDocument/2006/relationships/tags" Target="../tags/tag1782.xml"/><Relationship Id="rId19" Type="http://schemas.openxmlformats.org/officeDocument/2006/relationships/tags" Target="../tags/tag1791.xml"/><Relationship Id="rId4" Type="http://schemas.openxmlformats.org/officeDocument/2006/relationships/tags" Target="../tags/tag1776.xml"/><Relationship Id="rId9" Type="http://schemas.openxmlformats.org/officeDocument/2006/relationships/tags" Target="../tags/tag1781.xml"/><Relationship Id="rId14" Type="http://schemas.openxmlformats.org/officeDocument/2006/relationships/tags" Target="../tags/tag1786.xml"/><Relationship Id="rId22" Type="http://schemas.openxmlformats.org/officeDocument/2006/relationships/tags" Target="../tags/tag1794.xml"/><Relationship Id="rId27" Type="http://schemas.openxmlformats.org/officeDocument/2006/relationships/oleObject" Target="../embeddings/oleObject187.bin"/></Relationships>
</file>

<file path=ppt/slides/_rels/slide14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798.xml"/><Relationship Id="rId7" Type="http://schemas.openxmlformats.org/officeDocument/2006/relationships/oleObject" Target="../embeddings/oleObject188.bin"/><Relationship Id="rId2" Type="http://schemas.openxmlformats.org/officeDocument/2006/relationships/tags" Target="../tags/tag1797.xml"/><Relationship Id="rId1" Type="http://schemas.openxmlformats.org/officeDocument/2006/relationships/vmlDrawing" Target="../drawings/vmlDrawing184.vml"/><Relationship Id="rId6" Type="http://schemas.openxmlformats.org/officeDocument/2006/relationships/notesSlide" Target="../notesSlides/notesSlide130.xml"/><Relationship Id="rId5" Type="http://schemas.openxmlformats.org/officeDocument/2006/relationships/slideLayout" Target="../slideLayouts/slideLayout30.xml"/><Relationship Id="rId4" Type="http://schemas.openxmlformats.org/officeDocument/2006/relationships/tags" Target="../tags/tag1799.xml"/></Relationships>
</file>

<file path=ppt/slides/_rels/slide14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1800.xml"/><Relationship Id="rId1" Type="http://schemas.openxmlformats.org/officeDocument/2006/relationships/vmlDrawing" Target="../drawings/vmlDrawing185.vml"/><Relationship Id="rId6" Type="http://schemas.openxmlformats.org/officeDocument/2006/relationships/image" Target="../media/image16.emf"/><Relationship Id="rId5" Type="http://schemas.openxmlformats.org/officeDocument/2006/relationships/oleObject" Target="../embeddings/oleObject189.bin"/><Relationship Id="rId4" Type="http://schemas.openxmlformats.org/officeDocument/2006/relationships/notesSlide" Target="../notesSlides/notesSlide131.xml"/></Relationships>
</file>

<file path=ppt/slides/_rels/slide15.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3" Type="http://schemas.openxmlformats.org/officeDocument/2006/relationships/tags" Target="../tags/tag137.xml"/><Relationship Id="rId21" Type="http://schemas.openxmlformats.org/officeDocument/2006/relationships/oleObject" Target="../embeddings/oleObject52.bin"/><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 Type="http://schemas.openxmlformats.org/officeDocument/2006/relationships/tags" Target="../tags/tag136.xml"/><Relationship Id="rId16" Type="http://schemas.openxmlformats.org/officeDocument/2006/relationships/tags" Target="../tags/tag150.xml"/><Relationship Id="rId20" Type="http://schemas.openxmlformats.org/officeDocument/2006/relationships/notesSlide" Target="../notesSlides/notesSlide12.xml"/><Relationship Id="rId1" Type="http://schemas.openxmlformats.org/officeDocument/2006/relationships/vmlDrawing" Target="../drawings/vmlDrawing51.vml"/><Relationship Id="rId6" Type="http://schemas.openxmlformats.org/officeDocument/2006/relationships/tags" Target="../tags/tag140.xml"/><Relationship Id="rId11" Type="http://schemas.openxmlformats.org/officeDocument/2006/relationships/tags" Target="../tags/tag145.xml"/><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chart" Target="../charts/chart13.xml"/><Relationship Id="rId10" Type="http://schemas.openxmlformats.org/officeDocument/2006/relationships/tags" Target="../tags/tag144.xml"/><Relationship Id="rId19" Type="http://schemas.openxmlformats.org/officeDocument/2006/relationships/slideLayout" Target="../slideLayouts/slideLayout37.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image" Target="../media/image16.emf"/></Relationships>
</file>

<file path=ppt/slides/_rels/slide150.xml.rels><?xml version="1.0" encoding="UTF-8" standalone="yes"?>
<Relationships xmlns="http://schemas.openxmlformats.org/package/2006/relationships"><Relationship Id="rId8" Type="http://schemas.openxmlformats.org/officeDocument/2006/relationships/tags" Target="../tags/tag1807.xml"/><Relationship Id="rId13" Type="http://schemas.openxmlformats.org/officeDocument/2006/relationships/oleObject" Target="../embeddings/oleObject190.bin"/><Relationship Id="rId3" Type="http://schemas.openxmlformats.org/officeDocument/2006/relationships/tags" Target="../tags/tag1802.xml"/><Relationship Id="rId7" Type="http://schemas.openxmlformats.org/officeDocument/2006/relationships/tags" Target="../tags/tag1806.xml"/><Relationship Id="rId12" Type="http://schemas.openxmlformats.org/officeDocument/2006/relationships/notesSlide" Target="../notesSlides/notesSlide132.xml"/><Relationship Id="rId2" Type="http://schemas.openxmlformats.org/officeDocument/2006/relationships/tags" Target="../tags/tag1801.xml"/><Relationship Id="rId16" Type="http://schemas.openxmlformats.org/officeDocument/2006/relationships/chart" Target="../charts/chart117.xml"/><Relationship Id="rId1" Type="http://schemas.openxmlformats.org/officeDocument/2006/relationships/vmlDrawing" Target="../drawings/vmlDrawing186.vml"/><Relationship Id="rId6" Type="http://schemas.openxmlformats.org/officeDocument/2006/relationships/tags" Target="../tags/tag1805.xml"/><Relationship Id="rId11" Type="http://schemas.openxmlformats.org/officeDocument/2006/relationships/slideLayout" Target="../slideLayouts/slideLayout11.xml"/><Relationship Id="rId5" Type="http://schemas.openxmlformats.org/officeDocument/2006/relationships/tags" Target="../tags/tag1804.xml"/><Relationship Id="rId15" Type="http://schemas.openxmlformats.org/officeDocument/2006/relationships/image" Target="../media/image66.jpeg"/><Relationship Id="rId10" Type="http://schemas.openxmlformats.org/officeDocument/2006/relationships/tags" Target="../tags/tag1809.xml"/><Relationship Id="rId4" Type="http://schemas.openxmlformats.org/officeDocument/2006/relationships/tags" Target="../tags/tag1803.xml"/><Relationship Id="rId9" Type="http://schemas.openxmlformats.org/officeDocument/2006/relationships/tags" Target="../tags/tag1808.xml"/><Relationship Id="rId14" Type="http://schemas.openxmlformats.org/officeDocument/2006/relationships/image" Target="../media/image40.emf"/></Relationships>
</file>

<file path=ppt/slides/_rels/slide151.xml.rels><?xml version="1.0" encoding="UTF-8" standalone="yes"?>
<Relationships xmlns="http://schemas.openxmlformats.org/package/2006/relationships"><Relationship Id="rId3" Type="http://schemas.openxmlformats.org/officeDocument/2006/relationships/slideLayout" Target="../slideLayouts/slideLayout95.xml"/><Relationship Id="rId2" Type="http://schemas.openxmlformats.org/officeDocument/2006/relationships/tags" Target="../tags/tag1810.xml"/><Relationship Id="rId1" Type="http://schemas.openxmlformats.org/officeDocument/2006/relationships/vmlDrawing" Target="../drawings/vmlDrawing187.vml"/><Relationship Id="rId5" Type="http://schemas.openxmlformats.org/officeDocument/2006/relationships/image" Target="../media/image16.emf"/><Relationship Id="rId4" Type="http://schemas.openxmlformats.org/officeDocument/2006/relationships/oleObject" Target="../embeddings/oleObject191.bin"/></Relationships>
</file>

<file path=ppt/slides/_rels/slide16.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tags" Target="../tags/tag164.xml"/><Relationship Id="rId18" Type="http://schemas.openxmlformats.org/officeDocument/2006/relationships/tags" Target="../tags/tag169.xml"/><Relationship Id="rId26" Type="http://schemas.openxmlformats.org/officeDocument/2006/relationships/oleObject" Target="../embeddings/oleObject53.bin"/><Relationship Id="rId3" Type="http://schemas.openxmlformats.org/officeDocument/2006/relationships/tags" Target="../tags/tag154.xml"/><Relationship Id="rId21" Type="http://schemas.openxmlformats.org/officeDocument/2006/relationships/tags" Target="../tags/tag172.xml"/><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5" Type="http://schemas.openxmlformats.org/officeDocument/2006/relationships/slideLayout" Target="../slideLayouts/slideLayout37.xml"/><Relationship Id="rId2" Type="http://schemas.openxmlformats.org/officeDocument/2006/relationships/tags" Target="../tags/tag153.xml"/><Relationship Id="rId16" Type="http://schemas.openxmlformats.org/officeDocument/2006/relationships/tags" Target="../tags/tag167.xml"/><Relationship Id="rId20" Type="http://schemas.openxmlformats.org/officeDocument/2006/relationships/tags" Target="../tags/tag171.xml"/><Relationship Id="rId1" Type="http://schemas.openxmlformats.org/officeDocument/2006/relationships/vmlDrawing" Target="../drawings/vmlDrawing52.vml"/><Relationship Id="rId6" Type="http://schemas.openxmlformats.org/officeDocument/2006/relationships/tags" Target="../tags/tag157.xml"/><Relationship Id="rId11" Type="http://schemas.openxmlformats.org/officeDocument/2006/relationships/tags" Target="../tags/tag162.xml"/><Relationship Id="rId24" Type="http://schemas.openxmlformats.org/officeDocument/2006/relationships/tags" Target="../tags/tag175.xml"/><Relationship Id="rId5" Type="http://schemas.openxmlformats.org/officeDocument/2006/relationships/tags" Target="../tags/tag156.xml"/><Relationship Id="rId15" Type="http://schemas.openxmlformats.org/officeDocument/2006/relationships/tags" Target="../tags/tag166.xml"/><Relationship Id="rId23" Type="http://schemas.openxmlformats.org/officeDocument/2006/relationships/tags" Target="../tags/tag174.xml"/><Relationship Id="rId28" Type="http://schemas.openxmlformats.org/officeDocument/2006/relationships/chart" Target="../charts/chart14.xml"/><Relationship Id="rId10" Type="http://schemas.openxmlformats.org/officeDocument/2006/relationships/tags" Target="../tags/tag161.xml"/><Relationship Id="rId19" Type="http://schemas.openxmlformats.org/officeDocument/2006/relationships/tags" Target="../tags/tag170.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tags" Target="../tags/tag173.xml"/><Relationship Id="rId27" Type="http://schemas.openxmlformats.org/officeDocument/2006/relationships/image" Target="../media/image16.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8.jpeg"/><Relationship Id="rId2" Type="http://schemas.openxmlformats.org/officeDocument/2006/relationships/tags" Target="../tags/tag176.xml"/><Relationship Id="rId1" Type="http://schemas.openxmlformats.org/officeDocument/2006/relationships/vmlDrawing" Target="../drawings/vmlDrawing53.vml"/><Relationship Id="rId6" Type="http://schemas.openxmlformats.org/officeDocument/2006/relationships/image" Target="../media/image16.emf"/><Relationship Id="rId5" Type="http://schemas.openxmlformats.org/officeDocument/2006/relationships/oleObject" Target="../embeddings/oleObject54.bin"/><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178.xml"/><Relationship Id="rId7" Type="http://schemas.openxmlformats.org/officeDocument/2006/relationships/image" Target="../media/image29.emf"/><Relationship Id="rId2" Type="http://schemas.openxmlformats.org/officeDocument/2006/relationships/tags" Target="../tags/tag177.xml"/><Relationship Id="rId1" Type="http://schemas.openxmlformats.org/officeDocument/2006/relationships/vmlDrawing" Target="../drawings/vmlDrawing54.vml"/><Relationship Id="rId6" Type="http://schemas.openxmlformats.org/officeDocument/2006/relationships/oleObject" Target="../embeddings/oleObject55.bin"/><Relationship Id="rId5" Type="http://schemas.openxmlformats.org/officeDocument/2006/relationships/notesSlide" Target="../notesSlides/notesSlide14.xml"/><Relationship Id="rId4" Type="http://schemas.openxmlformats.org/officeDocument/2006/relationships/slideLayout" Target="../slideLayouts/slideLayout9.xml"/><Relationship Id="rId9" Type="http://schemas.openxmlformats.org/officeDocument/2006/relationships/image" Target="../media/image31.jpeg"/></Relationships>
</file>

<file path=ppt/slides/_rels/slide19.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55.vml"/><Relationship Id="rId6" Type="http://schemas.openxmlformats.org/officeDocument/2006/relationships/image" Target="../media/image16.emf"/><Relationship Id="rId5" Type="http://schemas.openxmlformats.org/officeDocument/2006/relationships/oleObject" Target="../embeddings/oleObject56.bin"/><Relationship Id="rId4"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oleObject" Target="../embeddings/oleObject38.bin"/><Relationship Id="rId26" Type="http://schemas.openxmlformats.org/officeDocument/2006/relationships/slide" Target="slide127.xml"/><Relationship Id="rId3" Type="http://schemas.openxmlformats.org/officeDocument/2006/relationships/tags" Target="../tags/tag66.xml"/><Relationship Id="rId21" Type="http://schemas.openxmlformats.org/officeDocument/2006/relationships/slide" Target="slide39.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notesSlide" Target="../notesSlides/notesSlide2.xml"/><Relationship Id="rId25" Type="http://schemas.openxmlformats.org/officeDocument/2006/relationships/slide" Target="slide137.xml"/><Relationship Id="rId2" Type="http://schemas.openxmlformats.org/officeDocument/2006/relationships/tags" Target="../tags/tag65.xml"/><Relationship Id="rId16" Type="http://schemas.openxmlformats.org/officeDocument/2006/relationships/slideLayout" Target="../slideLayouts/slideLayout2.xml"/><Relationship Id="rId20" Type="http://schemas.openxmlformats.org/officeDocument/2006/relationships/image" Target="../media/image15.jpeg"/><Relationship Id="rId29" Type="http://schemas.openxmlformats.org/officeDocument/2006/relationships/slide" Target="slide88.xml"/><Relationship Id="rId1" Type="http://schemas.openxmlformats.org/officeDocument/2006/relationships/vmlDrawing" Target="../drawings/vmlDrawing38.v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slide" Target="slide80.xml"/><Relationship Id="rId32" Type="http://schemas.openxmlformats.org/officeDocument/2006/relationships/slide" Target="slide133.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slide" Target="slide68.xml"/><Relationship Id="rId28" Type="http://schemas.openxmlformats.org/officeDocument/2006/relationships/slide" Target="slide143.xml"/><Relationship Id="rId10" Type="http://schemas.openxmlformats.org/officeDocument/2006/relationships/tags" Target="../tags/tag73.xml"/><Relationship Id="rId19" Type="http://schemas.openxmlformats.org/officeDocument/2006/relationships/image" Target="../media/image14.emf"/><Relationship Id="rId31" Type="http://schemas.openxmlformats.org/officeDocument/2006/relationships/slide" Target="slide78.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slide" Target="slide51.xml"/><Relationship Id="rId27" Type="http://schemas.openxmlformats.org/officeDocument/2006/relationships/slide" Target="slide87.xml"/><Relationship Id="rId30" Type="http://schemas.openxmlformats.org/officeDocument/2006/relationships/slide" Target="slide12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81.xml"/><Relationship Id="rId1" Type="http://schemas.openxmlformats.org/officeDocument/2006/relationships/vmlDrawing" Target="../drawings/vmlDrawing56.vml"/><Relationship Id="rId6" Type="http://schemas.openxmlformats.org/officeDocument/2006/relationships/image" Target="../media/image32.emf"/><Relationship Id="rId5" Type="http://schemas.openxmlformats.org/officeDocument/2006/relationships/oleObject" Target="../embeddings/oleObject57.bin"/><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30.xml"/><Relationship Id="rId7" Type="http://schemas.openxmlformats.org/officeDocument/2006/relationships/image" Target="../media/image33.png"/><Relationship Id="rId2" Type="http://schemas.openxmlformats.org/officeDocument/2006/relationships/tags" Target="../tags/tag182.xml"/><Relationship Id="rId1" Type="http://schemas.openxmlformats.org/officeDocument/2006/relationships/vmlDrawing" Target="../drawings/vmlDrawing57.vml"/><Relationship Id="rId6" Type="http://schemas.openxmlformats.org/officeDocument/2006/relationships/image" Target="../media/image16.emf"/><Relationship Id="rId5" Type="http://schemas.openxmlformats.org/officeDocument/2006/relationships/oleObject" Target="../embeddings/oleObject58.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tags" Target="../tags/tag184.xml"/><Relationship Id="rId7" Type="http://schemas.openxmlformats.org/officeDocument/2006/relationships/image" Target="../media/image16.emf"/><Relationship Id="rId12" Type="http://schemas.openxmlformats.org/officeDocument/2006/relationships/image" Target="../media/image27.emf"/><Relationship Id="rId2" Type="http://schemas.openxmlformats.org/officeDocument/2006/relationships/tags" Target="../tags/tag183.xml"/><Relationship Id="rId1" Type="http://schemas.openxmlformats.org/officeDocument/2006/relationships/vmlDrawing" Target="../drawings/vmlDrawing58.vml"/><Relationship Id="rId6" Type="http://schemas.openxmlformats.org/officeDocument/2006/relationships/oleObject" Target="../embeddings/oleObject59.bin"/><Relationship Id="rId11" Type="http://schemas.openxmlformats.org/officeDocument/2006/relationships/oleObject" Target="../embeddings/oleObject60.bin"/><Relationship Id="rId5" Type="http://schemas.openxmlformats.org/officeDocument/2006/relationships/notesSlide" Target="../notesSlides/notesSlide17.xml"/><Relationship Id="rId10" Type="http://schemas.openxmlformats.org/officeDocument/2006/relationships/image" Target="../media/image36.svg"/><Relationship Id="rId4" Type="http://schemas.openxmlformats.org/officeDocument/2006/relationships/slideLayout" Target="../slideLayouts/slideLayout30.xml"/><Relationship Id="rId9"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tags" Target="../tags/tag186.xml"/><Relationship Id="rId7" Type="http://schemas.openxmlformats.org/officeDocument/2006/relationships/image" Target="../media/image16.emf"/><Relationship Id="rId12" Type="http://schemas.openxmlformats.org/officeDocument/2006/relationships/image" Target="../media/image27.emf"/><Relationship Id="rId2" Type="http://schemas.openxmlformats.org/officeDocument/2006/relationships/tags" Target="../tags/tag185.xml"/><Relationship Id="rId1" Type="http://schemas.openxmlformats.org/officeDocument/2006/relationships/vmlDrawing" Target="../drawings/vmlDrawing59.vml"/><Relationship Id="rId6" Type="http://schemas.openxmlformats.org/officeDocument/2006/relationships/oleObject" Target="../embeddings/oleObject61.bin"/><Relationship Id="rId11" Type="http://schemas.openxmlformats.org/officeDocument/2006/relationships/oleObject" Target="../embeddings/oleObject62.bin"/><Relationship Id="rId5" Type="http://schemas.openxmlformats.org/officeDocument/2006/relationships/notesSlide" Target="../notesSlides/notesSlide18.xml"/><Relationship Id="rId10" Type="http://schemas.openxmlformats.org/officeDocument/2006/relationships/image" Target="../media/image36.svg"/><Relationship Id="rId4" Type="http://schemas.openxmlformats.org/officeDocument/2006/relationships/slideLayout" Target="../slideLayouts/slideLayout30.xml"/><Relationship Id="rId9" Type="http://schemas.openxmlformats.org/officeDocument/2006/relationships/image" Target="../media/image35.png"/></Relationships>
</file>

<file path=ppt/slides/_rels/slide24.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tags" Target="../tags/tag188.xml"/><Relationship Id="rId7" Type="http://schemas.openxmlformats.org/officeDocument/2006/relationships/image" Target="../media/image16.emf"/><Relationship Id="rId12" Type="http://schemas.openxmlformats.org/officeDocument/2006/relationships/image" Target="../media/image27.emf"/><Relationship Id="rId2" Type="http://schemas.openxmlformats.org/officeDocument/2006/relationships/tags" Target="../tags/tag187.xml"/><Relationship Id="rId1" Type="http://schemas.openxmlformats.org/officeDocument/2006/relationships/vmlDrawing" Target="../drawings/vmlDrawing60.vml"/><Relationship Id="rId6" Type="http://schemas.openxmlformats.org/officeDocument/2006/relationships/oleObject" Target="../embeddings/oleObject63.bin"/><Relationship Id="rId11" Type="http://schemas.openxmlformats.org/officeDocument/2006/relationships/oleObject" Target="../embeddings/oleObject64.bin"/><Relationship Id="rId5" Type="http://schemas.openxmlformats.org/officeDocument/2006/relationships/notesSlide" Target="../notesSlides/notesSlide19.xml"/><Relationship Id="rId10" Type="http://schemas.openxmlformats.org/officeDocument/2006/relationships/image" Target="../media/image36.svg"/><Relationship Id="rId4" Type="http://schemas.openxmlformats.org/officeDocument/2006/relationships/slideLayout" Target="../slideLayouts/slideLayout30.xml"/><Relationship Id="rId9" Type="http://schemas.openxmlformats.org/officeDocument/2006/relationships/image" Target="../media/image35.png"/></Relationships>
</file>

<file path=ppt/slides/_rels/slide25.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tags" Target="../tags/tag205.xml"/><Relationship Id="rId26" Type="http://schemas.openxmlformats.org/officeDocument/2006/relationships/tags" Target="../tags/tag213.xml"/><Relationship Id="rId3" Type="http://schemas.openxmlformats.org/officeDocument/2006/relationships/tags" Target="../tags/tag190.xml"/><Relationship Id="rId21" Type="http://schemas.openxmlformats.org/officeDocument/2006/relationships/tags" Target="../tags/tag208.xml"/><Relationship Id="rId34" Type="http://schemas.openxmlformats.org/officeDocument/2006/relationships/chart" Target="../charts/chart15.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5" Type="http://schemas.openxmlformats.org/officeDocument/2006/relationships/tags" Target="../tags/tag212.xml"/><Relationship Id="rId33" Type="http://schemas.openxmlformats.org/officeDocument/2006/relationships/image" Target="../media/image16.emf"/><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tags" Target="../tags/tag207.xml"/><Relationship Id="rId29" Type="http://schemas.openxmlformats.org/officeDocument/2006/relationships/tags" Target="../tags/tag216.xml"/><Relationship Id="rId1" Type="http://schemas.openxmlformats.org/officeDocument/2006/relationships/vmlDrawing" Target="../drawings/vmlDrawing61.v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tags" Target="../tags/tag211.xml"/><Relationship Id="rId32" Type="http://schemas.openxmlformats.org/officeDocument/2006/relationships/oleObject" Target="../embeddings/oleObject65.bin"/><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tags" Target="../tags/tag210.xml"/><Relationship Id="rId28" Type="http://schemas.openxmlformats.org/officeDocument/2006/relationships/tags" Target="../tags/tag215.xml"/><Relationship Id="rId10" Type="http://schemas.openxmlformats.org/officeDocument/2006/relationships/tags" Target="../tags/tag197.xml"/><Relationship Id="rId19" Type="http://schemas.openxmlformats.org/officeDocument/2006/relationships/tags" Target="../tags/tag206.xml"/><Relationship Id="rId31" Type="http://schemas.openxmlformats.org/officeDocument/2006/relationships/notesSlide" Target="../notesSlides/notesSlide20.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tags" Target="../tags/tag209.xml"/><Relationship Id="rId27" Type="http://schemas.openxmlformats.org/officeDocument/2006/relationships/tags" Target="../tags/tag214.xml"/><Relationship Id="rId30" Type="http://schemas.openxmlformats.org/officeDocument/2006/relationships/slideLayout" Target="../slideLayouts/slideLayout30.xml"/><Relationship Id="rId35" Type="http://schemas.openxmlformats.org/officeDocument/2006/relationships/image" Target="../media/image37.png"/></Relationships>
</file>

<file path=ppt/slides/_rels/slide26.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tags" Target="../tags/tag228.xml"/><Relationship Id="rId18" Type="http://schemas.openxmlformats.org/officeDocument/2006/relationships/notesSlide" Target="../notesSlides/notesSlide21.xml"/><Relationship Id="rId3" Type="http://schemas.openxmlformats.org/officeDocument/2006/relationships/tags" Target="../tags/tag218.xml"/><Relationship Id="rId21" Type="http://schemas.openxmlformats.org/officeDocument/2006/relationships/chart" Target="../charts/chart16.xml"/><Relationship Id="rId7" Type="http://schemas.openxmlformats.org/officeDocument/2006/relationships/tags" Target="../tags/tag222.xml"/><Relationship Id="rId12" Type="http://schemas.openxmlformats.org/officeDocument/2006/relationships/tags" Target="../tags/tag227.xml"/><Relationship Id="rId17" Type="http://schemas.openxmlformats.org/officeDocument/2006/relationships/slideLayout" Target="../slideLayouts/slideLayout30.xml"/><Relationship Id="rId2" Type="http://schemas.openxmlformats.org/officeDocument/2006/relationships/tags" Target="../tags/tag217.xml"/><Relationship Id="rId16" Type="http://schemas.openxmlformats.org/officeDocument/2006/relationships/tags" Target="../tags/tag231.xml"/><Relationship Id="rId20" Type="http://schemas.openxmlformats.org/officeDocument/2006/relationships/image" Target="../media/image16.emf"/><Relationship Id="rId1" Type="http://schemas.openxmlformats.org/officeDocument/2006/relationships/vmlDrawing" Target="../drawings/vmlDrawing62.v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5" Type="http://schemas.openxmlformats.org/officeDocument/2006/relationships/tags" Target="../tags/tag230.xml"/><Relationship Id="rId10" Type="http://schemas.openxmlformats.org/officeDocument/2006/relationships/tags" Target="../tags/tag225.xml"/><Relationship Id="rId19" Type="http://schemas.openxmlformats.org/officeDocument/2006/relationships/oleObject" Target="../embeddings/oleObject66.bin"/><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tags" Target="../tags/tag229.xml"/><Relationship Id="rId22"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tags" Target="../tags/tag233.xml"/><Relationship Id="rId7" Type="http://schemas.openxmlformats.org/officeDocument/2006/relationships/image" Target="../media/image38.emf"/><Relationship Id="rId2" Type="http://schemas.openxmlformats.org/officeDocument/2006/relationships/tags" Target="../tags/tag232.xml"/><Relationship Id="rId1" Type="http://schemas.openxmlformats.org/officeDocument/2006/relationships/vmlDrawing" Target="../drawings/vmlDrawing63.vml"/><Relationship Id="rId6" Type="http://schemas.openxmlformats.org/officeDocument/2006/relationships/oleObject" Target="../embeddings/oleObject67.bin"/><Relationship Id="rId5" Type="http://schemas.openxmlformats.org/officeDocument/2006/relationships/notesSlide" Target="../notesSlides/notesSlide22.xml"/><Relationship Id="rId4"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38.emf"/><Relationship Id="rId2" Type="http://schemas.openxmlformats.org/officeDocument/2006/relationships/tags" Target="../tags/tag234.xml"/><Relationship Id="rId1" Type="http://schemas.openxmlformats.org/officeDocument/2006/relationships/vmlDrawing" Target="../drawings/vmlDrawing64.vml"/><Relationship Id="rId6" Type="http://schemas.openxmlformats.org/officeDocument/2006/relationships/oleObject" Target="../embeddings/oleObject68.bin"/><Relationship Id="rId5" Type="http://schemas.openxmlformats.org/officeDocument/2006/relationships/notesSlide" Target="../notesSlides/notesSlide23.xml"/><Relationship Id="rId4"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image" Target="../media/image38.emf"/><Relationship Id="rId2" Type="http://schemas.openxmlformats.org/officeDocument/2006/relationships/tags" Target="../tags/tag236.xml"/><Relationship Id="rId1" Type="http://schemas.openxmlformats.org/officeDocument/2006/relationships/vmlDrawing" Target="../drawings/vmlDrawing65.vml"/><Relationship Id="rId6" Type="http://schemas.openxmlformats.org/officeDocument/2006/relationships/oleObject" Target="../embeddings/oleObject69.bin"/><Relationship Id="rId5" Type="http://schemas.openxmlformats.org/officeDocument/2006/relationships/notesSlide" Target="../notesSlides/notesSlide24.xml"/><Relationship Id="rId4"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39.vml"/><Relationship Id="rId6" Type="http://schemas.openxmlformats.org/officeDocument/2006/relationships/image" Target="../media/image16.emf"/><Relationship Id="rId5" Type="http://schemas.openxmlformats.org/officeDocument/2006/relationships/oleObject" Target="../embeddings/oleObject39.bin"/><Relationship Id="rId4"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39.xml"/><Relationship Id="rId7" Type="http://schemas.openxmlformats.org/officeDocument/2006/relationships/oleObject" Target="../embeddings/oleObject70.bin"/><Relationship Id="rId2" Type="http://schemas.openxmlformats.org/officeDocument/2006/relationships/tags" Target="../tags/tag238.xml"/><Relationship Id="rId1" Type="http://schemas.openxmlformats.org/officeDocument/2006/relationships/vmlDrawing" Target="../drawings/vmlDrawing66.vml"/><Relationship Id="rId6" Type="http://schemas.openxmlformats.org/officeDocument/2006/relationships/notesSlide" Target="../notesSlides/notesSlide25.xml"/><Relationship Id="rId5" Type="http://schemas.openxmlformats.org/officeDocument/2006/relationships/slideLayout" Target="../slideLayouts/slideLayout30.xml"/><Relationship Id="rId4" Type="http://schemas.openxmlformats.org/officeDocument/2006/relationships/tags" Target="../tags/tag240.xml"/></Relationships>
</file>

<file path=ppt/slides/_rels/slide3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42.xml"/><Relationship Id="rId7" Type="http://schemas.openxmlformats.org/officeDocument/2006/relationships/oleObject" Target="../embeddings/oleObject71.bin"/><Relationship Id="rId2" Type="http://schemas.openxmlformats.org/officeDocument/2006/relationships/tags" Target="../tags/tag241.xml"/><Relationship Id="rId1" Type="http://schemas.openxmlformats.org/officeDocument/2006/relationships/vmlDrawing" Target="../drawings/vmlDrawing67.vml"/><Relationship Id="rId6" Type="http://schemas.openxmlformats.org/officeDocument/2006/relationships/notesSlide" Target="../notesSlides/notesSlide26.xml"/><Relationship Id="rId5" Type="http://schemas.openxmlformats.org/officeDocument/2006/relationships/slideLayout" Target="../slideLayouts/slideLayout30.xml"/><Relationship Id="rId4" Type="http://schemas.openxmlformats.org/officeDocument/2006/relationships/tags" Target="../tags/tag243.xml"/></Relationships>
</file>

<file path=ppt/slides/_rels/slide3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45.xml"/><Relationship Id="rId7" Type="http://schemas.openxmlformats.org/officeDocument/2006/relationships/oleObject" Target="../embeddings/oleObject72.bin"/><Relationship Id="rId2" Type="http://schemas.openxmlformats.org/officeDocument/2006/relationships/tags" Target="../tags/tag244.xml"/><Relationship Id="rId1" Type="http://schemas.openxmlformats.org/officeDocument/2006/relationships/vmlDrawing" Target="../drawings/vmlDrawing68.vml"/><Relationship Id="rId6" Type="http://schemas.openxmlformats.org/officeDocument/2006/relationships/notesSlide" Target="../notesSlides/notesSlide27.xml"/><Relationship Id="rId5" Type="http://schemas.openxmlformats.org/officeDocument/2006/relationships/slideLayout" Target="../slideLayouts/slideLayout30.xml"/><Relationship Id="rId4" Type="http://schemas.openxmlformats.org/officeDocument/2006/relationships/tags" Target="../tags/tag246.xml"/></Relationships>
</file>

<file path=ppt/slides/_rels/slide3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48.xml"/><Relationship Id="rId7" Type="http://schemas.openxmlformats.org/officeDocument/2006/relationships/oleObject" Target="../embeddings/oleObject73.bin"/><Relationship Id="rId2" Type="http://schemas.openxmlformats.org/officeDocument/2006/relationships/tags" Target="../tags/tag247.xml"/><Relationship Id="rId1" Type="http://schemas.openxmlformats.org/officeDocument/2006/relationships/vmlDrawing" Target="../drawings/vmlDrawing69.vml"/><Relationship Id="rId6" Type="http://schemas.openxmlformats.org/officeDocument/2006/relationships/notesSlide" Target="../notesSlides/notesSlide28.xml"/><Relationship Id="rId5" Type="http://schemas.openxmlformats.org/officeDocument/2006/relationships/slideLayout" Target="../slideLayouts/slideLayout37.xml"/><Relationship Id="rId4" Type="http://schemas.openxmlformats.org/officeDocument/2006/relationships/tags" Target="../tags/tag249.xml"/></Relationships>
</file>

<file path=ppt/slides/_rels/slide3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51.xml"/><Relationship Id="rId7" Type="http://schemas.openxmlformats.org/officeDocument/2006/relationships/oleObject" Target="../embeddings/oleObject74.bin"/><Relationship Id="rId2" Type="http://schemas.openxmlformats.org/officeDocument/2006/relationships/tags" Target="../tags/tag250.xml"/><Relationship Id="rId1" Type="http://schemas.openxmlformats.org/officeDocument/2006/relationships/vmlDrawing" Target="../drawings/vmlDrawing70.vml"/><Relationship Id="rId6" Type="http://schemas.openxmlformats.org/officeDocument/2006/relationships/notesSlide" Target="../notesSlides/notesSlide29.xml"/><Relationship Id="rId5" Type="http://schemas.openxmlformats.org/officeDocument/2006/relationships/slideLayout" Target="../slideLayouts/slideLayout37.xml"/><Relationship Id="rId4" Type="http://schemas.openxmlformats.org/officeDocument/2006/relationships/tags" Target="../tags/tag25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39.jpeg"/><Relationship Id="rId2" Type="http://schemas.openxmlformats.org/officeDocument/2006/relationships/tags" Target="../tags/tag253.xml"/><Relationship Id="rId1" Type="http://schemas.openxmlformats.org/officeDocument/2006/relationships/vmlDrawing" Target="../drawings/vmlDrawing71.vml"/><Relationship Id="rId6" Type="http://schemas.openxmlformats.org/officeDocument/2006/relationships/image" Target="../media/image16.emf"/><Relationship Id="rId5" Type="http://schemas.openxmlformats.org/officeDocument/2006/relationships/oleObject" Target="../embeddings/oleObject75.bin"/><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tags" Target="../tags/tag255.xml"/><Relationship Id="rId7" Type="http://schemas.openxmlformats.org/officeDocument/2006/relationships/image" Target="../media/image16.emf"/><Relationship Id="rId2" Type="http://schemas.openxmlformats.org/officeDocument/2006/relationships/tags" Target="../tags/tag254.xml"/><Relationship Id="rId1" Type="http://schemas.openxmlformats.org/officeDocument/2006/relationships/vmlDrawing" Target="../drawings/vmlDrawing72.vml"/><Relationship Id="rId6" Type="http://schemas.openxmlformats.org/officeDocument/2006/relationships/oleObject" Target="../embeddings/oleObject76.bin"/><Relationship Id="rId5" Type="http://schemas.openxmlformats.org/officeDocument/2006/relationships/notesSlide" Target="../notesSlides/notesSlide31.xml"/><Relationship Id="rId4"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image" Target="../media/image16.emf"/><Relationship Id="rId2" Type="http://schemas.openxmlformats.org/officeDocument/2006/relationships/tags" Target="../tags/tag256.xml"/><Relationship Id="rId1" Type="http://schemas.openxmlformats.org/officeDocument/2006/relationships/vmlDrawing" Target="../drawings/vmlDrawing73.vml"/><Relationship Id="rId6" Type="http://schemas.openxmlformats.org/officeDocument/2006/relationships/oleObject" Target="../embeddings/oleObject77.bin"/><Relationship Id="rId5" Type="http://schemas.openxmlformats.org/officeDocument/2006/relationships/notesSlide" Target="../notesSlides/notesSlide32.xml"/><Relationship Id="rId4"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74.vml"/><Relationship Id="rId6" Type="http://schemas.openxmlformats.org/officeDocument/2006/relationships/image" Target="../media/image16.emf"/><Relationship Id="rId5" Type="http://schemas.openxmlformats.org/officeDocument/2006/relationships/oleObject" Target="../embeddings/oleObject78.bin"/><Relationship Id="rId4"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75.vml"/><Relationship Id="rId6" Type="http://schemas.openxmlformats.org/officeDocument/2006/relationships/image" Target="../media/image16.emf"/><Relationship Id="rId5" Type="http://schemas.openxmlformats.org/officeDocument/2006/relationships/oleObject" Target="../embeddings/oleObject79.bin"/><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82.xml"/><Relationship Id="rId7" Type="http://schemas.openxmlformats.org/officeDocument/2006/relationships/notesSlide" Target="../notesSlides/notesSlide3.xml"/><Relationship Id="rId2" Type="http://schemas.openxmlformats.org/officeDocument/2006/relationships/tags" Target="../tags/tag81.xml"/><Relationship Id="rId1" Type="http://schemas.openxmlformats.org/officeDocument/2006/relationships/vmlDrawing" Target="../drawings/vmlDrawing40.vml"/><Relationship Id="rId6" Type="http://schemas.openxmlformats.org/officeDocument/2006/relationships/slideLayout" Target="../slideLayouts/slideLayout30.xml"/><Relationship Id="rId11" Type="http://schemas.openxmlformats.org/officeDocument/2006/relationships/hyperlink" Target="https://tableauha.bcg.com/#/site/UX/views/DigitalPulseSurvey3YearTrending/E-SAT3YearTrending" TargetMode="External"/><Relationship Id="rId5" Type="http://schemas.openxmlformats.org/officeDocument/2006/relationships/tags" Target="../tags/tag84.xml"/><Relationship Id="rId10" Type="http://schemas.openxmlformats.org/officeDocument/2006/relationships/image" Target="../media/image17.jpeg"/><Relationship Id="rId4" Type="http://schemas.openxmlformats.org/officeDocument/2006/relationships/tags" Target="../tags/tag83.xml"/><Relationship Id="rId9" Type="http://schemas.openxmlformats.org/officeDocument/2006/relationships/image" Target="../media/image1.emf"/></Relationships>
</file>

<file path=ppt/slides/_rels/slide40.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oleObject" Target="../embeddings/oleObject80.bin"/><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notesSlide" Target="../notesSlides/notesSlide33.xml"/><Relationship Id="rId2" Type="http://schemas.openxmlformats.org/officeDocument/2006/relationships/tags" Target="../tags/tag262.xml"/><Relationship Id="rId1" Type="http://schemas.openxmlformats.org/officeDocument/2006/relationships/vmlDrawing" Target="../drawings/vmlDrawing76.vml"/><Relationship Id="rId6" Type="http://schemas.openxmlformats.org/officeDocument/2006/relationships/tags" Target="../tags/tag266.xml"/><Relationship Id="rId11" Type="http://schemas.openxmlformats.org/officeDocument/2006/relationships/slideLayout" Target="../slideLayouts/slideLayout37.xml"/><Relationship Id="rId5" Type="http://schemas.openxmlformats.org/officeDocument/2006/relationships/tags" Target="../tags/tag265.xml"/><Relationship Id="rId15" Type="http://schemas.openxmlformats.org/officeDocument/2006/relationships/chart" Target="../charts/chart17.xml"/><Relationship Id="rId10" Type="http://schemas.openxmlformats.org/officeDocument/2006/relationships/tags" Target="../tags/tag270.xml"/><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image" Target="../media/image16.emf"/></Relationships>
</file>

<file path=ppt/slides/_rels/slide41.xml.rels><?xml version="1.0" encoding="UTF-8" standalone="yes"?>
<Relationships xmlns="http://schemas.openxmlformats.org/package/2006/relationships"><Relationship Id="rId8" Type="http://schemas.openxmlformats.org/officeDocument/2006/relationships/notesSlide" Target="../notesSlides/notesSlide34.xml"/><Relationship Id="rId3" Type="http://schemas.openxmlformats.org/officeDocument/2006/relationships/tags" Target="../tags/tag272.xml"/><Relationship Id="rId7" Type="http://schemas.openxmlformats.org/officeDocument/2006/relationships/slideLayout" Target="../slideLayouts/slideLayout30.xml"/><Relationship Id="rId2" Type="http://schemas.openxmlformats.org/officeDocument/2006/relationships/tags" Target="../tags/tag271.xml"/><Relationship Id="rId1" Type="http://schemas.openxmlformats.org/officeDocument/2006/relationships/vmlDrawing" Target="../drawings/vmlDrawing77.vml"/><Relationship Id="rId6" Type="http://schemas.openxmlformats.org/officeDocument/2006/relationships/tags" Target="../tags/tag275.xml"/><Relationship Id="rId5" Type="http://schemas.openxmlformats.org/officeDocument/2006/relationships/tags" Target="../tags/tag274.xml"/><Relationship Id="rId10" Type="http://schemas.openxmlformats.org/officeDocument/2006/relationships/image" Target="../media/image38.emf"/><Relationship Id="rId4" Type="http://schemas.openxmlformats.org/officeDocument/2006/relationships/tags" Target="../tags/tag273.xml"/><Relationship Id="rId9" Type="http://schemas.openxmlformats.org/officeDocument/2006/relationships/oleObject" Target="../embeddings/oleObject81.bin"/></Relationships>
</file>

<file path=ppt/slides/_rels/slide42.xml.rels><?xml version="1.0" encoding="UTF-8" standalone="yes"?>
<Relationships xmlns="http://schemas.openxmlformats.org/package/2006/relationships"><Relationship Id="rId8" Type="http://schemas.openxmlformats.org/officeDocument/2006/relationships/notesSlide" Target="../notesSlides/notesSlide35.xml"/><Relationship Id="rId3" Type="http://schemas.openxmlformats.org/officeDocument/2006/relationships/tags" Target="../tags/tag277.xml"/><Relationship Id="rId7" Type="http://schemas.openxmlformats.org/officeDocument/2006/relationships/slideLayout" Target="../slideLayouts/slideLayout30.xml"/><Relationship Id="rId2" Type="http://schemas.openxmlformats.org/officeDocument/2006/relationships/tags" Target="../tags/tag276.xml"/><Relationship Id="rId1" Type="http://schemas.openxmlformats.org/officeDocument/2006/relationships/vmlDrawing" Target="../drawings/vmlDrawing78.vml"/><Relationship Id="rId6" Type="http://schemas.openxmlformats.org/officeDocument/2006/relationships/tags" Target="../tags/tag280.xml"/><Relationship Id="rId5" Type="http://schemas.openxmlformats.org/officeDocument/2006/relationships/tags" Target="../tags/tag279.xml"/><Relationship Id="rId10" Type="http://schemas.openxmlformats.org/officeDocument/2006/relationships/image" Target="../media/image38.emf"/><Relationship Id="rId4" Type="http://schemas.openxmlformats.org/officeDocument/2006/relationships/tags" Target="../tags/tag278.xml"/><Relationship Id="rId9" Type="http://schemas.openxmlformats.org/officeDocument/2006/relationships/oleObject" Target="../embeddings/oleObject82.bin"/></Relationships>
</file>

<file path=ppt/slides/_rels/slide43.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tags" Target="../tags/tag292.xml"/><Relationship Id="rId18" Type="http://schemas.openxmlformats.org/officeDocument/2006/relationships/tags" Target="../tags/tag297.xml"/><Relationship Id="rId26" Type="http://schemas.openxmlformats.org/officeDocument/2006/relationships/tags" Target="../tags/tag305.xml"/><Relationship Id="rId3" Type="http://schemas.openxmlformats.org/officeDocument/2006/relationships/tags" Target="../tags/tag282.xml"/><Relationship Id="rId21" Type="http://schemas.openxmlformats.org/officeDocument/2006/relationships/tags" Target="../tags/tag300.xml"/><Relationship Id="rId7" Type="http://schemas.openxmlformats.org/officeDocument/2006/relationships/tags" Target="../tags/tag286.xml"/><Relationship Id="rId12" Type="http://schemas.openxmlformats.org/officeDocument/2006/relationships/tags" Target="../tags/tag291.xml"/><Relationship Id="rId17" Type="http://schemas.openxmlformats.org/officeDocument/2006/relationships/tags" Target="../tags/tag296.xml"/><Relationship Id="rId25" Type="http://schemas.openxmlformats.org/officeDocument/2006/relationships/tags" Target="../tags/tag304.xml"/><Relationship Id="rId2" Type="http://schemas.openxmlformats.org/officeDocument/2006/relationships/tags" Target="../tags/tag281.xml"/><Relationship Id="rId16" Type="http://schemas.openxmlformats.org/officeDocument/2006/relationships/tags" Target="../tags/tag295.xml"/><Relationship Id="rId20" Type="http://schemas.openxmlformats.org/officeDocument/2006/relationships/tags" Target="../tags/tag299.xml"/><Relationship Id="rId29" Type="http://schemas.openxmlformats.org/officeDocument/2006/relationships/oleObject" Target="../embeddings/oleObject83.bin"/><Relationship Id="rId1" Type="http://schemas.openxmlformats.org/officeDocument/2006/relationships/vmlDrawing" Target="../drawings/vmlDrawing79.vml"/><Relationship Id="rId6" Type="http://schemas.openxmlformats.org/officeDocument/2006/relationships/tags" Target="../tags/tag285.xml"/><Relationship Id="rId11" Type="http://schemas.openxmlformats.org/officeDocument/2006/relationships/tags" Target="../tags/tag290.xml"/><Relationship Id="rId24" Type="http://schemas.openxmlformats.org/officeDocument/2006/relationships/tags" Target="../tags/tag303.xml"/><Relationship Id="rId32" Type="http://schemas.openxmlformats.org/officeDocument/2006/relationships/chart" Target="../charts/chart19.xml"/><Relationship Id="rId5" Type="http://schemas.openxmlformats.org/officeDocument/2006/relationships/tags" Target="../tags/tag284.xml"/><Relationship Id="rId15" Type="http://schemas.openxmlformats.org/officeDocument/2006/relationships/tags" Target="../tags/tag294.xml"/><Relationship Id="rId23" Type="http://schemas.openxmlformats.org/officeDocument/2006/relationships/tags" Target="../tags/tag302.xml"/><Relationship Id="rId28" Type="http://schemas.openxmlformats.org/officeDocument/2006/relationships/notesSlide" Target="../notesSlides/notesSlide36.xml"/><Relationship Id="rId10" Type="http://schemas.openxmlformats.org/officeDocument/2006/relationships/tags" Target="../tags/tag289.xml"/><Relationship Id="rId19" Type="http://schemas.openxmlformats.org/officeDocument/2006/relationships/tags" Target="../tags/tag298.xml"/><Relationship Id="rId31" Type="http://schemas.openxmlformats.org/officeDocument/2006/relationships/chart" Target="../charts/chart18.xml"/><Relationship Id="rId4" Type="http://schemas.openxmlformats.org/officeDocument/2006/relationships/tags" Target="../tags/tag283.xml"/><Relationship Id="rId9" Type="http://schemas.openxmlformats.org/officeDocument/2006/relationships/tags" Target="../tags/tag288.xml"/><Relationship Id="rId14" Type="http://schemas.openxmlformats.org/officeDocument/2006/relationships/tags" Target="../tags/tag293.xml"/><Relationship Id="rId22" Type="http://schemas.openxmlformats.org/officeDocument/2006/relationships/tags" Target="../tags/tag301.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306.xml"/><Relationship Id="rId1" Type="http://schemas.openxmlformats.org/officeDocument/2006/relationships/vmlDrawing" Target="../drawings/vmlDrawing80.vml"/><Relationship Id="rId5" Type="http://schemas.openxmlformats.org/officeDocument/2006/relationships/image" Target="../media/image16.emf"/><Relationship Id="rId4" Type="http://schemas.openxmlformats.org/officeDocument/2006/relationships/oleObject" Target="../embeddings/oleObject84.bin"/></Relationships>
</file>

<file path=ppt/slides/_rels/slide45.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tags" Target="../tags/tag318.xml"/><Relationship Id="rId18" Type="http://schemas.openxmlformats.org/officeDocument/2006/relationships/tags" Target="../tags/tag323.xml"/><Relationship Id="rId26" Type="http://schemas.openxmlformats.org/officeDocument/2006/relationships/image" Target="../media/image16.emf"/><Relationship Id="rId3" Type="http://schemas.openxmlformats.org/officeDocument/2006/relationships/tags" Target="../tags/tag308.xml"/><Relationship Id="rId21" Type="http://schemas.openxmlformats.org/officeDocument/2006/relationships/tags" Target="../tags/tag326.xml"/><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tags" Target="../tags/tag322.xml"/><Relationship Id="rId25" Type="http://schemas.openxmlformats.org/officeDocument/2006/relationships/oleObject" Target="../embeddings/oleObject85.bin"/><Relationship Id="rId2" Type="http://schemas.openxmlformats.org/officeDocument/2006/relationships/tags" Target="../tags/tag307.xml"/><Relationship Id="rId16" Type="http://schemas.openxmlformats.org/officeDocument/2006/relationships/tags" Target="../tags/tag321.xml"/><Relationship Id="rId20" Type="http://schemas.openxmlformats.org/officeDocument/2006/relationships/tags" Target="../tags/tag325.xml"/><Relationship Id="rId1" Type="http://schemas.openxmlformats.org/officeDocument/2006/relationships/vmlDrawing" Target="../drawings/vmlDrawing81.vml"/><Relationship Id="rId6" Type="http://schemas.openxmlformats.org/officeDocument/2006/relationships/tags" Target="../tags/tag311.xml"/><Relationship Id="rId11" Type="http://schemas.openxmlformats.org/officeDocument/2006/relationships/tags" Target="../tags/tag316.xml"/><Relationship Id="rId24" Type="http://schemas.openxmlformats.org/officeDocument/2006/relationships/notesSlide" Target="../notesSlides/notesSlide37.xml"/><Relationship Id="rId5" Type="http://schemas.openxmlformats.org/officeDocument/2006/relationships/tags" Target="../tags/tag310.xml"/><Relationship Id="rId15" Type="http://schemas.openxmlformats.org/officeDocument/2006/relationships/tags" Target="../tags/tag320.xml"/><Relationship Id="rId23" Type="http://schemas.openxmlformats.org/officeDocument/2006/relationships/slideLayout" Target="../slideLayouts/slideLayout37.xml"/><Relationship Id="rId28" Type="http://schemas.openxmlformats.org/officeDocument/2006/relationships/image" Target="../media/image37.png"/><Relationship Id="rId10" Type="http://schemas.openxmlformats.org/officeDocument/2006/relationships/tags" Target="../tags/tag315.xml"/><Relationship Id="rId19" Type="http://schemas.openxmlformats.org/officeDocument/2006/relationships/tags" Target="../tags/tag324.xml"/><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 Id="rId22" Type="http://schemas.openxmlformats.org/officeDocument/2006/relationships/tags" Target="../tags/tag327.xml"/><Relationship Id="rId27" Type="http://schemas.openxmlformats.org/officeDocument/2006/relationships/chart" Target="../charts/chart20.xml"/></Relationships>
</file>

<file path=ppt/slides/_rels/slide4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329.xml"/><Relationship Id="rId7" Type="http://schemas.openxmlformats.org/officeDocument/2006/relationships/oleObject" Target="../embeddings/oleObject86.bin"/><Relationship Id="rId2" Type="http://schemas.openxmlformats.org/officeDocument/2006/relationships/tags" Target="../tags/tag328.xml"/><Relationship Id="rId1" Type="http://schemas.openxmlformats.org/officeDocument/2006/relationships/vmlDrawing" Target="../drawings/vmlDrawing82.vml"/><Relationship Id="rId6" Type="http://schemas.openxmlformats.org/officeDocument/2006/relationships/notesSlide" Target="../notesSlides/notesSlide38.xml"/><Relationship Id="rId5" Type="http://schemas.openxmlformats.org/officeDocument/2006/relationships/slideLayout" Target="../slideLayouts/slideLayout37.xml"/><Relationship Id="rId4" Type="http://schemas.openxmlformats.org/officeDocument/2006/relationships/tags" Target="../tags/tag330.xml"/><Relationship Id="rId9" Type="http://schemas.openxmlformats.org/officeDocument/2006/relationships/image" Target="../media/image37.png"/></Relationships>
</file>

<file path=ppt/slides/_rels/slide47.xml.rels><?xml version="1.0" encoding="UTF-8" standalone="yes"?>
<Relationships xmlns="http://schemas.openxmlformats.org/package/2006/relationships"><Relationship Id="rId8" Type="http://schemas.openxmlformats.org/officeDocument/2006/relationships/tags" Target="../tags/tag337.xml"/><Relationship Id="rId13" Type="http://schemas.openxmlformats.org/officeDocument/2006/relationships/tags" Target="../tags/tag342.xml"/><Relationship Id="rId18" Type="http://schemas.openxmlformats.org/officeDocument/2006/relationships/tags" Target="../tags/tag347.xml"/><Relationship Id="rId26" Type="http://schemas.openxmlformats.org/officeDocument/2006/relationships/slideLayout" Target="../slideLayouts/slideLayout37.xml"/><Relationship Id="rId3" Type="http://schemas.openxmlformats.org/officeDocument/2006/relationships/tags" Target="../tags/tag332.xml"/><Relationship Id="rId21" Type="http://schemas.openxmlformats.org/officeDocument/2006/relationships/tags" Target="../tags/tag350.xml"/><Relationship Id="rId7" Type="http://schemas.openxmlformats.org/officeDocument/2006/relationships/tags" Target="../tags/tag336.xml"/><Relationship Id="rId12" Type="http://schemas.openxmlformats.org/officeDocument/2006/relationships/tags" Target="../tags/tag341.xml"/><Relationship Id="rId17" Type="http://schemas.openxmlformats.org/officeDocument/2006/relationships/tags" Target="../tags/tag346.xml"/><Relationship Id="rId25" Type="http://schemas.openxmlformats.org/officeDocument/2006/relationships/tags" Target="../tags/tag354.xml"/><Relationship Id="rId2" Type="http://schemas.openxmlformats.org/officeDocument/2006/relationships/tags" Target="../tags/tag331.xml"/><Relationship Id="rId16" Type="http://schemas.openxmlformats.org/officeDocument/2006/relationships/tags" Target="../tags/tag345.xml"/><Relationship Id="rId20" Type="http://schemas.openxmlformats.org/officeDocument/2006/relationships/tags" Target="../tags/tag349.xml"/><Relationship Id="rId29" Type="http://schemas.openxmlformats.org/officeDocument/2006/relationships/image" Target="../media/image16.emf"/><Relationship Id="rId1" Type="http://schemas.openxmlformats.org/officeDocument/2006/relationships/vmlDrawing" Target="../drawings/vmlDrawing83.vml"/><Relationship Id="rId6" Type="http://schemas.openxmlformats.org/officeDocument/2006/relationships/tags" Target="../tags/tag335.xml"/><Relationship Id="rId11" Type="http://schemas.openxmlformats.org/officeDocument/2006/relationships/tags" Target="../tags/tag340.xml"/><Relationship Id="rId24" Type="http://schemas.openxmlformats.org/officeDocument/2006/relationships/tags" Target="../tags/tag353.xml"/><Relationship Id="rId5" Type="http://schemas.openxmlformats.org/officeDocument/2006/relationships/tags" Target="../tags/tag334.xml"/><Relationship Id="rId15" Type="http://schemas.openxmlformats.org/officeDocument/2006/relationships/tags" Target="../tags/tag344.xml"/><Relationship Id="rId23" Type="http://schemas.openxmlformats.org/officeDocument/2006/relationships/tags" Target="../tags/tag352.xml"/><Relationship Id="rId28" Type="http://schemas.openxmlformats.org/officeDocument/2006/relationships/oleObject" Target="../embeddings/oleObject87.bin"/><Relationship Id="rId10" Type="http://schemas.openxmlformats.org/officeDocument/2006/relationships/tags" Target="../tags/tag339.xml"/><Relationship Id="rId19" Type="http://schemas.openxmlformats.org/officeDocument/2006/relationships/tags" Target="../tags/tag348.xml"/><Relationship Id="rId31" Type="http://schemas.openxmlformats.org/officeDocument/2006/relationships/chart" Target="../charts/chart22.xml"/><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tags" Target="../tags/tag343.xml"/><Relationship Id="rId22" Type="http://schemas.openxmlformats.org/officeDocument/2006/relationships/tags" Target="../tags/tag351.xml"/><Relationship Id="rId27" Type="http://schemas.openxmlformats.org/officeDocument/2006/relationships/notesSlide" Target="../notesSlides/notesSlide39.xml"/><Relationship Id="rId30" Type="http://schemas.openxmlformats.org/officeDocument/2006/relationships/chart" Target="../charts/chart21.xml"/></Relationships>
</file>

<file path=ppt/slides/_rels/slide48.xml.rels><?xml version="1.0" encoding="UTF-8" standalone="yes"?>
<Relationships xmlns="http://schemas.openxmlformats.org/package/2006/relationships"><Relationship Id="rId8" Type="http://schemas.openxmlformats.org/officeDocument/2006/relationships/tags" Target="../tags/tag361.xml"/><Relationship Id="rId13" Type="http://schemas.openxmlformats.org/officeDocument/2006/relationships/oleObject" Target="../embeddings/oleObject88.bin"/><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notesSlide" Target="../notesSlides/notesSlide40.xml"/><Relationship Id="rId2" Type="http://schemas.openxmlformats.org/officeDocument/2006/relationships/tags" Target="../tags/tag355.xml"/><Relationship Id="rId16" Type="http://schemas.openxmlformats.org/officeDocument/2006/relationships/chart" Target="../charts/chart23.xml"/><Relationship Id="rId1" Type="http://schemas.openxmlformats.org/officeDocument/2006/relationships/vmlDrawing" Target="../drawings/vmlDrawing84.vml"/><Relationship Id="rId6" Type="http://schemas.openxmlformats.org/officeDocument/2006/relationships/tags" Target="../tags/tag359.xml"/><Relationship Id="rId11" Type="http://schemas.openxmlformats.org/officeDocument/2006/relationships/slideLayout" Target="../slideLayouts/slideLayout11.xml"/><Relationship Id="rId5" Type="http://schemas.openxmlformats.org/officeDocument/2006/relationships/tags" Target="../tags/tag358.xml"/><Relationship Id="rId15" Type="http://schemas.openxmlformats.org/officeDocument/2006/relationships/image" Target="../media/image41.jpeg"/><Relationship Id="rId10" Type="http://schemas.openxmlformats.org/officeDocument/2006/relationships/tags" Target="../tags/tag363.xml"/><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image" Target="../media/image40.emf"/></Relationships>
</file>

<file path=ppt/slides/_rels/slide49.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oleObject" Target="../embeddings/oleObject89.bin"/><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notesSlide" Target="../notesSlides/notesSlide41.xml"/><Relationship Id="rId2" Type="http://schemas.openxmlformats.org/officeDocument/2006/relationships/tags" Target="../tags/tag364.xml"/><Relationship Id="rId16" Type="http://schemas.openxmlformats.org/officeDocument/2006/relationships/chart" Target="../charts/chart24.xml"/><Relationship Id="rId1" Type="http://schemas.openxmlformats.org/officeDocument/2006/relationships/vmlDrawing" Target="../drawings/vmlDrawing85.vml"/><Relationship Id="rId6" Type="http://schemas.openxmlformats.org/officeDocument/2006/relationships/tags" Target="../tags/tag368.xml"/><Relationship Id="rId11" Type="http://schemas.openxmlformats.org/officeDocument/2006/relationships/slideLayout" Target="../slideLayouts/slideLayout11.xml"/><Relationship Id="rId5" Type="http://schemas.openxmlformats.org/officeDocument/2006/relationships/tags" Target="../tags/tag367.xml"/><Relationship Id="rId15" Type="http://schemas.openxmlformats.org/officeDocument/2006/relationships/image" Target="../media/image42.jpeg"/><Relationship Id="rId10" Type="http://schemas.openxmlformats.org/officeDocument/2006/relationships/tags" Target="../tags/tag372.xml"/><Relationship Id="rId4" Type="http://schemas.openxmlformats.org/officeDocument/2006/relationships/tags" Target="../tags/tag366.xml"/><Relationship Id="rId9" Type="http://schemas.openxmlformats.org/officeDocument/2006/relationships/tags" Target="../tags/tag371.xml"/><Relationship Id="rId14" Type="http://schemas.openxmlformats.org/officeDocument/2006/relationships/image" Target="../media/image40.emf"/></Relationships>
</file>

<file path=ppt/slides/_rels/slide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86.xml"/><Relationship Id="rId7" Type="http://schemas.openxmlformats.org/officeDocument/2006/relationships/oleObject" Target="../embeddings/oleObject41.bin"/><Relationship Id="rId2" Type="http://schemas.openxmlformats.org/officeDocument/2006/relationships/tags" Target="../tags/tag85.xml"/><Relationship Id="rId1" Type="http://schemas.openxmlformats.org/officeDocument/2006/relationships/vmlDrawing" Target="../drawings/vmlDrawing41.vml"/><Relationship Id="rId6" Type="http://schemas.openxmlformats.org/officeDocument/2006/relationships/notesSlide" Target="../notesSlides/notesSlide4.xml"/><Relationship Id="rId5" Type="http://schemas.openxmlformats.org/officeDocument/2006/relationships/slideLayout" Target="../slideLayouts/slideLayout30.xml"/><Relationship Id="rId10" Type="http://schemas.openxmlformats.org/officeDocument/2006/relationships/image" Target="../media/image18.emf"/><Relationship Id="rId4" Type="http://schemas.openxmlformats.org/officeDocument/2006/relationships/tags" Target="../tags/tag87.xml"/><Relationship Id="rId9" Type="http://schemas.openxmlformats.org/officeDocument/2006/relationships/oleObject" Target="../embeddings/oleObject42.bin"/></Relationships>
</file>

<file path=ppt/slides/_rels/slide50.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oleObject" Target="../embeddings/oleObject90.bin"/><Relationship Id="rId3" Type="http://schemas.openxmlformats.org/officeDocument/2006/relationships/tags" Target="../tags/tag374.xml"/><Relationship Id="rId7" Type="http://schemas.openxmlformats.org/officeDocument/2006/relationships/tags" Target="../tags/tag378.xml"/><Relationship Id="rId12" Type="http://schemas.openxmlformats.org/officeDocument/2006/relationships/notesSlide" Target="../notesSlides/notesSlide42.xml"/><Relationship Id="rId2" Type="http://schemas.openxmlformats.org/officeDocument/2006/relationships/tags" Target="../tags/tag373.xml"/><Relationship Id="rId16" Type="http://schemas.openxmlformats.org/officeDocument/2006/relationships/chart" Target="../charts/chart25.xml"/><Relationship Id="rId1" Type="http://schemas.openxmlformats.org/officeDocument/2006/relationships/vmlDrawing" Target="../drawings/vmlDrawing86.vml"/><Relationship Id="rId6" Type="http://schemas.openxmlformats.org/officeDocument/2006/relationships/tags" Target="../tags/tag377.xml"/><Relationship Id="rId11" Type="http://schemas.openxmlformats.org/officeDocument/2006/relationships/slideLayout" Target="../slideLayouts/slideLayout11.xml"/><Relationship Id="rId5" Type="http://schemas.openxmlformats.org/officeDocument/2006/relationships/tags" Target="../tags/tag376.xml"/><Relationship Id="rId15" Type="http://schemas.openxmlformats.org/officeDocument/2006/relationships/image" Target="../media/image41.jpeg"/><Relationship Id="rId10" Type="http://schemas.openxmlformats.org/officeDocument/2006/relationships/tags" Target="../tags/tag381.xml"/><Relationship Id="rId4" Type="http://schemas.openxmlformats.org/officeDocument/2006/relationships/tags" Target="../tags/tag375.xml"/><Relationship Id="rId9" Type="http://schemas.openxmlformats.org/officeDocument/2006/relationships/tags" Target="../tags/tag380.xml"/><Relationship Id="rId14" Type="http://schemas.openxmlformats.org/officeDocument/2006/relationships/image" Target="../media/image40.emf"/></Relationships>
</file>

<file path=ppt/slides/_rels/slide51.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383.xml"/><Relationship Id="rId7" Type="http://schemas.openxmlformats.org/officeDocument/2006/relationships/image" Target="../media/image16.emf"/><Relationship Id="rId2" Type="http://schemas.openxmlformats.org/officeDocument/2006/relationships/tags" Target="../tags/tag382.xml"/><Relationship Id="rId1" Type="http://schemas.openxmlformats.org/officeDocument/2006/relationships/vmlDrawing" Target="../drawings/vmlDrawing87.vml"/><Relationship Id="rId6" Type="http://schemas.openxmlformats.org/officeDocument/2006/relationships/oleObject" Target="../embeddings/oleObject91.bin"/><Relationship Id="rId5" Type="http://schemas.openxmlformats.org/officeDocument/2006/relationships/notesSlide" Target="../notesSlides/notesSlide43.xml"/><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tags" Target="../tags/tag390.xml"/><Relationship Id="rId13" Type="http://schemas.openxmlformats.org/officeDocument/2006/relationships/tags" Target="../tags/tag395.xml"/><Relationship Id="rId18" Type="http://schemas.openxmlformats.org/officeDocument/2006/relationships/tags" Target="../tags/tag400.xml"/><Relationship Id="rId3" Type="http://schemas.openxmlformats.org/officeDocument/2006/relationships/tags" Target="../tags/tag385.xml"/><Relationship Id="rId21" Type="http://schemas.openxmlformats.org/officeDocument/2006/relationships/slideLayout" Target="../slideLayouts/slideLayout37.xml"/><Relationship Id="rId7" Type="http://schemas.openxmlformats.org/officeDocument/2006/relationships/tags" Target="../tags/tag389.xml"/><Relationship Id="rId12" Type="http://schemas.openxmlformats.org/officeDocument/2006/relationships/tags" Target="../tags/tag394.xml"/><Relationship Id="rId17" Type="http://schemas.openxmlformats.org/officeDocument/2006/relationships/tags" Target="../tags/tag399.xml"/><Relationship Id="rId25" Type="http://schemas.openxmlformats.org/officeDocument/2006/relationships/chart" Target="../charts/chart26.xml"/><Relationship Id="rId2" Type="http://schemas.openxmlformats.org/officeDocument/2006/relationships/tags" Target="../tags/tag384.xml"/><Relationship Id="rId16" Type="http://schemas.openxmlformats.org/officeDocument/2006/relationships/tags" Target="../tags/tag398.xml"/><Relationship Id="rId20" Type="http://schemas.openxmlformats.org/officeDocument/2006/relationships/tags" Target="../tags/tag402.xml"/><Relationship Id="rId1" Type="http://schemas.openxmlformats.org/officeDocument/2006/relationships/vmlDrawing" Target="../drawings/vmlDrawing88.vml"/><Relationship Id="rId6" Type="http://schemas.openxmlformats.org/officeDocument/2006/relationships/tags" Target="../tags/tag388.xml"/><Relationship Id="rId11" Type="http://schemas.openxmlformats.org/officeDocument/2006/relationships/tags" Target="../tags/tag393.xml"/><Relationship Id="rId24" Type="http://schemas.openxmlformats.org/officeDocument/2006/relationships/image" Target="../media/image16.emf"/><Relationship Id="rId5" Type="http://schemas.openxmlformats.org/officeDocument/2006/relationships/tags" Target="../tags/tag387.xml"/><Relationship Id="rId15" Type="http://schemas.openxmlformats.org/officeDocument/2006/relationships/tags" Target="../tags/tag397.xml"/><Relationship Id="rId23" Type="http://schemas.openxmlformats.org/officeDocument/2006/relationships/oleObject" Target="../embeddings/oleObject92.bin"/><Relationship Id="rId10" Type="http://schemas.openxmlformats.org/officeDocument/2006/relationships/tags" Target="../tags/tag392.xml"/><Relationship Id="rId19" Type="http://schemas.openxmlformats.org/officeDocument/2006/relationships/tags" Target="../tags/tag401.xml"/><Relationship Id="rId4" Type="http://schemas.openxmlformats.org/officeDocument/2006/relationships/tags" Target="../tags/tag386.xml"/><Relationship Id="rId9" Type="http://schemas.openxmlformats.org/officeDocument/2006/relationships/tags" Target="../tags/tag391.xml"/><Relationship Id="rId14" Type="http://schemas.openxmlformats.org/officeDocument/2006/relationships/tags" Target="../tags/tag396.xml"/><Relationship Id="rId22" Type="http://schemas.openxmlformats.org/officeDocument/2006/relationships/notesSlide" Target="../notesSlides/notesSlide44.xml"/></Relationships>
</file>

<file path=ppt/slides/_rels/slide53.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tags" Target="../tags/tag414.xml"/><Relationship Id="rId18" Type="http://schemas.openxmlformats.org/officeDocument/2006/relationships/tags" Target="../tags/tag419.xml"/><Relationship Id="rId26" Type="http://schemas.openxmlformats.org/officeDocument/2006/relationships/tags" Target="../tags/tag427.xml"/><Relationship Id="rId3" Type="http://schemas.openxmlformats.org/officeDocument/2006/relationships/tags" Target="../tags/tag404.xml"/><Relationship Id="rId21" Type="http://schemas.openxmlformats.org/officeDocument/2006/relationships/tags" Target="../tags/tag422.xml"/><Relationship Id="rId7" Type="http://schemas.openxmlformats.org/officeDocument/2006/relationships/tags" Target="../tags/tag408.xml"/><Relationship Id="rId12" Type="http://schemas.openxmlformats.org/officeDocument/2006/relationships/tags" Target="../tags/tag413.xml"/><Relationship Id="rId17" Type="http://schemas.openxmlformats.org/officeDocument/2006/relationships/tags" Target="../tags/tag418.xml"/><Relationship Id="rId25" Type="http://schemas.openxmlformats.org/officeDocument/2006/relationships/tags" Target="../tags/tag426.xml"/><Relationship Id="rId2" Type="http://schemas.openxmlformats.org/officeDocument/2006/relationships/tags" Target="../tags/tag403.xml"/><Relationship Id="rId16" Type="http://schemas.openxmlformats.org/officeDocument/2006/relationships/tags" Target="../tags/tag417.xml"/><Relationship Id="rId20" Type="http://schemas.openxmlformats.org/officeDocument/2006/relationships/tags" Target="../tags/tag421.xml"/><Relationship Id="rId29" Type="http://schemas.openxmlformats.org/officeDocument/2006/relationships/oleObject" Target="../embeddings/oleObject93.bin"/><Relationship Id="rId1" Type="http://schemas.openxmlformats.org/officeDocument/2006/relationships/vmlDrawing" Target="../drawings/vmlDrawing89.vml"/><Relationship Id="rId6" Type="http://schemas.openxmlformats.org/officeDocument/2006/relationships/tags" Target="../tags/tag407.xml"/><Relationship Id="rId11" Type="http://schemas.openxmlformats.org/officeDocument/2006/relationships/tags" Target="../tags/tag412.xml"/><Relationship Id="rId24" Type="http://schemas.openxmlformats.org/officeDocument/2006/relationships/tags" Target="../tags/tag425.xml"/><Relationship Id="rId32" Type="http://schemas.openxmlformats.org/officeDocument/2006/relationships/chart" Target="../charts/chart28.xml"/><Relationship Id="rId5" Type="http://schemas.openxmlformats.org/officeDocument/2006/relationships/tags" Target="../tags/tag406.xml"/><Relationship Id="rId15" Type="http://schemas.openxmlformats.org/officeDocument/2006/relationships/tags" Target="../tags/tag416.xml"/><Relationship Id="rId23" Type="http://schemas.openxmlformats.org/officeDocument/2006/relationships/tags" Target="../tags/tag424.xml"/><Relationship Id="rId28" Type="http://schemas.openxmlformats.org/officeDocument/2006/relationships/notesSlide" Target="../notesSlides/notesSlide45.xml"/><Relationship Id="rId10" Type="http://schemas.openxmlformats.org/officeDocument/2006/relationships/tags" Target="../tags/tag411.xml"/><Relationship Id="rId19" Type="http://schemas.openxmlformats.org/officeDocument/2006/relationships/tags" Target="../tags/tag420.xml"/><Relationship Id="rId31" Type="http://schemas.openxmlformats.org/officeDocument/2006/relationships/chart" Target="../charts/chart27.xml"/><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tags" Target="../tags/tag415.xml"/><Relationship Id="rId22" Type="http://schemas.openxmlformats.org/officeDocument/2006/relationships/tags" Target="../tags/tag423.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54.xml.rels><?xml version="1.0" encoding="UTF-8" standalone="yes"?>
<Relationships xmlns="http://schemas.openxmlformats.org/package/2006/relationships"><Relationship Id="rId13" Type="http://schemas.openxmlformats.org/officeDocument/2006/relationships/tags" Target="../tags/tag439.xml"/><Relationship Id="rId18" Type="http://schemas.openxmlformats.org/officeDocument/2006/relationships/tags" Target="../tags/tag444.xml"/><Relationship Id="rId26" Type="http://schemas.openxmlformats.org/officeDocument/2006/relationships/tags" Target="../tags/tag452.xml"/><Relationship Id="rId39" Type="http://schemas.openxmlformats.org/officeDocument/2006/relationships/tags" Target="../tags/tag465.xml"/><Relationship Id="rId3" Type="http://schemas.openxmlformats.org/officeDocument/2006/relationships/tags" Target="../tags/tag429.xml"/><Relationship Id="rId21" Type="http://schemas.openxmlformats.org/officeDocument/2006/relationships/tags" Target="../tags/tag447.xml"/><Relationship Id="rId34" Type="http://schemas.openxmlformats.org/officeDocument/2006/relationships/tags" Target="../tags/tag460.xml"/><Relationship Id="rId42" Type="http://schemas.openxmlformats.org/officeDocument/2006/relationships/tags" Target="../tags/tag468.xml"/><Relationship Id="rId47" Type="http://schemas.openxmlformats.org/officeDocument/2006/relationships/oleObject" Target="../embeddings/oleObject94.bin"/><Relationship Id="rId7" Type="http://schemas.openxmlformats.org/officeDocument/2006/relationships/tags" Target="../tags/tag433.xml"/><Relationship Id="rId12" Type="http://schemas.openxmlformats.org/officeDocument/2006/relationships/tags" Target="../tags/tag438.xml"/><Relationship Id="rId17" Type="http://schemas.openxmlformats.org/officeDocument/2006/relationships/tags" Target="../tags/tag443.xml"/><Relationship Id="rId25" Type="http://schemas.openxmlformats.org/officeDocument/2006/relationships/tags" Target="../tags/tag451.xml"/><Relationship Id="rId33" Type="http://schemas.openxmlformats.org/officeDocument/2006/relationships/tags" Target="../tags/tag459.xml"/><Relationship Id="rId38" Type="http://schemas.openxmlformats.org/officeDocument/2006/relationships/tags" Target="../tags/tag464.xml"/><Relationship Id="rId46" Type="http://schemas.openxmlformats.org/officeDocument/2006/relationships/notesSlide" Target="../notesSlides/notesSlide46.xml"/><Relationship Id="rId2" Type="http://schemas.openxmlformats.org/officeDocument/2006/relationships/tags" Target="../tags/tag428.xml"/><Relationship Id="rId16" Type="http://schemas.openxmlformats.org/officeDocument/2006/relationships/tags" Target="../tags/tag442.xml"/><Relationship Id="rId20" Type="http://schemas.openxmlformats.org/officeDocument/2006/relationships/tags" Target="../tags/tag446.xml"/><Relationship Id="rId29" Type="http://schemas.openxmlformats.org/officeDocument/2006/relationships/tags" Target="../tags/tag455.xml"/><Relationship Id="rId41" Type="http://schemas.openxmlformats.org/officeDocument/2006/relationships/tags" Target="../tags/tag467.xml"/><Relationship Id="rId1" Type="http://schemas.openxmlformats.org/officeDocument/2006/relationships/vmlDrawing" Target="../drawings/vmlDrawing90.vml"/><Relationship Id="rId6" Type="http://schemas.openxmlformats.org/officeDocument/2006/relationships/tags" Target="../tags/tag432.xml"/><Relationship Id="rId11" Type="http://schemas.openxmlformats.org/officeDocument/2006/relationships/tags" Target="../tags/tag437.xml"/><Relationship Id="rId24" Type="http://schemas.openxmlformats.org/officeDocument/2006/relationships/tags" Target="../tags/tag450.xml"/><Relationship Id="rId32" Type="http://schemas.openxmlformats.org/officeDocument/2006/relationships/tags" Target="../tags/tag458.xml"/><Relationship Id="rId37" Type="http://schemas.openxmlformats.org/officeDocument/2006/relationships/tags" Target="../tags/tag463.xml"/><Relationship Id="rId40" Type="http://schemas.openxmlformats.org/officeDocument/2006/relationships/tags" Target="../tags/tag466.xml"/><Relationship Id="rId45" Type="http://schemas.openxmlformats.org/officeDocument/2006/relationships/slideLayout" Target="../slideLayouts/slideLayout37.xml"/><Relationship Id="rId5" Type="http://schemas.openxmlformats.org/officeDocument/2006/relationships/tags" Target="../tags/tag431.xml"/><Relationship Id="rId15" Type="http://schemas.openxmlformats.org/officeDocument/2006/relationships/tags" Target="../tags/tag441.xml"/><Relationship Id="rId23" Type="http://schemas.openxmlformats.org/officeDocument/2006/relationships/tags" Target="../tags/tag449.xml"/><Relationship Id="rId28" Type="http://schemas.openxmlformats.org/officeDocument/2006/relationships/tags" Target="../tags/tag454.xml"/><Relationship Id="rId36" Type="http://schemas.openxmlformats.org/officeDocument/2006/relationships/tags" Target="../tags/tag462.xml"/><Relationship Id="rId49" Type="http://schemas.openxmlformats.org/officeDocument/2006/relationships/chart" Target="../charts/chart29.xml"/><Relationship Id="rId10" Type="http://schemas.openxmlformats.org/officeDocument/2006/relationships/tags" Target="../tags/tag436.xml"/><Relationship Id="rId19" Type="http://schemas.openxmlformats.org/officeDocument/2006/relationships/tags" Target="../tags/tag445.xml"/><Relationship Id="rId31" Type="http://schemas.openxmlformats.org/officeDocument/2006/relationships/tags" Target="../tags/tag457.xml"/><Relationship Id="rId44" Type="http://schemas.openxmlformats.org/officeDocument/2006/relationships/tags" Target="../tags/tag470.xml"/><Relationship Id="rId4" Type="http://schemas.openxmlformats.org/officeDocument/2006/relationships/tags" Target="../tags/tag430.xml"/><Relationship Id="rId9" Type="http://schemas.openxmlformats.org/officeDocument/2006/relationships/tags" Target="../tags/tag435.xml"/><Relationship Id="rId14" Type="http://schemas.openxmlformats.org/officeDocument/2006/relationships/tags" Target="../tags/tag440.xml"/><Relationship Id="rId22" Type="http://schemas.openxmlformats.org/officeDocument/2006/relationships/tags" Target="../tags/tag448.xml"/><Relationship Id="rId27" Type="http://schemas.openxmlformats.org/officeDocument/2006/relationships/tags" Target="../tags/tag453.xml"/><Relationship Id="rId30" Type="http://schemas.openxmlformats.org/officeDocument/2006/relationships/tags" Target="../tags/tag456.xml"/><Relationship Id="rId35" Type="http://schemas.openxmlformats.org/officeDocument/2006/relationships/tags" Target="../tags/tag461.xml"/><Relationship Id="rId43" Type="http://schemas.openxmlformats.org/officeDocument/2006/relationships/tags" Target="../tags/tag469.xml"/><Relationship Id="rId48" Type="http://schemas.openxmlformats.org/officeDocument/2006/relationships/image" Target="../media/image16.emf"/><Relationship Id="rId8" Type="http://schemas.openxmlformats.org/officeDocument/2006/relationships/tags" Target="../tags/tag434.xml"/></Relationships>
</file>

<file path=ppt/slides/_rels/slide55.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tags" Target="../tags/tag482.xml"/><Relationship Id="rId18" Type="http://schemas.openxmlformats.org/officeDocument/2006/relationships/tags" Target="../tags/tag487.xml"/><Relationship Id="rId26" Type="http://schemas.openxmlformats.org/officeDocument/2006/relationships/tags" Target="../tags/tag495.xml"/><Relationship Id="rId39" Type="http://schemas.openxmlformats.org/officeDocument/2006/relationships/chart" Target="../charts/chart30.xml"/><Relationship Id="rId3" Type="http://schemas.openxmlformats.org/officeDocument/2006/relationships/tags" Target="../tags/tag472.xml"/><Relationship Id="rId21" Type="http://schemas.openxmlformats.org/officeDocument/2006/relationships/tags" Target="../tags/tag490.xml"/><Relationship Id="rId34" Type="http://schemas.openxmlformats.org/officeDocument/2006/relationships/tags" Target="../tags/tag503.xml"/><Relationship Id="rId7" Type="http://schemas.openxmlformats.org/officeDocument/2006/relationships/tags" Target="../tags/tag476.xml"/><Relationship Id="rId12" Type="http://schemas.openxmlformats.org/officeDocument/2006/relationships/tags" Target="../tags/tag481.xml"/><Relationship Id="rId17" Type="http://schemas.openxmlformats.org/officeDocument/2006/relationships/tags" Target="../tags/tag486.xml"/><Relationship Id="rId25" Type="http://schemas.openxmlformats.org/officeDocument/2006/relationships/tags" Target="../tags/tag494.xml"/><Relationship Id="rId33" Type="http://schemas.openxmlformats.org/officeDocument/2006/relationships/tags" Target="../tags/tag502.xml"/><Relationship Id="rId38" Type="http://schemas.openxmlformats.org/officeDocument/2006/relationships/image" Target="../media/image16.emf"/><Relationship Id="rId2" Type="http://schemas.openxmlformats.org/officeDocument/2006/relationships/tags" Target="../tags/tag471.xml"/><Relationship Id="rId16" Type="http://schemas.openxmlformats.org/officeDocument/2006/relationships/tags" Target="../tags/tag485.xml"/><Relationship Id="rId20" Type="http://schemas.openxmlformats.org/officeDocument/2006/relationships/tags" Target="../tags/tag489.xml"/><Relationship Id="rId29" Type="http://schemas.openxmlformats.org/officeDocument/2006/relationships/tags" Target="../tags/tag498.xml"/><Relationship Id="rId1" Type="http://schemas.openxmlformats.org/officeDocument/2006/relationships/vmlDrawing" Target="../drawings/vmlDrawing91.vml"/><Relationship Id="rId6" Type="http://schemas.openxmlformats.org/officeDocument/2006/relationships/tags" Target="../tags/tag475.xml"/><Relationship Id="rId11" Type="http://schemas.openxmlformats.org/officeDocument/2006/relationships/tags" Target="../tags/tag480.xml"/><Relationship Id="rId24" Type="http://schemas.openxmlformats.org/officeDocument/2006/relationships/tags" Target="../tags/tag493.xml"/><Relationship Id="rId32" Type="http://schemas.openxmlformats.org/officeDocument/2006/relationships/tags" Target="../tags/tag501.xml"/><Relationship Id="rId37" Type="http://schemas.openxmlformats.org/officeDocument/2006/relationships/oleObject" Target="../embeddings/oleObject95.bin"/><Relationship Id="rId5" Type="http://schemas.openxmlformats.org/officeDocument/2006/relationships/tags" Target="../tags/tag474.xml"/><Relationship Id="rId15" Type="http://schemas.openxmlformats.org/officeDocument/2006/relationships/tags" Target="../tags/tag484.xml"/><Relationship Id="rId23" Type="http://schemas.openxmlformats.org/officeDocument/2006/relationships/tags" Target="../tags/tag492.xml"/><Relationship Id="rId28" Type="http://schemas.openxmlformats.org/officeDocument/2006/relationships/tags" Target="../tags/tag497.xml"/><Relationship Id="rId36" Type="http://schemas.openxmlformats.org/officeDocument/2006/relationships/notesSlide" Target="../notesSlides/notesSlide47.xml"/><Relationship Id="rId10" Type="http://schemas.openxmlformats.org/officeDocument/2006/relationships/tags" Target="../tags/tag479.xml"/><Relationship Id="rId19" Type="http://schemas.openxmlformats.org/officeDocument/2006/relationships/tags" Target="../tags/tag488.xml"/><Relationship Id="rId31" Type="http://schemas.openxmlformats.org/officeDocument/2006/relationships/tags" Target="../tags/tag500.xml"/><Relationship Id="rId4" Type="http://schemas.openxmlformats.org/officeDocument/2006/relationships/tags" Target="../tags/tag473.xml"/><Relationship Id="rId9" Type="http://schemas.openxmlformats.org/officeDocument/2006/relationships/tags" Target="../tags/tag478.xml"/><Relationship Id="rId14" Type="http://schemas.openxmlformats.org/officeDocument/2006/relationships/tags" Target="../tags/tag483.xml"/><Relationship Id="rId22" Type="http://schemas.openxmlformats.org/officeDocument/2006/relationships/tags" Target="../tags/tag491.xml"/><Relationship Id="rId27" Type="http://schemas.openxmlformats.org/officeDocument/2006/relationships/tags" Target="../tags/tag496.xml"/><Relationship Id="rId30" Type="http://schemas.openxmlformats.org/officeDocument/2006/relationships/tags" Target="../tags/tag499.xml"/><Relationship Id="rId35" Type="http://schemas.openxmlformats.org/officeDocument/2006/relationships/slideLayout" Target="../slideLayouts/slideLayout37.xml"/></Relationships>
</file>

<file path=ppt/slides/_rels/slide56.xml.rels><?xml version="1.0" encoding="UTF-8" standalone="yes"?>
<Relationships xmlns="http://schemas.openxmlformats.org/package/2006/relationships"><Relationship Id="rId8" Type="http://schemas.openxmlformats.org/officeDocument/2006/relationships/tags" Target="../tags/tag510.xml"/><Relationship Id="rId13" Type="http://schemas.openxmlformats.org/officeDocument/2006/relationships/tags" Target="../tags/tag515.xml"/><Relationship Id="rId18" Type="http://schemas.openxmlformats.org/officeDocument/2006/relationships/tags" Target="../tags/tag520.xml"/><Relationship Id="rId26" Type="http://schemas.openxmlformats.org/officeDocument/2006/relationships/tags" Target="../tags/tag528.xml"/><Relationship Id="rId3" Type="http://schemas.openxmlformats.org/officeDocument/2006/relationships/tags" Target="../tags/tag505.xml"/><Relationship Id="rId21" Type="http://schemas.openxmlformats.org/officeDocument/2006/relationships/tags" Target="../tags/tag523.xml"/><Relationship Id="rId34" Type="http://schemas.openxmlformats.org/officeDocument/2006/relationships/notesSlide" Target="../notesSlides/notesSlide48.xml"/><Relationship Id="rId7" Type="http://schemas.openxmlformats.org/officeDocument/2006/relationships/tags" Target="../tags/tag509.xml"/><Relationship Id="rId12" Type="http://schemas.openxmlformats.org/officeDocument/2006/relationships/tags" Target="../tags/tag514.xml"/><Relationship Id="rId17" Type="http://schemas.openxmlformats.org/officeDocument/2006/relationships/tags" Target="../tags/tag519.xml"/><Relationship Id="rId25" Type="http://schemas.openxmlformats.org/officeDocument/2006/relationships/tags" Target="../tags/tag527.xml"/><Relationship Id="rId33" Type="http://schemas.openxmlformats.org/officeDocument/2006/relationships/slideLayout" Target="../slideLayouts/slideLayout37.xml"/><Relationship Id="rId38" Type="http://schemas.openxmlformats.org/officeDocument/2006/relationships/chart" Target="../charts/chart32.xml"/><Relationship Id="rId2" Type="http://schemas.openxmlformats.org/officeDocument/2006/relationships/tags" Target="../tags/tag504.xml"/><Relationship Id="rId16" Type="http://schemas.openxmlformats.org/officeDocument/2006/relationships/tags" Target="../tags/tag518.xml"/><Relationship Id="rId20" Type="http://schemas.openxmlformats.org/officeDocument/2006/relationships/tags" Target="../tags/tag522.xml"/><Relationship Id="rId29" Type="http://schemas.openxmlformats.org/officeDocument/2006/relationships/tags" Target="../tags/tag531.xml"/><Relationship Id="rId1" Type="http://schemas.openxmlformats.org/officeDocument/2006/relationships/vmlDrawing" Target="../drawings/vmlDrawing92.vml"/><Relationship Id="rId6" Type="http://schemas.openxmlformats.org/officeDocument/2006/relationships/tags" Target="../tags/tag508.xml"/><Relationship Id="rId11" Type="http://schemas.openxmlformats.org/officeDocument/2006/relationships/tags" Target="../tags/tag513.xml"/><Relationship Id="rId24" Type="http://schemas.openxmlformats.org/officeDocument/2006/relationships/tags" Target="../tags/tag526.xml"/><Relationship Id="rId32" Type="http://schemas.openxmlformats.org/officeDocument/2006/relationships/tags" Target="../tags/tag534.xml"/><Relationship Id="rId37" Type="http://schemas.openxmlformats.org/officeDocument/2006/relationships/chart" Target="../charts/chart31.xml"/><Relationship Id="rId5" Type="http://schemas.openxmlformats.org/officeDocument/2006/relationships/tags" Target="../tags/tag507.xml"/><Relationship Id="rId15" Type="http://schemas.openxmlformats.org/officeDocument/2006/relationships/tags" Target="../tags/tag517.xml"/><Relationship Id="rId23" Type="http://schemas.openxmlformats.org/officeDocument/2006/relationships/tags" Target="../tags/tag525.xml"/><Relationship Id="rId28" Type="http://schemas.openxmlformats.org/officeDocument/2006/relationships/tags" Target="../tags/tag530.xml"/><Relationship Id="rId36" Type="http://schemas.openxmlformats.org/officeDocument/2006/relationships/image" Target="../media/image16.emf"/><Relationship Id="rId10" Type="http://schemas.openxmlformats.org/officeDocument/2006/relationships/tags" Target="../tags/tag512.xml"/><Relationship Id="rId19" Type="http://schemas.openxmlformats.org/officeDocument/2006/relationships/tags" Target="../tags/tag521.xml"/><Relationship Id="rId31" Type="http://schemas.openxmlformats.org/officeDocument/2006/relationships/tags" Target="../tags/tag533.xml"/><Relationship Id="rId4" Type="http://schemas.openxmlformats.org/officeDocument/2006/relationships/tags" Target="../tags/tag506.xml"/><Relationship Id="rId9" Type="http://schemas.openxmlformats.org/officeDocument/2006/relationships/tags" Target="../tags/tag511.xml"/><Relationship Id="rId14" Type="http://schemas.openxmlformats.org/officeDocument/2006/relationships/tags" Target="../tags/tag516.xml"/><Relationship Id="rId22" Type="http://schemas.openxmlformats.org/officeDocument/2006/relationships/tags" Target="../tags/tag524.xml"/><Relationship Id="rId27" Type="http://schemas.openxmlformats.org/officeDocument/2006/relationships/tags" Target="../tags/tag529.xml"/><Relationship Id="rId30" Type="http://schemas.openxmlformats.org/officeDocument/2006/relationships/tags" Target="../tags/tag532.xml"/><Relationship Id="rId35" Type="http://schemas.openxmlformats.org/officeDocument/2006/relationships/oleObject" Target="../embeddings/oleObject96.bin"/></Relationships>
</file>

<file path=ppt/slides/_rels/slide5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536.xml"/><Relationship Id="rId7" Type="http://schemas.openxmlformats.org/officeDocument/2006/relationships/oleObject" Target="../embeddings/oleObject97.bin"/><Relationship Id="rId2" Type="http://schemas.openxmlformats.org/officeDocument/2006/relationships/tags" Target="../tags/tag535.xml"/><Relationship Id="rId1" Type="http://schemas.openxmlformats.org/officeDocument/2006/relationships/vmlDrawing" Target="../drawings/vmlDrawing93.vml"/><Relationship Id="rId6" Type="http://schemas.openxmlformats.org/officeDocument/2006/relationships/notesSlide" Target="../notesSlides/notesSlide49.xml"/><Relationship Id="rId5" Type="http://schemas.openxmlformats.org/officeDocument/2006/relationships/slideLayout" Target="../slideLayouts/slideLayout30.xml"/><Relationship Id="rId4" Type="http://schemas.openxmlformats.org/officeDocument/2006/relationships/tags" Target="../tags/tag537.xml"/></Relationships>
</file>

<file path=ppt/slides/_rels/slide58.xml.rels><?xml version="1.0" encoding="UTF-8" standalone="yes"?>
<Relationships xmlns="http://schemas.openxmlformats.org/package/2006/relationships"><Relationship Id="rId8" Type="http://schemas.openxmlformats.org/officeDocument/2006/relationships/tags" Target="../tags/tag544.xml"/><Relationship Id="rId13" Type="http://schemas.openxmlformats.org/officeDocument/2006/relationships/tags" Target="../tags/tag549.xml"/><Relationship Id="rId18" Type="http://schemas.openxmlformats.org/officeDocument/2006/relationships/image" Target="../media/image44.jpeg"/><Relationship Id="rId3" Type="http://schemas.openxmlformats.org/officeDocument/2006/relationships/tags" Target="../tags/tag539.xml"/><Relationship Id="rId7" Type="http://schemas.openxmlformats.org/officeDocument/2006/relationships/tags" Target="../tags/tag543.xml"/><Relationship Id="rId12" Type="http://schemas.openxmlformats.org/officeDocument/2006/relationships/tags" Target="../tags/tag548.xml"/><Relationship Id="rId17" Type="http://schemas.openxmlformats.org/officeDocument/2006/relationships/image" Target="../media/image40.emf"/><Relationship Id="rId2" Type="http://schemas.openxmlformats.org/officeDocument/2006/relationships/tags" Target="../tags/tag538.xml"/><Relationship Id="rId16" Type="http://schemas.openxmlformats.org/officeDocument/2006/relationships/oleObject" Target="../embeddings/oleObject98.bin"/><Relationship Id="rId1" Type="http://schemas.openxmlformats.org/officeDocument/2006/relationships/vmlDrawing" Target="../drawings/vmlDrawing94.vml"/><Relationship Id="rId6" Type="http://schemas.openxmlformats.org/officeDocument/2006/relationships/tags" Target="../tags/tag542.xml"/><Relationship Id="rId11" Type="http://schemas.openxmlformats.org/officeDocument/2006/relationships/tags" Target="../tags/tag547.xml"/><Relationship Id="rId5" Type="http://schemas.openxmlformats.org/officeDocument/2006/relationships/tags" Target="../tags/tag541.xml"/><Relationship Id="rId15" Type="http://schemas.openxmlformats.org/officeDocument/2006/relationships/notesSlide" Target="../notesSlides/notesSlide50.xml"/><Relationship Id="rId10" Type="http://schemas.openxmlformats.org/officeDocument/2006/relationships/tags" Target="../tags/tag546.xml"/><Relationship Id="rId19" Type="http://schemas.openxmlformats.org/officeDocument/2006/relationships/chart" Target="../charts/chart33.xml"/><Relationship Id="rId4" Type="http://schemas.openxmlformats.org/officeDocument/2006/relationships/tags" Target="../tags/tag540.xml"/><Relationship Id="rId9" Type="http://schemas.openxmlformats.org/officeDocument/2006/relationships/tags" Target="../tags/tag545.xml"/><Relationship Id="rId14"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8" Type="http://schemas.openxmlformats.org/officeDocument/2006/relationships/tags" Target="../tags/tag556.xml"/><Relationship Id="rId13" Type="http://schemas.openxmlformats.org/officeDocument/2006/relationships/oleObject" Target="../embeddings/oleObject99.bin"/><Relationship Id="rId3" Type="http://schemas.openxmlformats.org/officeDocument/2006/relationships/tags" Target="../tags/tag551.xml"/><Relationship Id="rId7" Type="http://schemas.openxmlformats.org/officeDocument/2006/relationships/tags" Target="../tags/tag555.xml"/><Relationship Id="rId12" Type="http://schemas.openxmlformats.org/officeDocument/2006/relationships/notesSlide" Target="../notesSlides/notesSlide51.xml"/><Relationship Id="rId2" Type="http://schemas.openxmlformats.org/officeDocument/2006/relationships/tags" Target="../tags/tag550.xml"/><Relationship Id="rId16" Type="http://schemas.openxmlformats.org/officeDocument/2006/relationships/chart" Target="../charts/chart34.xml"/><Relationship Id="rId1" Type="http://schemas.openxmlformats.org/officeDocument/2006/relationships/vmlDrawing" Target="../drawings/vmlDrawing95.vml"/><Relationship Id="rId6" Type="http://schemas.openxmlformats.org/officeDocument/2006/relationships/tags" Target="../tags/tag554.xml"/><Relationship Id="rId11" Type="http://schemas.openxmlformats.org/officeDocument/2006/relationships/slideLayout" Target="../slideLayouts/slideLayout11.xml"/><Relationship Id="rId5" Type="http://schemas.openxmlformats.org/officeDocument/2006/relationships/tags" Target="../tags/tag553.xml"/><Relationship Id="rId15" Type="http://schemas.openxmlformats.org/officeDocument/2006/relationships/image" Target="../media/image45.jpeg"/><Relationship Id="rId10" Type="http://schemas.openxmlformats.org/officeDocument/2006/relationships/tags" Target="../tags/tag558.xml"/><Relationship Id="rId4" Type="http://schemas.openxmlformats.org/officeDocument/2006/relationships/tags" Target="../tags/tag552.xml"/><Relationship Id="rId9" Type="http://schemas.openxmlformats.org/officeDocument/2006/relationships/tags" Target="../tags/tag557.xml"/><Relationship Id="rId14" Type="http://schemas.openxmlformats.org/officeDocument/2006/relationships/image" Target="../media/image40.emf"/></Relationships>
</file>

<file path=ppt/slides/_rels/slide6.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89.xml"/><Relationship Id="rId7" Type="http://schemas.openxmlformats.org/officeDocument/2006/relationships/image" Target="../media/image16.emf"/><Relationship Id="rId2" Type="http://schemas.openxmlformats.org/officeDocument/2006/relationships/tags" Target="../tags/tag88.xml"/><Relationship Id="rId1" Type="http://schemas.openxmlformats.org/officeDocument/2006/relationships/vmlDrawing" Target="../drawings/vmlDrawing42.vml"/><Relationship Id="rId6" Type="http://schemas.openxmlformats.org/officeDocument/2006/relationships/oleObject" Target="../embeddings/oleObject43.bin"/><Relationship Id="rId5" Type="http://schemas.openxmlformats.org/officeDocument/2006/relationships/notesSlide" Target="../notesSlides/notesSlide5.xml"/><Relationship Id="rId4" Type="http://schemas.openxmlformats.org/officeDocument/2006/relationships/slideLayout" Target="../slideLayouts/slideLayout30.xml"/></Relationships>
</file>

<file path=ppt/slides/_rels/slide60.xml.rels><?xml version="1.0" encoding="UTF-8" standalone="yes"?>
<Relationships xmlns="http://schemas.openxmlformats.org/package/2006/relationships"><Relationship Id="rId8" Type="http://schemas.openxmlformats.org/officeDocument/2006/relationships/tags" Target="../tags/tag565.xml"/><Relationship Id="rId13" Type="http://schemas.openxmlformats.org/officeDocument/2006/relationships/tags" Target="../tags/tag570.xml"/><Relationship Id="rId18" Type="http://schemas.openxmlformats.org/officeDocument/2006/relationships/oleObject" Target="../embeddings/oleObject100.bin"/><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tags" Target="../tags/tag569.xml"/><Relationship Id="rId17" Type="http://schemas.openxmlformats.org/officeDocument/2006/relationships/notesSlide" Target="../notesSlides/notesSlide52.xml"/><Relationship Id="rId2" Type="http://schemas.openxmlformats.org/officeDocument/2006/relationships/tags" Target="../tags/tag559.xml"/><Relationship Id="rId16" Type="http://schemas.openxmlformats.org/officeDocument/2006/relationships/slideLayout" Target="../slideLayouts/slideLayout37.xml"/><Relationship Id="rId20" Type="http://schemas.openxmlformats.org/officeDocument/2006/relationships/chart" Target="../charts/chart35.xml"/><Relationship Id="rId1" Type="http://schemas.openxmlformats.org/officeDocument/2006/relationships/vmlDrawing" Target="../drawings/vmlDrawing96.vml"/><Relationship Id="rId6" Type="http://schemas.openxmlformats.org/officeDocument/2006/relationships/tags" Target="../tags/tag563.xml"/><Relationship Id="rId11" Type="http://schemas.openxmlformats.org/officeDocument/2006/relationships/tags" Target="../tags/tag568.xml"/><Relationship Id="rId5" Type="http://schemas.openxmlformats.org/officeDocument/2006/relationships/tags" Target="../tags/tag562.xml"/><Relationship Id="rId15" Type="http://schemas.openxmlformats.org/officeDocument/2006/relationships/tags" Target="../tags/tag572.xml"/><Relationship Id="rId10" Type="http://schemas.openxmlformats.org/officeDocument/2006/relationships/tags" Target="../tags/tag567.xml"/><Relationship Id="rId19" Type="http://schemas.openxmlformats.org/officeDocument/2006/relationships/image" Target="../media/image16.emf"/><Relationship Id="rId4" Type="http://schemas.openxmlformats.org/officeDocument/2006/relationships/tags" Target="../tags/tag561.xml"/><Relationship Id="rId9" Type="http://schemas.openxmlformats.org/officeDocument/2006/relationships/tags" Target="../tags/tag566.xml"/><Relationship Id="rId14" Type="http://schemas.openxmlformats.org/officeDocument/2006/relationships/tags" Target="../tags/tag571.xml"/></Relationships>
</file>

<file path=ppt/slides/_rels/slide61.xml.rels><?xml version="1.0" encoding="UTF-8" standalone="yes"?>
<Relationships xmlns="http://schemas.openxmlformats.org/package/2006/relationships"><Relationship Id="rId8" Type="http://schemas.openxmlformats.org/officeDocument/2006/relationships/tags" Target="../tags/tag579.xml"/><Relationship Id="rId13" Type="http://schemas.openxmlformats.org/officeDocument/2006/relationships/tags" Target="../tags/tag584.xml"/><Relationship Id="rId18" Type="http://schemas.openxmlformats.org/officeDocument/2006/relationships/tags" Target="../tags/tag589.xml"/><Relationship Id="rId26" Type="http://schemas.openxmlformats.org/officeDocument/2006/relationships/tags" Target="../tags/tag597.xml"/><Relationship Id="rId3" Type="http://schemas.openxmlformats.org/officeDocument/2006/relationships/tags" Target="../tags/tag574.xml"/><Relationship Id="rId21" Type="http://schemas.openxmlformats.org/officeDocument/2006/relationships/tags" Target="../tags/tag592.xml"/><Relationship Id="rId34" Type="http://schemas.openxmlformats.org/officeDocument/2006/relationships/oleObject" Target="../embeddings/oleObject101.bin"/><Relationship Id="rId7" Type="http://schemas.openxmlformats.org/officeDocument/2006/relationships/tags" Target="../tags/tag578.xml"/><Relationship Id="rId12" Type="http://schemas.openxmlformats.org/officeDocument/2006/relationships/tags" Target="../tags/tag583.xml"/><Relationship Id="rId17" Type="http://schemas.openxmlformats.org/officeDocument/2006/relationships/tags" Target="../tags/tag588.xml"/><Relationship Id="rId25" Type="http://schemas.openxmlformats.org/officeDocument/2006/relationships/tags" Target="../tags/tag596.xml"/><Relationship Id="rId33" Type="http://schemas.openxmlformats.org/officeDocument/2006/relationships/notesSlide" Target="../notesSlides/notesSlide53.xml"/><Relationship Id="rId2" Type="http://schemas.openxmlformats.org/officeDocument/2006/relationships/tags" Target="../tags/tag573.xml"/><Relationship Id="rId16" Type="http://schemas.openxmlformats.org/officeDocument/2006/relationships/tags" Target="../tags/tag587.xml"/><Relationship Id="rId20" Type="http://schemas.openxmlformats.org/officeDocument/2006/relationships/tags" Target="../tags/tag591.xml"/><Relationship Id="rId29" Type="http://schemas.openxmlformats.org/officeDocument/2006/relationships/tags" Target="../tags/tag600.xml"/><Relationship Id="rId1" Type="http://schemas.openxmlformats.org/officeDocument/2006/relationships/vmlDrawing" Target="../drawings/vmlDrawing97.vml"/><Relationship Id="rId6" Type="http://schemas.openxmlformats.org/officeDocument/2006/relationships/tags" Target="../tags/tag577.xml"/><Relationship Id="rId11" Type="http://schemas.openxmlformats.org/officeDocument/2006/relationships/tags" Target="../tags/tag582.xml"/><Relationship Id="rId24" Type="http://schemas.openxmlformats.org/officeDocument/2006/relationships/tags" Target="../tags/tag595.xml"/><Relationship Id="rId32" Type="http://schemas.openxmlformats.org/officeDocument/2006/relationships/slideLayout" Target="../slideLayouts/slideLayout37.xml"/><Relationship Id="rId5" Type="http://schemas.openxmlformats.org/officeDocument/2006/relationships/tags" Target="../tags/tag576.xml"/><Relationship Id="rId15" Type="http://schemas.openxmlformats.org/officeDocument/2006/relationships/tags" Target="../tags/tag586.xml"/><Relationship Id="rId23" Type="http://schemas.openxmlformats.org/officeDocument/2006/relationships/tags" Target="../tags/tag594.xml"/><Relationship Id="rId28" Type="http://schemas.openxmlformats.org/officeDocument/2006/relationships/tags" Target="../tags/tag599.xml"/><Relationship Id="rId36" Type="http://schemas.openxmlformats.org/officeDocument/2006/relationships/chart" Target="../charts/chart36.xml"/><Relationship Id="rId10" Type="http://schemas.openxmlformats.org/officeDocument/2006/relationships/tags" Target="../tags/tag581.xml"/><Relationship Id="rId19" Type="http://schemas.openxmlformats.org/officeDocument/2006/relationships/tags" Target="../tags/tag590.xml"/><Relationship Id="rId31" Type="http://schemas.openxmlformats.org/officeDocument/2006/relationships/tags" Target="../tags/tag602.xml"/><Relationship Id="rId4" Type="http://schemas.openxmlformats.org/officeDocument/2006/relationships/tags" Target="../tags/tag575.xml"/><Relationship Id="rId9" Type="http://schemas.openxmlformats.org/officeDocument/2006/relationships/tags" Target="../tags/tag580.xml"/><Relationship Id="rId14" Type="http://schemas.openxmlformats.org/officeDocument/2006/relationships/tags" Target="../tags/tag585.xml"/><Relationship Id="rId22" Type="http://schemas.openxmlformats.org/officeDocument/2006/relationships/tags" Target="../tags/tag593.xml"/><Relationship Id="rId27" Type="http://schemas.openxmlformats.org/officeDocument/2006/relationships/tags" Target="../tags/tag598.xml"/><Relationship Id="rId30" Type="http://schemas.openxmlformats.org/officeDocument/2006/relationships/tags" Target="../tags/tag601.xml"/><Relationship Id="rId35" Type="http://schemas.openxmlformats.org/officeDocument/2006/relationships/image" Target="../media/image16.emf"/></Relationships>
</file>

<file path=ppt/slides/_rels/slide6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604.xml"/><Relationship Id="rId7" Type="http://schemas.openxmlformats.org/officeDocument/2006/relationships/oleObject" Target="../embeddings/oleObject102.bin"/><Relationship Id="rId2" Type="http://schemas.openxmlformats.org/officeDocument/2006/relationships/tags" Target="../tags/tag603.xml"/><Relationship Id="rId1" Type="http://schemas.openxmlformats.org/officeDocument/2006/relationships/vmlDrawing" Target="../drawings/vmlDrawing98.vml"/><Relationship Id="rId6" Type="http://schemas.openxmlformats.org/officeDocument/2006/relationships/notesSlide" Target="../notesSlides/notesSlide54.xml"/><Relationship Id="rId5" Type="http://schemas.openxmlformats.org/officeDocument/2006/relationships/slideLayout" Target="../slideLayouts/slideLayout30.xml"/><Relationship Id="rId4" Type="http://schemas.openxmlformats.org/officeDocument/2006/relationships/tags" Target="../tags/tag605.xml"/></Relationships>
</file>

<file path=ppt/slides/_rels/slide63.xml.rels><?xml version="1.0" encoding="UTF-8" standalone="yes"?>
<Relationships xmlns="http://schemas.openxmlformats.org/package/2006/relationships"><Relationship Id="rId8" Type="http://schemas.openxmlformats.org/officeDocument/2006/relationships/tags" Target="../tags/tag612.xml"/><Relationship Id="rId13" Type="http://schemas.openxmlformats.org/officeDocument/2006/relationships/notesSlide" Target="../notesSlides/notesSlide55.xml"/><Relationship Id="rId3" Type="http://schemas.openxmlformats.org/officeDocument/2006/relationships/tags" Target="../tags/tag607.xml"/><Relationship Id="rId7" Type="http://schemas.openxmlformats.org/officeDocument/2006/relationships/tags" Target="../tags/tag611.xml"/><Relationship Id="rId12" Type="http://schemas.openxmlformats.org/officeDocument/2006/relationships/slideLayout" Target="../slideLayouts/slideLayout11.xml"/><Relationship Id="rId17" Type="http://schemas.openxmlformats.org/officeDocument/2006/relationships/chart" Target="../charts/chart37.xml"/><Relationship Id="rId2" Type="http://schemas.openxmlformats.org/officeDocument/2006/relationships/tags" Target="../tags/tag606.xml"/><Relationship Id="rId16" Type="http://schemas.openxmlformats.org/officeDocument/2006/relationships/image" Target="../media/image46.jpeg"/><Relationship Id="rId1" Type="http://schemas.openxmlformats.org/officeDocument/2006/relationships/vmlDrawing" Target="../drawings/vmlDrawing99.vml"/><Relationship Id="rId6" Type="http://schemas.openxmlformats.org/officeDocument/2006/relationships/tags" Target="../tags/tag610.xml"/><Relationship Id="rId11" Type="http://schemas.openxmlformats.org/officeDocument/2006/relationships/tags" Target="../tags/tag615.xml"/><Relationship Id="rId5" Type="http://schemas.openxmlformats.org/officeDocument/2006/relationships/tags" Target="../tags/tag609.xml"/><Relationship Id="rId15" Type="http://schemas.openxmlformats.org/officeDocument/2006/relationships/image" Target="../media/image40.emf"/><Relationship Id="rId10" Type="http://schemas.openxmlformats.org/officeDocument/2006/relationships/tags" Target="../tags/tag614.xml"/><Relationship Id="rId4" Type="http://schemas.openxmlformats.org/officeDocument/2006/relationships/tags" Target="../tags/tag608.xml"/><Relationship Id="rId9" Type="http://schemas.openxmlformats.org/officeDocument/2006/relationships/tags" Target="../tags/tag613.xml"/><Relationship Id="rId14" Type="http://schemas.openxmlformats.org/officeDocument/2006/relationships/oleObject" Target="../embeddings/oleObject103.bin"/></Relationships>
</file>

<file path=ppt/slides/_rels/slide64.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00.vml"/><Relationship Id="rId6" Type="http://schemas.openxmlformats.org/officeDocument/2006/relationships/image" Target="../media/image16.emf"/><Relationship Id="rId5" Type="http://schemas.openxmlformats.org/officeDocument/2006/relationships/oleObject" Target="../embeddings/oleObject104.bin"/><Relationship Id="rId4"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8" Type="http://schemas.openxmlformats.org/officeDocument/2006/relationships/tags" Target="../tags/tag624.xml"/><Relationship Id="rId13" Type="http://schemas.openxmlformats.org/officeDocument/2006/relationships/tags" Target="../tags/tag629.xml"/><Relationship Id="rId18" Type="http://schemas.openxmlformats.org/officeDocument/2006/relationships/slideLayout" Target="../slideLayouts/slideLayout30.xml"/><Relationship Id="rId3" Type="http://schemas.openxmlformats.org/officeDocument/2006/relationships/tags" Target="../tags/tag619.xml"/><Relationship Id="rId21" Type="http://schemas.openxmlformats.org/officeDocument/2006/relationships/image" Target="../media/image16.emf"/><Relationship Id="rId7" Type="http://schemas.openxmlformats.org/officeDocument/2006/relationships/tags" Target="../tags/tag623.xml"/><Relationship Id="rId12" Type="http://schemas.openxmlformats.org/officeDocument/2006/relationships/tags" Target="../tags/tag628.xml"/><Relationship Id="rId17" Type="http://schemas.openxmlformats.org/officeDocument/2006/relationships/tags" Target="../tags/tag633.xml"/><Relationship Id="rId2" Type="http://schemas.openxmlformats.org/officeDocument/2006/relationships/tags" Target="../tags/tag618.xml"/><Relationship Id="rId16" Type="http://schemas.openxmlformats.org/officeDocument/2006/relationships/tags" Target="../tags/tag632.xml"/><Relationship Id="rId20" Type="http://schemas.openxmlformats.org/officeDocument/2006/relationships/oleObject" Target="../embeddings/oleObject105.bin"/><Relationship Id="rId1" Type="http://schemas.openxmlformats.org/officeDocument/2006/relationships/vmlDrawing" Target="../drawings/vmlDrawing101.vml"/><Relationship Id="rId6" Type="http://schemas.openxmlformats.org/officeDocument/2006/relationships/tags" Target="../tags/tag622.xml"/><Relationship Id="rId11" Type="http://schemas.openxmlformats.org/officeDocument/2006/relationships/tags" Target="../tags/tag627.xml"/><Relationship Id="rId5" Type="http://schemas.openxmlformats.org/officeDocument/2006/relationships/tags" Target="../tags/tag621.xml"/><Relationship Id="rId15" Type="http://schemas.openxmlformats.org/officeDocument/2006/relationships/tags" Target="../tags/tag631.xml"/><Relationship Id="rId10" Type="http://schemas.openxmlformats.org/officeDocument/2006/relationships/tags" Target="../tags/tag626.xml"/><Relationship Id="rId19" Type="http://schemas.openxmlformats.org/officeDocument/2006/relationships/notesSlide" Target="../notesSlides/notesSlide56.xml"/><Relationship Id="rId4" Type="http://schemas.openxmlformats.org/officeDocument/2006/relationships/tags" Target="../tags/tag620.xml"/><Relationship Id="rId9" Type="http://schemas.openxmlformats.org/officeDocument/2006/relationships/tags" Target="../tags/tag625.xml"/><Relationship Id="rId14" Type="http://schemas.openxmlformats.org/officeDocument/2006/relationships/tags" Target="../tags/tag630.xml"/><Relationship Id="rId22" Type="http://schemas.openxmlformats.org/officeDocument/2006/relationships/chart" Target="../charts/chart38.xml"/></Relationships>
</file>

<file path=ppt/slides/_rels/slide66.xml.rels><?xml version="1.0" encoding="UTF-8" standalone="yes"?>
<Relationships xmlns="http://schemas.openxmlformats.org/package/2006/relationships"><Relationship Id="rId8" Type="http://schemas.openxmlformats.org/officeDocument/2006/relationships/tags" Target="../tags/tag640.xml"/><Relationship Id="rId13" Type="http://schemas.openxmlformats.org/officeDocument/2006/relationships/tags" Target="../tags/tag645.xml"/><Relationship Id="rId18" Type="http://schemas.openxmlformats.org/officeDocument/2006/relationships/tags" Target="../tags/tag650.xml"/><Relationship Id="rId26" Type="http://schemas.openxmlformats.org/officeDocument/2006/relationships/tags" Target="../tags/tag658.xml"/><Relationship Id="rId3" Type="http://schemas.openxmlformats.org/officeDocument/2006/relationships/tags" Target="../tags/tag635.xml"/><Relationship Id="rId21" Type="http://schemas.openxmlformats.org/officeDocument/2006/relationships/tags" Target="../tags/tag653.xml"/><Relationship Id="rId7" Type="http://schemas.openxmlformats.org/officeDocument/2006/relationships/tags" Target="../tags/tag639.xml"/><Relationship Id="rId12" Type="http://schemas.openxmlformats.org/officeDocument/2006/relationships/tags" Target="../tags/tag644.xml"/><Relationship Id="rId17" Type="http://schemas.openxmlformats.org/officeDocument/2006/relationships/tags" Target="../tags/tag649.xml"/><Relationship Id="rId25" Type="http://schemas.openxmlformats.org/officeDocument/2006/relationships/tags" Target="../tags/tag657.xml"/><Relationship Id="rId2" Type="http://schemas.openxmlformats.org/officeDocument/2006/relationships/tags" Target="../tags/tag634.xml"/><Relationship Id="rId16" Type="http://schemas.openxmlformats.org/officeDocument/2006/relationships/tags" Target="../tags/tag648.xml"/><Relationship Id="rId20" Type="http://schemas.openxmlformats.org/officeDocument/2006/relationships/tags" Target="../tags/tag652.xml"/><Relationship Id="rId29" Type="http://schemas.openxmlformats.org/officeDocument/2006/relationships/oleObject" Target="../embeddings/oleObject106.bin"/><Relationship Id="rId1" Type="http://schemas.openxmlformats.org/officeDocument/2006/relationships/vmlDrawing" Target="../drawings/vmlDrawing102.vml"/><Relationship Id="rId6" Type="http://schemas.openxmlformats.org/officeDocument/2006/relationships/tags" Target="../tags/tag638.xml"/><Relationship Id="rId11" Type="http://schemas.openxmlformats.org/officeDocument/2006/relationships/tags" Target="../tags/tag643.xml"/><Relationship Id="rId24" Type="http://schemas.openxmlformats.org/officeDocument/2006/relationships/tags" Target="../tags/tag656.xml"/><Relationship Id="rId32" Type="http://schemas.openxmlformats.org/officeDocument/2006/relationships/chart" Target="../charts/chart40.xml"/><Relationship Id="rId5" Type="http://schemas.openxmlformats.org/officeDocument/2006/relationships/tags" Target="../tags/tag637.xml"/><Relationship Id="rId15" Type="http://schemas.openxmlformats.org/officeDocument/2006/relationships/tags" Target="../tags/tag647.xml"/><Relationship Id="rId23" Type="http://schemas.openxmlformats.org/officeDocument/2006/relationships/tags" Target="../tags/tag655.xml"/><Relationship Id="rId28" Type="http://schemas.openxmlformats.org/officeDocument/2006/relationships/notesSlide" Target="../notesSlides/notesSlide57.xml"/><Relationship Id="rId10" Type="http://schemas.openxmlformats.org/officeDocument/2006/relationships/tags" Target="../tags/tag642.xml"/><Relationship Id="rId19" Type="http://schemas.openxmlformats.org/officeDocument/2006/relationships/tags" Target="../tags/tag651.xml"/><Relationship Id="rId31" Type="http://schemas.openxmlformats.org/officeDocument/2006/relationships/chart" Target="../charts/chart39.xml"/><Relationship Id="rId4" Type="http://schemas.openxmlformats.org/officeDocument/2006/relationships/tags" Target="../tags/tag636.xml"/><Relationship Id="rId9" Type="http://schemas.openxmlformats.org/officeDocument/2006/relationships/tags" Target="../tags/tag641.xml"/><Relationship Id="rId14" Type="http://schemas.openxmlformats.org/officeDocument/2006/relationships/tags" Target="../tags/tag646.xml"/><Relationship Id="rId22" Type="http://schemas.openxmlformats.org/officeDocument/2006/relationships/tags" Target="../tags/tag654.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67.xml.rels><?xml version="1.0" encoding="UTF-8" standalone="yes"?>
<Relationships xmlns="http://schemas.openxmlformats.org/package/2006/relationships"><Relationship Id="rId8" Type="http://schemas.openxmlformats.org/officeDocument/2006/relationships/tags" Target="../tags/tag665.xml"/><Relationship Id="rId13" Type="http://schemas.openxmlformats.org/officeDocument/2006/relationships/oleObject" Target="../embeddings/oleObject107.bin"/><Relationship Id="rId3" Type="http://schemas.openxmlformats.org/officeDocument/2006/relationships/tags" Target="../tags/tag660.xml"/><Relationship Id="rId7" Type="http://schemas.openxmlformats.org/officeDocument/2006/relationships/tags" Target="../tags/tag664.xml"/><Relationship Id="rId12" Type="http://schemas.openxmlformats.org/officeDocument/2006/relationships/notesSlide" Target="../notesSlides/notesSlide58.xml"/><Relationship Id="rId2" Type="http://schemas.openxmlformats.org/officeDocument/2006/relationships/tags" Target="../tags/tag659.xml"/><Relationship Id="rId16" Type="http://schemas.openxmlformats.org/officeDocument/2006/relationships/chart" Target="../charts/chart41.xml"/><Relationship Id="rId1" Type="http://schemas.openxmlformats.org/officeDocument/2006/relationships/vmlDrawing" Target="../drawings/vmlDrawing103.vml"/><Relationship Id="rId6" Type="http://schemas.openxmlformats.org/officeDocument/2006/relationships/tags" Target="../tags/tag663.xml"/><Relationship Id="rId11" Type="http://schemas.openxmlformats.org/officeDocument/2006/relationships/slideLayout" Target="../slideLayouts/slideLayout11.xml"/><Relationship Id="rId5" Type="http://schemas.openxmlformats.org/officeDocument/2006/relationships/tags" Target="../tags/tag662.xml"/><Relationship Id="rId15" Type="http://schemas.openxmlformats.org/officeDocument/2006/relationships/image" Target="../media/image45.jpeg"/><Relationship Id="rId10" Type="http://schemas.openxmlformats.org/officeDocument/2006/relationships/tags" Target="../tags/tag667.xml"/><Relationship Id="rId4" Type="http://schemas.openxmlformats.org/officeDocument/2006/relationships/tags" Target="../tags/tag661.xml"/><Relationship Id="rId9" Type="http://schemas.openxmlformats.org/officeDocument/2006/relationships/tags" Target="../tags/tag666.xml"/><Relationship Id="rId14" Type="http://schemas.openxmlformats.org/officeDocument/2006/relationships/image" Target="../media/image40.emf"/></Relationships>
</file>

<file path=ppt/slides/_rels/slide68.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tags" Target="../tags/tag669.xml"/><Relationship Id="rId7" Type="http://schemas.openxmlformats.org/officeDocument/2006/relationships/image" Target="../media/image16.emf"/><Relationship Id="rId2" Type="http://schemas.openxmlformats.org/officeDocument/2006/relationships/tags" Target="../tags/tag668.xml"/><Relationship Id="rId1" Type="http://schemas.openxmlformats.org/officeDocument/2006/relationships/vmlDrawing" Target="../drawings/vmlDrawing104.vml"/><Relationship Id="rId6" Type="http://schemas.openxmlformats.org/officeDocument/2006/relationships/oleObject" Target="../embeddings/oleObject108.bin"/><Relationship Id="rId5" Type="http://schemas.openxmlformats.org/officeDocument/2006/relationships/notesSlide" Target="../notesSlides/notesSlide59.xml"/><Relationship Id="rId4"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8" Type="http://schemas.openxmlformats.org/officeDocument/2006/relationships/tags" Target="../tags/tag676.xml"/><Relationship Id="rId13" Type="http://schemas.openxmlformats.org/officeDocument/2006/relationships/tags" Target="../tags/tag681.xml"/><Relationship Id="rId18" Type="http://schemas.openxmlformats.org/officeDocument/2006/relationships/tags" Target="../tags/tag686.xml"/><Relationship Id="rId3" Type="http://schemas.openxmlformats.org/officeDocument/2006/relationships/tags" Target="../tags/tag671.xml"/><Relationship Id="rId21" Type="http://schemas.openxmlformats.org/officeDocument/2006/relationships/slideLayout" Target="../slideLayouts/slideLayout37.xml"/><Relationship Id="rId7" Type="http://schemas.openxmlformats.org/officeDocument/2006/relationships/tags" Target="../tags/tag675.xml"/><Relationship Id="rId12" Type="http://schemas.openxmlformats.org/officeDocument/2006/relationships/tags" Target="../tags/tag680.xml"/><Relationship Id="rId17" Type="http://schemas.openxmlformats.org/officeDocument/2006/relationships/tags" Target="../tags/tag685.xml"/><Relationship Id="rId25" Type="http://schemas.openxmlformats.org/officeDocument/2006/relationships/chart" Target="../charts/chart42.xml"/><Relationship Id="rId2" Type="http://schemas.openxmlformats.org/officeDocument/2006/relationships/tags" Target="../tags/tag670.xml"/><Relationship Id="rId16" Type="http://schemas.openxmlformats.org/officeDocument/2006/relationships/tags" Target="../tags/tag684.xml"/><Relationship Id="rId20" Type="http://schemas.openxmlformats.org/officeDocument/2006/relationships/tags" Target="../tags/tag688.xml"/><Relationship Id="rId1" Type="http://schemas.openxmlformats.org/officeDocument/2006/relationships/vmlDrawing" Target="../drawings/vmlDrawing105.vml"/><Relationship Id="rId6" Type="http://schemas.openxmlformats.org/officeDocument/2006/relationships/tags" Target="../tags/tag674.xml"/><Relationship Id="rId11" Type="http://schemas.openxmlformats.org/officeDocument/2006/relationships/tags" Target="../tags/tag679.xml"/><Relationship Id="rId24" Type="http://schemas.openxmlformats.org/officeDocument/2006/relationships/image" Target="../media/image16.emf"/><Relationship Id="rId5" Type="http://schemas.openxmlformats.org/officeDocument/2006/relationships/tags" Target="../tags/tag673.xml"/><Relationship Id="rId15" Type="http://schemas.openxmlformats.org/officeDocument/2006/relationships/tags" Target="../tags/tag683.xml"/><Relationship Id="rId23" Type="http://schemas.openxmlformats.org/officeDocument/2006/relationships/oleObject" Target="../embeddings/oleObject109.bin"/><Relationship Id="rId10" Type="http://schemas.openxmlformats.org/officeDocument/2006/relationships/tags" Target="../tags/tag678.xml"/><Relationship Id="rId19" Type="http://schemas.openxmlformats.org/officeDocument/2006/relationships/tags" Target="../tags/tag687.xml"/><Relationship Id="rId4" Type="http://schemas.openxmlformats.org/officeDocument/2006/relationships/tags" Target="../tags/tag672.xml"/><Relationship Id="rId9" Type="http://schemas.openxmlformats.org/officeDocument/2006/relationships/tags" Target="../tags/tag677.xml"/><Relationship Id="rId14" Type="http://schemas.openxmlformats.org/officeDocument/2006/relationships/tags" Target="../tags/tag682.xml"/><Relationship Id="rId22" Type="http://schemas.openxmlformats.org/officeDocument/2006/relationships/notesSlide" Target="../notesSlides/notesSlide60.xml"/></Relationships>
</file>

<file path=ppt/slides/_rels/slide7.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91.xml"/><Relationship Id="rId7" Type="http://schemas.openxmlformats.org/officeDocument/2006/relationships/image" Target="../media/image16.emf"/><Relationship Id="rId2" Type="http://schemas.openxmlformats.org/officeDocument/2006/relationships/tags" Target="../tags/tag90.xml"/><Relationship Id="rId1" Type="http://schemas.openxmlformats.org/officeDocument/2006/relationships/vmlDrawing" Target="../drawings/vmlDrawing43.vml"/><Relationship Id="rId6" Type="http://schemas.openxmlformats.org/officeDocument/2006/relationships/oleObject" Target="../embeddings/oleObject44.bin"/><Relationship Id="rId5" Type="http://schemas.openxmlformats.org/officeDocument/2006/relationships/notesSlide" Target="../notesSlides/notesSlide6.xml"/><Relationship Id="rId10" Type="http://schemas.openxmlformats.org/officeDocument/2006/relationships/image" Target="../media/image22.png"/><Relationship Id="rId4" Type="http://schemas.openxmlformats.org/officeDocument/2006/relationships/slideLayout" Target="../slideLayouts/slideLayout30.xml"/><Relationship Id="rId9" Type="http://schemas.openxmlformats.org/officeDocument/2006/relationships/image" Target="../media/image21.png"/></Relationships>
</file>

<file path=ppt/slides/_rels/slide70.xml.rels><?xml version="1.0" encoding="UTF-8" standalone="yes"?>
<Relationships xmlns="http://schemas.openxmlformats.org/package/2006/relationships"><Relationship Id="rId8" Type="http://schemas.openxmlformats.org/officeDocument/2006/relationships/tags" Target="../tags/tag695.xml"/><Relationship Id="rId13" Type="http://schemas.openxmlformats.org/officeDocument/2006/relationships/tags" Target="../tags/tag700.xml"/><Relationship Id="rId18" Type="http://schemas.openxmlformats.org/officeDocument/2006/relationships/tags" Target="../tags/tag705.xml"/><Relationship Id="rId26" Type="http://schemas.openxmlformats.org/officeDocument/2006/relationships/tags" Target="../tags/tag713.xml"/><Relationship Id="rId3" Type="http://schemas.openxmlformats.org/officeDocument/2006/relationships/tags" Target="../tags/tag690.xml"/><Relationship Id="rId21" Type="http://schemas.openxmlformats.org/officeDocument/2006/relationships/tags" Target="../tags/tag708.xml"/><Relationship Id="rId7" Type="http://schemas.openxmlformats.org/officeDocument/2006/relationships/tags" Target="../tags/tag694.xml"/><Relationship Id="rId12" Type="http://schemas.openxmlformats.org/officeDocument/2006/relationships/tags" Target="../tags/tag699.xml"/><Relationship Id="rId17" Type="http://schemas.openxmlformats.org/officeDocument/2006/relationships/tags" Target="../tags/tag704.xml"/><Relationship Id="rId25" Type="http://schemas.openxmlformats.org/officeDocument/2006/relationships/tags" Target="../tags/tag712.xml"/><Relationship Id="rId2" Type="http://schemas.openxmlformats.org/officeDocument/2006/relationships/tags" Target="../tags/tag689.xml"/><Relationship Id="rId16" Type="http://schemas.openxmlformats.org/officeDocument/2006/relationships/tags" Target="../tags/tag703.xml"/><Relationship Id="rId20" Type="http://schemas.openxmlformats.org/officeDocument/2006/relationships/tags" Target="../tags/tag707.xml"/><Relationship Id="rId29" Type="http://schemas.openxmlformats.org/officeDocument/2006/relationships/oleObject" Target="../embeddings/oleObject110.bin"/><Relationship Id="rId1" Type="http://schemas.openxmlformats.org/officeDocument/2006/relationships/vmlDrawing" Target="../drawings/vmlDrawing106.vml"/><Relationship Id="rId6" Type="http://schemas.openxmlformats.org/officeDocument/2006/relationships/tags" Target="../tags/tag693.xml"/><Relationship Id="rId11" Type="http://schemas.openxmlformats.org/officeDocument/2006/relationships/tags" Target="../tags/tag698.xml"/><Relationship Id="rId24" Type="http://schemas.openxmlformats.org/officeDocument/2006/relationships/tags" Target="../tags/tag711.xml"/><Relationship Id="rId32" Type="http://schemas.openxmlformats.org/officeDocument/2006/relationships/chart" Target="../charts/chart44.xml"/><Relationship Id="rId5" Type="http://schemas.openxmlformats.org/officeDocument/2006/relationships/tags" Target="../tags/tag692.xml"/><Relationship Id="rId15" Type="http://schemas.openxmlformats.org/officeDocument/2006/relationships/tags" Target="../tags/tag702.xml"/><Relationship Id="rId23" Type="http://schemas.openxmlformats.org/officeDocument/2006/relationships/tags" Target="../tags/tag710.xml"/><Relationship Id="rId28" Type="http://schemas.openxmlformats.org/officeDocument/2006/relationships/notesSlide" Target="../notesSlides/notesSlide61.xml"/><Relationship Id="rId10" Type="http://schemas.openxmlformats.org/officeDocument/2006/relationships/tags" Target="../tags/tag697.xml"/><Relationship Id="rId19" Type="http://schemas.openxmlformats.org/officeDocument/2006/relationships/tags" Target="../tags/tag706.xml"/><Relationship Id="rId31" Type="http://schemas.openxmlformats.org/officeDocument/2006/relationships/chart" Target="../charts/chart43.xml"/><Relationship Id="rId4" Type="http://schemas.openxmlformats.org/officeDocument/2006/relationships/tags" Target="../tags/tag691.xml"/><Relationship Id="rId9" Type="http://schemas.openxmlformats.org/officeDocument/2006/relationships/tags" Target="../tags/tag696.xml"/><Relationship Id="rId14" Type="http://schemas.openxmlformats.org/officeDocument/2006/relationships/tags" Target="../tags/tag701.xml"/><Relationship Id="rId22" Type="http://schemas.openxmlformats.org/officeDocument/2006/relationships/tags" Target="../tags/tag709.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71.xml.rels><?xml version="1.0" encoding="UTF-8" standalone="yes"?>
<Relationships xmlns="http://schemas.openxmlformats.org/package/2006/relationships"><Relationship Id="rId8" Type="http://schemas.openxmlformats.org/officeDocument/2006/relationships/tags" Target="../tags/tag720.xml"/><Relationship Id="rId13" Type="http://schemas.openxmlformats.org/officeDocument/2006/relationships/tags" Target="../tags/tag725.xml"/><Relationship Id="rId18" Type="http://schemas.openxmlformats.org/officeDocument/2006/relationships/tags" Target="../tags/tag730.xml"/><Relationship Id="rId26" Type="http://schemas.openxmlformats.org/officeDocument/2006/relationships/tags" Target="../tags/tag738.xml"/><Relationship Id="rId3" Type="http://schemas.openxmlformats.org/officeDocument/2006/relationships/tags" Target="../tags/tag715.xml"/><Relationship Id="rId21" Type="http://schemas.openxmlformats.org/officeDocument/2006/relationships/tags" Target="../tags/tag733.xml"/><Relationship Id="rId7" Type="http://schemas.openxmlformats.org/officeDocument/2006/relationships/tags" Target="../tags/tag719.xml"/><Relationship Id="rId12" Type="http://schemas.openxmlformats.org/officeDocument/2006/relationships/tags" Target="../tags/tag724.xml"/><Relationship Id="rId17" Type="http://schemas.openxmlformats.org/officeDocument/2006/relationships/tags" Target="../tags/tag729.xml"/><Relationship Id="rId25" Type="http://schemas.openxmlformats.org/officeDocument/2006/relationships/tags" Target="../tags/tag737.xml"/><Relationship Id="rId2" Type="http://schemas.openxmlformats.org/officeDocument/2006/relationships/tags" Target="../tags/tag714.xml"/><Relationship Id="rId16" Type="http://schemas.openxmlformats.org/officeDocument/2006/relationships/tags" Target="../tags/tag728.xml"/><Relationship Id="rId20" Type="http://schemas.openxmlformats.org/officeDocument/2006/relationships/tags" Target="../tags/tag732.xml"/><Relationship Id="rId29" Type="http://schemas.openxmlformats.org/officeDocument/2006/relationships/oleObject" Target="../embeddings/oleObject111.bin"/><Relationship Id="rId1" Type="http://schemas.openxmlformats.org/officeDocument/2006/relationships/vmlDrawing" Target="../drawings/vmlDrawing107.vml"/><Relationship Id="rId6" Type="http://schemas.openxmlformats.org/officeDocument/2006/relationships/tags" Target="../tags/tag718.xml"/><Relationship Id="rId11" Type="http://schemas.openxmlformats.org/officeDocument/2006/relationships/tags" Target="../tags/tag723.xml"/><Relationship Id="rId24" Type="http://schemas.openxmlformats.org/officeDocument/2006/relationships/tags" Target="../tags/tag736.xml"/><Relationship Id="rId5" Type="http://schemas.openxmlformats.org/officeDocument/2006/relationships/tags" Target="../tags/tag717.xml"/><Relationship Id="rId15" Type="http://schemas.openxmlformats.org/officeDocument/2006/relationships/tags" Target="../tags/tag727.xml"/><Relationship Id="rId23" Type="http://schemas.openxmlformats.org/officeDocument/2006/relationships/tags" Target="../tags/tag735.xml"/><Relationship Id="rId28" Type="http://schemas.openxmlformats.org/officeDocument/2006/relationships/notesSlide" Target="../notesSlides/notesSlide62.xml"/><Relationship Id="rId10" Type="http://schemas.openxmlformats.org/officeDocument/2006/relationships/tags" Target="../tags/tag722.xml"/><Relationship Id="rId19" Type="http://schemas.openxmlformats.org/officeDocument/2006/relationships/tags" Target="../tags/tag731.xml"/><Relationship Id="rId31" Type="http://schemas.openxmlformats.org/officeDocument/2006/relationships/chart" Target="../charts/chart45.xml"/><Relationship Id="rId4" Type="http://schemas.openxmlformats.org/officeDocument/2006/relationships/tags" Target="../tags/tag716.xml"/><Relationship Id="rId9" Type="http://schemas.openxmlformats.org/officeDocument/2006/relationships/tags" Target="../tags/tag721.xml"/><Relationship Id="rId14" Type="http://schemas.openxmlformats.org/officeDocument/2006/relationships/tags" Target="../tags/tag726.xml"/><Relationship Id="rId22" Type="http://schemas.openxmlformats.org/officeDocument/2006/relationships/tags" Target="../tags/tag734.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72.xml.rels><?xml version="1.0" encoding="UTF-8" standalone="yes"?>
<Relationships xmlns="http://schemas.openxmlformats.org/package/2006/relationships"><Relationship Id="rId8" Type="http://schemas.openxmlformats.org/officeDocument/2006/relationships/tags" Target="../tags/tag745.xml"/><Relationship Id="rId13" Type="http://schemas.openxmlformats.org/officeDocument/2006/relationships/tags" Target="../tags/tag750.xml"/><Relationship Id="rId18" Type="http://schemas.openxmlformats.org/officeDocument/2006/relationships/tags" Target="../tags/tag755.xml"/><Relationship Id="rId26" Type="http://schemas.openxmlformats.org/officeDocument/2006/relationships/tags" Target="../tags/tag763.xml"/><Relationship Id="rId3" Type="http://schemas.openxmlformats.org/officeDocument/2006/relationships/tags" Target="../tags/tag740.xml"/><Relationship Id="rId21" Type="http://schemas.openxmlformats.org/officeDocument/2006/relationships/tags" Target="../tags/tag758.xml"/><Relationship Id="rId34" Type="http://schemas.openxmlformats.org/officeDocument/2006/relationships/image" Target="../media/image16.emf"/><Relationship Id="rId7" Type="http://schemas.openxmlformats.org/officeDocument/2006/relationships/tags" Target="../tags/tag744.xml"/><Relationship Id="rId12" Type="http://schemas.openxmlformats.org/officeDocument/2006/relationships/tags" Target="../tags/tag749.xml"/><Relationship Id="rId17" Type="http://schemas.openxmlformats.org/officeDocument/2006/relationships/tags" Target="../tags/tag754.xml"/><Relationship Id="rId25" Type="http://schemas.openxmlformats.org/officeDocument/2006/relationships/tags" Target="../tags/tag762.xml"/><Relationship Id="rId33" Type="http://schemas.openxmlformats.org/officeDocument/2006/relationships/oleObject" Target="../embeddings/oleObject112.bin"/><Relationship Id="rId2" Type="http://schemas.openxmlformats.org/officeDocument/2006/relationships/tags" Target="../tags/tag739.xml"/><Relationship Id="rId16" Type="http://schemas.openxmlformats.org/officeDocument/2006/relationships/tags" Target="../tags/tag753.xml"/><Relationship Id="rId20" Type="http://schemas.openxmlformats.org/officeDocument/2006/relationships/tags" Target="../tags/tag757.xml"/><Relationship Id="rId29" Type="http://schemas.openxmlformats.org/officeDocument/2006/relationships/tags" Target="../tags/tag766.xml"/><Relationship Id="rId1" Type="http://schemas.openxmlformats.org/officeDocument/2006/relationships/vmlDrawing" Target="../drawings/vmlDrawing108.vml"/><Relationship Id="rId6" Type="http://schemas.openxmlformats.org/officeDocument/2006/relationships/tags" Target="../tags/tag743.xml"/><Relationship Id="rId11" Type="http://schemas.openxmlformats.org/officeDocument/2006/relationships/tags" Target="../tags/tag748.xml"/><Relationship Id="rId24" Type="http://schemas.openxmlformats.org/officeDocument/2006/relationships/tags" Target="../tags/tag761.xml"/><Relationship Id="rId32" Type="http://schemas.openxmlformats.org/officeDocument/2006/relationships/notesSlide" Target="../notesSlides/notesSlide63.xml"/><Relationship Id="rId5" Type="http://schemas.openxmlformats.org/officeDocument/2006/relationships/tags" Target="../tags/tag742.xml"/><Relationship Id="rId15" Type="http://schemas.openxmlformats.org/officeDocument/2006/relationships/tags" Target="../tags/tag752.xml"/><Relationship Id="rId23" Type="http://schemas.openxmlformats.org/officeDocument/2006/relationships/tags" Target="../tags/tag760.xml"/><Relationship Id="rId28" Type="http://schemas.openxmlformats.org/officeDocument/2006/relationships/tags" Target="../tags/tag765.xml"/><Relationship Id="rId36" Type="http://schemas.openxmlformats.org/officeDocument/2006/relationships/chart" Target="../charts/chart47.xml"/><Relationship Id="rId10" Type="http://schemas.openxmlformats.org/officeDocument/2006/relationships/tags" Target="../tags/tag747.xml"/><Relationship Id="rId19" Type="http://schemas.openxmlformats.org/officeDocument/2006/relationships/tags" Target="../tags/tag756.xml"/><Relationship Id="rId31" Type="http://schemas.openxmlformats.org/officeDocument/2006/relationships/slideLayout" Target="../slideLayouts/slideLayout37.xml"/><Relationship Id="rId4" Type="http://schemas.openxmlformats.org/officeDocument/2006/relationships/tags" Target="../tags/tag741.xml"/><Relationship Id="rId9" Type="http://schemas.openxmlformats.org/officeDocument/2006/relationships/tags" Target="../tags/tag746.xml"/><Relationship Id="rId14" Type="http://schemas.openxmlformats.org/officeDocument/2006/relationships/tags" Target="../tags/tag751.xml"/><Relationship Id="rId22" Type="http://schemas.openxmlformats.org/officeDocument/2006/relationships/tags" Target="../tags/tag759.xml"/><Relationship Id="rId27" Type="http://schemas.openxmlformats.org/officeDocument/2006/relationships/tags" Target="../tags/tag764.xml"/><Relationship Id="rId30" Type="http://schemas.openxmlformats.org/officeDocument/2006/relationships/tags" Target="../tags/tag767.xml"/><Relationship Id="rId35" Type="http://schemas.openxmlformats.org/officeDocument/2006/relationships/chart" Target="../charts/chart46.xml"/></Relationships>
</file>

<file path=ppt/slides/_rels/slide7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769.xml"/><Relationship Id="rId7" Type="http://schemas.openxmlformats.org/officeDocument/2006/relationships/oleObject" Target="../embeddings/oleObject113.bin"/><Relationship Id="rId2" Type="http://schemas.openxmlformats.org/officeDocument/2006/relationships/tags" Target="../tags/tag768.xml"/><Relationship Id="rId1" Type="http://schemas.openxmlformats.org/officeDocument/2006/relationships/vmlDrawing" Target="../drawings/vmlDrawing109.vml"/><Relationship Id="rId6" Type="http://schemas.openxmlformats.org/officeDocument/2006/relationships/notesSlide" Target="../notesSlides/notesSlide64.xml"/><Relationship Id="rId5" Type="http://schemas.openxmlformats.org/officeDocument/2006/relationships/slideLayout" Target="../slideLayouts/slideLayout30.xml"/><Relationship Id="rId4" Type="http://schemas.openxmlformats.org/officeDocument/2006/relationships/tags" Target="../tags/tag770.xml"/></Relationships>
</file>

<file path=ppt/slides/_rels/slide74.xml.rels><?xml version="1.0" encoding="UTF-8" standalone="yes"?>
<Relationships xmlns="http://schemas.openxmlformats.org/package/2006/relationships"><Relationship Id="rId8" Type="http://schemas.openxmlformats.org/officeDocument/2006/relationships/tags" Target="../tags/tag777.xml"/><Relationship Id="rId13" Type="http://schemas.openxmlformats.org/officeDocument/2006/relationships/tags" Target="../tags/tag782.xml"/><Relationship Id="rId18" Type="http://schemas.openxmlformats.org/officeDocument/2006/relationships/tags" Target="../tags/tag787.xml"/><Relationship Id="rId26" Type="http://schemas.openxmlformats.org/officeDocument/2006/relationships/image" Target="../media/image37.png"/><Relationship Id="rId3" Type="http://schemas.openxmlformats.org/officeDocument/2006/relationships/tags" Target="../tags/tag772.xml"/><Relationship Id="rId21" Type="http://schemas.openxmlformats.org/officeDocument/2006/relationships/slideLayout" Target="../slideLayouts/slideLayout37.xml"/><Relationship Id="rId7" Type="http://schemas.openxmlformats.org/officeDocument/2006/relationships/tags" Target="../tags/tag776.xml"/><Relationship Id="rId12" Type="http://schemas.openxmlformats.org/officeDocument/2006/relationships/tags" Target="../tags/tag781.xml"/><Relationship Id="rId17" Type="http://schemas.openxmlformats.org/officeDocument/2006/relationships/tags" Target="../tags/tag786.xml"/><Relationship Id="rId25" Type="http://schemas.openxmlformats.org/officeDocument/2006/relationships/chart" Target="../charts/chart48.xml"/><Relationship Id="rId2" Type="http://schemas.openxmlformats.org/officeDocument/2006/relationships/tags" Target="../tags/tag771.xml"/><Relationship Id="rId16" Type="http://schemas.openxmlformats.org/officeDocument/2006/relationships/tags" Target="../tags/tag785.xml"/><Relationship Id="rId20" Type="http://schemas.openxmlformats.org/officeDocument/2006/relationships/tags" Target="../tags/tag789.xml"/><Relationship Id="rId1" Type="http://schemas.openxmlformats.org/officeDocument/2006/relationships/vmlDrawing" Target="../drawings/vmlDrawing110.vml"/><Relationship Id="rId6" Type="http://schemas.openxmlformats.org/officeDocument/2006/relationships/tags" Target="../tags/tag775.xml"/><Relationship Id="rId11" Type="http://schemas.openxmlformats.org/officeDocument/2006/relationships/tags" Target="../tags/tag780.xml"/><Relationship Id="rId24" Type="http://schemas.openxmlformats.org/officeDocument/2006/relationships/image" Target="../media/image16.emf"/><Relationship Id="rId5" Type="http://schemas.openxmlformats.org/officeDocument/2006/relationships/tags" Target="../tags/tag774.xml"/><Relationship Id="rId15" Type="http://schemas.openxmlformats.org/officeDocument/2006/relationships/tags" Target="../tags/tag784.xml"/><Relationship Id="rId23" Type="http://schemas.openxmlformats.org/officeDocument/2006/relationships/oleObject" Target="../embeddings/oleObject114.bin"/><Relationship Id="rId10" Type="http://schemas.openxmlformats.org/officeDocument/2006/relationships/tags" Target="../tags/tag779.xml"/><Relationship Id="rId19" Type="http://schemas.openxmlformats.org/officeDocument/2006/relationships/tags" Target="../tags/tag788.xml"/><Relationship Id="rId4" Type="http://schemas.openxmlformats.org/officeDocument/2006/relationships/tags" Target="../tags/tag773.xml"/><Relationship Id="rId9" Type="http://schemas.openxmlformats.org/officeDocument/2006/relationships/tags" Target="../tags/tag778.xml"/><Relationship Id="rId14" Type="http://schemas.openxmlformats.org/officeDocument/2006/relationships/tags" Target="../tags/tag783.xml"/><Relationship Id="rId22" Type="http://schemas.openxmlformats.org/officeDocument/2006/relationships/notesSlide" Target="../notesSlides/notesSlide65.xml"/></Relationships>
</file>

<file path=ppt/slides/_rels/slide75.xml.rels><?xml version="1.0" encoding="UTF-8" standalone="yes"?>
<Relationships xmlns="http://schemas.openxmlformats.org/package/2006/relationships"><Relationship Id="rId8" Type="http://schemas.openxmlformats.org/officeDocument/2006/relationships/tags" Target="../tags/tag796.xml"/><Relationship Id="rId13" Type="http://schemas.openxmlformats.org/officeDocument/2006/relationships/tags" Target="../tags/tag801.xml"/><Relationship Id="rId18" Type="http://schemas.openxmlformats.org/officeDocument/2006/relationships/tags" Target="../tags/tag806.xml"/><Relationship Id="rId26" Type="http://schemas.openxmlformats.org/officeDocument/2006/relationships/tags" Target="../tags/tag814.xml"/><Relationship Id="rId3" Type="http://schemas.openxmlformats.org/officeDocument/2006/relationships/tags" Target="../tags/tag791.xml"/><Relationship Id="rId21" Type="http://schemas.openxmlformats.org/officeDocument/2006/relationships/tags" Target="../tags/tag809.xml"/><Relationship Id="rId7" Type="http://schemas.openxmlformats.org/officeDocument/2006/relationships/tags" Target="../tags/tag795.xml"/><Relationship Id="rId12" Type="http://schemas.openxmlformats.org/officeDocument/2006/relationships/tags" Target="../tags/tag800.xml"/><Relationship Id="rId17" Type="http://schemas.openxmlformats.org/officeDocument/2006/relationships/tags" Target="../tags/tag805.xml"/><Relationship Id="rId25" Type="http://schemas.openxmlformats.org/officeDocument/2006/relationships/tags" Target="../tags/tag813.xml"/><Relationship Id="rId33" Type="http://schemas.openxmlformats.org/officeDocument/2006/relationships/chart" Target="../charts/chart49.xml"/><Relationship Id="rId2" Type="http://schemas.openxmlformats.org/officeDocument/2006/relationships/tags" Target="../tags/tag790.xml"/><Relationship Id="rId16" Type="http://schemas.openxmlformats.org/officeDocument/2006/relationships/tags" Target="../tags/tag804.xml"/><Relationship Id="rId20" Type="http://schemas.openxmlformats.org/officeDocument/2006/relationships/tags" Target="../tags/tag808.xml"/><Relationship Id="rId29" Type="http://schemas.openxmlformats.org/officeDocument/2006/relationships/slideLayout" Target="../slideLayouts/slideLayout37.xml"/><Relationship Id="rId1" Type="http://schemas.openxmlformats.org/officeDocument/2006/relationships/vmlDrawing" Target="../drawings/vmlDrawing111.vml"/><Relationship Id="rId6" Type="http://schemas.openxmlformats.org/officeDocument/2006/relationships/tags" Target="../tags/tag794.xml"/><Relationship Id="rId11" Type="http://schemas.openxmlformats.org/officeDocument/2006/relationships/tags" Target="../tags/tag799.xml"/><Relationship Id="rId24" Type="http://schemas.openxmlformats.org/officeDocument/2006/relationships/tags" Target="../tags/tag812.xml"/><Relationship Id="rId32" Type="http://schemas.openxmlformats.org/officeDocument/2006/relationships/image" Target="../media/image16.emf"/><Relationship Id="rId5" Type="http://schemas.openxmlformats.org/officeDocument/2006/relationships/tags" Target="../tags/tag793.xml"/><Relationship Id="rId15" Type="http://schemas.openxmlformats.org/officeDocument/2006/relationships/tags" Target="../tags/tag803.xml"/><Relationship Id="rId23" Type="http://schemas.openxmlformats.org/officeDocument/2006/relationships/tags" Target="../tags/tag811.xml"/><Relationship Id="rId28" Type="http://schemas.openxmlformats.org/officeDocument/2006/relationships/tags" Target="../tags/tag816.xml"/><Relationship Id="rId10" Type="http://schemas.openxmlformats.org/officeDocument/2006/relationships/tags" Target="../tags/tag798.xml"/><Relationship Id="rId19" Type="http://schemas.openxmlformats.org/officeDocument/2006/relationships/tags" Target="../tags/tag807.xml"/><Relationship Id="rId31" Type="http://schemas.openxmlformats.org/officeDocument/2006/relationships/oleObject" Target="../embeddings/oleObject115.bin"/><Relationship Id="rId4" Type="http://schemas.openxmlformats.org/officeDocument/2006/relationships/tags" Target="../tags/tag792.xml"/><Relationship Id="rId9" Type="http://schemas.openxmlformats.org/officeDocument/2006/relationships/tags" Target="../tags/tag797.xml"/><Relationship Id="rId14" Type="http://schemas.openxmlformats.org/officeDocument/2006/relationships/tags" Target="../tags/tag802.xml"/><Relationship Id="rId22" Type="http://schemas.openxmlformats.org/officeDocument/2006/relationships/tags" Target="../tags/tag810.xml"/><Relationship Id="rId27" Type="http://schemas.openxmlformats.org/officeDocument/2006/relationships/tags" Target="../tags/tag815.xml"/><Relationship Id="rId30" Type="http://schemas.openxmlformats.org/officeDocument/2006/relationships/notesSlide" Target="../notesSlides/notesSlide66.xml"/></Relationships>
</file>

<file path=ppt/slides/_rels/slide7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818.xml"/><Relationship Id="rId7" Type="http://schemas.openxmlformats.org/officeDocument/2006/relationships/oleObject" Target="../embeddings/oleObject116.bin"/><Relationship Id="rId2" Type="http://schemas.openxmlformats.org/officeDocument/2006/relationships/tags" Target="../tags/tag817.xml"/><Relationship Id="rId1" Type="http://schemas.openxmlformats.org/officeDocument/2006/relationships/vmlDrawing" Target="../drawings/vmlDrawing112.vml"/><Relationship Id="rId6" Type="http://schemas.openxmlformats.org/officeDocument/2006/relationships/notesSlide" Target="../notesSlides/notesSlide67.xml"/><Relationship Id="rId5" Type="http://schemas.openxmlformats.org/officeDocument/2006/relationships/slideLayout" Target="../slideLayouts/slideLayout30.xml"/><Relationship Id="rId4" Type="http://schemas.openxmlformats.org/officeDocument/2006/relationships/tags" Target="../tags/tag819.xml"/></Relationships>
</file>

<file path=ppt/slides/_rels/slide77.xml.rels><?xml version="1.0" encoding="UTF-8" standalone="yes"?>
<Relationships xmlns="http://schemas.openxmlformats.org/package/2006/relationships"><Relationship Id="rId8" Type="http://schemas.openxmlformats.org/officeDocument/2006/relationships/tags" Target="../tags/tag826.xml"/><Relationship Id="rId13" Type="http://schemas.openxmlformats.org/officeDocument/2006/relationships/tags" Target="../tags/tag831.xml"/><Relationship Id="rId18" Type="http://schemas.openxmlformats.org/officeDocument/2006/relationships/image" Target="../media/image48.jpeg"/><Relationship Id="rId3" Type="http://schemas.openxmlformats.org/officeDocument/2006/relationships/tags" Target="../tags/tag821.xml"/><Relationship Id="rId7" Type="http://schemas.openxmlformats.org/officeDocument/2006/relationships/tags" Target="../tags/tag825.xml"/><Relationship Id="rId12" Type="http://schemas.openxmlformats.org/officeDocument/2006/relationships/tags" Target="../tags/tag830.xml"/><Relationship Id="rId17" Type="http://schemas.openxmlformats.org/officeDocument/2006/relationships/image" Target="../media/image40.emf"/><Relationship Id="rId2" Type="http://schemas.openxmlformats.org/officeDocument/2006/relationships/tags" Target="../tags/tag820.xml"/><Relationship Id="rId16" Type="http://schemas.openxmlformats.org/officeDocument/2006/relationships/oleObject" Target="../embeddings/oleObject117.bin"/><Relationship Id="rId1" Type="http://schemas.openxmlformats.org/officeDocument/2006/relationships/vmlDrawing" Target="../drawings/vmlDrawing113.vml"/><Relationship Id="rId6" Type="http://schemas.openxmlformats.org/officeDocument/2006/relationships/tags" Target="../tags/tag824.xml"/><Relationship Id="rId11" Type="http://schemas.openxmlformats.org/officeDocument/2006/relationships/tags" Target="../tags/tag829.xml"/><Relationship Id="rId5" Type="http://schemas.openxmlformats.org/officeDocument/2006/relationships/tags" Target="../tags/tag823.xml"/><Relationship Id="rId15" Type="http://schemas.openxmlformats.org/officeDocument/2006/relationships/notesSlide" Target="../notesSlides/notesSlide68.xml"/><Relationship Id="rId10" Type="http://schemas.openxmlformats.org/officeDocument/2006/relationships/tags" Target="../tags/tag828.xml"/><Relationship Id="rId19" Type="http://schemas.openxmlformats.org/officeDocument/2006/relationships/chart" Target="../charts/chart50.xml"/><Relationship Id="rId4" Type="http://schemas.openxmlformats.org/officeDocument/2006/relationships/tags" Target="../tags/tag822.xml"/><Relationship Id="rId9" Type="http://schemas.openxmlformats.org/officeDocument/2006/relationships/tags" Target="../tags/tag827.xml"/><Relationship Id="rId14"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tags" Target="../tags/tag833.xml"/><Relationship Id="rId7" Type="http://schemas.openxmlformats.org/officeDocument/2006/relationships/image" Target="../media/image49.jpeg"/><Relationship Id="rId2" Type="http://schemas.openxmlformats.org/officeDocument/2006/relationships/tags" Target="../tags/tag832.xml"/><Relationship Id="rId1" Type="http://schemas.openxmlformats.org/officeDocument/2006/relationships/vmlDrawing" Target="../drawings/vmlDrawing114.vml"/><Relationship Id="rId6" Type="http://schemas.openxmlformats.org/officeDocument/2006/relationships/image" Target="../media/image16.emf"/><Relationship Id="rId5" Type="http://schemas.openxmlformats.org/officeDocument/2006/relationships/oleObject" Target="../embeddings/oleObject118.bin"/><Relationship Id="rId4"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tags" Target="../tags/tag835.xml"/><Relationship Id="rId7" Type="http://schemas.openxmlformats.org/officeDocument/2006/relationships/oleObject" Target="../embeddings/oleObject119.bin"/><Relationship Id="rId2" Type="http://schemas.openxmlformats.org/officeDocument/2006/relationships/tags" Target="../tags/tag834.xml"/><Relationship Id="rId1" Type="http://schemas.openxmlformats.org/officeDocument/2006/relationships/vmlDrawing" Target="../drawings/vmlDrawing115.vml"/><Relationship Id="rId6" Type="http://schemas.openxmlformats.org/officeDocument/2006/relationships/notesSlide" Target="../notesSlides/notesSlide69.xml"/><Relationship Id="rId5" Type="http://schemas.openxmlformats.org/officeDocument/2006/relationships/slideLayout" Target="../slideLayouts/slideLayout30.xml"/><Relationship Id="rId4" Type="http://schemas.openxmlformats.org/officeDocument/2006/relationships/tags" Target="../tags/tag83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92.xml"/><Relationship Id="rId1" Type="http://schemas.openxmlformats.org/officeDocument/2006/relationships/vmlDrawing" Target="../drawings/vmlDrawing44.vml"/><Relationship Id="rId6" Type="http://schemas.openxmlformats.org/officeDocument/2006/relationships/image" Target="../media/image23.png"/><Relationship Id="rId5" Type="http://schemas.openxmlformats.org/officeDocument/2006/relationships/image" Target="../media/image16.emf"/><Relationship Id="rId4" Type="http://schemas.openxmlformats.org/officeDocument/2006/relationships/oleObject" Target="../embeddings/oleObject45.bin"/></Relationships>
</file>

<file path=ppt/slides/_rels/slide80.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tags" Target="../tags/tag838.xml"/><Relationship Id="rId7" Type="http://schemas.openxmlformats.org/officeDocument/2006/relationships/image" Target="../media/image16.emf"/><Relationship Id="rId2" Type="http://schemas.openxmlformats.org/officeDocument/2006/relationships/tags" Target="../tags/tag837.xml"/><Relationship Id="rId1" Type="http://schemas.openxmlformats.org/officeDocument/2006/relationships/vmlDrawing" Target="../drawings/vmlDrawing116.vml"/><Relationship Id="rId6" Type="http://schemas.openxmlformats.org/officeDocument/2006/relationships/oleObject" Target="../embeddings/oleObject120.bin"/><Relationship Id="rId5" Type="http://schemas.openxmlformats.org/officeDocument/2006/relationships/notesSlide" Target="../notesSlides/notesSlide70.xml"/><Relationship Id="rId4"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8" Type="http://schemas.openxmlformats.org/officeDocument/2006/relationships/tags" Target="../tags/tag845.xml"/><Relationship Id="rId13" Type="http://schemas.openxmlformats.org/officeDocument/2006/relationships/tags" Target="../tags/tag850.xml"/><Relationship Id="rId18" Type="http://schemas.openxmlformats.org/officeDocument/2006/relationships/tags" Target="../tags/tag855.xml"/><Relationship Id="rId26" Type="http://schemas.openxmlformats.org/officeDocument/2006/relationships/chart" Target="../charts/chart51.xml"/><Relationship Id="rId3" Type="http://schemas.openxmlformats.org/officeDocument/2006/relationships/tags" Target="../tags/tag840.xml"/><Relationship Id="rId21" Type="http://schemas.openxmlformats.org/officeDocument/2006/relationships/tags" Target="../tags/tag858.xml"/><Relationship Id="rId7" Type="http://schemas.openxmlformats.org/officeDocument/2006/relationships/tags" Target="../tags/tag844.xml"/><Relationship Id="rId12" Type="http://schemas.openxmlformats.org/officeDocument/2006/relationships/tags" Target="../tags/tag849.xml"/><Relationship Id="rId17" Type="http://schemas.openxmlformats.org/officeDocument/2006/relationships/tags" Target="../tags/tag854.xml"/><Relationship Id="rId25" Type="http://schemas.openxmlformats.org/officeDocument/2006/relationships/image" Target="../media/image16.emf"/><Relationship Id="rId2" Type="http://schemas.openxmlformats.org/officeDocument/2006/relationships/tags" Target="../tags/tag839.xml"/><Relationship Id="rId16" Type="http://schemas.openxmlformats.org/officeDocument/2006/relationships/tags" Target="../tags/tag853.xml"/><Relationship Id="rId20" Type="http://schemas.openxmlformats.org/officeDocument/2006/relationships/tags" Target="../tags/tag857.xml"/><Relationship Id="rId1" Type="http://schemas.openxmlformats.org/officeDocument/2006/relationships/vmlDrawing" Target="../drawings/vmlDrawing117.vml"/><Relationship Id="rId6" Type="http://schemas.openxmlformats.org/officeDocument/2006/relationships/tags" Target="../tags/tag843.xml"/><Relationship Id="rId11" Type="http://schemas.openxmlformats.org/officeDocument/2006/relationships/tags" Target="../tags/tag848.xml"/><Relationship Id="rId24" Type="http://schemas.openxmlformats.org/officeDocument/2006/relationships/oleObject" Target="../embeddings/oleObject121.bin"/><Relationship Id="rId5" Type="http://schemas.openxmlformats.org/officeDocument/2006/relationships/tags" Target="../tags/tag842.xml"/><Relationship Id="rId15" Type="http://schemas.openxmlformats.org/officeDocument/2006/relationships/tags" Target="../tags/tag852.xml"/><Relationship Id="rId23" Type="http://schemas.openxmlformats.org/officeDocument/2006/relationships/notesSlide" Target="../notesSlides/notesSlide71.xml"/><Relationship Id="rId10" Type="http://schemas.openxmlformats.org/officeDocument/2006/relationships/tags" Target="../tags/tag847.xml"/><Relationship Id="rId19" Type="http://schemas.openxmlformats.org/officeDocument/2006/relationships/tags" Target="../tags/tag856.xml"/><Relationship Id="rId4" Type="http://schemas.openxmlformats.org/officeDocument/2006/relationships/tags" Target="../tags/tag841.xml"/><Relationship Id="rId9" Type="http://schemas.openxmlformats.org/officeDocument/2006/relationships/tags" Target="../tags/tag846.xml"/><Relationship Id="rId14" Type="http://schemas.openxmlformats.org/officeDocument/2006/relationships/tags" Target="../tags/tag851.xml"/><Relationship Id="rId22" Type="http://schemas.openxmlformats.org/officeDocument/2006/relationships/slideLayout" Target="../slideLayouts/slideLayout37.xml"/><Relationship Id="rId27" Type="http://schemas.openxmlformats.org/officeDocument/2006/relationships/image" Target="../media/image37.png"/></Relationships>
</file>

<file path=ppt/slides/_rels/slide82.xml.rels><?xml version="1.0" encoding="UTF-8" standalone="yes"?>
<Relationships xmlns="http://schemas.openxmlformats.org/package/2006/relationships"><Relationship Id="rId8" Type="http://schemas.openxmlformats.org/officeDocument/2006/relationships/tags" Target="../tags/tag865.xml"/><Relationship Id="rId13" Type="http://schemas.openxmlformats.org/officeDocument/2006/relationships/tags" Target="../tags/tag870.xml"/><Relationship Id="rId18" Type="http://schemas.openxmlformats.org/officeDocument/2006/relationships/tags" Target="../tags/tag875.xml"/><Relationship Id="rId26" Type="http://schemas.openxmlformats.org/officeDocument/2006/relationships/tags" Target="../tags/tag883.xml"/><Relationship Id="rId3" Type="http://schemas.openxmlformats.org/officeDocument/2006/relationships/tags" Target="../tags/tag860.xml"/><Relationship Id="rId21" Type="http://schemas.openxmlformats.org/officeDocument/2006/relationships/tags" Target="../tags/tag878.xml"/><Relationship Id="rId34" Type="http://schemas.openxmlformats.org/officeDocument/2006/relationships/oleObject" Target="../embeddings/oleObject122.bin"/><Relationship Id="rId7" Type="http://schemas.openxmlformats.org/officeDocument/2006/relationships/tags" Target="../tags/tag864.xml"/><Relationship Id="rId12" Type="http://schemas.openxmlformats.org/officeDocument/2006/relationships/tags" Target="../tags/tag869.xml"/><Relationship Id="rId17" Type="http://schemas.openxmlformats.org/officeDocument/2006/relationships/tags" Target="../tags/tag874.xml"/><Relationship Id="rId25" Type="http://schemas.openxmlformats.org/officeDocument/2006/relationships/tags" Target="../tags/tag882.xml"/><Relationship Id="rId33" Type="http://schemas.openxmlformats.org/officeDocument/2006/relationships/notesSlide" Target="../notesSlides/notesSlide72.xml"/><Relationship Id="rId2" Type="http://schemas.openxmlformats.org/officeDocument/2006/relationships/tags" Target="../tags/tag859.xml"/><Relationship Id="rId16" Type="http://schemas.openxmlformats.org/officeDocument/2006/relationships/tags" Target="../tags/tag873.xml"/><Relationship Id="rId20" Type="http://schemas.openxmlformats.org/officeDocument/2006/relationships/tags" Target="../tags/tag877.xml"/><Relationship Id="rId29" Type="http://schemas.openxmlformats.org/officeDocument/2006/relationships/tags" Target="../tags/tag886.xml"/><Relationship Id="rId1" Type="http://schemas.openxmlformats.org/officeDocument/2006/relationships/vmlDrawing" Target="../drawings/vmlDrawing118.vml"/><Relationship Id="rId6" Type="http://schemas.openxmlformats.org/officeDocument/2006/relationships/tags" Target="../tags/tag863.xml"/><Relationship Id="rId11" Type="http://schemas.openxmlformats.org/officeDocument/2006/relationships/tags" Target="../tags/tag868.xml"/><Relationship Id="rId24" Type="http://schemas.openxmlformats.org/officeDocument/2006/relationships/tags" Target="../tags/tag881.xml"/><Relationship Id="rId32" Type="http://schemas.openxmlformats.org/officeDocument/2006/relationships/slideLayout" Target="../slideLayouts/slideLayout37.xml"/><Relationship Id="rId37" Type="http://schemas.openxmlformats.org/officeDocument/2006/relationships/chart" Target="../charts/chart53.xml"/><Relationship Id="rId5" Type="http://schemas.openxmlformats.org/officeDocument/2006/relationships/tags" Target="../tags/tag862.xml"/><Relationship Id="rId15" Type="http://schemas.openxmlformats.org/officeDocument/2006/relationships/tags" Target="../tags/tag872.xml"/><Relationship Id="rId23" Type="http://schemas.openxmlformats.org/officeDocument/2006/relationships/tags" Target="../tags/tag880.xml"/><Relationship Id="rId28" Type="http://schemas.openxmlformats.org/officeDocument/2006/relationships/tags" Target="../tags/tag885.xml"/><Relationship Id="rId36" Type="http://schemas.openxmlformats.org/officeDocument/2006/relationships/chart" Target="../charts/chart52.xml"/><Relationship Id="rId10" Type="http://schemas.openxmlformats.org/officeDocument/2006/relationships/tags" Target="../tags/tag867.xml"/><Relationship Id="rId19" Type="http://schemas.openxmlformats.org/officeDocument/2006/relationships/tags" Target="../tags/tag876.xml"/><Relationship Id="rId31" Type="http://schemas.openxmlformats.org/officeDocument/2006/relationships/tags" Target="../tags/tag888.xml"/><Relationship Id="rId4" Type="http://schemas.openxmlformats.org/officeDocument/2006/relationships/tags" Target="../tags/tag861.xml"/><Relationship Id="rId9" Type="http://schemas.openxmlformats.org/officeDocument/2006/relationships/tags" Target="../tags/tag866.xml"/><Relationship Id="rId14" Type="http://schemas.openxmlformats.org/officeDocument/2006/relationships/tags" Target="../tags/tag871.xml"/><Relationship Id="rId22" Type="http://schemas.openxmlformats.org/officeDocument/2006/relationships/tags" Target="../tags/tag879.xml"/><Relationship Id="rId27" Type="http://schemas.openxmlformats.org/officeDocument/2006/relationships/tags" Target="../tags/tag884.xml"/><Relationship Id="rId30" Type="http://schemas.openxmlformats.org/officeDocument/2006/relationships/tags" Target="../tags/tag887.xml"/><Relationship Id="rId35" Type="http://schemas.openxmlformats.org/officeDocument/2006/relationships/image" Target="../media/image16.emf"/></Relationships>
</file>

<file path=ppt/slides/_rels/slide8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890.xml"/><Relationship Id="rId7" Type="http://schemas.openxmlformats.org/officeDocument/2006/relationships/oleObject" Target="../embeddings/oleObject123.bin"/><Relationship Id="rId2" Type="http://schemas.openxmlformats.org/officeDocument/2006/relationships/tags" Target="../tags/tag889.xml"/><Relationship Id="rId1" Type="http://schemas.openxmlformats.org/officeDocument/2006/relationships/vmlDrawing" Target="../drawings/vmlDrawing119.vml"/><Relationship Id="rId6" Type="http://schemas.openxmlformats.org/officeDocument/2006/relationships/notesSlide" Target="../notesSlides/notesSlide73.xml"/><Relationship Id="rId5" Type="http://schemas.openxmlformats.org/officeDocument/2006/relationships/slideLayout" Target="../slideLayouts/slideLayout30.xml"/><Relationship Id="rId4" Type="http://schemas.openxmlformats.org/officeDocument/2006/relationships/tags" Target="../tags/tag891.xml"/></Relationships>
</file>

<file path=ppt/slides/_rels/slide84.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tags" Target="../tags/tag893.xml"/><Relationship Id="rId7" Type="http://schemas.openxmlformats.org/officeDocument/2006/relationships/oleObject" Target="../embeddings/oleObject124.bin"/><Relationship Id="rId2" Type="http://schemas.openxmlformats.org/officeDocument/2006/relationships/tags" Target="../tags/tag892.xml"/><Relationship Id="rId1" Type="http://schemas.openxmlformats.org/officeDocument/2006/relationships/vmlDrawing" Target="../drawings/vmlDrawing120.vml"/><Relationship Id="rId6" Type="http://schemas.openxmlformats.org/officeDocument/2006/relationships/notesSlide" Target="../notesSlides/notesSlide74.xml"/><Relationship Id="rId5" Type="http://schemas.openxmlformats.org/officeDocument/2006/relationships/slideLayout" Target="../slideLayouts/slideLayout30.xml"/><Relationship Id="rId4" Type="http://schemas.openxmlformats.org/officeDocument/2006/relationships/tags" Target="../tags/tag894.xml"/></Relationships>
</file>

<file path=ppt/slides/_rels/slide85.xml.rels><?xml version="1.0" encoding="UTF-8" standalone="yes"?>
<Relationships xmlns="http://schemas.openxmlformats.org/package/2006/relationships"><Relationship Id="rId8" Type="http://schemas.openxmlformats.org/officeDocument/2006/relationships/tags" Target="../tags/tag901.xml"/><Relationship Id="rId13" Type="http://schemas.openxmlformats.org/officeDocument/2006/relationships/tags" Target="../tags/tag906.xml"/><Relationship Id="rId18" Type="http://schemas.openxmlformats.org/officeDocument/2006/relationships/image" Target="../media/image52.jpeg"/><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tags" Target="../tags/tag905.xml"/><Relationship Id="rId17" Type="http://schemas.openxmlformats.org/officeDocument/2006/relationships/image" Target="../media/image40.emf"/><Relationship Id="rId2" Type="http://schemas.openxmlformats.org/officeDocument/2006/relationships/tags" Target="../tags/tag895.xml"/><Relationship Id="rId16" Type="http://schemas.openxmlformats.org/officeDocument/2006/relationships/oleObject" Target="../embeddings/oleObject125.bin"/><Relationship Id="rId1" Type="http://schemas.openxmlformats.org/officeDocument/2006/relationships/vmlDrawing" Target="../drawings/vmlDrawing121.vml"/><Relationship Id="rId6" Type="http://schemas.openxmlformats.org/officeDocument/2006/relationships/tags" Target="../tags/tag899.xml"/><Relationship Id="rId11" Type="http://schemas.openxmlformats.org/officeDocument/2006/relationships/tags" Target="../tags/tag904.xml"/><Relationship Id="rId5" Type="http://schemas.openxmlformats.org/officeDocument/2006/relationships/tags" Target="../tags/tag898.xml"/><Relationship Id="rId15" Type="http://schemas.openxmlformats.org/officeDocument/2006/relationships/notesSlide" Target="../notesSlides/notesSlide75.xml"/><Relationship Id="rId10" Type="http://schemas.openxmlformats.org/officeDocument/2006/relationships/tags" Target="../tags/tag903.xml"/><Relationship Id="rId19" Type="http://schemas.openxmlformats.org/officeDocument/2006/relationships/chart" Target="../charts/chart54.xml"/><Relationship Id="rId4" Type="http://schemas.openxmlformats.org/officeDocument/2006/relationships/tags" Target="../tags/tag897.xml"/><Relationship Id="rId9" Type="http://schemas.openxmlformats.org/officeDocument/2006/relationships/tags" Target="../tags/tag902.xml"/><Relationship Id="rId14"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8" Type="http://schemas.openxmlformats.org/officeDocument/2006/relationships/tags" Target="../tags/tag913.xml"/><Relationship Id="rId13" Type="http://schemas.openxmlformats.org/officeDocument/2006/relationships/slideLayout" Target="../slideLayouts/slideLayout11.xml"/><Relationship Id="rId18" Type="http://schemas.openxmlformats.org/officeDocument/2006/relationships/chart" Target="../charts/chart55.xml"/><Relationship Id="rId3" Type="http://schemas.openxmlformats.org/officeDocument/2006/relationships/tags" Target="../tags/tag908.xml"/><Relationship Id="rId7" Type="http://schemas.openxmlformats.org/officeDocument/2006/relationships/tags" Target="../tags/tag912.xml"/><Relationship Id="rId12" Type="http://schemas.openxmlformats.org/officeDocument/2006/relationships/tags" Target="../tags/tag917.xml"/><Relationship Id="rId17" Type="http://schemas.openxmlformats.org/officeDocument/2006/relationships/image" Target="../media/image52.jpeg"/><Relationship Id="rId2" Type="http://schemas.openxmlformats.org/officeDocument/2006/relationships/tags" Target="../tags/tag907.xml"/><Relationship Id="rId16" Type="http://schemas.openxmlformats.org/officeDocument/2006/relationships/image" Target="../media/image40.emf"/><Relationship Id="rId1" Type="http://schemas.openxmlformats.org/officeDocument/2006/relationships/vmlDrawing" Target="../drawings/vmlDrawing122.vml"/><Relationship Id="rId6" Type="http://schemas.openxmlformats.org/officeDocument/2006/relationships/tags" Target="../tags/tag911.xml"/><Relationship Id="rId11" Type="http://schemas.openxmlformats.org/officeDocument/2006/relationships/tags" Target="../tags/tag916.xml"/><Relationship Id="rId5" Type="http://schemas.openxmlformats.org/officeDocument/2006/relationships/tags" Target="../tags/tag910.xml"/><Relationship Id="rId15" Type="http://schemas.openxmlformats.org/officeDocument/2006/relationships/oleObject" Target="../embeddings/oleObject126.bin"/><Relationship Id="rId10" Type="http://schemas.openxmlformats.org/officeDocument/2006/relationships/tags" Target="../tags/tag915.xml"/><Relationship Id="rId4" Type="http://schemas.openxmlformats.org/officeDocument/2006/relationships/tags" Target="../tags/tag909.xml"/><Relationship Id="rId9" Type="http://schemas.openxmlformats.org/officeDocument/2006/relationships/tags" Target="../tags/tag914.xml"/><Relationship Id="rId14" Type="http://schemas.openxmlformats.org/officeDocument/2006/relationships/notesSlide" Target="../notesSlides/notesSlide76.xml"/></Relationships>
</file>

<file path=ppt/slides/_rels/slide87.xml.rels><?xml version="1.0" encoding="UTF-8" standalone="yes"?>
<Relationships xmlns="http://schemas.openxmlformats.org/package/2006/relationships"><Relationship Id="rId3" Type="http://schemas.openxmlformats.org/officeDocument/2006/relationships/tags" Target="../tags/tag919.xml"/><Relationship Id="rId7" Type="http://schemas.openxmlformats.org/officeDocument/2006/relationships/image" Target="../media/image53.jpeg"/><Relationship Id="rId2" Type="http://schemas.openxmlformats.org/officeDocument/2006/relationships/tags" Target="../tags/tag918.xml"/><Relationship Id="rId1" Type="http://schemas.openxmlformats.org/officeDocument/2006/relationships/vmlDrawing" Target="../drawings/vmlDrawing123.vml"/><Relationship Id="rId6" Type="http://schemas.openxmlformats.org/officeDocument/2006/relationships/image" Target="../media/image16.emf"/><Relationship Id="rId5" Type="http://schemas.openxmlformats.org/officeDocument/2006/relationships/oleObject" Target="../embeddings/oleObject127.bin"/><Relationship Id="rId4"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tags" Target="../tags/tag921.xml"/><Relationship Id="rId7" Type="http://schemas.openxmlformats.org/officeDocument/2006/relationships/image" Target="../media/image16.emf"/><Relationship Id="rId2" Type="http://schemas.openxmlformats.org/officeDocument/2006/relationships/tags" Target="../tags/tag920.xml"/><Relationship Id="rId1" Type="http://schemas.openxmlformats.org/officeDocument/2006/relationships/vmlDrawing" Target="../drawings/vmlDrawing124.vml"/><Relationship Id="rId6" Type="http://schemas.openxmlformats.org/officeDocument/2006/relationships/oleObject" Target="../embeddings/oleObject128.bin"/><Relationship Id="rId5" Type="http://schemas.openxmlformats.org/officeDocument/2006/relationships/notesSlide" Target="../notesSlides/notesSlide77.xml"/><Relationship Id="rId4"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8" Type="http://schemas.openxmlformats.org/officeDocument/2006/relationships/tags" Target="../tags/tag928.xml"/><Relationship Id="rId13" Type="http://schemas.openxmlformats.org/officeDocument/2006/relationships/tags" Target="../tags/tag933.xml"/><Relationship Id="rId18" Type="http://schemas.openxmlformats.org/officeDocument/2006/relationships/tags" Target="../tags/tag938.xml"/><Relationship Id="rId3" Type="http://schemas.openxmlformats.org/officeDocument/2006/relationships/tags" Target="../tags/tag923.xml"/><Relationship Id="rId21" Type="http://schemas.openxmlformats.org/officeDocument/2006/relationships/slideLayout" Target="../slideLayouts/slideLayout37.xml"/><Relationship Id="rId7" Type="http://schemas.openxmlformats.org/officeDocument/2006/relationships/tags" Target="../tags/tag927.xml"/><Relationship Id="rId12" Type="http://schemas.openxmlformats.org/officeDocument/2006/relationships/tags" Target="../tags/tag932.xml"/><Relationship Id="rId17" Type="http://schemas.openxmlformats.org/officeDocument/2006/relationships/tags" Target="../tags/tag937.xml"/><Relationship Id="rId25" Type="http://schemas.openxmlformats.org/officeDocument/2006/relationships/chart" Target="../charts/chart56.xml"/><Relationship Id="rId2" Type="http://schemas.openxmlformats.org/officeDocument/2006/relationships/tags" Target="../tags/tag922.xml"/><Relationship Id="rId16" Type="http://schemas.openxmlformats.org/officeDocument/2006/relationships/tags" Target="../tags/tag936.xml"/><Relationship Id="rId20" Type="http://schemas.openxmlformats.org/officeDocument/2006/relationships/tags" Target="../tags/tag940.xml"/><Relationship Id="rId1" Type="http://schemas.openxmlformats.org/officeDocument/2006/relationships/vmlDrawing" Target="../drawings/vmlDrawing125.vml"/><Relationship Id="rId6" Type="http://schemas.openxmlformats.org/officeDocument/2006/relationships/tags" Target="../tags/tag926.xml"/><Relationship Id="rId11" Type="http://schemas.openxmlformats.org/officeDocument/2006/relationships/tags" Target="../tags/tag931.xml"/><Relationship Id="rId24" Type="http://schemas.openxmlformats.org/officeDocument/2006/relationships/image" Target="../media/image16.emf"/><Relationship Id="rId5" Type="http://schemas.openxmlformats.org/officeDocument/2006/relationships/tags" Target="../tags/tag925.xml"/><Relationship Id="rId15" Type="http://schemas.openxmlformats.org/officeDocument/2006/relationships/tags" Target="../tags/tag935.xml"/><Relationship Id="rId23" Type="http://schemas.openxmlformats.org/officeDocument/2006/relationships/oleObject" Target="../embeddings/oleObject129.bin"/><Relationship Id="rId10" Type="http://schemas.openxmlformats.org/officeDocument/2006/relationships/tags" Target="../tags/tag930.xml"/><Relationship Id="rId19" Type="http://schemas.openxmlformats.org/officeDocument/2006/relationships/tags" Target="../tags/tag939.xml"/><Relationship Id="rId4" Type="http://schemas.openxmlformats.org/officeDocument/2006/relationships/tags" Target="../tags/tag924.xml"/><Relationship Id="rId9" Type="http://schemas.openxmlformats.org/officeDocument/2006/relationships/tags" Target="../tags/tag929.xml"/><Relationship Id="rId14" Type="http://schemas.openxmlformats.org/officeDocument/2006/relationships/tags" Target="../tags/tag934.xml"/><Relationship Id="rId22" Type="http://schemas.openxmlformats.org/officeDocument/2006/relationships/notesSlide" Target="../notesSlides/notesSlide78.xml"/></Relationships>
</file>

<file path=ppt/slides/_rels/slide9.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45.vml"/><Relationship Id="rId6" Type="http://schemas.openxmlformats.org/officeDocument/2006/relationships/image" Target="../media/image16.emf"/><Relationship Id="rId5" Type="http://schemas.openxmlformats.org/officeDocument/2006/relationships/oleObject" Target="../embeddings/oleObject46.bin"/><Relationship Id="rId4" Type="http://schemas.openxmlformats.org/officeDocument/2006/relationships/slideLayout" Target="../slideLayouts/slideLayout23.xml"/></Relationships>
</file>

<file path=ppt/slides/_rels/slide90.xml.rels><?xml version="1.0" encoding="UTF-8" standalone="yes"?>
<Relationships xmlns="http://schemas.openxmlformats.org/package/2006/relationships"><Relationship Id="rId8" Type="http://schemas.openxmlformats.org/officeDocument/2006/relationships/tags" Target="../tags/tag947.xml"/><Relationship Id="rId13" Type="http://schemas.openxmlformats.org/officeDocument/2006/relationships/tags" Target="../tags/tag952.xml"/><Relationship Id="rId18" Type="http://schemas.openxmlformats.org/officeDocument/2006/relationships/tags" Target="../tags/tag957.xml"/><Relationship Id="rId26" Type="http://schemas.openxmlformats.org/officeDocument/2006/relationships/tags" Target="../tags/tag965.xml"/><Relationship Id="rId3" Type="http://schemas.openxmlformats.org/officeDocument/2006/relationships/tags" Target="../tags/tag942.xml"/><Relationship Id="rId21" Type="http://schemas.openxmlformats.org/officeDocument/2006/relationships/tags" Target="../tags/tag960.xml"/><Relationship Id="rId7" Type="http://schemas.openxmlformats.org/officeDocument/2006/relationships/tags" Target="../tags/tag946.xml"/><Relationship Id="rId12" Type="http://schemas.openxmlformats.org/officeDocument/2006/relationships/tags" Target="../tags/tag951.xml"/><Relationship Id="rId17" Type="http://schemas.openxmlformats.org/officeDocument/2006/relationships/tags" Target="../tags/tag956.xml"/><Relationship Id="rId25" Type="http://schemas.openxmlformats.org/officeDocument/2006/relationships/tags" Target="../tags/tag964.xml"/><Relationship Id="rId2" Type="http://schemas.openxmlformats.org/officeDocument/2006/relationships/tags" Target="../tags/tag941.xml"/><Relationship Id="rId16" Type="http://schemas.openxmlformats.org/officeDocument/2006/relationships/tags" Target="../tags/tag955.xml"/><Relationship Id="rId20" Type="http://schemas.openxmlformats.org/officeDocument/2006/relationships/tags" Target="../tags/tag959.xml"/><Relationship Id="rId29" Type="http://schemas.openxmlformats.org/officeDocument/2006/relationships/oleObject" Target="../embeddings/oleObject130.bin"/><Relationship Id="rId1" Type="http://schemas.openxmlformats.org/officeDocument/2006/relationships/vmlDrawing" Target="../drawings/vmlDrawing126.vml"/><Relationship Id="rId6" Type="http://schemas.openxmlformats.org/officeDocument/2006/relationships/tags" Target="../tags/tag945.xml"/><Relationship Id="rId11" Type="http://schemas.openxmlformats.org/officeDocument/2006/relationships/tags" Target="../tags/tag950.xml"/><Relationship Id="rId24" Type="http://schemas.openxmlformats.org/officeDocument/2006/relationships/tags" Target="../tags/tag963.xml"/><Relationship Id="rId32" Type="http://schemas.openxmlformats.org/officeDocument/2006/relationships/chart" Target="../charts/chart58.xml"/><Relationship Id="rId5" Type="http://schemas.openxmlformats.org/officeDocument/2006/relationships/tags" Target="../tags/tag944.xml"/><Relationship Id="rId15" Type="http://schemas.openxmlformats.org/officeDocument/2006/relationships/tags" Target="../tags/tag954.xml"/><Relationship Id="rId23" Type="http://schemas.openxmlformats.org/officeDocument/2006/relationships/tags" Target="../tags/tag962.xml"/><Relationship Id="rId28" Type="http://schemas.openxmlformats.org/officeDocument/2006/relationships/notesSlide" Target="../notesSlides/notesSlide79.xml"/><Relationship Id="rId10" Type="http://schemas.openxmlformats.org/officeDocument/2006/relationships/tags" Target="../tags/tag949.xml"/><Relationship Id="rId19" Type="http://schemas.openxmlformats.org/officeDocument/2006/relationships/tags" Target="../tags/tag958.xml"/><Relationship Id="rId31" Type="http://schemas.openxmlformats.org/officeDocument/2006/relationships/chart" Target="../charts/chart57.xml"/><Relationship Id="rId4" Type="http://schemas.openxmlformats.org/officeDocument/2006/relationships/tags" Target="../tags/tag943.xml"/><Relationship Id="rId9" Type="http://schemas.openxmlformats.org/officeDocument/2006/relationships/tags" Target="../tags/tag948.xml"/><Relationship Id="rId14" Type="http://schemas.openxmlformats.org/officeDocument/2006/relationships/tags" Target="../tags/tag953.xml"/><Relationship Id="rId22" Type="http://schemas.openxmlformats.org/officeDocument/2006/relationships/tags" Target="../tags/tag961.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91.xml.rels><?xml version="1.0" encoding="UTF-8" standalone="yes"?>
<Relationships xmlns="http://schemas.openxmlformats.org/package/2006/relationships"><Relationship Id="rId13" Type="http://schemas.openxmlformats.org/officeDocument/2006/relationships/tags" Target="../tags/tag977.xml"/><Relationship Id="rId18" Type="http://schemas.openxmlformats.org/officeDocument/2006/relationships/tags" Target="../tags/tag982.xml"/><Relationship Id="rId26" Type="http://schemas.openxmlformats.org/officeDocument/2006/relationships/tags" Target="../tags/tag990.xml"/><Relationship Id="rId39" Type="http://schemas.openxmlformats.org/officeDocument/2006/relationships/tags" Target="../tags/tag1003.xml"/><Relationship Id="rId3" Type="http://schemas.openxmlformats.org/officeDocument/2006/relationships/tags" Target="../tags/tag967.xml"/><Relationship Id="rId21" Type="http://schemas.openxmlformats.org/officeDocument/2006/relationships/tags" Target="../tags/tag985.xml"/><Relationship Id="rId34" Type="http://schemas.openxmlformats.org/officeDocument/2006/relationships/tags" Target="../tags/tag998.xml"/><Relationship Id="rId42" Type="http://schemas.openxmlformats.org/officeDocument/2006/relationships/tags" Target="../tags/tag1006.xml"/><Relationship Id="rId47" Type="http://schemas.openxmlformats.org/officeDocument/2006/relationships/oleObject" Target="../embeddings/oleObject131.bin"/><Relationship Id="rId50" Type="http://schemas.openxmlformats.org/officeDocument/2006/relationships/chart" Target="../charts/chart60.xml"/><Relationship Id="rId7" Type="http://schemas.openxmlformats.org/officeDocument/2006/relationships/tags" Target="../tags/tag971.xml"/><Relationship Id="rId12" Type="http://schemas.openxmlformats.org/officeDocument/2006/relationships/tags" Target="../tags/tag976.xml"/><Relationship Id="rId17" Type="http://schemas.openxmlformats.org/officeDocument/2006/relationships/tags" Target="../tags/tag981.xml"/><Relationship Id="rId25" Type="http://schemas.openxmlformats.org/officeDocument/2006/relationships/tags" Target="../tags/tag989.xml"/><Relationship Id="rId33" Type="http://schemas.openxmlformats.org/officeDocument/2006/relationships/tags" Target="../tags/tag997.xml"/><Relationship Id="rId38" Type="http://schemas.openxmlformats.org/officeDocument/2006/relationships/tags" Target="../tags/tag1002.xml"/><Relationship Id="rId46" Type="http://schemas.openxmlformats.org/officeDocument/2006/relationships/notesSlide" Target="../notesSlides/notesSlide80.xml"/><Relationship Id="rId2" Type="http://schemas.openxmlformats.org/officeDocument/2006/relationships/tags" Target="../tags/tag966.xml"/><Relationship Id="rId16" Type="http://schemas.openxmlformats.org/officeDocument/2006/relationships/tags" Target="../tags/tag980.xml"/><Relationship Id="rId20" Type="http://schemas.openxmlformats.org/officeDocument/2006/relationships/tags" Target="../tags/tag984.xml"/><Relationship Id="rId29" Type="http://schemas.openxmlformats.org/officeDocument/2006/relationships/tags" Target="../tags/tag993.xml"/><Relationship Id="rId41" Type="http://schemas.openxmlformats.org/officeDocument/2006/relationships/tags" Target="../tags/tag1005.xml"/><Relationship Id="rId54" Type="http://schemas.openxmlformats.org/officeDocument/2006/relationships/image" Target="../media/image37.png"/><Relationship Id="rId1" Type="http://schemas.openxmlformats.org/officeDocument/2006/relationships/vmlDrawing" Target="../drawings/vmlDrawing127.vml"/><Relationship Id="rId6" Type="http://schemas.openxmlformats.org/officeDocument/2006/relationships/tags" Target="../tags/tag970.xml"/><Relationship Id="rId11" Type="http://schemas.openxmlformats.org/officeDocument/2006/relationships/tags" Target="../tags/tag975.xml"/><Relationship Id="rId24" Type="http://schemas.openxmlformats.org/officeDocument/2006/relationships/tags" Target="../tags/tag988.xml"/><Relationship Id="rId32" Type="http://schemas.openxmlformats.org/officeDocument/2006/relationships/tags" Target="../tags/tag996.xml"/><Relationship Id="rId37" Type="http://schemas.openxmlformats.org/officeDocument/2006/relationships/tags" Target="../tags/tag1001.xml"/><Relationship Id="rId40" Type="http://schemas.openxmlformats.org/officeDocument/2006/relationships/tags" Target="../tags/tag1004.xml"/><Relationship Id="rId45" Type="http://schemas.openxmlformats.org/officeDocument/2006/relationships/slideLayout" Target="../slideLayouts/slideLayout37.xml"/><Relationship Id="rId53" Type="http://schemas.openxmlformats.org/officeDocument/2006/relationships/chart" Target="../charts/chart63.xml"/><Relationship Id="rId5" Type="http://schemas.openxmlformats.org/officeDocument/2006/relationships/tags" Target="../tags/tag969.xml"/><Relationship Id="rId15" Type="http://schemas.openxmlformats.org/officeDocument/2006/relationships/tags" Target="../tags/tag979.xml"/><Relationship Id="rId23" Type="http://schemas.openxmlformats.org/officeDocument/2006/relationships/tags" Target="../tags/tag987.xml"/><Relationship Id="rId28" Type="http://schemas.openxmlformats.org/officeDocument/2006/relationships/tags" Target="../tags/tag992.xml"/><Relationship Id="rId36" Type="http://schemas.openxmlformats.org/officeDocument/2006/relationships/tags" Target="../tags/tag1000.xml"/><Relationship Id="rId49" Type="http://schemas.openxmlformats.org/officeDocument/2006/relationships/chart" Target="../charts/chart59.xml"/><Relationship Id="rId10" Type="http://schemas.openxmlformats.org/officeDocument/2006/relationships/tags" Target="../tags/tag974.xml"/><Relationship Id="rId19" Type="http://schemas.openxmlformats.org/officeDocument/2006/relationships/tags" Target="../tags/tag983.xml"/><Relationship Id="rId31" Type="http://schemas.openxmlformats.org/officeDocument/2006/relationships/tags" Target="../tags/tag995.xml"/><Relationship Id="rId44" Type="http://schemas.openxmlformats.org/officeDocument/2006/relationships/tags" Target="../tags/tag1008.xml"/><Relationship Id="rId52" Type="http://schemas.openxmlformats.org/officeDocument/2006/relationships/chart" Target="../charts/chart62.xml"/><Relationship Id="rId4" Type="http://schemas.openxmlformats.org/officeDocument/2006/relationships/tags" Target="../tags/tag968.xml"/><Relationship Id="rId9" Type="http://schemas.openxmlformats.org/officeDocument/2006/relationships/tags" Target="../tags/tag973.xml"/><Relationship Id="rId14" Type="http://schemas.openxmlformats.org/officeDocument/2006/relationships/tags" Target="../tags/tag978.xml"/><Relationship Id="rId22" Type="http://schemas.openxmlformats.org/officeDocument/2006/relationships/tags" Target="../tags/tag986.xml"/><Relationship Id="rId27" Type="http://schemas.openxmlformats.org/officeDocument/2006/relationships/tags" Target="../tags/tag991.xml"/><Relationship Id="rId30" Type="http://schemas.openxmlformats.org/officeDocument/2006/relationships/tags" Target="../tags/tag994.xml"/><Relationship Id="rId35" Type="http://schemas.openxmlformats.org/officeDocument/2006/relationships/tags" Target="../tags/tag999.xml"/><Relationship Id="rId43" Type="http://schemas.openxmlformats.org/officeDocument/2006/relationships/tags" Target="../tags/tag1007.xml"/><Relationship Id="rId48" Type="http://schemas.openxmlformats.org/officeDocument/2006/relationships/image" Target="../media/image16.emf"/><Relationship Id="rId8" Type="http://schemas.openxmlformats.org/officeDocument/2006/relationships/tags" Target="../tags/tag972.xml"/><Relationship Id="rId51" Type="http://schemas.openxmlformats.org/officeDocument/2006/relationships/chart" Target="../charts/chart61.xml"/></Relationships>
</file>

<file path=ppt/slides/_rels/slide9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010.xml"/><Relationship Id="rId7" Type="http://schemas.openxmlformats.org/officeDocument/2006/relationships/oleObject" Target="../embeddings/oleObject132.bin"/><Relationship Id="rId2" Type="http://schemas.openxmlformats.org/officeDocument/2006/relationships/tags" Target="../tags/tag1009.xml"/><Relationship Id="rId1" Type="http://schemas.openxmlformats.org/officeDocument/2006/relationships/vmlDrawing" Target="../drawings/vmlDrawing128.vml"/><Relationship Id="rId6" Type="http://schemas.openxmlformats.org/officeDocument/2006/relationships/notesSlide" Target="../notesSlides/notesSlide81.xml"/><Relationship Id="rId5" Type="http://schemas.openxmlformats.org/officeDocument/2006/relationships/slideLayout" Target="../slideLayouts/slideLayout30.xml"/><Relationship Id="rId4" Type="http://schemas.openxmlformats.org/officeDocument/2006/relationships/tags" Target="../tags/tag1011.xml"/><Relationship Id="rId9" Type="http://schemas.openxmlformats.org/officeDocument/2006/relationships/image" Target="../media/image37.png"/></Relationships>
</file>

<file path=ppt/slides/_rels/slide93.xml.rels><?xml version="1.0" encoding="UTF-8" standalone="yes"?>
<Relationships xmlns="http://schemas.openxmlformats.org/package/2006/relationships"><Relationship Id="rId8" Type="http://schemas.openxmlformats.org/officeDocument/2006/relationships/tags" Target="../tags/tag1018.xml"/><Relationship Id="rId13" Type="http://schemas.openxmlformats.org/officeDocument/2006/relationships/tags" Target="../tags/tag1023.xml"/><Relationship Id="rId18" Type="http://schemas.openxmlformats.org/officeDocument/2006/relationships/tags" Target="../tags/tag1028.xml"/><Relationship Id="rId3" Type="http://schemas.openxmlformats.org/officeDocument/2006/relationships/tags" Target="../tags/tag1013.xml"/><Relationship Id="rId21" Type="http://schemas.openxmlformats.org/officeDocument/2006/relationships/slideLayout" Target="../slideLayouts/slideLayout37.xml"/><Relationship Id="rId7" Type="http://schemas.openxmlformats.org/officeDocument/2006/relationships/tags" Target="../tags/tag1017.xml"/><Relationship Id="rId12" Type="http://schemas.openxmlformats.org/officeDocument/2006/relationships/tags" Target="../tags/tag1022.xml"/><Relationship Id="rId17" Type="http://schemas.openxmlformats.org/officeDocument/2006/relationships/tags" Target="../tags/tag1027.xml"/><Relationship Id="rId25" Type="http://schemas.openxmlformats.org/officeDocument/2006/relationships/chart" Target="../charts/chart64.xml"/><Relationship Id="rId2" Type="http://schemas.openxmlformats.org/officeDocument/2006/relationships/tags" Target="../tags/tag1012.xml"/><Relationship Id="rId16" Type="http://schemas.openxmlformats.org/officeDocument/2006/relationships/tags" Target="../tags/tag1026.xml"/><Relationship Id="rId20" Type="http://schemas.openxmlformats.org/officeDocument/2006/relationships/tags" Target="../tags/tag1030.xml"/><Relationship Id="rId1" Type="http://schemas.openxmlformats.org/officeDocument/2006/relationships/vmlDrawing" Target="../drawings/vmlDrawing129.vml"/><Relationship Id="rId6" Type="http://schemas.openxmlformats.org/officeDocument/2006/relationships/tags" Target="../tags/tag1016.xml"/><Relationship Id="rId11" Type="http://schemas.openxmlformats.org/officeDocument/2006/relationships/tags" Target="../tags/tag1021.xml"/><Relationship Id="rId24" Type="http://schemas.openxmlformats.org/officeDocument/2006/relationships/image" Target="../media/image16.emf"/><Relationship Id="rId5" Type="http://schemas.openxmlformats.org/officeDocument/2006/relationships/tags" Target="../tags/tag1015.xml"/><Relationship Id="rId15" Type="http://schemas.openxmlformats.org/officeDocument/2006/relationships/tags" Target="../tags/tag1025.xml"/><Relationship Id="rId23" Type="http://schemas.openxmlformats.org/officeDocument/2006/relationships/oleObject" Target="../embeddings/oleObject133.bin"/><Relationship Id="rId10" Type="http://schemas.openxmlformats.org/officeDocument/2006/relationships/tags" Target="../tags/tag1020.xml"/><Relationship Id="rId19" Type="http://schemas.openxmlformats.org/officeDocument/2006/relationships/tags" Target="../tags/tag1029.xml"/><Relationship Id="rId4" Type="http://schemas.openxmlformats.org/officeDocument/2006/relationships/tags" Target="../tags/tag1014.xml"/><Relationship Id="rId9" Type="http://schemas.openxmlformats.org/officeDocument/2006/relationships/tags" Target="../tags/tag1019.xml"/><Relationship Id="rId14" Type="http://schemas.openxmlformats.org/officeDocument/2006/relationships/tags" Target="../tags/tag1024.xml"/><Relationship Id="rId22" Type="http://schemas.openxmlformats.org/officeDocument/2006/relationships/notesSlide" Target="../notesSlides/notesSlide82.xml"/></Relationships>
</file>

<file path=ppt/slides/_rels/slide94.xml.rels><?xml version="1.0" encoding="UTF-8" standalone="yes"?>
<Relationships xmlns="http://schemas.openxmlformats.org/package/2006/relationships"><Relationship Id="rId8" Type="http://schemas.openxmlformats.org/officeDocument/2006/relationships/tags" Target="../tags/tag1037.xml"/><Relationship Id="rId13" Type="http://schemas.openxmlformats.org/officeDocument/2006/relationships/tags" Target="../tags/tag1042.xml"/><Relationship Id="rId18" Type="http://schemas.openxmlformats.org/officeDocument/2006/relationships/tags" Target="../tags/tag1047.xml"/><Relationship Id="rId26" Type="http://schemas.openxmlformats.org/officeDocument/2006/relationships/tags" Target="../tags/tag1055.xml"/><Relationship Id="rId3" Type="http://schemas.openxmlformats.org/officeDocument/2006/relationships/tags" Target="../tags/tag1032.xml"/><Relationship Id="rId21" Type="http://schemas.openxmlformats.org/officeDocument/2006/relationships/tags" Target="../tags/tag1050.xml"/><Relationship Id="rId7" Type="http://schemas.openxmlformats.org/officeDocument/2006/relationships/tags" Target="../tags/tag1036.xml"/><Relationship Id="rId12" Type="http://schemas.openxmlformats.org/officeDocument/2006/relationships/tags" Target="../tags/tag1041.xml"/><Relationship Id="rId17" Type="http://schemas.openxmlformats.org/officeDocument/2006/relationships/tags" Target="../tags/tag1046.xml"/><Relationship Id="rId25" Type="http://schemas.openxmlformats.org/officeDocument/2006/relationships/tags" Target="../tags/tag1054.xml"/><Relationship Id="rId2" Type="http://schemas.openxmlformats.org/officeDocument/2006/relationships/tags" Target="../tags/tag1031.xml"/><Relationship Id="rId16" Type="http://schemas.openxmlformats.org/officeDocument/2006/relationships/tags" Target="../tags/tag1045.xml"/><Relationship Id="rId20" Type="http://schemas.openxmlformats.org/officeDocument/2006/relationships/tags" Target="../tags/tag1049.xml"/><Relationship Id="rId29" Type="http://schemas.openxmlformats.org/officeDocument/2006/relationships/oleObject" Target="../embeddings/oleObject134.bin"/><Relationship Id="rId1" Type="http://schemas.openxmlformats.org/officeDocument/2006/relationships/vmlDrawing" Target="../drawings/vmlDrawing130.vml"/><Relationship Id="rId6" Type="http://schemas.openxmlformats.org/officeDocument/2006/relationships/tags" Target="../tags/tag1035.xml"/><Relationship Id="rId11" Type="http://schemas.openxmlformats.org/officeDocument/2006/relationships/tags" Target="../tags/tag1040.xml"/><Relationship Id="rId24" Type="http://schemas.openxmlformats.org/officeDocument/2006/relationships/tags" Target="../tags/tag1053.xml"/><Relationship Id="rId32" Type="http://schemas.openxmlformats.org/officeDocument/2006/relationships/chart" Target="../charts/chart66.xml"/><Relationship Id="rId5" Type="http://schemas.openxmlformats.org/officeDocument/2006/relationships/tags" Target="../tags/tag1034.xml"/><Relationship Id="rId15" Type="http://schemas.openxmlformats.org/officeDocument/2006/relationships/tags" Target="../tags/tag1044.xml"/><Relationship Id="rId23" Type="http://schemas.openxmlformats.org/officeDocument/2006/relationships/tags" Target="../tags/tag1052.xml"/><Relationship Id="rId28" Type="http://schemas.openxmlformats.org/officeDocument/2006/relationships/notesSlide" Target="../notesSlides/notesSlide83.xml"/><Relationship Id="rId10" Type="http://schemas.openxmlformats.org/officeDocument/2006/relationships/tags" Target="../tags/tag1039.xml"/><Relationship Id="rId19" Type="http://schemas.openxmlformats.org/officeDocument/2006/relationships/tags" Target="../tags/tag1048.xml"/><Relationship Id="rId31" Type="http://schemas.openxmlformats.org/officeDocument/2006/relationships/chart" Target="../charts/chart65.xml"/><Relationship Id="rId4" Type="http://schemas.openxmlformats.org/officeDocument/2006/relationships/tags" Target="../tags/tag1033.xml"/><Relationship Id="rId9" Type="http://schemas.openxmlformats.org/officeDocument/2006/relationships/tags" Target="../tags/tag1038.xml"/><Relationship Id="rId14" Type="http://schemas.openxmlformats.org/officeDocument/2006/relationships/tags" Target="../tags/tag1043.xml"/><Relationship Id="rId22" Type="http://schemas.openxmlformats.org/officeDocument/2006/relationships/tags" Target="../tags/tag1051.xml"/><Relationship Id="rId27" Type="http://schemas.openxmlformats.org/officeDocument/2006/relationships/slideLayout" Target="../slideLayouts/slideLayout37.xml"/><Relationship Id="rId30" Type="http://schemas.openxmlformats.org/officeDocument/2006/relationships/image" Target="../media/image16.emf"/></Relationships>
</file>

<file path=ppt/slides/_rels/slide95.xml.rels><?xml version="1.0" encoding="UTF-8" standalone="yes"?>
<Relationships xmlns="http://schemas.openxmlformats.org/package/2006/relationships"><Relationship Id="rId13" Type="http://schemas.openxmlformats.org/officeDocument/2006/relationships/tags" Target="../tags/tag1067.xml"/><Relationship Id="rId18" Type="http://schemas.openxmlformats.org/officeDocument/2006/relationships/tags" Target="../tags/tag1072.xml"/><Relationship Id="rId26" Type="http://schemas.openxmlformats.org/officeDocument/2006/relationships/tags" Target="../tags/tag1080.xml"/><Relationship Id="rId39" Type="http://schemas.openxmlformats.org/officeDocument/2006/relationships/tags" Target="../tags/tag1093.xml"/><Relationship Id="rId3" Type="http://schemas.openxmlformats.org/officeDocument/2006/relationships/tags" Target="../tags/tag1057.xml"/><Relationship Id="rId21" Type="http://schemas.openxmlformats.org/officeDocument/2006/relationships/tags" Target="../tags/tag1075.xml"/><Relationship Id="rId34" Type="http://schemas.openxmlformats.org/officeDocument/2006/relationships/tags" Target="../tags/tag1088.xml"/><Relationship Id="rId42" Type="http://schemas.openxmlformats.org/officeDocument/2006/relationships/tags" Target="../tags/tag1096.xml"/><Relationship Id="rId47" Type="http://schemas.openxmlformats.org/officeDocument/2006/relationships/oleObject" Target="../embeddings/oleObject135.bin"/><Relationship Id="rId50" Type="http://schemas.openxmlformats.org/officeDocument/2006/relationships/chart" Target="../charts/chart68.xml"/><Relationship Id="rId7" Type="http://schemas.openxmlformats.org/officeDocument/2006/relationships/tags" Target="../tags/tag1061.xml"/><Relationship Id="rId12" Type="http://schemas.openxmlformats.org/officeDocument/2006/relationships/tags" Target="../tags/tag1066.xml"/><Relationship Id="rId17" Type="http://schemas.openxmlformats.org/officeDocument/2006/relationships/tags" Target="../tags/tag1071.xml"/><Relationship Id="rId25" Type="http://schemas.openxmlformats.org/officeDocument/2006/relationships/tags" Target="../tags/tag1079.xml"/><Relationship Id="rId33" Type="http://schemas.openxmlformats.org/officeDocument/2006/relationships/tags" Target="../tags/tag1087.xml"/><Relationship Id="rId38" Type="http://schemas.openxmlformats.org/officeDocument/2006/relationships/tags" Target="../tags/tag1092.xml"/><Relationship Id="rId46" Type="http://schemas.openxmlformats.org/officeDocument/2006/relationships/notesSlide" Target="../notesSlides/notesSlide84.xml"/><Relationship Id="rId2" Type="http://schemas.openxmlformats.org/officeDocument/2006/relationships/tags" Target="../tags/tag1056.xml"/><Relationship Id="rId16" Type="http://schemas.openxmlformats.org/officeDocument/2006/relationships/tags" Target="../tags/tag1070.xml"/><Relationship Id="rId20" Type="http://schemas.openxmlformats.org/officeDocument/2006/relationships/tags" Target="../tags/tag1074.xml"/><Relationship Id="rId29" Type="http://schemas.openxmlformats.org/officeDocument/2006/relationships/tags" Target="../tags/tag1083.xml"/><Relationship Id="rId41" Type="http://schemas.openxmlformats.org/officeDocument/2006/relationships/tags" Target="../tags/tag1095.xml"/><Relationship Id="rId54" Type="http://schemas.openxmlformats.org/officeDocument/2006/relationships/image" Target="../media/image37.png"/><Relationship Id="rId1" Type="http://schemas.openxmlformats.org/officeDocument/2006/relationships/vmlDrawing" Target="../drawings/vmlDrawing131.vml"/><Relationship Id="rId6" Type="http://schemas.openxmlformats.org/officeDocument/2006/relationships/tags" Target="../tags/tag1060.xml"/><Relationship Id="rId11" Type="http://schemas.openxmlformats.org/officeDocument/2006/relationships/tags" Target="../tags/tag1065.xml"/><Relationship Id="rId24" Type="http://schemas.openxmlformats.org/officeDocument/2006/relationships/tags" Target="../tags/tag1078.xml"/><Relationship Id="rId32" Type="http://schemas.openxmlformats.org/officeDocument/2006/relationships/tags" Target="../tags/tag1086.xml"/><Relationship Id="rId37" Type="http://schemas.openxmlformats.org/officeDocument/2006/relationships/tags" Target="../tags/tag1091.xml"/><Relationship Id="rId40" Type="http://schemas.openxmlformats.org/officeDocument/2006/relationships/tags" Target="../tags/tag1094.xml"/><Relationship Id="rId45" Type="http://schemas.openxmlformats.org/officeDocument/2006/relationships/slideLayout" Target="../slideLayouts/slideLayout37.xml"/><Relationship Id="rId53" Type="http://schemas.openxmlformats.org/officeDocument/2006/relationships/chart" Target="../charts/chart71.xml"/><Relationship Id="rId5" Type="http://schemas.openxmlformats.org/officeDocument/2006/relationships/tags" Target="../tags/tag1059.xml"/><Relationship Id="rId15" Type="http://schemas.openxmlformats.org/officeDocument/2006/relationships/tags" Target="../tags/tag1069.xml"/><Relationship Id="rId23" Type="http://schemas.openxmlformats.org/officeDocument/2006/relationships/tags" Target="../tags/tag1077.xml"/><Relationship Id="rId28" Type="http://schemas.openxmlformats.org/officeDocument/2006/relationships/tags" Target="../tags/tag1082.xml"/><Relationship Id="rId36" Type="http://schemas.openxmlformats.org/officeDocument/2006/relationships/tags" Target="../tags/tag1090.xml"/><Relationship Id="rId49" Type="http://schemas.openxmlformats.org/officeDocument/2006/relationships/chart" Target="../charts/chart67.xml"/><Relationship Id="rId10" Type="http://schemas.openxmlformats.org/officeDocument/2006/relationships/tags" Target="../tags/tag1064.xml"/><Relationship Id="rId19" Type="http://schemas.openxmlformats.org/officeDocument/2006/relationships/tags" Target="../tags/tag1073.xml"/><Relationship Id="rId31" Type="http://schemas.openxmlformats.org/officeDocument/2006/relationships/tags" Target="../tags/tag1085.xml"/><Relationship Id="rId44" Type="http://schemas.openxmlformats.org/officeDocument/2006/relationships/tags" Target="../tags/tag1098.xml"/><Relationship Id="rId52" Type="http://schemas.openxmlformats.org/officeDocument/2006/relationships/chart" Target="../charts/chart70.xml"/><Relationship Id="rId4" Type="http://schemas.openxmlformats.org/officeDocument/2006/relationships/tags" Target="../tags/tag1058.xml"/><Relationship Id="rId9" Type="http://schemas.openxmlformats.org/officeDocument/2006/relationships/tags" Target="../tags/tag1063.xml"/><Relationship Id="rId14" Type="http://schemas.openxmlformats.org/officeDocument/2006/relationships/tags" Target="../tags/tag1068.xml"/><Relationship Id="rId22" Type="http://schemas.openxmlformats.org/officeDocument/2006/relationships/tags" Target="../tags/tag1076.xml"/><Relationship Id="rId27" Type="http://schemas.openxmlformats.org/officeDocument/2006/relationships/tags" Target="../tags/tag1081.xml"/><Relationship Id="rId30" Type="http://schemas.openxmlformats.org/officeDocument/2006/relationships/tags" Target="../tags/tag1084.xml"/><Relationship Id="rId35" Type="http://schemas.openxmlformats.org/officeDocument/2006/relationships/tags" Target="../tags/tag1089.xml"/><Relationship Id="rId43" Type="http://schemas.openxmlformats.org/officeDocument/2006/relationships/tags" Target="../tags/tag1097.xml"/><Relationship Id="rId48" Type="http://schemas.openxmlformats.org/officeDocument/2006/relationships/image" Target="../media/image16.emf"/><Relationship Id="rId8" Type="http://schemas.openxmlformats.org/officeDocument/2006/relationships/tags" Target="../tags/tag1062.xml"/><Relationship Id="rId51" Type="http://schemas.openxmlformats.org/officeDocument/2006/relationships/chart" Target="../charts/chart69.xml"/></Relationships>
</file>

<file path=ppt/slides/_rels/slide9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100.xml"/><Relationship Id="rId7" Type="http://schemas.openxmlformats.org/officeDocument/2006/relationships/oleObject" Target="../embeddings/oleObject136.bin"/><Relationship Id="rId2" Type="http://schemas.openxmlformats.org/officeDocument/2006/relationships/tags" Target="../tags/tag1099.xml"/><Relationship Id="rId1" Type="http://schemas.openxmlformats.org/officeDocument/2006/relationships/vmlDrawing" Target="../drawings/vmlDrawing132.vml"/><Relationship Id="rId6" Type="http://schemas.openxmlformats.org/officeDocument/2006/relationships/notesSlide" Target="../notesSlides/notesSlide85.xml"/><Relationship Id="rId5" Type="http://schemas.openxmlformats.org/officeDocument/2006/relationships/slideLayout" Target="../slideLayouts/slideLayout30.xml"/><Relationship Id="rId4" Type="http://schemas.openxmlformats.org/officeDocument/2006/relationships/tags" Target="../tags/tag1101.xml"/><Relationship Id="rId9" Type="http://schemas.openxmlformats.org/officeDocument/2006/relationships/image" Target="../media/image37.png"/></Relationships>
</file>

<file path=ppt/slides/_rels/slide97.xml.rels><?xml version="1.0" encoding="UTF-8" standalone="yes"?>
<Relationships xmlns="http://schemas.openxmlformats.org/package/2006/relationships"><Relationship Id="rId8" Type="http://schemas.openxmlformats.org/officeDocument/2006/relationships/tags" Target="../tags/tag1108.xml"/><Relationship Id="rId13" Type="http://schemas.openxmlformats.org/officeDocument/2006/relationships/tags" Target="../tags/tag1113.xml"/><Relationship Id="rId18" Type="http://schemas.openxmlformats.org/officeDocument/2006/relationships/slideLayout" Target="../slideLayouts/slideLayout37.xml"/><Relationship Id="rId3" Type="http://schemas.openxmlformats.org/officeDocument/2006/relationships/tags" Target="../tags/tag1103.xml"/><Relationship Id="rId21" Type="http://schemas.openxmlformats.org/officeDocument/2006/relationships/image" Target="../media/image16.emf"/><Relationship Id="rId7" Type="http://schemas.openxmlformats.org/officeDocument/2006/relationships/tags" Target="../tags/tag1107.xml"/><Relationship Id="rId12" Type="http://schemas.openxmlformats.org/officeDocument/2006/relationships/tags" Target="../tags/tag1112.xml"/><Relationship Id="rId17" Type="http://schemas.openxmlformats.org/officeDocument/2006/relationships/tags" Target="../tags/tag1117.xml"/><Relationship Id="rId2" Type="http://schemas.openxmlformats.org/officeDocument/2006/relationships/tags" Target="../tags/tag1102.xml"/><Relationship Id="rId16" Type="http://schemas.openxmlformats.org/officeDocument/2006/relationships/tags" Target="../tags/tag1116.xml"/><Relationship Id="rId20" Type="http://schemas.openxmlformats.org/officeDocument/2006/relationships/oleObject" Target="../embeddings/oleObject137.bin"/><Relationship Id="rId1" Type="http://schemas.openxmlformats.org/officeDocument/2006/relationships/vmlDrawing" Target="../drawings/vmlDrawing133.vml"/><Relationship Id="rId6" Type="http://schemas.openxmlformats.org/officeDocument/2006/relationships/tags" Target="../tags/tag1106.xml"/><Relationship Id="rId11" Type="http://schemas.openxmlformats.org/officeDocument/2006/relationships/tags" Target="../tags/tag1111.xml"/><Relationship Id="rId5" Type="http://schemas.openxmlformats.org/officeDocument/2006/relationships/tags" Target="../tags/tag1105.xml"/><Relationship Id="rId15" Type="http://schemas.openxmlformats.org/officeDocument/2006/relationships/tags" Target="../tags/tag1115.xml"/><Relationship Id="rId10" Type="http://schemas.openxmlformats.org/officeDocument/2006/relationships/tags" Target="../tags/tag1110.xml"/><Relationship Id="rId19" Type="http://schemas.openxmlformats.org/officeDocument/2006/relationships/notesSlide" Target="../notesSlides/notesSlide86.xml"/><Relationship Id="rId4" Type="http://schemas.openxmlformats.org/officeDocument/2006/relationships/tags" Target="../tags/tag1104.xml"/><Relationship Id="rId9" Type="http://schemas.openxmlformats.org/officeDocument/2006/relationships/tags" Target="../tags/tag1109.xml"/><Relationship Id="rId14" Type="http://schemas.openxmlformats.org/officeDocument/2006/relationships/tags" Target="../tags/tag1114.xml"/><Relationship Id="rId22" Type="http://schemas.openxmlformats.org/officeDocument/2006/relationships/chart" Target="../charts/chart72.xml"/></Relationships>
</file>

<file path=ppt/slides/_rels/slide98.xml.rels><?xml version="1.0" encoding="UTF-8" standalone="yes"?>
<Relationships xmlns="http://schemas.openxmlformats.org/package/2006/relationships"><Relationship Id="rId8" Type="http://schemas.openxmlformats.org/officeDocument/2006/relationships/tags" Target="../tags/tag1124.xml"/><Relationship Id="rId13" Type="http://schemas.openxmlformats.org/officeDocument/2006/relationships/tags" Target="../tags/tag1129.xml"/><Relationship Id="rId18" Type="http://schemas.openxmlformats.org/officeDocument/2006/relationships/tags" Target="../tags/tag1134.xml"/><Relationship Id="rId26" Type="http://schemas.openxmlformats.org/officeDocument/2006/relationships/notesSlide" Target="../notesSlides/notesSlide87.xml"/><Relationship Id="rId3" Type="http://schemas.openxmlformats.org/officeDocument/2006/relationships/tags" Target="../tags/tag1119.xml"/><Relationship Id="rId21" Type="http://schemas.openxmlformats.org/officeDocument/2006/relationships/tags" Target="../tags/tag1137.xml"/><Relationship Id="rId7" Type="http://schemas.openxmlformats.org/officeDocument/2006/relationships/tags" Target="../tags/tag1123.xml"/><Relationship Id="rId12" Type="http://schemas.openxmlformats.org/officeDocument/2006/relationships/tags" Target="../tags/tag1128.xml"/><Relationship Id="rId17" Type="http://schemas.openxmlformats.org/officeDocument/2006/relationships/tags" Target="../tags/tag1133.xml"/><Relationship Id="rId25" Type="http://schemas.openxmlformats.org/officeDocument/2006/relationships/slideLayout" Target="../slideLayouts/slideLayout37.xml"/><Relationship Id="rId2" Type="http://schemas.openxmlformats.org/officeDocument/2006/relationships/tags" Target="../tags/tag1118.xml"/><Relationship Id="rId16" Type="http://schemas.openxmlformats.org/officeDocument/2006/relationships/tags" Target="../tags/tag1132.xml"/><Relationship Id="rId20" Type="http://schemas.openxmlformats.org/officeDocument/2006/relationships/tags" Target="../tags/tag1136.xml"/><Relationship Id="rId29" Type="http://schemas.openxmlformats.org/officeDocument/2006/relationships/chart" Target="../charts/chart73.xml"/><Relationship Id="rId1" Type="http://schemas.openxmlformats.org/officeDocument/2006/relationships/vmlDrawing" Target="../drawings/vmlDrawing134.vml"/><Relationship Id="rId6" Type="http://schemas.openxmlformats.org/officeDocument/2006/relationships/tags" Target="../tags/tag1122.xml"/><Relationship Id="rId11" Type="http://schemas.openxmlformats.org/officeDocument/2006/relationships/tags" Target="../tags/tag1127.xml"/><Relationship Id="rId24" Type="http://schemas.openxmlformats.org/officeDocument/2006/relationships/tags" Target="../tags/tag1140.xml"/><Relationship Id="rId5" Type="http://schemas.openxmlformats.org/officeDocument/2006/relationships/tags" Target="../tags/tag1121.xml"/><Relationship Id="rId15" Type="http://schemas.openxmlformats.org/officeDocument/2006/relationships/tags" Target="../tags/tag1131.xml"/><Relationship Id="rId23" Type="http://schemas.openxmlformats.org/officeDocument/2006/relationships/tags" Target="../tags/tag1139.xml"/><Relationship Id="rId28" Type="http://schemas.openxmlformats.org/officeDocument/2006/relationships/image" Target="../media/image16.emf"/><Relationship Id="rId10" Type="http://schemas.openxmlformats.org/officeDocument/2006/relationships/tags" Target="../tags/tag1126.xml"/><Relationship Id="rId19" Type="http://schemas.openxmlformats.org/officeDocument/2006/relationships/tags" Target="../tags/tag1135.xml"/><Relationship Id="rId4" Type="http://schemas.openxmlformats.org/officeDocument/2006/relationships/tags" Target="../tags/tag1120.xml"/><Relationship Id="rId9" Type="http://schemas.openxmlformats.org/officeDocument/2006/relationships/tags" Target="../tags/tag1125.xml"/><Relationship Id="rId14" Type="http://schemas.openxmlformats.org/officeDocument/2006/relationships/tags" Target="../tags/tag1130.xml"/><Relationship Id="rId22" Type="http://schemas.openxmlformats.org/officeDocument/2006/relationships/tags" Target="../tags/tag1138.xml"/><Relationship Id="rId27" Type="http://schemas.openxmlformats.org/officeDocument/2006/relationships/oleObject" Target="../embeddings/oleObject138.bin"/></Relationships>
</file>

<file path=ppt/slides/_rels/slide9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142.xml"/><Relationship Id="rId7" Type="http://schemas.openxmlformats.org/officeDocument/2006/relationships/oleObject" Target="../embeddings/oleObject139.bin"/><Relationship Id="rId2" Type="http://schemas.openxmlformats.org/officeDocument/2006/relationships/tags" Target="../tags/tag1141.xml"/><Relationship Id="rId1" Type="http://schemas.openxmlformats.org/officeDocument/2006/relationships/vmlDrawing" Target="../drawings/vmlDrawing135.vml"/><Relationship Id="rId6" Type="http://schemas.openxmlformats.org/officeDocument/2006/relationships/notesSlide" Target="../notesSlides/notesSlide88.xml"/><Relationship Id="rId5" Type="http://schemas.openxmlformats.org/officeDocument/2006/relationships/slideLayout" Target="../slideLayouts/slideLayout30.xml"/><Relationship Id="rId4" Type="http://schemas.openxmlformats.org/officeDocument/2006/relationships/tags" Target="../tags/tag11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83439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0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5" name="Group 4"/>
          <p:cNvGrpSpPr/>
          <p:nvPr/>
        </p:nvGrpSpPr>
        <p:grpSpPr>
          <a:xfrm>
            <a:off x="2043112" y="3334247"/>
            <a:ext cx="7139734" cy="727075"/>
            <a:chOff x="1488011" y="3351416"/>
            <a:chExt cx="7139734" cy="727075"/>
          </a:xfrm>
        </p:grpSpPr>
        <p:grpSp>
          <p:nvGrpSpPr>
            <p:cNvPr id="13" name="Group 12"/>
            <p:cNvGrpSpPr/>
            <p:nvPr/>
          </p:nvGrpSpPr>
          <p:grpSpPr>
            <a:xfrm>
              <a:off x="1488011" y="3364654"/>
              <a:ext cx="1508259" cy="406400"/>
              <a:chOff x="2017713" y="3063875"/>
              <a:chExt cx="1689100" cy="422276"/>
            </a:xfrm>
          </p:grpSpPr>
          <p:sp>
            <p:nvSpPr>
              <p:cNvPr id="14" name="Freeform 13"/>
              <p:cNvSpPr>
                <a:spLocks noEditPoints="1"/>
              </p:cNvSpPr>
              <p:nvPr/>
            </p:nvSpPr>
            <p:spPr bwMode="auto">
              <a:xfrm>
                <a:off x="2017713" y="3071813"/>
                <a:ext cx="307975" cy="406400"/>
              </a:xfrm>
              <a:custGeom>
                <a:avLst/>
                <a:gdLst>
                  <a:gd name="T0" fmla="*/ 82 w 82"/>
                  <a:gd name="T1" fmla="*/ 34 h 107"/>
                  <a:gd name="T2" fmla="*/ 78 w 82"/>
                  <a:gd name="T3" fmla="*/ 50 h 107"/>
                  <a:gd name="T4" fmla="*/ 69 w 82"/>
                  <a:gd name="T5" fmla="*/ 61 h 107"/>
                  <a:gd name="T6" fmla="*/ 55 w 82"/>
                  <a:gd name="T7" fmla="*/ 67 h 107"/>
                  <a:gd name="T8" fmla="*/ 40 w 82"/>
                  <a:gd name="T9" fmla="*/ 69 h 107"/>
                  <a:gd name="T10" fmla="*/ 23 w 82"/>
                  <a:gd name="T11" fmla="*/ 69 h 107"/>
                  <a:gd name="T12" fmla="*/ 23 w 82"/>
                  <a:gd name="T13" fmla="*/ 107 h 107"/>
                  <a:gd name="T14" fmla="*/ 0 w 82"/>
                  <a:gd name="T15" fmla="*/ 107 h 107"/>
                  <a:gd name="T16" fmla="*/ 0 w 82"/>
                  <a:gd name="T17" fmla="*/ 0 h 107"/>
                  <a:gd name="T18" fmla="*/ 41 w 82"/>
                  <a:gd name="T19" fmla="*/ 0 h 107"/>
                  <a:gd name="T20" fmla="*/ 56 w 82"/>
                  <a:gd name="T21" fmla="*/ 2 h 107"/>
                  <a:gd name="T22" fmla="*/ 69 w 82"/>
                  <a:gd name="T23" fmla="*/ 8 h 107"/>
                  <a:gd name="T24" fmla="*/ 78 w 82"/>
                  <a:gd name="T25" fmla="*/ 18 h 107"/>
                  <a:gd name="T26" fmla="*/ 82 w 82"/>
                  <a:gd name="T27" fmla="*/ 34 h 107"/>
                  <a:gd name="T28" fmla="*/ 57 w 82"/>
                  <a:gd name="T29" fmla="*/ 34 h 107"/>
                  <a:gd name="T30" fmla="*/ 56 w 82"/>
                  <a:gd name="T31" fmla="*/ 26 h 107"/>
                  <a:gd name="T32" fmla="*/ 51 w 82"/>
                  <a:gd name="T33" fmla="*/ 21 h 107"/>
                  <a:gd name="T34" fmla="*/ 45 w 82"/>
                  <a:gd name="T35" fmla="*/ 18 h 107"/>
                  <a:gd name="T36" fmla="*/ 37 w 82"/>
                  <a:gd name="T37" fmla="*/ 17 h 107"/>
                  <a:gd name="T38" fmla="*/ 23 w 82"/>
                  <a:gd name="T39" fmla="*/ 17 h 107"/>
                  <a:gd name="T40" fmla="*/ 23 w 82"/>
                  <a:gd name="T41" fmla="*/ 52 h 107"/>
                  <a:gd name="T42" fmla="*/ 36 w 82"/>
                  <a:gd name="T43" fmla="*/ 52 h 107"/>
                  <a:gd name="T44" fmla="*/ 43 w 82"/>
                  <a:gd name="T45" fmla="*/ 51 h 107"/>
                  <a:gd name="T46" fmla="*/ 50 w 82"/>
                  <a:gd name="T47" fmla="*/ 49 h 107"/>
                  <a:gd name="T48" fmla="*/ 55 w 82"/>
                  <a:gd name="T49" fmla="*/ 43 h 107"/>
                  <a:gd name="T50" fmla="*/ 57 w 82"/>
                  <a:gd name="T51" fmla="*/ 3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107">
                    <a:moveTo>
                      <a:pt x="82" y="34"/>
                    </a:moveTo>
                    <a:cubicBezTo>
                      <a:pt x="82" y="40"/>
                      <a:pt x="80" y="46"/>
                      <a:pt x="78" y="50"/>
                    </a:cubicBezTo>
                    <a:cubicBezTo>
                      <a:pt x="76" y="55"/>
                      <a:pt x="73" y="58"/>
                      <a:pt x="69" y="61"/>
                    </a:cubicBezTo>
                    <a:cubicBezTo>
                      <a:pt x="65" y="64"/>
                      <a:pt x="60" y="66"/>
                      <a:pt x="55" y="67"/>
                    </a:cubicBezTo>
                    <a:cubicBezTo>
                      <a:pt x="50" y="68"/>
                      <a:pt x="45" y="69"/>
                      <a:pt x="40" y="69"/>
                    </a:cubicBezTo>
                    <a:cubicBezTo>
                      <a:pt x="23" y="69"/>
                      <a:pt x="23" y="69"/>
                      <a:pt x="23" y="69"/>
                    </a:cubicBezTo>
                    <a:cubicBezTo>
                      <a:pt x="23" y="107"/>
                      <a:pt x="23" y="107"/>
                      <a:pt x="23" y="107"/>
                    </a:cubicBezTo>
                    <a:cubicBezTo>
                      <a:pt x="0" y="107"/>
                      <a:pt x="0" y="107"/>
                      <a:pt x="0" y="107"/>
                    </a:cubicBezTo>
                    <a:cubicBezTo>
                      <a:pt x="0" y="0"/>
                      <a:pt x="0" y="0"/>
                      <a:pt x="0" y="0"/>
                    </a:cubicBezTo>
                    <a:cubicBezTo>
                      <a:pt x="41" y="0"/>
                      <a:pt x="41" y="0"/>
                      <a:pt x="41" y="0"/>
                    </a:cubicBezTo>
                    <a:cubicBezTo>
                      <a:pt x="46" y="0"/>
                      <a:pt x="51" y="1"/>
                      <a:pt x="56" y="2"/>
                    </a:cubicBezTo>
                    <a:cubicBezTo>
                      <a:pt x="61" y="3"/>
                      <a:pt x="66" y="5"/>
                      <a:pt x="69" y="8"/>
                    </a:cubicBezTo>
                    <a:cubicBezTo>
                      <a:pt x="73" y="11"/>
                      <a:pt x="76" y="14"/>
                      <a:pt x="78" y="18"/>
                    </a:cubicBezTo>
                    <a:cubicBezTo>
                      <a:pt x="81" y="23"/>
                      <a:pt x="82" y="28"/>
                      <a:pt x="82" y="34"/>
                    </a:cubicBezTo>
                    <a:close/>
                    <a:moveTo>
                      <a:pt x="57" y="34"/>
                    </a:moveTo>
                    <a:cubicBezTo>
                      <a:pt x="57" y="31"/>
                      <a:pt x="57" y="28"/>
                      <a:pt x="56" y="26"/>
                    </a:cubicBezTo>
                    <a:cubicBezTo>
                      <a:pt x="55" y="24"/>
                      <a:pt x="53" y="22"/>
                      <a:pt x="51" y="21"/>
                    </a:cubicBezTo>
                    <a:cubicBezTo>
                      <a:pt x="50" y="19"/>
                      <a:pt x="47" y="18"/>
                      <a:pt x="45" y="18"/>
                    </a:cubicBezTo>
                    <a:cubicBezTo>
                      <a:pt x="42" y="17"/>
                      <a:pt x="40" y="17"/>
                      <a:pt x="37" y="17"/>
                    </a:cubicBezTo>
                    <a:cubicBezTo>
                      <a:pt x="23" y="17"/>
                      <a:pt x="23" y="17"/>
                      <a:pt x="23" y="17"/>
                    </a:cubicBezTo>
                    <a:cubicBezTo>
                      <a:pt x="23" y="52"/>
                      <a:pt x="23" y="52"/>
                      <a:pt x="23" y="52"/>
                    </a:cubicBezTo>
                    <a:cubicBezTo>
                      <a:pt x="36" y="52"/>
                      <a:pt x="36" y="52"/>
                      <a:pt x="36" y="52"/>
                    </a:cubicBezTo>
                    <a:cubicBezTo>
                      <a:pt x="38" y="52"/>
                      <a:pt x="41" y="52"/>
                      <a:pt x="43" y="51"/>
                    </a:cubicBezTo>
                    <a:cubicBezTo>
                      <a:pt x="46" y="51"/>
                      <a:pt x="48" y="50"/>
                      <a:pt x="50" y="49"/>
                    </a:cubicBezTo>
                    <a:cubicBezTo>
                      <a:pt x="52" y="47"/>
                      <a:pt x="54" y="45"/>
                      <a:pt x="55" y="43"/>
                    </a:cubicBezTo>
                    <a:cubicBezTo>
                      <a:pt x="57" y="41"/>
                      <a:pt x="57" y="38"/>
                      <a:pt x="57"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4"/>
              <p:cNvSpPr>
                <a:spLocks/>
              </p:cNvSpPr>
              <p:nvPr/>
            </p:nvSpPr>
            <p:spPr bwMode="auto">
              <a:xfrm>
                <a:off x="2362200" y="3071813"/>
                <a:ext cx="334963" cy="414338"/>
              </a:xfrm>
              <a:custGeom>
                <a:avLst/>
                <a:gdLst>
                  <a:gd name="T0" fmla="*/ 86 w 89"/>
                  <a:gd name="T1" fmla="*/ 84 h 109"/>
                  <a:gd name="T2" fmla="*/ 78 w 89"/>
                  <a:gd name="T3" fmla="*/ 98 h 109"/>
                  <a:gd name="T4" fmla="*/ 64 w 89"/>
                  <a:gd name="T5" fmla="*/ 106 h 109"/>
                  <a:gd name="T6" fmla="*/ 44 w 89"/>
                  <a:gd name="T7" fmla="*/ 109 h 109"/>
                  <a:gd name="T8" fmla="*/ 25 w 89"/>
                  <a:gd name="T9" fmla="*/ 107 h 109"/>
                  <a:gd name="T10" fmla="*/ 11 w 89"/>
                  <a:gd name="T11" fmla="*/ 100 h 109"/>
                  <a:gd name="T12" fmla="*/ 2 w 89"/>
                  <a:gd name="T13" fmla="*/ 87 h 109"/>
                  <a:gd name="T14" fmla="*/ 0 w 89"/>
                  <a:gd name="T15" fmla="*/ 68 h 109"/>
                  <a:gd name="T16" fmla="*/ 0 w 89"/>
                  <a:gd name="T17" fmla="*/ 0 h 109"/>
                  <a:gd name="T18" fmla="*/ 22 w 89"/>
                  <a:gd name="T19" fmla="*/ 0 h 109"/>
                  <a:gd name="T20" fmla="*/ 22 w 89"/>
                  <a:gd name="T21" fmla="*/ 67 h 109"/>
                  <a:gd name="T22" fmla="*/ 27 w 89"/>
                  <a:gd name="T23" fmla="*/ 84 h 109"/>
                  <a:gd name="T24" fmla="*/ 44 w 89"/>
                  <a:gd name="T25" fmla="*/ 90 h 109"/>
                  <a:gd name="T26" fmla="*/ 62 w 89"/>
                  <a:gd name="T27" fmla="*/ 85 h 109"/>
                  <a:gd name="T28" fmla="*/ 67 w 89"/>
                  <a:gd name="T29" fmla="*/ 66 h 109"/>
                  <a:gd name="T30" fmla="*/ 67 w 89"/>
                  <a:gd name="T31" fmla="*/ 0 h 109"/>
                  <a:gd name="T32" fmla="*/ 89 w 89"/>
                  <a:gd name="T33" fmla="*/ 0 h 109"/>
                  <a:gd name="T34" fmla="*/ 89 w 89"/>
                  <a:gd name="T35" fmla="*/ 64 h 109"/>
                  <a:gd name="T36" fmla="*/ 86 w 89"/>
                  <a:gd name="T37" fmla="*/ 8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109">
                    <a:moveTo>
                      <a:pt x="86" y="84"/>
                    </a:moveTo>
                    <a:cubicBezTo>
                      <a:pt x="85" y="90"/>
                      <a:pt x="82" y="94"/>
                      <a:pt x="78" y="98"/>
                    </a:cubicBezTo>
                    <a:cubicBezTo>
                      <a:pt x="75" y="102"/>
                      <a:pt x="70" y="104"/>
                      <a:pt x="64" y="106"/>
                    </a:cubicBezTo>
                    <a:cubicBezTo>
                      <a:pt x="59" y="108"/>
                      <a:pt x="52" y="109"/>
                      <a:pt x="44" y="109"/>
                    </a:cubicBezTo>
                    <a:cubicBezTo>
                      <a:pt x="37" y="109"/>
                      <a:pt x="30" y="108"/>
                      <a:pt x="25" y="107"/>
                    </a:cubicBezTo>
                    <a:cubicBezTo>
                      <a:pt x="19" y="105"/>
                      <a:pt x="15" y="103"/>
                      <a:pt x="11" y="100"/>
                    </a:cubicBezTo>
                    <a:cubicBezTo>
                      <a:pt x="7" y="97"/>
                      <a:pt x="4" y="92"/>
                      <a:pt x="2" y="87"/>
                    </a:cubicBezTo>
                    <a:cubicBezTo>
                      <a:pt x="0" y="82"/>
                      <a:pt x="0" y="76"/>
                      <a:pt x="0" y="68"/>
                    </a:cubicBezTo>
                    <a:cubicBezTo>
                      <a:pt x="0" y="0"/>
                      <a:pt x="0" y="0"/>
                      <a:pt x="0" y="0"/>
                    </a:cubicBezTo>
                    <a:cubicBezTo>
                      <a:pt x="22" y="0"/>
                      <a:pt x="22" y="0"/>
                      <a:pt x="22" y="0"/>
                    </a:cubicBezTo>
                    <a:cubicBezTo>
                      <a:pt x="22" y="67"/>
                      <a:pt x="22" y="67"/>
                      <a:pt x="22" y="67"/>
                    </a:cubicBezTo>
                    <a:cubicBezTo>
                      <a:pt x="22" y="75"/>
                      <a:pt x="24" y="81"/>
                      <a:pt x="27" y="84"/>
                    </a:cubicBezTo>
                    <a:cubicBezTo>
                      <a:pt x="31" y="88"/>
                      <a:pt x="36" y="90"/>
                      <a:pt x="44" y="90"/>
                    </a:cubicBezTo>
                    <a:cubicBezTo>
                      <a:pt x="53" y="90"/>
                      <a:pt x="58" y="88"/>
                      <a:pt x="62" y="85"/>
                    </a:cubicBezTo>
                    <a:cubicBezTo>
                      <a:pt x="65" y="81"/>
                      <a:pt x="67" y="75"/>
                      <a:pt x="67" y="66"/>
                    </a:cubicBezTo>
                    <a:cubicBezTo>
                      <a:pt x="67" y="0"/>
                      <a:pt x="67" y="0"/>
                      <a:pt x="67" y="0"/>
                    </a:cubicBezTo>
                    <a:cubicBezTo>
                      <a:pt x="89" y="0"/>
                      <a:pt x="89" y="0"/>
                      <a:pt x="89" y="0"/>
                    </a:cubicBezTo>
                    <a:cubicBezTo>
                      <a:pt x="89" y="64"/>
                      <a:pt x="89" y="64"/>
                      <a:pt x="89" y="64"/>
                    </a:cubicBezTo>
                    <a:cubicBezTo>
                      <a:pt x="89" y="72"/>
                      <a:pt x="88" y="79"/>
                      <a:pt x="86"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5"/>
              <p:cNvSpPr>
                <a:spLocks/>
              </p:cNvSpPr>
              <p:nvPr/>
            </p:nvSpPr>
            <p:spPr bwMode="auto">
              <a:xfrm>
                <a:off x="2786063" y="3071813"/>
                <a:ext cx="263525" cy="406400"/>
              </a:xfrm>
              <a:custGeom>
                <a:avLst/>
                <a:gdLst>
                  <a:gd name="T0" fmla="*/ 0 w 166"/>
                  <a:gd name="T1" fmla="*/ 256 h 256"/>
                  <a:gd name="T2" fmla="*/ 0 w 166"/>
                  <a:gd name="T3" fmla="*/ 0 h 256"/>
                  <a:gd name="T4" fmla="*/ 55 w 166"/>
                  <a:gd name="T5" fmla="*/ 0 h 256"/>
                  <a:gd name="T6" fmla="*/ 55 w 166"/>
                  <a:gd name="T7" fmla="*/ 213 h 256"/>
                  <a:gd name="T8" fmla="*/ 166 w 166"/>
                  <a:gd name="T9" fmla="*/ 213 h 256"/>
                  <a:gd name="T10" fmla="*/ 166 w 166"/>
                  <a:gd name="T11" fmla="*/ 256 h 256"/>
                  <a:gd name="T12" fmla="*/ 0 w 166"/>
                  <a:gd name="T13" fmla="*/ 256 h 256"/>
                </a:gdLst>
                <a:ahLst/>
                <a:cxnLst>
                  <a:cxn ang="0">
                    <a:pos x="T0" y="T1"/>
                  </a:cxn>
                  <a:cxn ang="0">
                    <a:pos x="T2" y="T3"/>
                  </a:cxn>
                  <a:cxn ang="0">
                    <a:pos x="T4" y="T5"/>
                  </a:cxn>
                  <a:cxn ang="0">
                    <a:pos x="T6" y="T7"/>
                  </a:cxn>
                  <a:cxn ang="0">
                    <a:pos x="T8" y="T9"/>
                  </a:cxn>
                  <a:cxn ang="0">
                    <a:pos x="T10" y="T11"/>
                  </a:cxn>
                  <a:cxn ang="0">
                    <a:pos x="T12" y="T13"/>
                  </a:cxn>
                </a:cxnLst>
                <a:rect l="0" t="0" r="r" b="b"/>
                <a:pathLst>
                  <a:path w="166" h="256">
                    <a:moveTo>
                      <a:pt x="0" y="256"/>
                    </a:moveTo>
                    <a:lnTo>
                      <a:pt x="0" y="0"/>
                    </a:lnTo>
                    <a:lnTo>
                      <a:pt x="55" y="0"/>
                    </a:lnTo>
                    <a:lnTo>
                      <a:pt x="55" y="213"/>
                    </a:lnTo>
                    <a:lnTo>
                      <a:pt x="166" y="213"/>
                    </a:lnTo>
                    <a:lnTo>
                      <a:pt x="166" y="256"/>
                    </a:lnTo>
                    <a:lnTo>
                      <a:pt x="0" y="2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6"/>
              <p:cNvSpPr>
                <a:spLocks/>
              </p:cNvSpPr>
              <p:nvPr/>
            </p:nvSpPr>
            <p:spPr bwMode="auto">
              <a:xfrm>
                <a:off x="3060700" y="3063875"/>
                <a:ext cx="307975" cy="422275"/>
              </a:xfrm>
              <a:custGeom>
                <a:avLst/>
                <a:gdLst>
                  <a:gd name="T0" fmla="*/ 40 w 82"/>
                  <a:gd name="T1" fmla="*/ 111 h 111"/>
                  <a:gd name="T2" fmla="*/ 0 w 82"/>
                  <a:gd name="T3" fmla="*/ 89 h 111"/>
                  <a:gd name="T4" fmla="*/ 18 w 82"/>
                  <a:gd name="T5" fmla="*/ 80 h 111"/>
                  <a:gd name="T6" fmla="*/ 28 w 82"/>
                  <a:gd name="T7" fmla="*/ 90 h 111"/>
                  <a:gd name="T8" fmla="*/ 41 w 82"/>
                  <a:gd name="T9" fmla="*/ 93 h 111"/>
                  <a:gd name="T10" fmla="*/ 60 w 82"/>
                  <a:gd name="T11" fmla="*/ 81 h 111"/>
                  <a:gd name="T12" fmla="*/ 56 w 82"/>
                  <a:gd name="T13" fmla="*/ 72 h 111"/>
                  <a:gd name="T14" fmla="*/ 46 w 82"/>
                  <a:gd name="T15" fmla="*/ 66 h 111"/>
                  <a:gd name="T16" fmla="*/ 32 w 82"/>
                  <a:gd name="T17" fmla="*/ 62 h 111"/>
                  <a:gd name="T18" fmla="*/ 19 w 82"/>
                  <a:gd name="T19" fmla="*/ 56 h 111"/>
                  <a:gd name="T20" fmla="*/ 9 w 82"/>
                  <a:gd name="T21" fmla="*/ 47 h 111"/>
                  <a:gd name="T22" fmla="*/ 4 w 82"/>
                  <a:gd name="T23" fmla="*/ 32 h 111"/>
                  <a:gd name="T24" fmla="*/ 7 w 82"/>
                  <a:gd name="T25" fmla="*/ 19 h 111"/>
                  <a:gd name="T26" fmla="*/ 14 w 82"/>
                  <a:gd name="T27" fmla="*/ 9 h 111"/>
                  <a:gd name="T28" fmla="*/ 26 w 82"/>
                  <a:gd name="T29" fmla="*/ 2 h 111"/>
                  <a:gd name="T30" fmla="*/ 43 w 82"/>
                  <a:gd name="T31" fmla="*/ 0 h 111"/>
                  <a:gd name="T32" fmla="*/ 64 w 82"/>
                  <a:gd name="T33" fmla="*/ 3 h 111"/>
                  <a:gd name="T34" fmla="*/ 79 w 82"/>
                  <a:gd name="T35" fmla="*/ 15 h 111"/>
                  <a:gd name="T36" fmla="*/ 63 w 82"/>
                  <a:gd name="T37" fmla="*/ 26 h 111"/>
                  <a:gd name="T38" fmla="*/ 55 w 82"/>
                  <a:gd name="T39" fmla="*/ 20 h 111"/>
                  <a:gd name="T40" fmla="*/ 42 w 82"/>
                  <a:gd name="T41" fmla="*/ 18 h 111"/>
                  <a:gd name="T42" fmla="*/ 30 w 82"/>
                  <a:gd name="T43" fmla="*/ 21 h 111"/>
                  <a:gd name="T44" fmla="*/ 26 w 82"/>
                  <a:gd name="T45" fmla="*/ 29 h 111"/>
                  <a:gd name="T46" fmla="*/ 30 w 82"/>
                  <a:gd name="T47" fmla="*/ 37 h 111"/>
                  <a:gd name="T48" fmla="*/ 41 w 82"/>
                  <a:gd name="T49" fmla="*/ 42 h 111"/>
                  <a:gd name="T50" fmla="*/ 54 w 82"/>
                  <a:gd name="T51" fmla="*/ 47 h 111"/>
                  <a:gd name="T52" fmla="*/ 68 w 82"/>
                  <a:gd name="T53" fmla="*/ 52 h 111"/>
                  <a:gd name="T54" fmla="*/ 78 w 82"/>
                  <a:gd name="T55" fmla="*/ 62 h 111"/>
                  <a:gd name="T56" fmla="*/ 82 w 82"/>
                  <a:gd name="T57" fmla="*/ 78 h 111"/>
                  <a:gd name="T58" fmla="*/ 79 w 82"/>
                  <a:gd name="T59" fmla="*/ 93 h 111"/>
                  <a:gd name="T60" fmla="*/ 70 w 82"/>
                  <a:gd name="T61" fmla="*/ 103 h 111"/>
                  <a:gd name="T62" fmla="*/ 57 w 82"/>
                  <a:gd name="T63" fmla="*/ 109 h 111"/>
                  <a:gd name="T64" fmla="*/ 40 w 82"/>
                  <a:gd name="T6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111">
                    <a:moveTo>
                      <a:pt x="40" y="111"/>
                    </a:moveTo>
                    <a:cubicBezTo>
                      <a:pt x="20" y="111"/>
                      <a:pt x="7" y="104"/>
                      <a:pt x="0" y="89"/>
                    </a:cubicBezTo>
                    <a:cubicBezTo>
                      <a:pt x="18" y="80"/>
                      <a:pt x="18" y="80"/>
                      <a:pt x="18" y="80"/>
                    </a:cubicBezTo>
                    <a:cubicBezTo>
                      <a:pt x="21" y="85"/>
                      <a:pt x="24" y="88"/>
                      <a:pt x="28" y="90"/>
                    </a:cubicBezTo>
                    <a:cubicBezTo>
                      <a:pt x="31" y="92"/>
                      <a:pt x="36" y="93"/>
                      <a:pt x="41" y="93"/>
                    </a:cubicBezTo>
                    <a:cubicBezTo>
                      <a:pt x="54" y="93"/>
                      <a:pt x="60" y="89"/>
                      <a:pt x="60" y="81"/>
                    </a:cubicBezTo>
                    <a:cubicBezTo>
                      <a:pt x="60" y="77"/>
                      <a:pt x="59" y="74"/>
                      <a:pt x="56" y="72"/>
                    </a:cubicBezTo>
                    <a:cubicBezTo>
                      <a:pt x="53" y="69"/>
                      <a:pt x="50" y="68"/>
                      <a:pt x="46" y="66"/>
                    </a:cubicBezTo>
                    <a:cubicBezTo>
                      <a:pt x="41" y="65"/>
                      <a:pt x="37" y="63"/>
                      <a:pt x="32" y="62"/>
                    </a:cubicBezTo>
                    <a:cubicBezTo>
                      <a:pt x="27" y="60"/>
                      <a:pt x="23" y="58"/>
                      <a:pt x="19" y="56"/>
                    </a:cubicBezTo>
                    <a:cubicBezTo>
                      <a:pt x="15" y="54"/>
                      <a:pt x="11" y="51"/>
                      <a:pt x="9" y="47"/>
                    </a:cubicBezTo>
                    <a:cubicBezTo>
                      <a:pt x="6" y="43"/>
                      <a:pt x="4" y="38"/>
                      <a:pt x="4" y="32"/>
                    </a:cubicBezTo>
                    <a:cubicBezTo>
                      <a:pt x="4" y="27"/>
                      <a:pt x="5" y="23"/>
                      <a:pt x="7" y="19"/>
                    </a:cubicBezTo>
                    <a:cubicBezTo>
                      <a:pt x="8" y="15"/>
                      <a:pt x="11" y="12"/>
                      <a:pt x="14" y="9"/>
                    </a:cubicBezTo>
                    <a:cubicBezTo>
                      <a:pt x="17" y="6"/>
                      <a:pt x="21" y="4"/>
                      <a:pt x="26" y="2"/>
                    </a:cubicBezTo>
                    <a:cubicBezTo>
                      <a:pt x="31" y="1"/>
                      <a:pt x="37" y="0"/>
                      <a:pt x="43" y="0"/>
                    </a:cubicBezTo>
                    <a:cubicBezTo>
                      <a:pt x="51" y="0"/>
                      <a:pt x="58" y="1"/>
                      <a:pt x="64" y="3"/>
                    </a:cubicBezTo>
                    <a:cubicBezTo>
                      <a:pt x="70" y="6"/>
                      <a:pt x="75" y="10"/>
                      <a:pt x="79" y="15"/>
                    </a:cubicBezTo>
                    <a:cubicBezTo>
                      <a:pt x="63" y="26"/>
                      <a:pt x="63" y="26"/>
                      <a:pt x="63" y="26"/>
                    </a:cubicBezTo>
                    <a:cubicBezTo>
                      <a:pt x="61" y="23"/>
                      <a:pt x="58" y="21"/>
                      <a:pt x="55" y="20"/>
                    </a:cubicBezTo>
                    <a:cubicBezTo>
                      <a:pt x="51" y="18"/>
                      <a:pt x="47" y="18"/>
                      <a:pt x="42" y="18"/>
                    </a:cubicBezTo>
                    <a:cubicBezTo>
                      <a:pt x="37" y="18"/>
                      <a:pt x="33" y="19"/>
                      <a:pt x="30" y="21"/>
                    </a:cubicBezTo>
                    <a:cubicBezTo>
                      <a:pt x="27" y="23"/>
                      <a:pt x="26" y="26"/>
                      <a:pt x="26" y="29"/>
                    </a:cubicBezTo>
                    <a:cubicBezTo>
                      <a:pt x="26" y="32"/>
                      <a:pt x="27" y="35"/>
                      <a:pt x="30" y="37"/>
                    </a:cubicBezTo>
                    <a:cubicBezTo>
                      <a:pt x="33" y="39"/>
                      <a:pt x="36" y="41"/>
                      <a:pt x="41" y="42"/>
                    </a:cubicBezTo>
                    <a:cubicBezTo>
                      <a:pt x="45" y="44"/>
                      <a:pt x="49" y="45"/>
                      <a:pt x="54" y="47"/>
                    </a:cubicBezTo>
                    <a:cubicBezTo>
                      <a:pt x="59" y="48"/>
                      <a:pt x="63" y="50"/>
                      <a:pt x="68" y="52"/>
                    </a:cubicBezTo>
                    <a:cubicBezTo>
                      <a:pt x="72" y="55"/>
                      <a:pt x="75" y="58"/>
                      <a:pt x="78" y="62"/>
                    </a:cubicBezTo>
                    <a:cubicBezTo>
                      <a:pt x="81" y="66"/>
                      <a:pt x="82" y="71"/>
                      <a:pt x="82" y="78"/>
                    </a:cubicBezTo>
                    <a:cubicBezTo>
                      <a:pt x="82" y="84"/>
                      <a:pt x="81" y="88"/>
                      <a:pt x="79" y="93"/>
                    </a:cubicBezTo>
                    <a:cubicBezTo>
                      <a:pt x="77" y="97"/>
                      <a:pt x="74" y="100"/>
                      <a:pt x="70" y="103"/>
                    </a:cubicBezTo>
                    <a:cubicBezTo>
                      <a:pt x="67" y="105"/>
                      <a:pt x="62" y="107"/>
                      <a:pt x="57" y="109"/>
                    </a:cubicBezTo>
                    <a:cubicBezTo>
                      <a:pt x="52" y="110"/>
                      <a:pt x="46" y="111"/>
                      <a:pt x="40"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p:cNvSpPr>
              <p:nvPr/>
            </p:nvSpPr>
            <p:spPr bwMode="auto">
              <a:xfrm>
                <a:off x="3424238" y="3071813"/>
                <a:ext cx="282575" cy="406400"/>
              </a:xfrm>
              <a:custGeom>
                <a:avLst/>
                <a:gdLst>
                  <a:gd name="T0" fmla="*/ 0 w 178"/>
                  <a:gd name="T1" fmla="*/ 256 h 256"/>
                  <a:gd name="T2" fmla="*/ 0 w 178"/>
                  <a:gd name="T3" fmla="*/ 0 h 256"/>
                  <a:gd name="T4" fmla="*/ 159 w 178"/>
                  <a:gd name="T5" fmla="*/ 0 h 256"/>
                  <a:gd name="T6" fmla="*/ 159 w 178"/>
                  <a:gd name="T7" fmla="*/ 43 h 256"/>
                  <a:gd name="T8" fmla="*/ 52 w 178"/>
                  <a:gd name="T9" fmla="*/ 43 h 256"/>
                  <a:gd name="T10" fmla="*/ 52 w 178"/>
                  <a:gd name="T11" fmla="*/ 103 h 256"/>
                  <a:gd name="T12" fmla="*/ 138 w 178"/>
                  <a:gd name="T13" fmla="*/ 103 h 256"/>
                  <a:gd name="T14" fmla="*/ 138 w 178"/>
                  <a:gd name="T15" fmla="*/ 146 h 256"/>
                  <a:gd name="T16" fmla="*/ 52 w 178"/>
                  <a:gd name="T17" fmla="*/ 146 h 256"/>
                  <a:gd name="T18" fmla="*/ 52 w 178"/>
                  <a:gd name="T19" fmla="*/ 213 h 256"/>
                  <a:gd name="T20" fmla="*/ 178 w 178"/>
                  <a:gd name="T21" fmla="*/ 213 h 256"/>
                  <a:gd name="T22" fmla="*/ 178 w 178"/>
                  <a:gd name="T23" fmla="*/ 256 h 256"/>
                  <a:gd name="T24" fmla="*/ 0 w 178"/>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256">
                    <a:moveTo>
                      <a:pt x="0" y="256"/>
                    </a:moveTo>
                    <a:lnTo>
                      <a:pt x="0" y="0"/>
                    </a:lnTo>
                    <a:lnTo>
                      <a:pt x="159" y="0"/>
                    </a:lnTo>
                    <a:lnTo>
                      <a:pt x="159" y="43"/>
                    </a:lnTo>
                    <a:lnTo>
                      <a:pt x="52" y="43"/>
                    </a:lnTo>
                    <a:lnTo>
                      <a:pt x="52" y="103"/>
                    </a:lnTo>
                    <a:lnTo>
                      <a:pt x="138" y="103"/>
                    </a:lnTo>
                    <a:lnTo>
                      <a:pt x="138" y="146"/>
                    </a:lnTo>
                    <a:lnTo>
                      <a:pt x="52" y="146"/>
                    </a:lnTo>
                    <a:lnTo>
                      <a:pt x="52" y="213"/>
                    </a:lnTo>
                    <a:lnTo>
                      <a:pt x="178" y="213"/>
                    </a:lnTo>
                    <a:lnTo>
                      <a:pt x="178" y="256"/>
                    </a:lnTo>
                    <a:lnTo>
                      <a:pt x="0" y="2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 name="Freeform 18"/>
            <p:cNvSpPr>
              <a:spLocks/>
            </p:cNvSpPr>
            <p:nvPr/>
          </p:nvSpPr>
          <p:spPr bwMode="auto">
            <a:xfrm>
              <a:off x="2971371" y="3697076"/>
              <a:ext cx="1566044" cy="68262"/>
            </a:xfrm>
            <a:custGeom>
              <a:avLst/>
              <a:gdLst>
                <a:gd name="T0" fmla="*/ 2 w 1265"/>
                <a:gd name="T1" fmla="*/ 0 h 43"/>
                <a:gd name="T2" fmla="*/ 0 w 1265"/>
                <a:gd name="T3" fmla="*/ 43 h 43"/>
                <a:gd name="T4" fmla="*/ 1265 w 1265"/>
                <a:gd name="T5" fmla="*/ 43 h 43"/>
                <a:gd name="T6" fmla="*/ 1265 w 1265"/>
                <a:gd name="T7" fmla="*/ 0 h 43"/>
                <a:gd name="T8" fmla="*/ 2 w 1265"/>
                <a:gd name="T9" fmla="*/ 0 h 43"/>
              </a:gdLst>
              <a:ahLst/>
              <a:cxnLst>
                <a:cxn ang="0">
                  <a:pos x="T0" y="T1"/>
                </a:cxn>
                <a:cxn ang="0">
                  <a:pos x="T2" y="T3"/>
                </a:cxn>
                <a:cxn ang="0">
                  <a:pos x="T4" y="T5"/>
                </a:cxn>
                <a:cxn ang="0">
                  <a:pos x="T6" y="T7"/>
                </a:cxn>
                <a:cxn ang="0">
                  <a:pos x="T8" y="T9"/>
                </a:cxn>
              </a:cxnLst>
              <a:rect l="0" t="0" r="r" b="b"/>
              <a:pathLst>
                <a:path w="1265" h="43">
                  <a:moveTo>
                    <a:pt x="2" y="0"/>
                  </a:moveTo>
                  <a:lnTo>
                    <a:pt x="0" y="43"/>
                  </a:lnTo>
                  <a:lnTo>
                    <a:pt x="1265" y="43"/>
                  </a:lnTo>
                  <a:lnTo>
                    <a:pt x="1265"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p:nvSpPr>
          <p:spPr bwMode="auto">
            <a:xfrm>
              <a:off x="5353390" y="3697076"/>
              <a:ext cx="3274355" cy="68244"/>
            </a:xfrm>
            <a:custGeom>
              <a:avLst/>
              <a:gdLst>
                <a:gd name="T0" fmla="*/ 1102 w 1111"/>
                <a:gd name="T1" fmla="*/ 0 h 18"/>
                <a:gd name="T2" fmla="*/ 0 w 1111"/>
                <a:gd name="T3" fmla="*/ 0 h 18"/>
                <a:gd name="T4" fmla="*/ 0 w 1111"/>
                <a:gd name="T5" fmla="*/ 18 h 18"/>
                <a:gd name="T6" fmla="*/ 1 w 1111"/>
                <a:gd name="T7" fmla="*/ 18 h 18"/>
                <a:gd name="T8" fmla="*/ 1102 w 1111"/>
                <a:gd name="T9" fmla="*/ 18 h 18"/>
                <a:gd name="T10" fmla="*/ 1111 w 1111"/>
                <a:gd name="T11" fmla="*/ 9 h 18"/>
                <a:gd name="T12" fmla="*/ 1102 w 1111"/>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111" h="18">
                  <a:moveTo>
                    <a:pt x="1102" y="0"/>
                  </a:moveTo>
                  <a:cubicBezTo>
                    <a:pt x="0" y="0"/>
                    <a:pt x="0" y="0"/>
                    <a:pt x="0" y="0"/>
                  </a:cubicBezTo>
                  <a:cubicBezTo>
                    <a:pt x="0" y="18"/>
                    <a:pt x="0" y="18"/>
                    <a:pt x="0" y="18"/>
                  </a:cubicBezTo>
                  <a:cubicBezTo>
                    <a:pt x="1" y="18"/>
                    <a:pt x="1" y="18"/>
                    <a:pt x="1" y="18"/>
                  </a:cubicBezTo>
                  <a:cubicBezTo>
                    <a:pt x="1102" y="18"/>
                    <a:pt x="1102" y="18"/>
                    <a:pt x="1102" y="18"/>
                  </a:cubicBezTo>
                  <a:cubicBezTo>
                    <a:pt x="1107" y="18"/>
                    <a:pt x="1111" y="14"/>
                    <a:pt x="1111" y="9"/>
                  </a:cubicBezTo>
                  <a:cubicBezTo>
                    <a:pt x="1111" y="4"/>
                    <a:pt x="1107" y="0"/>
                    <a:pt x="110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0"/>
            <p:cNvSpPr>
              <a:spLocks/>
            </p:cNvSpPr>
            <p:nvPr/>
          </p:nvSpPr>
          <p:spPr bwMode="auto">
            <a:xfrm>
              <a:off x="4531700" y="3351416"/>
              <a:ext cx="825500" cy="727075"/>
            </a:xfrm>
            <a:custGeom>
              <a:avLst/>
              <a:gdLst>
                <a:gd name="T0" fmla="*/ 220 w 220"/>
                <a:gd name="T1" fmla="*/ 91 h 191"/>
                <a:gd name="T2" fmla="*/ 218 w 220"/>
                <a:gd name="T3" fmla="*/ 91 h 191"/>
                <a:gd name="T4" fmla="*/ 214 w 220"/>
                <a:gd name="T5" fmla="*/ 92 h 191"/>
                <a:gd name="T6" fmla="*/ 199 w 220"/>
                <a:gd name="T7" fmla="*/ 101 h 191"/>
                <a:gd name="T8" fmla="*/ 163 w 220"/>
                <a:gd name="T9" fmla="*/ 6 h 191"/>
                <a:gd name="T10" fmla="*/ 155 w 220"/>
                <a:gd name="T11" fmla="*/ 0 h 191"/>
                <a:gd name="T12" fmla="*/ 146 w 220"/>
                <a:gd name="T13" fmla="*/ 6 h 191"/>
                <a:gd name="T14" fmla="*/ 96 w 220"/>
                <a:gd name="T15" fmla="*/ 161 h 191"/>
                <a:gd name="T16" fmla="*/ 39 w 220"/>
                <a:gd name="T17" fmla="*/ 68 h 191"/>
                <a:gd name="T18" fmla="*/ 33 w 220"/>
                <a:gd name="T19" fmla="*/ 64 h 191"/>
                <a:gd name="T20" fmla="*/ 25 w 220"/>
                <a:gd name="T21" fmla="*/ 67 h 191"/>
                <a:gd name="T22" fmla="*/ 0 w 220"/>
                <a:gd name="T23" fmla="*/ 91 h 191"/>
                <a:gd name="T24" fmla="*/ 0 w 220"/>
                <a:gd name="T25" fmla="*/ 91 h 191"/>
                <a:gd name="T26" fmla="*/ 0 w 220"/>
                <a:gd name="T27" fmla="*/ 109 h 191"/>
                <a:gd name="T28" fmla="*/ 4 w 220"/>
                <a:gd name="T29" fmla="*/ 109 h 191"/>
                <a:gd name="T30" fmla="*/ 10 w 220"/>
                <a:gd name="T31" fmla="*/ 106 h 191"/>
                <a:gd name="T32" fmla="*/ 30 w 220"/>
                <a:gd name="T33" fmla="*/ 87 h 191"/>
                <a:gd name="T34" fmla="*/ 91 w 220"/>
                <a:gd name="T35" fmla="*/ 187 h 191"/>
                <a:gd name="T36" fmla="*/ 99 w 220"/>
                <a:gd name="T37" fmla="*/ 191 h 191"/>
                <a:gd name="T38" fmla="*/ 100 w 220"/>
                <a:gd name="T39" fmla="*/ 191 h 191"/>
                <a:gd name="T40" fmla="*/ 107 w 220"/>
                <a:gd name="T41" fmla="*/ 185 h 191"/>
                <a:gd name="T42" fmla="*/ 156 w 220"/>
                <a:gd name="T43" fmla="*/ 36 h 191"/>
                <a:gd name="T44" fmla="*/ 186 w 220"/>
                <a:gd name="T45" fmla="*/ 117 h 191"/>
                <a:gd name="T46" fmla="*/ 191 w 220"/>
                <a:gd name="T47" fmla="*/ 122 h 191"/>
                <a:gd name="T48" fmla="*/ 199 w 220"/>
                <a:gd name="T49" fmla="*/ 121 h 191"/>
                <a:gd name="T50" fmla="*/ 220 w 220"/>
                <a:gd name="T51" fmla="*/ 109 h 191"/>
                <a:gd name="T52" fmla="*/ 220 w 220"/>
                <a:gd name="T53" fmla="*/ 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0" h="191">
                  <a:moveTo>
                    <a:pt x="220" y="91"/>
                  </a:moveTo>
                  <a:cubicBezTo>
                    <a:pt x="218" y="91"/>
                    <a:pt x="218" y="91"/>
                    <a:pt x="218" y="91"/>
                  </a:cubicBezTo>
                  <a:cubicBezTo>
                    <a:pt x="217" y="91"/>
                    <a:pt x="215" y="91"/>
                    <a:pt x="214" y="92"/>
                  </a:cubicBezTo>
                  <a:cubicBezTo>
                    <a:pt x="199" y="101"/>
                    <a:pt x="199" y="101"/>
                    <a:pt x="199" y="101"/>
                  </a:cubicBezTo>
                  <a:cubicBezTo>
                    <a:pt x="163" y="6"/>
                    <a:pt x="163" y="6"/>
                    <a:pt x="163" y="6"/>
                  </a:cubicBezTo>
                  <a:cubicBezTo>
                    <a:pt x="162" y="2"/>
                    <a:pt x="158" y="0"/>
                    <a:pt x="155" y="0"/>
                  </a:cubicBezTo>
                  <a:cubicBezTo>
                    <a:pt x="151" y="0"/>
                    <a:pt x="148" y="3"/>
                    <a:pt x="146" y="6"/>
                  </a:cubicBezTo>
                  <a:cubicBezTo>
                    <a:pt x="96" y="161"/>
                    <a:pt x="96" y="161"/>
                    <a:pt x="96" y="161"/>
                  </a:cubicBezTo>
                  <a:cubicBezTo>
                    <a:pt x="39" y="68"/>
                    <a:pt x="39" y="68"/>
                    <a:pt x="39" y="68"/>
                  </a:cubicBezTo>
                  <a:cubicBezTo>
                    <a:pt x="38" y="66"/>
                    <a:pt x="35" y="65"/>
                    <a:pt x="33" y="64"/>
                  </a:cubicBezTo>
                  <a:cubicBezTo>
                    <a:pt x="30" y="64"/>
                    <a:pt x="27" y="65"/>
                    <a:pt x="25" y="67"/>
                  </a:cubicBezTo>
                  <a:cubicBezTo>
                    <a:pt x="0" y="91"/>
                    <a:pt x="0" y="91"/>
                    <a:pt x="0" y="91"/>
                  </a:cubicBezTo>
                  <a:cubicBezTo>
                    <a:pt x="0" y="91"/>
                    <a:pt x="0" y="91"/>
                    <a:pt x="0" y="91"/>
                  </a:cubicBezTo>
                  <a:cubicBezTo>
                    <a:pt x="0" y="109"/>
                    <a:pt x="0" y="109"/>
                    <a:pt x="0" y="109"/>
                  </a:cubicBezTo>
                  <a:cubicBezTo>
                    <a:pt x="4" y="109"/>
                    <a:pt x="4" y="109"/>
                    <a:pt x="4" y="109"/>
                  </a:cubicBezTo>
                  <a:cubicBezTo>
                    <a:pt x="6" y="109"/>
                    <a:pt x="8" y="108"/>
                    <a:pt x="10" y="106"/>
                  </a:cubicBezTo>
                  <a:cubicBezTo>
                    <a:pt x="30" y="87"/>
                    <a:pt x="30" y="87"/>
                    <a:pt x="30" y="87"/>
                  </a:cubicBezTo>
                  <a:cubicBezTo>
                    <a:pt x="91" y="187"/>
                    <a:pt x="91" y="187"/>
                    <a:pt x="91" y="187"/>
                  </a:cubicBezTo>
                  <a:cubicBezTo>
                    <a:pt x="93" y="189"/>
                    <a:pt x="96" y="191"/>
                    <a:pt x="99" y="191"/>
                  </a:cubicBezTo>
                  <a:cubicBezTo>
                    <a:pt x="99" y="191"/>
                    <a:pt x="99" y="191"/>
                    <a:pt x="100" y="191"/>
                  </a:cubicBezTo>
                  <a:cubicBezTo>
                    <a:pt x="103" y="191"/>
                    <a:pt x="106" y="188"/>
                    <a:pt x="107" y="185"/>
                  </a:cubicBezTo>
                  <a:cubicBezTo>
                    <a:pt x="156" y="36"/>
                    <a:pt x="156" y="36"/>
                    <a:pt x="156" y="36"/>
                  </a:cubicBezTo>
                  <a:cubicBezTo>
                    <a:pt x="186" y="117"/>
                    <a:pt x="186" y="117"/>
                    <a:pt x="186" y="117"/>
                  </a:cubicBezTo>
                  <a:cubicBezTo>
                    <a:pt x="187" y="119"/>
                    <a:pt x="189" y="121"/>
                    <a:pt x="191" y="122"/>
                  </a:cubicBezTo>
                  <a:cubicBezTo>
                    <a:pt x="194" y="123"/>
                    <a:pt x="196" y="123"/>
                    <a:pt x="199" y="121"/>
                  </a:cubicBezTo>
                  <a:cubicBezTo>
                    <a:pt x="220" y="109"/>
                    <a:pt x="220" y="109"/>
                    <a:pt x="220" y="109"/>
                  </a:cubicBezTo>
                  <a:lnTo>
                    <a:pt x="22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 name="Title 10">
            <a:extLst>
              <a:ext uri="{FF2B5EF4-FFF2-40B4-BE49-F238E27FC236}">
                <a16:creationId xmlns:a16="http://schemas.microsoft.com/office/drawing/2014/main" id="{09ABA60A-89E0-45B9-8B11-493EF534C8D4}"/>
              </a:ext>
            </a:extLst>
          </p:cNvPr>
          <p:cNvSpPr txBox="1">
            <a:spLocks/>
          </p:cNvSpPr>
          <p:nvPr/>
        </p:nvSpPr>
        <p:spPr>
          <a:xfrm>
            <a:off x="604336" y="4010613"/>
            <a:ext cx="3807360" cy="619813"/>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ts val="0"/>
              </a:spcAft>
              <a:buNone/>
              <a:defRPr sz="7000" b="1" i="0" u="none" kern="1200" spc="-300" baseline="0">
                <a:solidFill>
                  <a:schemeClr val="bg1"/>
                </a:solidFill>
                <a:latin typeface="+mj-lt"/>
                <a:ea typeface="+mj-ea"/>
                <a:cs typeface="+mj-cs"/>
                <a:sym typeface="Trebuchet MS" panose="020B0603020202020204" pitchFamily="34" charset="0"/>
              </a:defRPr>
            </a:lvl1pPr>
          </a:lstStyle>
          <a:p>
            <a:r>
              <a:rPr lang="en-US" sz="2800" dirty="0"/>
              <a:t>Q4  &amp; 2021 Survey Results</a:t>
            </a:r>
          </a:p>
        </p:txBody>
      </p:sp>
      <p:sp>
        <p:nvSpPr>
          <p:cNvPr id="27" name="Title 10">
            <a:extLst>
              <a:ext uri="{FF2B5EF4-FFF2-40B4-BE49-F238E27FC236}">
                <a16:creationId xmlns:a16="http://schemas.microsoft.com/office/drawing/2014/main" id="{23C87D40-B7D3-4EE3-BA5A-2CEE0F4B5F04}"/>
              </a:ext>
            </a:extLst>
          </p:cNvPr>
          <p:cNvSpPr txBox="1">
            <a:spLocks/>
          </p:cNvSpPr>
          <p:nvPr/>
        </p:nvSpPr>
        <p:spPr>
          <a:xfrm>
            <a:off x="621877" y="3299154"/>
            <a:ext cx="1736307" cy="534200"/>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ts val="0"/>
              </a:spcAft>
              <a:buNone/>
              <a:defRPr sz="7000" b="1" i="0" u="none" kern="1200" spc="-300" baseline="0">
                <a:solidFill>
                  <a:schemeClr val="bg1"/>
                </a:solidFill>
                <a:latin typeface="+mj-lt"/>
                <a:ea typeface="+mj-ea"/>
                <a:cs typeface="+mj-cs"/>
                <a:sym typeface="Trebuchet MS" panose="020B0603020202020204" pitchFamily="34" charset="0"/>
              </a:defRPr>
            </a:lvl1pPr>
          </a:lstStyle>
          <a:p>
            <a:r>
              <a:rPr lang="en-US" sz="4200" b="0" dirty="0"/>
              <a:t>Digital</a:t>
            </a:r>
          </a:p>
        </p:txBody>
      </p:sp>
      <p:pic>
        <p:nvPicPr>
          <p:cNvPr id="22" name="Picture 21">
            <a:extLst>
              <a:ext uri="{FF2B5EF4-FFF2-40B4-BE49-F238E27FC236}">
                <a16:creationId xmlns:a16="http://schemas.microsoft.com/office/drawing/2014/main" id="{C1FADE15-7B83-41FC-9973-B7F7368D960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47026"/>
          <a:stretch/>
        </p:blipFill>
        <p:spPr>
          <a:xfrm>
            <a:off x="604336" y="788749"/>
            <a:ext cx="1756715" cy="690432"/>
          </a:xfrm>
          <a:prstGeom prst="rect">
            <a:avLst/>
          </a:prstGeom>
        </p:spPr>
      </p:pic>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736"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10633"/>
            <a:ext cx="12192000" cy="6858000"/>
          </a:xfrm>
          <a:prstGeom prst="rect">
            <a:avLst/>
          </a:prstGeom>
        </p:spPr>
      </p:pic>
      <p:sp>
        <p:nvSpPr>
          <p:cNvPr id="9" name="Title 3"/>
          <p:cNvSpPr txBox="1">
            <a:spLocks/>
          </p:cNvSpPr>
          <p:nvPr/>
        </p:nvSpPr>
        <p:spPr>
          <a:xfrm>
            <a:off x="1115715" y="188154"/>
            <a:ext cx="10933200" cy="470898"/>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3400" dirty="0">
                <a:solidFill>
                  <a:srgbClr val="FFFFFF"/>
                </a:solidFill>
                <a:effectLst>
                  <a:outerShdw blurRad="38100" dist="38100" dir="2700000" algn="tl">
                    <a:srgbClr val="000000">
                      <a:alpha val="43137"/>
                    </a:srgbClr>
                  </a:outerShdw>
                </a:effectLst>
              </a:rPr>
              <a:t>Our Journey in 2021…</a:t>
            </a:r>
          </a:p>
        </p:txBody>
      </p:sp>
      <p:sp>
        <p:nvSpPr>
          <p:cNvPr id="10" name="Rectangle 9"/>
          <p:cNvSpPr/>
          <p:nvPr/>
        </p:nvSpPr>
        <p:spPr>
          <a:xfrm>
            <a:off x="4268691" y="921395"/>
            <a:ext cx="7302911" cy="5688126"/>
          </a:xfrm>
          <a:prstGeom prst="rect">
            <a:avLst/>
          </a:prstGeom>
          <a:solidFill>
            <a:schemeClr val="accent6">
              <a:lumMod val="60000"/>
              <a:lumOff val="40000"/>
              <a:alpha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rgbClr val="FFFFFF"/>
              </a:solidFill>
              <a:effectLst>
                <a:outerShdw blurRad="38100" dist="38100" dir="2700000" algn="tl">
                  <a:srgbClr val="000000">
                    <a:alpha val="43137"/>
                  </a:srgbClr>
                </a:outerShdw>
              </a:effectLst>
            </a:endParaRPr>
          </a:p>
        </p:txBody>
      </p:sp>
      <p:sp>
        <p:nvSpPr>
          <p:cNvPr id="7" name="Rectangle 6"/>
          <p:cNvSpPr/>
          <p:nvPr/>
        </p:nvSpPr>
        <p:spPr>
          <a:xfrm>
            <a:off x="6050406" y="1165552"/>
            <a:ext cx="5511673"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Average response rate (24% is 2021 target)</a:t>
            </a:r>
          </a:p>
        </p:txBody>
      </p:sp>
      <p:sp>
        <p:nvSpPr>
          <p:cNvPr id="13" name="Rectangle 12"/>
          <p:cNvSpPr/>
          <p:nvPr/>
        </p:nvSpPr>
        <p:spPr>
          <a:xfrm>
            <a:off x="6059929" y="2792582"/>
            <a:ext cx="5511673"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Total responses</a:t>
            </a:r>
          </a:p>
        </p:txBody>
      </p:sp>
      <p:sp>
        <p:nvSpPr>
          <p:cNvPr id="14" name="Rectangle 13"/>
          <p:cNvSpPr/>
          <p:nvPr/>
        </p:nvSpPr>
        <p:spPr>
          <a:xfrm>
            <a:off x="6059930" y="3582790"/>
            <a:ext cx="5311358"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Total comments</a:t>
            </a:r>
          </a:p>
        </p:txBody>
      </p:sp>
      <p:sp>
        <p:nvSpPr>
          <p:cNvPr id="16" name="Rectangle 15"/>
          <p:cNvSpPr/>
          <p:nvPr/>
        </p:nvSpPr>
        <p:spPr>
          <a:xfrm>
            <a:off x="6059930" y="4382054"/>
            <a:ext cx="5311358"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Total words</a:t>
            </a:r>
          </a:p>
        </p:txBody>
      </p:sp>
      <p:sp>
        <p:nvSpPr>
          <p:cNvPr id="17" name="Rectangle 16"/>
          <p:cNvSpPr/>
          <p:nvPr/>
        </p:nvSpPr>
        <p:spPr>
          <a:xfrm>
            <a:off x="4636317" y="5181318"/>
            <a:ext cx="6925762" cy="129899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dirty="0">
                <a:solidFill>
                  <a:srgbClr val="FFFFFF"/>
                </a:solidFill>
                <a:effectLst>
                  <a:outerShdw blurRad="38100" dist="38100" dir="2700000" algn="tl">
                    <a:srgbClr val="000000">
                      <a:alpha val="43137"/>
                    </a:srgbClr>
                  </a:outerShdw>
                </a:effectLst>
              </a:rPr>
              <a:t>In 2021 we decided to increase our response rate from 23% to 24% - we met our target! (Rates: Q1 - 24%, Q2 - 23%, Q3 – 24%, Q4 – 25%)</a:t>
            </a:r>
          </a:p>
          <a:p>
            <a:pPr marL="285750" indent="-285750">
              <a:buFont typeface="Arial" panose="020B0604020202020204" pitchFamily="34" charset="0"/>
              <a:buChar char="•"/>
            </a:pPr>
            <a:endParaRPr lang="en-US" sz="1200" dirty="0">
              <a:solidFill>
                <a:srgbClr val="FFFFFF"/>
              </a:solidFill>
              <a:effectLst>
                <a:outerShdw blurRad="38100" dist="38100" dir="2700000" algn="tl">
                  <a:srgbClr val="000000">
                    <a:alpha val="43137"/>
                  </a:srgbClr>
                </a:outerShdw>
              </a:effectLst>
            </a:endParaRPr>
          </a:p>
          <a:p>
            <a:pPr marL="285750" indent="-285750">
              <a:buFont typeface="Arial" panose="020B0604020202020204" pitchFamily="34" charset="0"/>
              <a:buChar char="•"/>
            </a:pPr>
            <a:r>
              <a:rPr lang="en-US" sz="1600" dirty="0">
                <a:solidFill>
                  <a:srgbClr val="FFFFFF"/>
                </a:solidFill>
                <a:effectLst>
                  <a:outerShdw blurRad="38100" dist="38100" dir="2700000" algn="tl">
                    <a:srgbClr val="000000">
                      <a:alpha val="43137"/>
                    </a:srgbClr>
                  </a:outerShdw>
                </a:effectLst>
              </a:rPr>
              <a:t>Q4 2021 achieved the highest response rate out of all quarters in 2021</a:t>
            </a:r>
          </a:p>
          <a:p>
            <a:pPr marL="285750" indent="-285750">
              <a:buFont typeface="Arial" panose="020B0604020202020204" pitchFamily="34" charset="0"/>
              <a:buChar char="•"/>
            </a:pPr>
            <a:endParaRPr lang="en-US" sz="1200" dirty="0">
              <a:solidFill>
                <a:srgbClr val="FFFFFF"/>
              </a:solidFill>
              <a:effectLst>
                <a:outerShdw blurRad="38100" dist="38100" dir="2700000" algn="tl">
                  <a:srgbClr val="000000">
                    <a:alpha val="43137"/>
                  </a:srgbClr>
                </a:outerShdw>
              </a:effectLst>
            </a:endParaRPr>
          </a:p>
          <a:p>
            <a:pPr marL="285750" indent="-285750">
              <a:buFont typeface="Arial" panose="020B0604020202020204" pitchFamily="34" charset="0"/>
              <a:buChar char="•"/>
            </a:pPr>
            <a:r>
              <a:rPr lang="en-US" sz="1600" dirty="0">
                <a:solidFill>
                  <a:srgbClr val="FFFFFF"/>
                </a:solidFill>
                <a:effectLst>
                  <a:outerShdw blurRad="38100" dist="38100" dir="2700000" algn="tl">
                    <a:srgbClr val="000000">
                      <a:alpha val="43137"/>
                    </a:srgbClr>
                  </a:outerShdw>
                </a:effectLst>
              </a:rPr>
              <a:t>AP response rate in Q4 was 27%, an all time high out of 8 quarters</a:t>
            </a:r>
          </a:p>
        </p:txBody>
      </p:sp>
      <p:sp>
        <p:nvSpPr>
          <p:cNvPr id="21" name="Rectangle 20"/>
          <p:cNvSpPr/>
          <p:nvPr/>
        </p:nvSpPr>
        <p:spPr>
          <a:xfrm>
            <a:off x="4642823" y="1146547"/>
            <a:ext cx="1255188"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5E7E"/>
                </a:solidFill>
              </a:rPr>
              <a:t>24%</a:t>
            </a:r>
          </a:p>
        </p:txBody>
      </p:sp>
      <p:sp>
        <p:nvSpPr>
          <p:cNvPr id="22" name="Rectangle 21"/>
          <p:cNvSpPr/>
          <p:nvPr/>
        </p:nvSpPr>
        <p:spPr>
          <a:xfrm>
            <a:off x="4642823" y="2772588"/>
            <a:ext cx="1274234"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5E7E"/>
                </a:solidFill>
              </a:rPr>
              <a:t>4,975</a:t>
            </a:r>
          </a:p>
        </p:txBody>
      </p:sp>
      <p:sp>
        <p:nvSpPr>
          <p:cNvPr id="23" name="Rectangle 22"/>
          <p:cNvSpPr/>
          <p:nvPr/>
        </p:nvSpPr>
        <p:spPr>
          <a:xfrm>
            <a:off x="4652346" y="3566567"/>
            <a:ext cx="1274234"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5E7E"/>
                </a:solidFill>
              </a:rPr>
              <a:t>20.8k</a:t>
            </a:r>
          </a:p>
        </p:txBody>
      </p:sp>
      <p:sp>
        <p:nvSpPr>
          <p:cNvPr id="24" name="Rectangle 23"/>
          <p:cNvSpPr/>
          <p:nvPr/>
        </p:nvSpPr>
        <p:spPr>
          <a:xfrm>
            <a:off x="4652346" y="4382054"/>
            <a:ext cx="1274234"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295E7E"/>
                </a:solidFill>
              </a:rPr>
              <a:t>277k</a:t>
            </a:r>
          </a:p>
        </p:txBody>
      </p:sp>
      <p:sp>
        <p:nvSpPr>
          <p:cNvPr id="25" name="Rectangle 24"/>
          <p:cNvSpPr/>
          <p:nvPr/>
        </p:nvSpPr>
        <p:spPr>
          <a:xfrm>
            <a:off x="4636317" y="1951280"/>
            <a:ext cx="1274234" cy="677370"/>
          </a:xfrm>
          <a:prstGeom prst="rect">
            <a:avLst/>
          </a:prstGeom>
          <a:solidFill>
            <a:schemeClr val="bg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err="1">
                <a:solidFill>
                  <a:srgbClr val="295E7E"/>
                </a:solidFill>
              </a:rPr>
              <a:t>CEMA</a:t>
            </a:r>
            <a:endParaRPr lang="en-US" sz="2800" dirty="0">
              <a:solidFill>
                <a:srgbClr val="295E7E"/>
              </a:solidFill>
            </a:endParaRPr>
          </a:p>
        </p:txBody>
      </p:sp>
      <p:sp>
        <p:nvSpPr>
          <p:cNvPr id="26" name="Rectangle 25"/>
          <p:cNvSpPr/>
          <p:nvPr/>
        </p:nvSpPr>
        <p:spPr>
          <a:xfrm>
            <a:off x="6044216" y="1960546"/>
            <a:ext cx="5327073" cy="6773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dirty="0">
                <a:solidFill>
                  <a:srgbClr val="FFFFFF"/>
                </a:solidFill>
                <a:effectLst>
                  <a:outerShdw blurRad="38100" dist="38100" dir="2700000" algn="tl">
                    <a:srgbClr val="000000">
                      <a:alpha val="43137"/>
                    </a:srgbClr>
                  </a:outerShdw>
                </a:effectLst>
              </a:rPr>
              <a:t>Ranked #1 region for response rate</a:t>
            </a:r>
          </a:p>
        </p:txBody>
      </p:sp>
    </p:spTree>
    <p:extLst>
      <p:ext uri="{BB962C8B-B14F-4D97-AF65-F5344CB8AC3E}">
        <p14:creationId xmlns:p14="http://schemas.microsoft.com/office/powerpoint/2010/main" val="1511870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26075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309" name="think-cell Slide" r:id="rId15" imgW="327" imgH="327" progId="TCLayout.ActiveDocument.1">
                  <p:embed/>
                </p:oleObj>
              </mc:Choice>
              <mc:Fallback>
                <p:oleObj name="think-cell Slide" r:id="rId15" imgW="327" imgH="327" progId="TCLayout.ActiveDocument.1">
                  <p:embed/>
                  <p:pic>
                    <p:nvPicPr>
                      <p:cNvPr id="5" name="Object 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9" name="Picture Placeholder 2">
            <a:extLst>
              <a:ext uri="{FF2B5EF4-FFF2-40B4-BE49-F238E27FC236}">
                <a16:creationId xmlns:a16="http://schemas.microsoft.com/office/drawing/2014/main" id="{45D93A6E-2381-4FBE-9F26-C38016F57BEA}"/>
              </a:ext>
            </a:extLst>
          </p:cNvPr>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7828200" y="-9151"/>
            <a:ext cx="4371975" cy="6858000"/>
          </a:xfrm>
          <a:prstGeom prst="rect">
            <a:avLst/>
          </a:prstGeom>
          <a:noFill/>
        </p:spPr>
      </p:pic>
      <p:sp>
        <p:nvSpPr>
          <p:cNvPr id="40" name="Rectangle 39">
            <a:extLst>
              <a:ext uri="{FF2B5EF4-FFF2-40B4-BE49-F238E27FC236}">
                <a16:creationId xmlns:a16="http://schemas.microsoft.com/office/drawing/2014/main" id="{FBF1A51C-51EF-4C2A-95D3-E0E573DC8441}"/>
              </a:ext>
            </a:extLst>
          </p:cNvPr>
          <p:cNvSpPr/>
          <p:nvPr/>
        </p:nvSpPr>
        <p:spPr>
          <a:xfrm>
            <a:off x="7805608" y="-1"/>
            <a:ext cx="4386392" cy="103203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IT SUPPORT</a:t>
            </a:r>
          </a:p>
        </p:txBody>
      </p:sp>
      <p:sp>
        <p:nvSpPr>
          <p:cNvPr id="42" name="Oval 41">
            <a:extLst>
              <a:ext uri="{FF2B5EF4-FFF2-40B4-BE49-F238E27FC236}">
                <a16:creationId xmlns:a16="http://schemas.microsoft.com/office/drawing/2014/main" id="{3611F6FF-4052-4683-A084-FAB4DE35A4AA}"/>
              </a:ext>
            </a:extLst>
          </p:cNvPr>
          <p:cNvSpPr>
            <a:spLocks noChangeAspect="1"/>
          </p:cNvSpPr>
          <p:nvPr/>
        </p:nvSpPr>
        <p:spPr>
          <a:xfrm>
            <a:off x="8490631" y="1828800"/>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196</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3" name="Rectangular Callout 42"/>
          <p:cNvSpPr/>
          <p:nvPr/>
        </p:nvSpPr>
        <p:spPr>
          <a:xfrm>
            <a:off x="3248024" y="4265613"/>
            <a:ext cx="2001838" cy="1103313"/>
          </a:xfrm>
          <a:prstGeom prst="wedgeRectCallout">
            <a:avLst>
              <a:gd name="adj1" fmla="val 12761"/>
              <a:gd name="adj2" fmla="val 5797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T-SC] </a:t>
            </a:r>
            <a:r>
              <a:rPr lang="en-US" sz="1200" dirty="0">
                <a:cs typeface="Arial" pitchFamily="34" charset="0"/>
              </a:rPr>
              <a:t>Slow resolution when ticket gets classified as low priority when really it is affecting my work.</a:t>
            </a:r>
            <a:r>
              <a:rPr lang="en-GB" sz="1200" dirty="0">
                <a:cs typeface="Arial" pitchFamily="34" charset="0"/>
              </a:rPr>
              <a:t>”</a:t>
            </a:r>
          </a:p>
          <a:p>
            <a:pPr algn="r"/>
            <a:r>
              <a:rPr lang="en-GB" sz="1000" i="1" dirty="0">
                <a:cs typeface="Arial" pitchFamily="34" charset="0"/>
              </a:rPr>
              <a:t>Other CT</a:t>
            </a:r>
          </a:p>
        </p:txBody>
      </p:sp>
      <p:sp>
        <p:nvSpPr>
          <p:cNvPr id="44" name="Rectangular Callout 43"/>
          <p:cNvSpPr/>
          <p:nvPr/>
        </p:nvSpPr>
        <p:spPr>
          <a:xfrm>
            <a:off x="261938" y="4265613"/>
            <a:ext cx="1094589" cy="1103313"/>
          </a:xfrm>
          <a:prstGeom prst="wedgeRectCallout">
            <a:avLst>
              <a:gd name="adj1" fmla="val -1093"/>
              <a:gd name="adj2" fmla="val 5775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T Support] </a:t>
            </a:r>
            <a:r>
              <a:rPr lang="en-US" sz="1200" dirty="0">
                <a:cs typeface="Arial" pitchFamily="34" charset="0"/>
              </a:rPr>
              <a:t>Always go above and beyond</a:t>
            </a:r>
            <a:r>
              <a:rPr lang="en-GB" sz="1200" dirty="0">
                <a:cs typeface="Arial" pitchFamily="34" charset="0"/>
              </a:rPr>
              <a:t>.”</a:t>
            </a:r>
            <a:endParaRPr lang="en-GB" sz="1000" i="1" dirty="0">
              <a:cs typeface="Arial" pitchFamily="34" charset="0"/>
            </a:endParaRPr>
          </a:p>
          <a:p>
            <a:pPr algn="r"/>
            <a:r>
              <a:rPr lang="en-GB" sz="1000" i="1" dirty="0">
                <a:cs typeface="Arial" pitchFamily="34" charset="0"/>
              </a:rPr>
              <a:t>MDP</a:t>
            </a:r>
          </a:p>
        </p:txBody>
      </p:sp>
      <p:sp>
        <p:nvSpPr>
          <p:cNvPr id="55" name="Rectangular Callout 54"/>
          <p:cNvSpPr/>
          <p:nvPr/>
        </p:nvSpPr>
        <p:spPr>
          <a:xfrm>
            <a:off x="5357812" y="4265613"/>
            <a:ext cx="2274888" cy="1103313"/>
          </a:xfrm>
          <a:prstGeom prst="wedgeRectCallout">
            <a:avLst>
              <a:gd name="adj1" fmla="val -47552"/>
              <a:gd name="adj2" fmla="val 5508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Booking a VR room takes forever, do really not see the point of having to do this through IT service center.</a:t>
            </a:r>
            <a:r>
              <a:rPr lang="en-GB" sz="1200" dirty="0">
                <a:cs typeface="Arial" pitchFamily="34" charset="0"/>
              </a:rPr>
              <a:t>”</a:t>
            </a:r>
          </a:p>
          <a:p>
            <a:pPr algn="r"/>
            <a:r>
              <a:rPr lang="en-GB" sz="1000" i="1" dirty="0">
                <a:cs typeface="Arial" pitchFamily="34" charset="0"/>
              </a:rPr>
              <a:t>Consultant</a:t>
            </a:r>
          </a:p>
        </p:txBody>
      </p:sp>
      <p:sp>
        <p:nvSpPr>
          <p:cNvPr id="28" name="Rectangle 27">
            <a:extLst>
              <a:ext uri="{FF2B5EF4-FFF2-40B4-BE49-F238E27FC236}">
                <a16:creationId xmlns:a16="http://schemas.microsoft.com/office/drawing/2014/main" id="{AE8BA0A3-A22B-4066-9085-3FC79F11C9A0}"/>
              </a:ext>
            </a:extLst>
          </p:cNvPr>
          <p:cNvSpPr/>
          <p:nvPr/>
        </p:nvSpPr>
        <p:spPr>
          <a:xfrm>
            <a:off x="177800" y="3836988"/>
            <a:ext cx="5405438"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05754" y="171450"/>
            <a:ext cx="7411071" cy="13271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rgbClr val="FFFFFF"/>
              </a:solidFill>
            </a:endParaRPr>
          </a:p>
        </p:txBody>
      </p:sp>
      <p:graphicFrame>
        <p:nvGraphicFramePr>
          <p:cNvPr id="35" name="Chart 34">
            <a:extLst>
              <a:ext uri="{FF2B5EF4-FFF2-40B4-BE49-F238E27FC236}">
                <a16:creationId xmlns:a16="http://schemas.microsoft.com/office/drawing/2014/main" id="{18E53FBD-69CD-4F50-9339-507DC8C8793D}"/>
              </a:ext>
            </a:extLst>
          </p:cNvPr>
          <p:cNvGraphicFramePr/>
          <p:nvPr>
            <p:custDataLst>
              <p:tags r:id="rId4"/>
            </p:custDataLst>
            <p:extLst>
              <p:ext uri="{D42A27DB-BD31-4B8C-83A1-F6EECF244321}">
                <p14:modId xmlns:p14="http://schemas.microsoft.com/office/powerpoint/2010/main" val="1435895091"/>
              </p:ext>
            </p:extLst>
          </p:nvPr>
        </p:nvGraphicFramePr>
        <p:xfrm>
          <a:off x="1747838" y="2460625"/>
          <a:ext cx="5967412" cy="1063625"/>
        </p:xfrm>
        <a:graphic>
          <a:graphicData uri="http://schemas.openxmlformats.org/drawingml/2006/chart">
            <c:chart xmlns:c="http://schemas.openxmlformats.org/drawingml/2006/chart" xmlns:r="http://schemas.openxmlformats.org/officeDocument/2006/relationships" r:id="rId18"/>
          </a:graphicData>
        </a:graphic>
      </p:graphicFrame>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5"/>
            </p:custDataLst>
          </p:nvPr>
        </p:nvSpPr>
        <p:spPr bwMode="gray">
          <a:xfrm>
            <a:off x="347663" y="2667000"/>
            <a:ext cx="13811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BB76330-932D-4EB0-9B1D-2BEF77AD427F}" type="datetime'IT ''''S''up''p''''''o''''rt - ''Gen''e''''''''r''''a''l'''''">
              <a:rPr lang="en-US" altLang="en-US" smtClean="0">
                <a:solidFill>
                  <a:schemeClr val="bg1"/>
                </a:solidFill>
              </a:rPr>
              <a:pPr/>
              <a:t>IT Support - General</a:t>
            </a:fld>
            <a:endParaRPr lang="en-US" altLang="en-US" dirty="0">
              <a:solidFill>
                <a:schemeClr val="bg1"/>
              </a:solidFill>
            </a:endParaRPr>
          </a:p>
        </p:txBody>
      </p:sp>
      <p:sp>
        <p:nvSpPr>
          <p:cNvPr id="48" name="Text Placeholder 3">
            <a:extLst>
              <a:ext uri="{FF2B5EF4-FFF2-40B4-BE49-F238E27FC236}">
                <a16:creationId xmlns:a16="http://schemas.microsoft.com/office/drawing/2014/main" id="{FD794E72-0D77-41A6-8879-DB04DFC13EC1}"/>
              </a:ext>
            </a:extLst>
          </p:cNvPr>
          <p:cNvSpPr>
            <a:spLocks noGrp="1"/>
          </p:cNvSpPr>
          <p:nvPr>
            <p:custDataLst>
              <p:tags r:id="rId6"/>
            </p:custDataLst>
          </p:nvPr>
        </p:nvSpPr>
        <p:spPr bwMode="gray">
          <a:xfrm>
            <a:off x="730250" y="3116263"/>
            <a:ext cx="9985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7B9E513-4491-4802-AE45-C6F322AE3ABF}" type="datetime'''Re''''s''p''on''''se'''''' ''''''''T''i''''''me'''''">
              <a:rPr lang="en-US" altLang="en-US" smtClean="0">
                <a:solidFill>
                  <a:schemeClr val="bg1"/>
                </a:solidFill>
              </a:rPr>
              <a:pPr/>
              <a:t>Response Time</a:t>
            </a:fld>
            <a:endParaRPr lang="en-US" dirty="0">
              <a:solidFill>
                <a:schemeClr val="bg1"/>
              </a:solidFill>
              <a:sym typeface="+mn-lt"/>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3656013" y="359410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8"/>
            </p:custDataLst>
          </p:nvPr>
        </p:nvSpPr>
        <p:spPr bwMode="gray">
          <a:xfrm>
            <a:off x="1890713" y="359410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9"/>
            </p:custDataLst>
          </p:nvPr>
        </p:nvSpPr>
        <p:spPr bwMode="gray">
          <a:xfrm>
            <a:off x="2784475" y="359410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0"/>
            </p:custDataLst>
          </p:nvPr>
        </p:nvSpPr>
        <p:spPr bwMode="gray">
          <a:xfrm>
            <a:off x="2155825" y="3575050"/>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1"/>
            </p:custDataLst>
          </p:nvPr>
        </p:nvSpPr>
        <p:spPr bwMode="gray">
          <a:xfrm>
            <a:off x="3049588" y="357505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2"/>
            </p:custDataLst>
          </p:nvPr>
        </p:nvSpPr>
        <p:spPr bwMode="gray">
          <a:xfrm>
            <a:off x="3921125" y="3575050"/>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28788" y="2301233"/>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46" name="Rectangle 45">
            <a:extLst>
              <a:ext uri="{FF2B5EF4-FFF2-40B4-BE49-F238E27FC236}">
                <a16:creationId xmlns:a16="http://schemas.microsoft.com/office/drawing/2014/main" id="{72EF37F2-A6D1-4050-A934-594D3439CE0F}"/>
              </a:ext>
            </a:extLst>
          </p:cNvPr>
          <p:cNvSpPr/>
          <p:nvPr/>
        </p:nvSpPr>
        <p:spPr>
          <a:xfrm>
            <a:off x="263950" y="201109"/>
            <a:ext cx="7387327" cy="19467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550" dirty="0">
                <a:solidFill>
                  <a:schemeClr val="bg1"/>
                </a:solidFill>
              </a:rPr>
              <a:t>IT Support receives significantly more positive comments than other Pulse areas. While many feel the IT Service Center delivers exceptional IT support, some spoke about slow resolution times, especially with lower priority tickets, although the initial 'Response Time' is usually quick. Other feedback indicated the IT Service Center is too process oriented, which can deviate them from finding the root cause of the problem. Others feel it's excessive to open a ticket for everything, even for services like booking a VR room. Among the support channels available, many spoke positively about Chat.</a:t>
            </a:r>
          </a:p>
        </p:txBody>
      </p:sp>
      <p:sp>
        <p:nvSpPr>
          <p:cNvPr id="20" name="TextBox 19">
            <a:extLst>
              <a:ext uri="{FF2B5EF4-FFF2-40B4-BE49-F238E27FC236}">
                <a16:creationId xmlns:a16="http://schemas.microsoft.com/office/drawing/2014/main" id="{9B59CCE5-B305-46FA-8BE6-030F9CA8EE37}"/>
              </a:ext>
            </a:extLst>
          </p:cNvPr>
          <p:cNvSpPr txBox="1"/>
          <p:nvPr/>
        </p:nvSpPr>
        <p:spPr>
          <a:xfrm>
            <a:off x="6792678" y="1828800"/>
            <a:ext cx="700322" cy="1222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4" name="Rectangular Callout 43">
            <a:extLst>
              <a:ext uri="{FF2B5EF4-FFF2-40B4-BE49-F238E27FC236}">
                <a16:creationId xmlns:a16="http://schemas.microsoft.com/office/drawing/2014/main" id="{B2E036D5-D439-4FF6-90B4-D4740041FBF3}"/>
              </a:ext>
            </a:extLst>
          </p:cNvPr>
          <p:cNvSpPr/>
          <p:nvPr/>
        </p:nvSpPr>
        <p:spPr>
          <a:xfrm>
            <a:off x="280988" y="5568950"/>
            <a:ext cx="1574800" cy="1123950"/>
          </a:xfrm>
          <a:prstGeom prst="wedgeRectCallout">
            <a:avLst>
              <a:gd name="adj1" fmla="val 30880"/>
              <a:gd name="adj2" fmla="val -6053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ve generally been able to get help whenever I've reached out</a:t>
            </a:r>
            <a:r>
              <a:rPr lang="en-GB" sz="1200" dirty="0">
                <a:cs typeface="Arial" pitchFamily="34" charset="0"/>
              </a:rPr>
              <a:t>.”</a:t>
            </a:r>
          </a:p>
          <a:p>
            <a:endParaRPr lang="en-GB" sz="1000" i="1" dirty="0">
              <a:cs typeface="Arial" pitchFamily="34" charset="0"/>
            </a:endParaRPr>
          </a:p>
          <a:p>
            <a:pPr algn="r"/>
            <a:r>
              <a:rPr lang="en-GB" sz="1000" i="1" dirty="0">
                <a:cs typeface="Arial" pitchFamily="34" charset="0"/>
              </a:rPr>
              <a:t>Project Leader</a:t>
            </a:r>
          </a:p>
        </p:txBody>
      </p:sp>
      <p:sp>
        <p:nvSpPr>
          <p:cNvPr id="25" name="Rectangular Callout 43">
            <a:extLst>
              <a:ext uri="{FF2B5EF4-FFF2-40B4-BE49-F238E27FC236}">
                <a16:creationId xmlns:a16="http://schemas.microsoft.com/office/drawing/2014/main" id="{A4BF65AC-E60F-459B-BC7C-75FC0C3C9E1E}"/>
              </a:ext>
            </a:extLst>
          </p:cNvPr>
          <p:cNvSpPr/>
          <p:nvPr/>
        </p:nvSpPr>
        <p:spPr>
          <a:xfrm>
            <a:off x="1936749" y="5568950"/>
            <a:ext cx="1203327" cy="1123950"/>
          </a:xfrm>
          <a:prstGeom prst="wedgeRectCallout">
            <a:avLst>
              <a:gd name="adj1" fmla="val -1626"/>
              <a:gd name="adj2" fmla="val -5901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T Support] </a:t>
            </a:r>
            <a:r>
              <a:rPr lang="en-US" sz="1200" dirty="0">
                <a:cs typeface="Arial" pitchFamily="34" charset="0"/>
              </a:rPr>
              <a:t>Good - quick reply and solving</a:t>
            </a:r>
            <a:r>
              <a:rPr lang="en-GB" sz="1200" dirty="0">
                <a:cs typeface="Arial" pitchFamily="34" charset="0"/>
              </a:rPr>
              <a:t>.”</a:t>
            </a:r>
          </a:p>
          <a:p>
            <a:endParaRPr lang="en-GB" sz="1000" i="1" dirty="0">
              <a:cs typeface="Arial" pitchFamily="34" charset="0"/>
            </a:endParaRPr>
          </a:p>
          <a:p>
            <a:pPr algn="r"/>
            <a:r>
              <a:rPr lang="en-GB" sz="1000" i="1" dirty="0">
                <a:cs typeface="Arial" pitchFamily="34" charset="0"/>
              </a:rPr>
              <a:t>Consultant</a:t>
            </a:r>
          </a:p>
        </p:txBody>
      </p:sp>
      <p:sp>
        <p:nvSpPr>
          <p:cNvPr id="26" name="Rectangular Callout 43">
            <a:extLst>
              <a:ext uri="{FF2B5EF4-FFF2-40B4-BE49-F238E27FC236}">
                <a16:creationId xmlns:a16="http://schemas.microsoft.com/office/drawing/2014/main" id="{8495B5DC-2E9C-45DB-B11E-A5E9792B6C15}"/>
              </a:ext>
            </a:extLst>
          </p:cNvPr>
          <p:cNvSpPr/>
          <p:nvPr/>
        </p:nvSpPr>
        <p:spPr>
          <a:xfrm>
            <a:off x="4894414" y="5568950"/>
            <a:ext cx="2738287" cy="1123950"/>
          </a:xfrm>
          <a:prstGeom prst="wedgeRectCallout">
            <a:avLst>
              <a:gd name="adj1" fmla="val -14157"/>
              <a:gd name="adj2" fmla="val -5518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Help desk simply runs through a checklist without making any effort to find the cause of the problem</a:t>
            </a:r>
            <a:r>
              <a:rPr lang="en-GB" sz="1200" dirty="0">
                <a:cs typeface="Arial" pitchFamily="34" charset="0"/>
              </a:rPr>
              <a:t>.”</a:t>
            </a:r>
          </a:p>
          <a:p>
            <a:endParaRPr lang="en-GB" sz="1000" i="1" dirty="0">
              <a:cs typeface="Arial" pitchFamily="34" charset="0"/>
            </a:endParaRPr>
          </a:p>
          <a:p>
            <a:endParaRPr lang="en-GB" sz="1000" i="1" dirty="0">
              <a:cs typeface="Arial" pitchFamily="34" charset="0"/>
            </a:endParaRPr>
          </a:p>
          <a:p>
            <a:pPr algn="r"/>
            <a:r>
              <a:rPr lang="en-GB" sz="1000" i="1" dirty="0">
                <a:cs typeface="Arial" pitchFamily="34" charset="0"/>
              </a:rPr>
              <a:t>Principal</a:t>
            </a:r>
          </a:p>
        </p:txBody>
      </p:sp>
      <p:sp>
        <p:nvSpPr>
          <p:cNvPr id="27" name="Rectangular Callout 43">
            <a:extLst>
              <a:ext uri="{FF2B5EF4-FFF2-40B4-BE49-F238E27FC236}">
                <a16:creationId xmlns:a16="http://schemas.microsoft.com/office/drawing/2014/main" id="{7ED966C4-3E93-43FD-90E8-0647DB850C65}"/>
              </a:ext>
            </a:extLst>
          </p:cNvPr>
          <p:cNvSpPr/>
          <p:nvPr/>
        </p:nvSpPr>
        <p:spPr>
          <a:xfrm>
            <a:off x="3247426" y="5568950"/>
            <a:ext cx="1539638" cy="1123950"/>
          </a:xfrm>
          <a:prstGeom prst="wedgeRectCallout">
            <a:avLst>
              <a:gd name="adj1" fmla="val -3156"/>
              <a:gd name="adj2" fmla="val -5805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Chat function is excellent and is my first port of call</a:t>
            </a:r>
            <a:r>
              <a:rPr lang="en-GB" sz="1200" dirty="0">
                <a:cs typeface="Arial" pitchFamily="34" charset="0"/>
              </a:rPr>
              <a:t>.”</a:t>
            </a:r>
          </a:p>
          <a:p>
            <a:endParaRPr lang="en-GB" sz="1000" i="1" dirty="0">
              <a:cs typeface="Arial" pitchFamily="34" charset="0"/>
            </a:endParaRPr>
          </a:p>
          <a:p>
            <a:endParaRPr lang="en-GB" sz="1000" i="1" dirty="0">
              <a:cs typeface="Arial" pitchFamily="34" charset="0"/>
            </a:endParaRPr>
          </a:p>
          <a:p>
            <a:pPr algn="r"/>
            <a:r>
              <a:rPr lang="en-GB" sz="1000" i="1" dirty="0">
                <a:cs typeface="Arial" pitchFamily="34" charset="0"/>
              </a:rPr>
              <a:t>Project Leader</a:t>
            </a:r>
          </a:p>
        </p:txBody>
      </p:sp>
      <p:sp>
        <p:nvSpPr>
          <p:cNvPr id="29" name="Rectangular Callout 43">
            <a:extLst>
              <a:ext uri="{FF2B5EF4-FFF2-40B4-BE49-F238E27FC236}">
                <a16:creationId xmlns:a16="http://schemas.microsoft.com/office/drawing/2014/main" id="{BCD01620-E999-4324-82B9-CFA6B194D638}"/>
              </a:ext>
            </a:extLst>
          </p:cNvPr>
          <p:cNvSpPr/>
          <p:nvPr/>
        </p:nvSpPr>
        <p:spPr>
          <a:xfrm>
            <a:off x="1464477" y="4265613"/>
            <a:ext cx="1675599" cy="1123950"/>
          </a:xfrm>
          <a:prstGeom prst="wedgeRectCallout">
            <a:avLst>
              <a:gd name="adj1" fmla="val -1093"/>
              <a:gd name="adj2" fmla="val 5775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ocal support is top notch, IT Service Center neutral</a:t>
            </a:r>
            <a:r>
              <a:rPr lang="en-GB" sz="1200" dirty="0">
                <a:cs typeface="Arial" pitchFamily="34" charset="0"/>
              </a:rPr>
              <a:t>.”</a:t>
            </a:r>
          </a:p>
          <a:p>
            <a:endParaRPr lang="en-GB" sz="1000" i="1" dirty="0">
              <a:cs typeface="Arial" pitchFamily="34" charset="0"/>
            </a:endParaRPr>
          </a:p>
          <a:p>
            <a:pPr algn="r"/>
            <a:r>
              <a:rPr lang="en-GB" sz="1000" i="1" dirty="0">
                <a:cs typeface="Arial" pitchFamily="34" charset="0"/>
              </a:rPr>
              <a:t>Senior ECT</a:t>
            </a:r>
          </a:p>
        </p:txBody>
      </p:sp>
    </p:spTree>
    <p:extLst>
      <p:ext uri="{BB962C8B-B14F-4D97-AF65-F5344CB8AC3E}">
        <p14:creationId xmlns:p14="http://schemas.microsoft.com/office/powerpoint/2010/main" val="3940977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243E3A-A6AB-40B9-B77D-66EDEC66474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64"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F8243E3A-A6AB-40B9-B77D-66EDEC66474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7E9449-FB29-4409-B407-E0EAC0DF4BA4}"/>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extBox 6">
            <a:extLst>
              <a:ext uri="{FF2B5EF4-FFF2-40B4-BE49-F238E27FC236}">
                <a16:creationId xmlns:a16="http://schemas.microsoft.com/office/drawing/2014/main" id="{B25FE88C-6111-49B6-973F-C711B4BF346F}"/>
              </a:ext>
            </a:extLst>
          </p:cNvPr>
          <p:cNvSpPr txBox="1"/>
          <p:nvPr/>
        </p:nvSpPr>
        <p:spPr>
          <a:xfrm>
            <a:off x="7604642" y="1746621"/>
            <a:ext cx="4173124" cy="448857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There is continued concern that resolving IT issues remotely takes longer &amp; the process is inefficient, especially given growing digital interactions</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a:solidFill>
                  <a:srgbClr val="575757"/>
                </a:solidFill>
              </a:rPr>
              <a:t>Hardware &amp; poor laptop performance remains a common concern amongst Consultants, often requiring timely support</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The need for software, digital tools &amp; IT solutions which can be used in hybrid client meetings are mentioned multiple times</a:t>
            </a:r>
          </a:p>
        </p:txBody>
      </p:sp>
      <p:sp>
        <p:nvSpPr>
          <p:cNvPr id="3" name="Title 2"/>
          <p:cNvSpPr>
            <a:spLocks noGrp="1"/>
          </p:cNvSpPr>
          <p:nvPr>
            <p:ph type="title"/>
          </p:nvPr>
        </p:nvSpPr>
        <p:spPr>
          <a:xfrm>
            <a:off x="629325" y="443292"/>
            <a:ext cx="10933350" cy="677108"/>
          </a:xfrm>
        </p:spPr>
        <p:txBody>
          <a:bodyPr vert="horz"/>
          <a:lstStyle/>
          <a:p>
            <a:pPr>
              <a:lnSpc>
                <a:spcPct val="100000"/>
              </a:lnSpc>
            </a:pPr>
            <a:r>
              <a:rPr lang="en-US" sz="2200" dirty="0">
                <a:solidFill>
                  <a:srgbClr val="295E7E"/>
                </a:solidFill>
              </a:rPr>
              <a:t>Q – </a:t>
            </a:r>
            <a:r>
              <a:rPr lang="en-GB" sz="2200" dirty="0">
                <a:solidFill>
                  <a:srgbClr val="295E7E"/>
                </a:solidFill>
              </a:rPr>
              <a:t>With new Hybrid Way of Working, what additional or different kinds of IT Support do you feel you need now, or may need in the future?</a:t>
            </a:r>
            <a:endParaRPr lang="en-US" sz="2200" dirty="0">
              <a:solidFill>
                <a:srgbClr val="295E7E"/>
              </a:solidFill>
            </a:endParaRPr>
          </a:p>
        </p:txBody>
      </p:sp>
      <p:grpSp>
        <p:nvGrpSpPr>
          <p:cNvPr id="68" name="Group 67">
            <a:extLst>
              <a:ext uri="{FF2B5EF4-FFF2-40B4-BE49-F238E27FC236}">
                <a16:creationId xmlns:a16="http://schemas.microsoft.com/office/drawing/2014/main" id="{F6C936EA-59F0-454B-B1D5-6ED85AE2A1DC}"/>
              </a:ext>
            </a:extLst>
          </p:cNvPr>
          <p:cNvGrpSpPr>
            <a:grpSpLocks noChangeAspect="1"/>
          </p:cNvGrpSpPr>
          <p:nvPr/>
        </p:nvGrpSpPr>
        <p:grpSpPr>
          <a:xfrm>
            <a:off x="626457" y="1823321"/>
            <a:ext cx="306910" cy="306910"/>
            <a:chOff x="5961063" y="3294063"/>
            <a:chExt cx="269875" cy="269875"/>
          </a:xfrm>
        </p:grpSpPr>
        <p:sp>
          <p:nvSpPr>
            <p:cNvPr id="69" name="Oval 46">
              <a:extLst>
                <a:ext uri="{FF2B5EF4-FFF2-40B4-BE49-F238E27FC236}">
                  <a16:creationId xmlns:a16="http://schemas.microsoft.com/office/drawing/2014/main" id="{C407A520-18AB-496D-9B13-D5812806BE1B}"/>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70" name="Freeform 47">
              <a:extLst>
                <a:ext uri="{FF2B5EF4-FFF2-40B4-BE49-F238E27FC236}">
                  <a16:creationId xmlns:a16="http://schemas.microsoft.com/office/drawing/2014/main" id="{9BBCACCB-B0C1-4F99-9E45-B3F83A3FE28F}"/>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9" name="Rectangle 8">
            <a:extLst>
              <a:ext uri="{FF2B5EF4-FFF2-40B4-BE49-F238E27FC236}">
                <a16:creationId xmlns:a16="http://schemas.microsoft.com/office/drawing/2014/main" id="{842B4C1F-EBB1-488A-9BF4-A04F8C8718EB}"/>
              </a:ext>
            </a:extLst>
          </p:cNvPr>
          <p:cNvSpPr/>
          <p:nvPr/>
        </p:nvSpPr>
        <p:spPr>
          <a:xfrm>
            <a:off x="1011603" y="2924919"/>
            <a:ext cx="6438680" cy="738664"/>
          </a:xfrm>
          <a:prstGeom prst="rect">
            <a:avLst/>
          </a:prstGeom>
          <a:ln w="9525" cap="flat" cmpd="sng" algn="ctr">
            <a:noFill/>
            <a:prstDash val="solid"/>
            <a:round/>
            <a:headEnd type="none" w="med" len="med"/>
            <a:tailEnd type="none" w="med" len="med"/>
          </a:ln>
        </p:spPr>
        <p:txBody>
          <a:bodyPr wrap="square">
            <a:spAutoFit/>
          </a:bodyPr>
          <a:lstStyle/>
          <a:p>
            <a:r>
              <a:rPr lang="en-GB" sz="1400" dirty="0"/>
              <a:t>We need more hardware support. Hearing consultants complain about performance issues on their computers is inconceivable, and portable monitors and mobile productivity peripherals should be standard issue.</a:t>
            </a:r>
            <a:endParaRPr lang="en-US" sz="1400" dirty="0"/>
          </a:p>
        </p:txBody>
      </p:sp>
      <p:sp>
        <p:nvSpPr>
          <p:cNvPr id="99" name="TextBox 98">
            <a:extLst>
              <a:ext uri="{FF2B5EF4-FFF2-40B4-BE49-F238E27FC236}">
                <a16:creationId xmlns:a16="http://schemas.microsoft.com/office/drawing/2014/main" id="{07BC6B24-7064-4C43-8FEA-C1EDB7F9F9C7}"/>
              </a:ext>
            </a:extLst>
          </p:cNvPr>
          <p:cNvSpPr txBox="1"/>
          <p:nvPr/>
        </p:nvSpPr>
        <p:spPr>
          <a:xfrm>
            <a:off x="7604641" y="1213925"/>
            <a:ext cx="4173125" cy="532696"/>
          </a:xfrm>
          <a:prstGeom prst="rect">
            <a:avLst/>
          </a:prstGeom>
          <a:solidFill>
            <a:srgbClr val="295E7E"/>
          </a:solidFill>
          <a:ln w="10795"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dirty="0"/>
              <a:t>Observations</a:t>
            </a:r>
          </a:p>
        </p:txBody>
      </p:sp>
      <p:sp>
        <p:nvSpPr>
          <p:cNvPr id="37" name="Rectangle 36">
            <a:extLst>
              <a:ext uri="{FF2B5EF4-FFF2-40B4-BE49-F238E27FC236}">
                <a16:creationId xmlns:a16="http://schemas.microsoft.com/office/drawing/2014/main" id="{266F4CD7-8D52-4411-BF36-9168A21B5F7B}"/>
              </a:ext>
            </a:extLst>
          </p:cNvPr>
          <p:cNvSpPr/>
          <p:nvPr/>
        </p:nvSpPr>
        <p:spPr>
          <a:xfrm>
            <a:off x="1038201" y="1823321"/>
            <a:ext cx="6318564" cy="954107"/>
          </a:xfrm>
          <a:prstGeom prst="rect">
            <a:avLst/>
          </a:prstGeom>
          <a:ln w="9525" cap="flat" cmpd="sng" algn="ctr">
            <a:noFill/>
            <a:prstDash val="solid"/>
            <a:round/>
            <a:headEnd type="none" w="med" len="med"/>
            <a:tailEnd type="none" w="med" len="med"/>
          </a:ln>
        </p:spPr>
        <p:txBody>
          <a:bodyPr wrap="square">
            <a:spAutoFit/>
          </a:bodyPr>
          <a:lstStyle/>
          <a:p>
            <a:r>
              <a:rPr lang="en-GB" sz="1400" dirty="0"/>
              <a:t>Faster response in terms of IT supporting more training on digital tools. Also, the laptop performance is really an issue for efficient work. Local IT should have more knowledge on digital tools and changes on tools. It would help employees to know better than just read emails &amp; raise tickets to ask.</a:t>
            </a:r>
            <a:endParaRPr lang="en-US" sz="1400" dirty="0"/>
          </a:p>
        </p:txBody>
      </p:sp>
      <p:grpSp>
        <p:nvGrpSpPr>
          <p:cNvPr id="58" name="Group 57">
            <a:extLst>
              <a:ext uri="{FF2B5EF4-FFF2-40B4-BE49-F238E27FC236}">
                <a16:creationId xmlns:a16="http://schemas.microsoft.com/office/drawing/2014/main" id="{0B28E5B7-FDB6-4CDD-AC55-8585CEA3EA82}"/>
              </a:ext>
            </a:extLst>
          </p:cNvPr>
          <p:cNvGrpSpPr>
            <a:grpSpLocks noChangeAspect="1"/>
          </p:cNvGrpSpPr>
          <p:nvPr/>
        </p:nvGrpSpPr>
        <p:grpSpPr>
          <a:xfrm>
            <a:off x="626454" y="5717922"/>
            <a:ext cx="306910" cy="306910"/>
            <a:chOff x="5961063" y="3294063"/>
            <a:chExt cx="269875" cy="269875"/>
          </a:xfrm>
        </p:grpSpPr>
        <p:sp>
          <p:nvSpPr>
            <p:cNvPr id="59" name="Oval 46">
              <a:extLst>
                <a:ext uri="{FF2B5EF4-FFF2-40B4-BE49-F238E27FC236}">
                  <a16:creationId xmlns:a16="http://schemas.microsoft.com/office/drawing/2014/main" id="{ACC96187-5AAB-4051-BDCA-534A0DEB71C8}"/>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0" name="Freeform 47">
              <a:extLst>
                <a:ext uri="{FF2B5EF4-FFF2-40B4-BE49-F238E27FC236}">
                  <a16:creationId xmlns:a16="http://schemas.microsoft.com/office/drawing/2014/main" id="{AB586D5F-A5D1-4F77-95E4-EB9F5DC732C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7" name="Group 66">
            <a:extLst>
              <a:ext uri="{FF2B5EF4-FFF2-40B4-BE49-F238E27FC236}">
                <a16:creationId xmlns:a16="http://schemas.microsoft.com/office/drawing/2014/main" id="{CFBC6619-AF5F-4A92-8C2B-3D25CBC2339F}"/>
              </a:ext>
            </a:extLst>
          </p:cNvPr>
          <p:cNvGrpSpPr>
            <a:grpSpLocks noChangeAspect="1"/>
          </p:cNvGrpSpPr>
          <p:nvPr/>
        </p:nvGrpSpPr>
        <p:grpSpPr>
          <a:xfrm>
            <a:off x="626455" y="3740492"/>
            <a:ext cx="306910" cy="306910"/>
            <a:chOff x="5961063" y="3294063"/>
            <a:chExt cx="269875" cy="269875"/>
          </a:xfrm>
        </p:grpSpPr>
        <p:sp>
          <p:nvSpPr>
            <p:cNvPr id="80" name="Oval 46">
              <a:extLst>
                <a:ext uri="{FF2B5EF4-FFF2-40B4-BE49-F238E27FC236}">
                  <a16:creationId xmlns:a16="http://schemas.microsoft.com/office/drawing/2014/main" id="{6911A681-515A-46B4-8582-6A5767DCEE89}"/>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1" name="Freeform 47">
              <a:extLst>
                <a:ext uri="{FF2B5EF4-FFF2-40B4-BE49-F238E27FC236}">
                  <a16:creationId xmlns:a16="http://schemas.microsoft.com/office/drawing/2014/main" id="{6D051272-28E7-46EF-8BAD-A25653450B2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82" name="Group 81">
            <a:extLst>
              <a:ext uri="{FF2B5EF4-FFF2-40B4-BE49-F238E27FC236}">
                <a16:creationId xmlns:a16="http://schemas.microsoft.com/office/drawing/2014/main" id="{C8F2D3B1-9B20-4070-AEA6-F249D5761F2C}"/>
              </a:ext>
            </a:extLst>
          </p:cNvPr>
          <p:cNvGrpSpPr>
            <a:grpSpLocks noChangeAspect="1"/>
          </p:cNvGrpSpPr>
          <p:nvPr/>
        </p:nvGrpSpPr>
        <p:grpSpPr>
          <a:xfrm>
            <a:off x="626457" y="2932917"/>
            <a:ext cx="306910" cy="306910"/>
            <a:chOff x="5961063" y="3294063"/>
            <a:chExt cx="269875" cy="269875"/>
          </a:xfrm>
        </p:grpSpPr>
        <p:sp>
          <p:nvSpPr>
            <p:cNvPr id="83" name="Oval 46">
              <a:extLst>
                <a:ext uri="{FF2B5EF4-FFF2-40B4-BE49-F238E27FC236}">
                  <a16:creationId xmlns:a16="http://schemas.microsoft.com/office/drawing/2014/main" id="{E12DF8F6-EFFD-489F-9603-1E9067E41FFE}"/>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4" name="Freeform 47">
              <a:extLst>
                <a:ext uri="{FF2B5EF4-FFF2-40B4-BE49-F238E27FC236}">
                  <a16:creationId xmlns:a16="http://schemas.microsoft.com/office/drawing/2014/main" id="{90BDC41F-F0DF-4420-A304-F4127D0666FE}"/>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6" name="Rectangle 5">
            <a:extLst>
              <a:ext uri="{FF2B5EF4-FFF2-40B4-BE49-F238E27FC236}">
                <a16:creationId xmlns:a16="http://schemas.microsoft.com/office/drawing/2014/main" id="{FCAE2AA9-9EA3-4B53-8EFE-25EE4339826A}"/>
              </a:ext>
            </a:extLst>
          </p:cNvPr>
          <p:cNvSpPr/>
          <p:nvPr/>
        </p:nvSpPr>
        <p:spPr>
          <a:xfrm>
            <a:off x="1038202" y="3736034"/>
            <a:ext cx="6566439" cy="954107"/>
          </a:xfrm>
          <a:prstGeom prst="rect">
            <a:avLst/>
          </a:prstGeom>
          <a:ln w="9525" cap="flat" cmpd="sng" algn="ctr">
            <a:noFill/>
            <a:prstDash val="solid"/>
            <a:round/>
            <a:headEnd type="none" w="med" len="med"/>
            <a:tailEnd type="none" w="med" len="med"/>
          </a:ln>
        </p:spPr>
        <p:txBody>
          <a:bodyPr wrap="square">
            <a:spAutoFit/>
          </a:bodyPr>
          <a:lstStyle/>
          <a:p>
            <a:r>
              <a:rPr lang="en-GB" sz="1400" dirty="0"/>
              <a:t>We need solutions which can support effective hybrid meetings, and which can be taken offsite to clients - most important one is a way for multiple, social-distanced people to speak in a live meeting room and be heard clearly by remote participants.  </a:t>
            </a:r>
            <a:endParaRPr lang="en-US" sz="1400" dirty="0"/>
          </a:p>
        </p:txBody>
      </p:sp>
      <p:sp>
        <p:nvSpPr>
          <p:cNvPr id="8" name="Rectangle 7">
            <a:extLst>
              <a:ext uri="{FF2B5EF4-FFF2-40B4-BE49-F238E27FC236}">
                <a16:creationId xmlns:a16="http://schemas.microsoft.com/office/drawing/2014/main" id="{960CEF85-0ED8-43E3-A85A-F67D585F8E6B}"/>
              </a:ext>
            </a:extLst>
          </p:cNvPr>
          <p:cNvSpPr/>
          <p:nvPr/>
        </p:nvSpPr>
        <p:spPr>
          <a:xfrm>
            <a:off x="1011604" y="5755997"/>
            <a:ext cx="6438679" cy="523220"/>
          </a:xfrm>
          <a:prstGeom prst="rect">
            <a:avLst/>
          </a:prstGeom>
          <a:ln w="9525" cap="flat" cmpd="sng" algn="ctr">
            <a:noFill/>
            <a:prstDash val="solid"/>
            <a:round/>
            <a:headEnd type="none" w="med" len="med"/>
            <a:tailEnd type="none" w="med" len="med"/>
          </a:ln>
        </p:spPr>
        <p:txBody>
          <a:bodyPr wrap="square">
            <a:spAutoFit/>
          </a:bodyPr>
          <a:lstStyle/>
          <a:p>
            <a:r>
              <a:rPr lang="en-GB" sz="1400" dirty="0"/>
              <a:t>There is a lag in communication time, after raising a request which needs to be reduced.</a:t>
            </a:r>
            <a:endParaRPr lang="en-US" sz="1400" dirty="0"/>
          </a:p>
        </p:txBody>
      </p:sp>
      <p:sp>
        <p:nvSpPr>
          <p:cNvPr id="29" name="Rectangle 28">
            <a:extLst>
              <a:ext uri="{FF2B5EF4-FFF2-40B4-BE49-F238E27FC236}">
                <a16:creationId xmlns:a16="http://schemas.microsoft.com/office/drawing/2014/main" id="{1D2FB96E-83E2-4F87-BF8F-20CD722E7048}"/>
              </a:ext>
            </a:extLst>
          </p:cNvPr>
          <p:cNvSpPr/>
          <p:nvPr/>
        </p:nvSpPr>
        <p:spPr>
          <a:xfrm>
            <a:off x="1042024" y="4708360"/>
            <a:ext cx="6438679" cy="954107"/>
          </a:xfrm>
          <a:prstGeom prst="rect">
            <a:avLst/>
          </a:prstGeom>
          <a:ln w="9525" cap="flat" cmpd="sng" algn="ctr">
            <a:noFill/>
            <a:prstDash val="solid"/>
            <a:round/>
            <a:headEnd type="none" w="med" len="med"/>
            <a:tailEnd type="none" w="med" len="med"/>
          </a:ln>
        </p:spPr>
        <p:txBody>
          <a:bodyPr wrap="square">
            <a:spAutoFit/>
          </a:bodyPr>
          <a:lstStyle/>
          <a:p>
            <a:r>
              <a:rPr lang="en-GB" sz="1400" dirty="0"/>
              <a:t>Someone to ask urgent questions about our digital tools. The Digital tools central channel no longer allows for questions/comments, Service now email inherently involves a delay in reply and difficulty explaining issues when not in real time, and BCG Slack support channel often doesn't respond.</a:t>
            </a:r>
            <a:endParaRPr lang="en-US" sz="1400" dirty="0"/>
          </a:p>
        </p:txBody>
      </p:sp>
      <p:grpSp>
        <p:nvGrpSpPr>
          <p:cNvPr id="30" name="Group 29">
            <a:extLst>
              <a:ext uri="{FF2B5EF4-FFF2-40B4-BE49-F238E27FC236}">
                <a16:creationId xmlns:a16="http://schemas.microsoft.com/office/drawing/2014/main" id="{B3FA6772-3629-45E5-9AC9-16BF21F31106}"/>
              </a:ext>
            </a:extLst>
          </p:cNvPr>
          <p:cNvGrpSpPr>
            <a:grpSpLocks noChangeAspect="1"/>
          </p:cNvGrpSpPr>
          <p:nvPr/>
        </p:nvGrpSpPr>
        <p:grpSpPr>
          <a:xfrm>
            <a:off x="626455" y="4747932"/>
            <a:ext cx="306910" cy="306910"/>
            <a:chOff x="5961063" y="3294063"/>
            <a:chExt cx="269875" cy="269875"/>
          </a:xfrm>
        </p:grpSpPr>
        <p:sp>
          <p:nvSpPr>
            <p:cNvPr id="31" name="Oval 46">
              <a:extLst>
                <a:ext uri="{FF2B5EF4-FFF2-40B4-BE49-F238E27FC236}">
                  <a16:creationId xmlns:a16="http://schemas.microsoft.com/office/drawing/2014/main" id="{3C392DBE-B9C9-4813-BF61-B6BEC4689134}"/>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32" name="Freeform 47">
              <a:extLst>
                <a:ext uri="{FF2B5EF4-FFF2-40B4-BE49-F238E27FC236}">
                  <a16:creationId xmlns:a16="http://schemas.microsoft.com/office/drawing/2014/main" id="{79B5B733-38F2-4F7F-B68D-FFC1ED98FF07}"/>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Tree>
    <p:custDataLst>
      <p:tags r:id="rId2"/>
    </p:custDataLst>
    <p:extLst>
      <p:ext uri="{BB962C8B-B14F-4D97-AF65-F5344CB8AC3E}">
        <p14:creationId xmlns:p14="http://schemas.microsoft.com/office/powerpoint/2010/main" val="530991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706"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26491" y="0"/>
            <a:ext cx="286956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his question was introduced in Q2 2021 to allow us to start gathering data for the top IT priority -  '</a:t>
            </a:r>
            <a:r>
              <a:rPr lang="en-GB" dirty="0"/>
              <a:t>The right help &amp; support is available to enable my home set-up to be as effective as it can be'</a:t>
            </a:r>
          </a:p>
          <a:p>
            <a:endParaRPr lang="en-GB" dirty="0">
              <a:solidFill>
                <a:srgbClr val="FFFFFF"/>
              </a:solidFill>
              <a:cs typeface="Arial" pitchFamily="34" charset="0"/>
            </a:endParaRPr>
          </a:p>
          <a:p>
            <a:r>
              <a:rPr lang="en-GB" dirty="0">
                <a:solidFill>
                  <a:srgbClr val="FFFFFF"/>
                </a:solidFill>
                <a:cs typeface="Arial" pitchFamily="34" charset="0"/>
              </a:rPr>
              <a:t>In Q2 &amp; Q3 the E-SAT was 75% &amp; 73% respectively,</a:t>
            </a:r>
          </a:p>
          <a:p>
            <a:r>
              <a:rPr lang="en-GB" dirty="0">
                <a:solidFill>
                  <a:srgbClr val="FFFFFF"/>
                </a:solidFill>
                <a:cs typeface="Arial" pitchFamily="34" charset="0"/>
              </a:rPr>
              <a:t>however CT is scoring this somewhat lower </a:t>
            </a:r>
            <a:r>
              <a:rPr lang="en-GB" sz="1400" i="1" dirty="0">
                <a:solidFill>
                  <a:srgbClr val="FFFFFF"/>
                </a:solidFill>
                <a:cs typeface="Arial" pitchFamily="34" charset="0"/>
              </a:rPr>
              <a:t>(next slide)</a:t>
            </a:r>
          </a:p>
        </p:txBody>
      </p:sp>
      <p:sp>
        <p:nvSpPr>
          <p:cNvPr id="3" name="Title 2"/>
          <p:cNvSpPr>
            <a:spLocks noGrp="1"/>
          </p:cNvSpPr>
          <p:nvPr>
            <p:ph type="title"/>
          </p:nvPr>
        </p:nvSpPr>
        <p:spPr>
          <a:xfrm>
            <a:off x="639919" y="546736"/>
            <a:ext cx="8376017" cy="304699"/>
          </a:xfrm>
        </p:spPr>
        <p:txBody>
          <a:bodyPr vert="horz"/>
          <a:lstStyle/>
          <a:p>
            <a:r>
              <a:rPr lang="en-US" sz="2200" dirty="0">
                <a:solidFill>
                  <a:srgbClr val="295E7E"/>
                </a:solidFill>
              </a:rPr>
              <a:t>Right help &amp; support is available to make home set-up productive</a:t>
            </a:r>
          </a:p>
        </p:txBody>
      </p:sp>
      <p:graphicFrame>
        <p:nvGraphicFramePr>
          <p:cNvPr id="52" name="Chart 51">
            <a:extLst>
              <a:ext uri="{FF2B5EF4-FFF2-40B4-BE49-F238E27FC236}">
                <a16:creationId xmlns:a16="http://schemas.microsoft.com/office/drawing/2014/main" id="{9560E198-E756-41D7-9B33-B60766214CFB}"/>
              </a:ext>
            </a:extLst>
          </p:cNvPr>
          <p:cNvGraphicFramePr/>
          <p:nvPr>
            <p:custDataLst>
              <p:tags r:id="rId5"/>
            </p:custDataLst>
          </p:nvPr>
        </p:nvGraphicFramePr>
        <p:xfrm>
          <a:off x="2744788" y="2433638"/>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73" name="Text Placeholder 3"/>
          <p:cNvSpPr>
            <a:spLocks noGrp="1"/>
          </p:cNvSpPr>
          <p:nvPr>
            <p:custDataLst>
              <p:tags r:id="rId6"/>
            </p:custDataLst>
          </p:nvPr>
        </p:nvSpPr>
        <p:spPr bwMode="gray">
          <a:xfrm>
            <a:off x="5435600" y="3267075"/>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01F2643-43D8-4086-9E3B-C677E740B3E8}" type="datetime'''''''''''3''''''''2'''''''''''''''''''''''''''''''">
              <a:rPr lang="en-US" altLang="en-US" sz="1600" smtClean="0">
                <a:solidFill>
                  <a:schemeClr val="bg1"/>
                </a:solidFill>
              </a:rPr>
              <a:pPr/>
              <a:t>32</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7"/>
            </p:custDataLst>
          </p:nvPr>
        </p:nvSpPr>
        <p:spPr bwMode="gray">
          <a:xfrm>
            <a:off x="3038475" y="3316288"/>
            <a:ext cx="385763"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B815353-DAAB-4D8F-A249-C7B52309C372}" type="datetime'''''19'''''''''''''">
              <a:rPr lang="en-US" altLang="en-US" sz="1600" smtClean="0"/>
              <a:pPr/>
              <a:t>19</a:t>
            </a:fld>
            <a:r>
              <a:rPr lang="en-US" altLang="en-US" sz="1600"/>
              <a:t>%</a:t>
            </a:r>
            <a:endParaRPr lang="en-US" sz="1600" dirty="0">
              <a:sym typeface="+mn-lt"/>
            </a:endParaRPr>
          </a:p>
        </p:txBody>
      </p:sp>
      <p:sp>
        <p:nvSpPr>
          <p:cNvPr id="33" name="Text Placeholder 3"/>
          <p:cNvSpPr>
            <a:spLocks noGrp="1"/>
          </p:cNvSpPr>
          <p:nvPr>
            <p:custDataLst>
              <p:tags r:id="rId8"/>
            </p:custDataLst>
          </p:nvPr>
        </p:nvSpPr>
        <p:spPr bwMode="gray">
          <a:xfrm>
            <a:off x="3979863" y="5408613"/>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E614CC0-A002-4B21-B84A-CC80EFE21BC2}" type="datetime'''''''''''''''''''''''''4''''''''''''''''''''1'''''''''''''">
              <a:rPr lang="en-US" altLang="en-US" sz="1600" smtClean="0">
                <a:solidFill>
                  <a:schemeClr val="bg1"/>
                </a:solidFill>
              </a:rPr>
              <a:pPr/>
              <a:t>41</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9"/>
            </p:custDataLst>
          </p:nvPr>
        </p:nvSpPr>
        <p:spPr bwMode="gray">
          <a:xfrm>
            <a:off x="4235450" y="2540000"/>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54F07E2-0D95-4595-95E9-44A3C75127B7}"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10"/>
            </p:custDataLst>
          </p:nvPr>
        </p:nvSpPr>
        <p:spPr bwMode="gray">
          <a:xfrm>
            <a:off x="3903663" y="2614613"/>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691396E-7841-4666-B43E-37CC8AEF546E}" type="datetime'''6'''''''''''''''''''''''''''''''''''''">
              <a:rPr lang="en-US" altLang="en-US" sz="1600" smtClean="0">
                <a:solidFill>
                  <a:schemeClr val="bg1"/>
                </a:solidFill>
              </a:rPr>
              <a:pPr/>
              <a:t>6</a:t>
            </a:fld>
            <a:r>
              <a:rPr lang="en-US" altLang="en-US" sz="1600">
                <a:solidFill>
                  <a:schemeClr val="bg1"/>
                </a:solidFill>
              </a:rPr>
              <a:t>%</a:t>
            </a:r>
            <a:endParaRPr lang="en-US" sz="1600" dirty="0">
              <a:solidFill>
                <a:schemeClr val="bg1"/>
              </a:solidFill>
              <a:sym typeface="+mn-lt"/>
            </a:endParaRPr>
          </a:p>
        </p:txBody>
      </p:sp>
      <p:sp>
        <p:nvSpPr>
          <p:cNvPr id="45" name="Rectangle 44"/>
          <p:cNvSpPr/>
          <p:nvPr>
            <p:custDataLst>
              <p:tags r:id="rId11"/>
            </p:custDataLst>
          </p:nvPr>
        </p:nvSpPr>
        <p:spPr bwMode="gray">
          <a:xfrm>
            <a:off x="1654175" y="61134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2"/>
            </p:custDataLst>
          </p:nvPr>
        </p:nvSpPr>
        <p:spPr bwMode="gray">
          <a:xfrm>
            <a:off x="3883025" y="61134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2933700" y="61134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4"/>
            </p:custDataLst>
          </p:nvPr>
        </p:nvSpPr>
        <p:spPr bwMode="gray">
          <a:xfrm>
            <a:off x="4754563" y="61134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891213" y="61134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1919288" y="6094413"/>
            <a:ext cx="9128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178EC7F-1B7A-48DB-99C2-159EA80B157D}" type="datetime'''Ve''r''y'''''''''' sa''''t''''''i''s''''f''''''''ied'''''''">
              <a:rPr lang="en-US" altLang="en-US" smtClean="0"/>
              <a:pPr/>
              <a:t>Very satisfied</a:t>
            </a:fld>
            <a:endParaRPr lang="en-US" dirty="0">
              <a:sym typeface="+mn-lt"/>
            </a:endParaRPr>
          </a:p>
        </p:txBody>
      </p:sp>
      <p:sp>
        <p:nvSpPr>
          <p:cNvPr id="42" name="Text Placeholder 3"/>
          <p:cNvSpPr>
            <a:spLocks noGrp="1"/>
          </p:cNvSpPr>
          <p:nvPr>
            <p:custDataLst>
              <p:tags r:id="rId17"/>
            </p:custDataLst>
          </p:nvPr>
        </p:nvSpPr>
        <p:spPr bwMode="gray">
          <a:xfrm>
            <a:off x="6156326" y="6094413"/>
            <a:ext cx="11017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D598824-7791-4434-A61D-F363CEBCC67B}" type="datetime'''V''er''''y'' ''dis''''''''s''at''''i''s''fie''''d'''''''''">
              <a:rPr lang="en-US" altLang="en-US" smtClean="0"/>
              <a:pPr/>
              <a:t>Very dissatisfied</a:t>
            </a:fld>
            <a:endParaRPr lang="en-US" dirty="0">
              <a:sym typeface="+mn-lt"/>
            </a:endParaRPr>
          </a:p>
        </p:txBody>
      </p:sp>
      <p:sp>
        <p:nvSpPr>
          <p:cNvPr id="38" name="Text Placeholder 3"/>
          <p:cNvSpPr>
            <a:spLocks noGrp="1"/>
          </p:cNvSpPr>
          <p:nvPr>
            <p:custDataLst>
              <p:tags r:id="rId18"/>
            </p:custDataLst>
          </p:nvPr>
        </p:nvSpPr>
        <p:spPr bwMode="gray">
          <a:xfrm>
            <a:off x="3198813" y="60944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D431955-2979-4E44-8474-79ADEE414E69}" type="datetime'S''''a''''''''''''t''''''''i''''''sf''''''''''''ie''''d'''">
              <a:rPr lang="en-US" altLang="en-US" smtClean="0"/>
              <a:pPr/>
              <a:t>Satisfied</a:t>
            </a:fld>
            <a:endParaRPr lang="en-US" dirty="0">
              <a:sym typeface="+mn-lt"/>
            </a:endParaRPr>
          </a:p>
        </p:txBody>
      </p:sp>
      <p:sp>
        <p:nvSpPr>
          <p:cNvPr id="40" name="Text Placeholder 3"/>
          <p:cNvSpPr>
            <a:spLocks noGrp="1"/>
          </p:cNvSpPr>
          <p:nvPr>
            <p:custDataLst>
              <p:tags r:id="rId19"/>
            </p:custDataLst>
          </p:nvPr>
        </p:nvSpPr>
        <p:spPr bwMode="gray">
          <a:xfrm>
            <a:off x="5019675" y="60944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3109950-BC6D-431C-8A3C-48F28639BFC4}" type="datetime'''''''''''''''''Dis''''''''s''''at''is''''''f''i''''''e''d'''">
              <a:rPr lang="en-US" altLang="en-US" smtClean="0"/>
              <a:pPr/>
              <a:t>Dissatisfied</a:t>
            </a:fld>
            <a:endParaRPr lang="en-US" dirty="0">
              <a:sym typeface="+mn-lt"/>
            </a:endParaRPr>
          </a:p>
        </p:txBody>
      </p:sp>
      <p:sp>
        <p:nvSpPr>
          <p:cNvPr id="39" name="Text Placeholder 3"/>
          <p:cNvSpPr>
            <a:spLocks noGrp="1"/>
          </p:cNvSpPr>
          <p:nvPr>
            <p:custDataLst>
              <p:tags r:id="rId20"/>
            </p:custDataLst>
          </p:nvPr>
        </p:nvSpPr>
        <p:spPr bwMode="gray">
          <a:xfrm>
            <a:off x="4148138" y="60944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96" name="Rectangle 95"/>
          <p:cNvSpPr/>
          <p:nvPr/>
        </p:nvSpPr>
        <p:spPr>
          <a:xfrm>
            <a:off x="3093591" y="1392248"/>
            <a:ext cx="5243585"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4% </a:t>
            </a:r>
            <a:r>
              <a:rPr lang="en-US" dirty="0">
                <a:solidFill>
                  <a:srgbClr val="575757"/>
                </a:solidFill>
              </a:rPr>
              <a:t>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1</a:t>
            </a:r>
            <a:r>
              <a:rPr lang="en-US" sz="1400" dirty="0">
                <a:solidFill>
                  <a:srgbClr val="575757"/>
                </a:solidFill>
              </a:rPr>
              <a:t>% vs Q3 '21</a:t>
            </a:r>
            <a:endParaRPr lang="en-US" sz="1400" i="1" dirty="0">
              <a:solidFill>
                <a:srgbClr val="575757"/>
              </a:solidFill>
            </a:endParaRPr>
          </a:p>
        </p:txBody>
      </p:sp>
      <p:sp>
        <p:nvSpPr>
          <p:cNvPr id="6" name="Rectangle 5"/>
          <p:cNvSpPr/>
          <p:nvPr/>
        </p:nvSpPr>
        <p:spPr>
          <a:xfrm>
            <a:off x="629999" y="1392247"/>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0" name="Rectangle 29"/>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7" name="Rectangle 36">
            <a:extLst>
              <a:ext uri="{FF2B5EF4-FFF2-40B4-BE49-F238E27FC236}">
                <a16:creationId xmlns:a16="http://schemas.microsoft.com/office/drawing/2014/main" id="{85CCB229-3305-4319-BEE9-0A4B6CCE547C}"/>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43" name="Group 42">
            <a:extLst>
              <a:ext uri="{FF2B5EF4-FFF2-40B4-BE49-F238E27FC236}">
                <a16:creationId xmlns:a16="http://schemas.microsoft.com/office/drawing/2014/main" id="{A8EB5966-9893-4CC6-8C3A-A55A4AB30487}"/>
              </a:ext>
            </a:extLst>
          </p:cNvPr>
          <p:cNvGrpSpPr>
            <a:grpSpLocks noChangeAspect="1"/>
          </p:cNvGrpSpPr>
          <p:nvPr/>
        </p:nvGrpSpPr>
        <p:grpSpPr>
          <a:xfrm>
            <a:off x="599640" y="864696"/>
            <a:ext cx="457200" cy="457200"/>
            <a:chOff x="5867400" y="3200400"/>
            <a:chExt cx="457200" cy="457200"/>
          </a:xfrm>
        </p:grpSpPr>
        <p:sp>
          <p:nvSpPr>
            <p:cNvPr id="44" name="AutoShape 43">
              <a:extLst>
                <a:ext uri="{FF2B5EF4-FFF2-40B4-BE49-F238E27FC236}">
                  <a16:creationId xmlns:a16="http://schemas.microsoft.com/office/drawing/2014/main" id="{1F095516-72BB-414D-9906-DF26A1A1013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DC8D576E-2584-4BB1-8906-AB196C2BC66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1153521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729"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26872" y="0"/>
            <a:ext cx="277046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600" dirty="0">
              <a:solidFill>
                <a:srgbClr val="FFFFFF"/>
              </a:solidFill>
              <a:cs typeface="Arial" pitchFamily="34" charset="0"/>
            </a:endParaRPr>
          </a:p>
        </p:txBody>
      </p:sp>
      <p:graphicFrame>
        <p:nvGraphicFramePr>
          <p:cNvPr id="63" name="Chart 62">
            <a:extLst>
              <a:ext uri="{FF2B5EF4-FFF2-40B4-BE49-F238E27FC236}">
                <a16:creationId xmlns:a16="http://schemas.microsoft.com/office/drawing/2014/main" id="{F863F40A-AB88-4BF8-9160-CEE48C79CB89}"/>
              </a:ext>
            </a:extLst>
          </p:cNvPr>
          <p:cNvGraphicFramePr/>
          <p:nvPr>
            <p:custDataLst>
              <p:tags r:id="rId5"/>
            </p:custDataLst>
          </p:nvPr>
        </p:nvGraphicFramePr>
        <p:xfrm>
          <a:off x="1411288" y="3286125"/>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73" name="Text Placeholder 3"/>
          <p:cNvSpPr>
            <a:spLocks noGrp="1"/>
          </p:cNvSpPr>
          <p:nvPr>
            <p:custDataLst>
              <p:tags r:id="rId6"/>
            </p:custDataLst>
          </p:nvPr>
        </p:nvSpPr>
        <p:spPr bwMode="gray">
          <a:xfrm>
            <a:off x="3224213" y="3786188"/>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BD65E58-789F-49BA-9059-8555571545E4}" type="datetime'''''''''''''''''''''''''''''''''''''''''''''''''''''''''27'">
              <a:rPr lang="en-US" altLang="en-US" sz="1600" smtClean="0">
                <a:solidFill>
                  <a:schemeClr val="bg1"/>
                </a:solidFill>
                <a:effectLst/>
              </a:rPr>
              <a:pPr/>
              <a:t>27</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7"/>
            </p:custDataLst>
          </p:nvPr>
        </p:nvSpPr>
        <p:spPr bwMode="gray">
          <a:xfrm>
            <a:off x="2667000" y="5437188"/>
            <a:ext cx="385763" cy="268288"/>
          </a:xfrm>
          <a:prstGeom prst="rect">
            <a:avLst/>
          </a:prstGeom>
          <a:noFill/>
          <a:ln>
            <a:noFill/>
          </a:ln>
          <a:extLst>
            <a:ext uri="{909E8E84-426E-40DD-AFC4-6F175D3DCCD1}">
              <a14:hiddenFill xmlns:a14="http://schemas.microsoft.com/office/drawing/2010/main">
                <a:solidFill>
                  <a:srgbClr val="2E355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42C48A0-7849-4A93-B204-F6835668561C}" type="datetime'''''''''''''''''''''''''''''''''''''''4''''''''''''''1'''''''">
              <a:rPr lang="en-US" altLang="en-US" sz="1600" smtClean="0">
                <a:solidFill>
                  <a:schemeClr val="bg1"/>
                </a:solidFill>
              </a:rPr>
              <a:pPr/>
              <a:t>41</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8"/>
            </p:custDataLst>
          </p:nvPr>
        </p:nvSpPr>
        <p:spPr bwMode="gray">
          <a:xfrm>
            <a:off x="1546225" y="4181475"/>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8E8AF42-741E-4498-9E8A-CC09EDD9016B}" type="datetime'''''''''''''2''''''''''''''''''2'''''''''''''''''''">
              <a:rPr lang="en-US" altLang="en-US" sz="1600" smtClean="0">
                <a:effectLst/>
              </a:rPr>
              <a:pPr/>
              <a:t>22</a:t>
            </a:fld>
            <a:r>
              <a:rPr lang="en-US" altLang="en-US" sz="1600"/>
              <a:t>%</a:t>
            </a:r>
            <a:endParaRPr lang="en-US" sz="1600" dirty="0">
              <a:sym typeface="+mn-lt"/>
            </a:endParaRPr>
          </a:p>
        </p:txBody>
      </p:sp>
      <p:sp>
        <p:nvSpPr>
          <p:cNvPr id="50" name="Text Placeholder 3"/>
          <p:cNvSpPr>
            <a:spLocks noGrp="1"/>
          </p:cNvSpPr>
          <p:nvPr>
            <p:custDataLst>
              <p:tags r:id="rId9"/>
            </p:custDataLst>
          </p:nvPr>
        </p:nvSpPr>
        <p:spPr bwMode="gray">
          <a:xfrm>
            <a:off x="2176463" y="3487738"/>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4D43870-3E6A-4EEB-A48F-5890D9009F25}" type="datetime'''''''''''''8'''''''''''''''''''''''''''''''''''''''''''''">
              <a:rPr lang="en-US" altLang="en-US" sz="1600" smtClean="0">
                <a:solidFill>
                  <a:schemeClr val="bg1"/>
                </a:solidFill>
                <a:effectLst/>
              </a:rPr>
              <a:pPr/>
              <a:t>8</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10"/>
            </p:custDataLst>
          </p:nvPr>
        </p:nvSpPr>
        <p:spPr bwMode="gray">
          <a:xfrm>
            <a:off x="2478088" y="3397250"/>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4C356BD-1B7D-4AFB-B2DF-2B91110973EF}"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51" name="Rectangle 50"/>
          <p:cNvSpPr/>
          <p:nvPr>
            <p:custDataLst>
              <p:tags r:id="rId11"/>
            </p:custDataLst>
          </p:nvPr>
        </p:nvSpPr>
        <p:spPr bwMode="gray">
          <a:xfrm>
            <a:off x="4902200" y="60626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801813" y="60626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4030663" y="60626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4"/>
            </p:custDataLst>
          </p:nvPr>
        </p:nvSpPr>
        <p:spPr bwMode="gray">
          <a:xfrm>
            <a:off x="3081338" y="60626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6038850" y="60626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2066925" y="6043613"/>
            <a:ext cx="9128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7640BBB-C728-4F0D-9D60-514D6101ADEC}" type="datetime'Ve''ry'' ''''''''''''s''a''''''ti''sf''ied'''''''">
              <a:rPr lang="en-US" altLang="en-US" smtClean="0"/>
              <a:pPr/>
              <a:t>Very satisfied</a:t>
            </a:fld>
            <a:endParaRPr lang="en-US" dirty="0">
              <a:sym typeface="+mn-lt"/>
            </a:endParaRPr>
          </a:p>
        </p:txBody>
      </p:sp>
      <p:sp>
        <p:nvSpPr>
          <p:cNvPr id="38" name="Text Placeholder 3"/>
          <p:cNvSpPr>
            <a:spLocks noGrp="1"/>
          </p:cNvSpPr>
          <p:nvPr>
            <p:custDataLst>
              <p:tags r:id="rId17"/>
            </p:custDataLst>
          </p:nvPr>
        </p:nvSpPr>
        <p:spPr bwMode="gray">
          <a:xfrm>
            <a:off x="3346450" y="60436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99B9E69-4F44-427C-9671-447789C2BF32}" type="datetime'''''''Sa''t''''''''''''''''''is''f''''''ie''''d'''''''''''''''">
              <a:rPr lang="en-US" altLang="en-US" smtClean="0"/>
              <a:pPr/>
              <a:t>Satisfied</a:t>
            </a:fld>
            <a:endParaRPr lang="en-US" dirty="0">
              <a:sym typeface="+mn-lt"/>
            </a:endParaRPr>
          </a:p>
        </p:txBody>
      </p:sp>
      <p:sp>
        <p:nvSpPr>
          <p:cNvPr id="42" name="Text Placeholder 3"/>
          <p:cNvSpPr>
            <a:spLocks noGrp="1"/>
          </p:cNvSpPr>
          <p:nvPr>
            <p:custDataLst>
              <p:tags r:id="rId18"/>
            </p:custDataLst>
          </p:nvPr>
        </p:nvSpPr>
        <p:spPr bwMode="gray">
          <a:xfrm>
            <a:off x="6303964" y="6043613"/>
            <a:ext cx="11017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ADD3E82-2EB9-4C70-BBC8-7B9A89037F0A}" type="datetime'Ver''''''''''y'' di''''ss''''''a''''t''is''''''fi''''e''''''d'">
              <a:rPr lang="en-US" altLang="en-US" smtClean="0"/>
              <a:pPr/>
              <a:t>Very dissatisfied</a:t>
            </a:fld>
            <a:endParaRPr lang="en-US" dirty="0">
              <a:sym typeface="+mn-lt"/>
            </a:endParaRPr>
          </a:p>
        </p:txBody>
      </p:sp>
      <p:sp>
        <p:nvSpPr>
          <p:cNvPr id="40" name="Text Placeholder 3"/>
          <p:cNvSpPr>
            <a:spLocks noGrp="1"/>
          </p:cNvSpPr>
          <p:nvPr>
            <p:custDataLst>
              <p:tags r:id="rId19"/>
            </p:custDataLst>
          </p:nvPr>
        </p:nvSpPr>
        <p:spPr bwMode="gray">
          <a:xfrm>
            <a:off x="5167312" y="60436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EB23DBD-546F-4CDB-8D96-B4BCAE860507}" type="datetime'''''D''''is''sat''''isf''''''''''''''i''''ed'''''''''''''''">
              <a:rPr lang="en-US" altLang="en-US" smtClean="0"/>
              <a:pPr/>
              <a:t>Dissatisfied</a:t>
            </a:fld>
            <a:endParaRPr lang="en-US" dirty="0">
              <a:sym typeface="+mn-lt"/>
            </a:endParaRPr>
          </a:p>
        </p:txBody>
      </p:sp>
      <p:sp>
        <p:nvSpPr>
          <p:cNvPr id="39" name="Text Placeholder 3"/>
          <p:cNvSpPr>
            <a:spLocks noGrp="1"/>
          </p:cNvSpPr>
          <p:nvPr>
            <p:custDataLst>
              <p:tags r:id="rId20"/>
            </p:custDataLst>
          </p:nvPr>
        </p:nvSpPr>
        <p:spPr bwMode="gray">
          <a:xfrm>
            <a:off x="4295775" y="60436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graphicFrame>
        <p:nvGraphicFramePr>
          <p:cNvPr id="71" name="Chart 70">
            <a:extLst>
              <a:ext uri="{FF2B5EF4-FFF2-40B4-BE49-F238E27FC236}">
                <a16:creationId xmlns:a16="http://schemas.microsoft.com/office/drawing/2014/main" id="{716ECFD6-FF13-49BF-A4FC-BE09AEC70E61}"/>
              </a:ext>
            </a:extLst>
          </p:cNvPr>
          <p:cNvGraphicFramePr/>
          <p:nvPr>
            <p:custDataLst>
              <p:tags r:id="rId21"/>
            </p:custDataLst>
          </p:nvPr>
        </p:nvGraphicFramePr>
        <p:xfrm>
          <a:off x="5548313" y="3286125"/>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61" name="Text Placeholder 3">
            <a:extLst>
              <a:ext uri="{FF2B5EF4-FFF2-40B4-BE49-F238E27FC236}">
                <a16:creationId xmlns:a16="http://schemas.microsoft.com/office/drawing/2014/main" id="{8E71A881-7605-400A-B659-5C5E2DDC4BBD}"/>
              </a:ext>
            </a:extLst>
          </p:cNvPr>
          <p:cNvSpPr>
            <a:spLocks noGrp="1"/>
          </p:cNvSpPr>
          <p:nvPr>
            <p:custDataLst>
              <p:tags r:id="rId22"/>
            </p:custDataLst>
          </p:nvPr>
        </p:nvSpPr>
        <p:spPr bwMode="gray">
          <a:xfrm>
            <a:off x="7535863" y="4048125"/>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11D0330-A77C-41EA-8992-96E41963B829}" type="datetime'''''''''''''''''''''3''''''''''''''''7'''''''''">
              <a:rPr lang="en-US" altLang="en-US" sz="1600" smtClean="0">
                <a:solidFill>
                  <a:schemeClr val="bg1"/>
                </a:solidFill>
                <a:effectLst/>
              </a:rPr>
              <a:pPr/>
              <a:t>37</a:t>
            </a:fld>
            <a:r>
              <a:rPr lang="en-US" altLang="en-US" sz="1600">
                <a:solidFill>
                  <a:schemeClr val="bg1"/>
                </a:solidFill>
                <a:sym typeface="+mn-lt"/>
              </a:rPr>
              <a:t>%</a:t>
            </a:r>
            <a:endParaRPr lang="en-US" sz="1600" dirty="0">
              <a:solidFill>
                <a:schemeClr val="bg1"/>
              </a:solidFill>
              <a:sym typeface="+mn-lt"/>
            </a:endParaRPr>
          </a:p>
        </p:txBody>
      </p:sp>
      <p:sp>
        <p:nvSpPr>
          <p:cNvPr id="65" name="Text Placeholder 3">
            <a:extLst>
              <a:ext uri="{FF2B5EF4-FFF2-40B4-BE49-F238E27FC236}">
                <a16:creationId xmlns:a16="http://schemas.microsoft.com/office/drawing/2014/main" id="{5EE01E09-7E74-43C1-BD9F-E82CAE635661}"/>
              </a:ext>
            </a:extLst>
          </p:cNvPr>
          <p:cNvSpPr>
            <a:spLocks noGrp="1"/>
          </p:cNvSpPr>
          <p:nvPr>
            <p:custDataLst>
              <p:tags r:id="rId23"/>
            </p:custDataLst>
          </p:nvPr>
        </p:nvSpPr>
        <p:spPr bwMode="gray">
          <a:xfrm>
            <a:off x="6167438" y="5299075"/>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40614B3-241B-4016-B58C-05F2BD27388A}" type="datetime'''''''''''''''42'''''''''''''''''''">
              <a:rPr lang="en-US" altLang="en-US" sz="1600" smtClean="0">
                <a:solidFill>
                  <a:schemeClr val="bg1"/>
                </a:solidFill>
                <a:effectLst/>
              </a:rPr>
              <a:pPr/>
              <a:t>42</a:t>
            </a:fld>
            <a:r>
              <a:rPr lang="en-US" altLang="en-US" sz="1600">
                <a:solidFill>
                  <a:schemeClr val="bg1"/>
                </a:solidFill>
                <a:sym typeface="+mn-lt"/>
              </a:rPr>
              <a:t>%</a:t>
            </a:r>
            <a:endParaRPr lang="en-US" sz="1600" dirty="0">
              <a:solidFill>
                <a:schemeClr val="bg1"/>
              </a:solidFill>
              <a:sym typeface="+mn-lt"/>
            </a:endParaRPr>
          </a:p>
        </p:txBody>
      </p:sp>
      <p:sp>
        <p:nvSpPr>
          <p:cNvPr id="69" name="Text Placeholder 3">
            <a:extLst>
              <a:ext uri="{FF2B5EF4-FFF2-40B4-BE49-F238E27FC236}">
                <a16:creationId xmlns:a16="http://schemas.microsoft.com/office/drawing/2014/main" id="{CD17568D-CD49-40DD-8FD9-3D002FAB1193}"/>
              </a:ext>
            </a:extLst>
          </p:cNvPr>
          <p:cNvSpPr>
            <a:spLocks noGrp="1"/>
          </p:cNvSpPr>
          <p:nvPr>
            <p:custDataLst>
              <p:tags r:id="rId24"/>
            </p:custDataLst>
          </p:nvPr>
        </p:nvSpPr>
        <p:spPr bwMode="gray">
          <a:xfrm>
            <a:off x="5913438" y="3784600"/>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B6FB06E-3A2F-41C3-AE95-4B7C76827169}" type="datetime'''''1''''''''''''''''''''6'">
              <a:rPr lang="en-US" altLang="en-US" sz="1600" smtClean="0">
                <a:effectLst/>
              </a:rPr>
              <a:pPr/>
              <a:t>16</a:t>
            </a:fld>
            <a:r>
              <a:rPr lang="en-US" altLang="en-US" sz="1600">
                <a:sym typeface="+mn-lt"/>
              </a:rPr>
              <a:t>%</a:t>
            </a:r>
            <a:endParaRPr lang="en-US" sz="1600" dirty="0">
              <a:sym typeface="+mn-lt"/>
            </a:endParaRPr>
          </a:p>
        </p:txBody>
      </p:sp>
      <p:sp>
        <p:nvSpPr>
          <p:cNvPr id="75" name="Text Placeholder 3">
            <a:extLst>
              <a:ext uri="{FF2B5EF4-FFF2-40B4-BE49-F238E27FC236}">
                <a16:creationId xmlns:a16="http://schemas.microsoft.com/office/drawing/2014/main" id="{CCB431D0-6673-4F0D-9C37-407994334205}"/>
              </a:ext>
            </a:extLst>
          </p:cNvPr>
          <p:cNvSpPr>
            <a:spLocks noGrp="1"/>
          </p:cNvSpPr>
          <p:nvPr>
            <p:custDataLst>
              <p:tags r:id="rId25"/>
            </p:custDataLst>
          </p:nvPr>
        </p:nvSpPr>
        <p:spPr bwMode="gray">
          <a:xfrm>
            <a:off x="6486525" y="3424238"/>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2C0B94A-553A-4FCA-964C-9C63AA7EAB52}" type="datetime'''''''''''''''''''''''''''''''''''5'''''''''''''''''''''">
              <a:rPr lang="en-US" altLang="en-US" sz="1600" smtClean="0">
                <a:solidFill>
                  <a:schemeClr val="bg1"/>
                </a:solidFill>
                <a:effectLst/>
              </a:rPr>
              <a:pPr/>
              <a:t>5</a:t>
            </a:fld>
            <a:r>
              <a:rPr lang="en-US" altLang="en-US" sz="1600">
                <a:solidFill>
                  <a:schemeClr val="bg1"/>
                </a:solidFill>
                <a:sym typeface="+mn-lt"/>
              </a:rPr>
              <a:t>%</a:t>
            </a:r>
            <a:endParaRPr lang="en-US" sz="1600" dirty="0">
              <a:solidFill>
                <a:schemeClr val="bg1"/>
              </a:solidFill>
              <a:sym typeface="+mn-lt"/>
            </a:endParaRPr>
          </a:p>
        </p:txBody>
      </p:sp>
      <p:sp>
        <p:nvSpPr>
          <p:cNvPr id="57" name="Text Placeholder 3">
            <a:extLst>
              <a:ext uri="{FF2B5EF4-FFF2-40B4-BE49-F238E27FC236}">
                <a16:creationId xmlns:a16="http://schemas.microsoft.com/office/drawing/2014/main" id="{3C446700-929F-48D4-A5B7-8C7B5252BCED}"/>
              </a:ext>
            </a:extLst>
          </p:cNvPr>
          <p:cNvSpPr>
            <a:spLocks noGrp="1"/>
          </p:cNvSpPr>
          <p:nvPr>
            <p:custDataLst>
              <p:tags r:id="rId26"/>
            </p:custDataLst>
          </p:nvPr>
        </p:nvSpPr>
        <p:spPr bwMode="gray">
          <a:xfrm>
            <a:off x="6670675" y="3692525"/>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91068EA-2BF4-4CDF-9995-880EEFAE410D}" type="datetime'''''''''''''''''''''''''''''''''1'''''''''''">
              <a:rPr lang="en-US" altLang="en-US" sz="1600" smtClean="0">
                <a:solidFill>
                  <a:schemeClr val="bg1"/>
                </a:solidFill>
                <a:effectLst/>
              </a:rPr>
              <a:pPr/>
              <a:t>1</a:t>
            </a:fld>
            <a:r>
              <a:rPr lang="en-US" altLang="en-US" sz="1600">
                <a:solidFill>
                  <a:schemeClr val="bg1"/>
                </a:solidFill>
                <a:sym typeface="+mn-lt"/>
              </a:rPr>
              <a:t>%</a:t>
            </a:r>
            <a:endParaRPr lang="en-US" sz="1600" dirty="0">
              <a:solidFill>
                <a:schemeClr val="bg1"/>
              </a:solidFill>
              <a:sym typeface="+mn-lt"/>
            </a:endParaRPr>
          </a:p>
        </p:txBody>
      </p:sp>
      <p:sp>
        <p:nvSpPr>
          <p:cNvPr id="72" name="Rectangle 71"/>
          <p:cNvSpPr/>
          <p:nvPr/>
        </p:nvSpPr>
        <p:spPr>
          <a:xfrm>
            <a:off x="630001" y="1556445"/>
            <a:ext cx="4075349" cy="79781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8% </a:t>
            </a:r>
            <a:r>
              <a:rPr lang="en-US" dirty="0">
                <a:solidFill>
                  <a:srgbClr val="575757"/>
                </a:solidFill>
              </a:rPr>
              <a:t>CT satisfied</a:t>
            </a:r>
            <a:endParaRPr lang="en-US" sz="1000" dirty="0">
              <a:solidFill>
                <a:srgbClr val="575757"/>
              </a:solidFill>
            </a:endParaRPr>
          </a:p>
          <a:p>
            <a:pPr algn="ctr"/>
            <a:r>
              <a:rPr lang="en-US" sz="1000" dirty="0">
                <a:solidFill>
                  <a:srgbClr val="575757"/>
                </a:solidFill>
              </a:rPr>
              <a:t> </a:t>
            </a:r>
          </a:p>
          <a:p>
            <a:pPr algn="ctr"/>
            <a:r>
              <a:rPr lang="en-US" sz="1800" dirty="0">
                <a:solidFill>
                  <a:srgbClr val="29BA74"/>
                </a:solidFill>
                <a:latin typeface="Wingdings 3" panose="05040102010807070707" pitchFamily="18" charset="2"/>
              </a:rPr>
              <a:t>p</a:t>
            </a:r>
            <a:r>
              <a:rPr lang="en-US" sz="1800" kern="1200" dirty="0">
                <a:solidFill>
                  <a:srgbClr val="575757"/>
                </a:solidFill>
                <a:effectLst/>
                <a:latin typeface="Trebuchet MS" panose="020B0603020202020204" pitchFamily="34" charset="0"/>
                <a:ea typeface="+mn-ea"/>
                <a:cs typeface="+mn-cs"/>
              </a:rPr>
              <a:t>5% vs Q3 '21 </a:t>
            </a:r>
            <a:endParaRPr lang="en-US" sz="1400" i="1" dirty="0">
              <a:solidFill>
                <a:srgbClr val="575757"/>
              </a:solidFill>
            </a:endParaRPr>
          </a:p>
        </p:txBody>
      </p:sp>
      <p:sp>
        <p:nvSpPr>
          <p:cNvPr id="74" name="Rectangle 73"/>
          <p:cNvSpPr/>
          <p:nvPr/>
        </p:nvSpPr>
        <p:spPr>
          <a:xfrm>
            <a:off x="4705350" y="1550194"/>
            <a:ext cx="4075348" cy="78184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9% </a:t>
            </a:r>
            <a:r>
              <a:rPr lang="en-US" dirty="0">
                <a:solidFill>
                  <a:srgbClr val="575757"/>
                </a:solidFill>
              </a:rPr>
              <a:t>BST satisfied</a:t>
            </a:r>
            <a:endParaRPr lang="en-US" sz="1000" dirty="0">
              <a:solidFill>
                <a:srgbClr val="575757"/>
              </a:solidFill>
            </a:endParaRPr>
          </a:p>
          <a:p>
            <a:pPr algn="ctr"/>
            <a:r>
              <a:rPr lang="en-US" sz="1000" dirty="0">
                <a:solidFill>
                  <a:srgbClr val="575757"/>
                </a:solidFill>
              </a:rPr>
              <a:t> </a:t>
            </a:r>
          </a:p>
          <a:p>
            <a:pPr algn="ctr"/>
            <a:r>
              <a:rPr lang="en-US" sz="1800" b="0" i="0" kern="1200" spc="0" baseline="0" dirty="0">
                <a:ln>
                  <a:noFill/>
                </a:ln>
                <a:solidFill>
                  <a:srgbClr val="E71C57"/>
                </a:solidFill>
                <a:effectLst/>
                <a:latin typeface="Wingdings 3" panose="05040102010807070707" pitchFamily="18" charset="2"/>
                <a:ea typeface="+mn-ea"/>
                <a:cs typeface="+mn-cs"/>
              </a:rPr>
              <a:t>q</a:t>
            </a:r>
            <a:r>
              <a:rPr lang="en-US" sz="1800" kern="1200" dirty="0">
                <a:solidFill>
                  <a:srgbClr val="575757"/>
                </a:solidFill>
                <a:effectLst/>
                <a:latin typeface="Trebuchet MS" panose="020B0603020202020204" pitchFamily="34" charset="0"/>
                <a:ea typeface="+mn-ea"/>
                <a:cs typeface="+mn-cs"/>
              </a:rPr>
              <a:t>4% vs Q3 '21 </a:t>
            </a:r>
            <a:endParaRPr lang="en-US" sz="1400" dirty="0">
              <a:solidFill>
                <a:srgbClr val="575757"/>
              </a:solidFill>
            </a:endParaRPr>
          </a:p>
        </p:txBody>
      </p:sp>
      <p:sp>
        <p:nvSpPr>
          <p:cNvPr id="7" name="Rectangle 6"/>
          <p:cNvSpPr/>
          <p:nvPr/>
        </p:nvSpPr>
        <p:spPr>
          <a:xfrm>
            <a:off x="1937542" y="4194968"/>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76950" y="421719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84" name="Rectangle 83"/>
          <p:cNvSpPr/>
          <p:nvPr/>
        </p:nvSpPr>
        <p:spPr>
          <a:xfrm>
            <a:off x="1039210" y="938101"/>
            <a:ext cx="2854785"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 Doughnut View</a:t>
            </a:r>
          </a:p>
        </p:txBody>
      </p:sp>
      <p:cxnSp>
        <p:nvCxnSpPr>
          <p:cNvPr id="36" name="Straight Connector 35"/>
          <p:cNvCxnSpPr/>
          <p:nvPr/>
        </p:nvCxnSpPr>
        <p:spPr>
          <a:xfrm flipH="1" flipV="1">
            <a:off x="681605" y="2354263"/>
            <a:ext cx="7707176" cy="0"/>
          </a:xfrm>
          <a:prstGeom prst="line">
            <a:avLst/>
          </a:prstGeom>
          <a:ln w="19050" cap="rnd">
            <a:solidFill>
              <a:schemeClr val="tx1">
                <a:lumMod val="60000"/>
                <a:lumOff val="40000"/>
              </a:schemeClr>
            </a:solidFill>
            <a:prstDash val="sysDot"/>
          </a:ln>
        </p:spPr>
      </p:cxnSp>
      <p:sp>
        <p:nvSpPr>
          <p:cNvPr id="43" name="Rectangle 42"/>
          <p:cNvSpPr/>
          <p:nvPr/>
        </p:nvSpPr>
        <p:spPr>
          <a:xfrm>
            <a:off x="9151283" y="0"/>
            <a:ext cx="2856901"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here is a fairly large difference between BST &amp; CT E-SAT</a:t>
            </a:r>
          </a:p>
          <a:p>
            <a:endParaRPr lang="en-GB" dirty="0">
              <a:solidFill>
                <a:srgbClr val="FFFFFF"/>
              </a:solidFill>
              <a:cs typeface="Arial" pitchFamily="34" charset="0"/>
            </a:endParaRPr>
          </a:p>
          <a:p>
            <a:r>
              <a:rPr lang="en-GB" dirty="0">
                <a:solidFill>
                  <a:srgbClr val="FFFFFF"/>
                </a:solidFill>
                <a:cs typeface="Arial" pitchFamily="34" charset="0"/>
              </a:rPr>
              <a:t>CT are -11% less satisfied (this was -15% in Q2 &amp; -19% in Q3)</a:t>
            </a:r>
          </a:p>
          <a:p>
            <a:endParaRPr lang="en-GB" dirty="0">
              <a:solidFill>
                <a:srgbClr val="FFFFFF"/>
              </a:solidFill>
              <a:cs typeface="Arial" pitchFamily="34" charset="0"/>
            </a:endParaRPr>
          </a:p>
          <a:p>
            <a:r>
              <a:rPr lang="en-GB" dirty="0">
                <a:solidFill>
                  <a:srgbClr val="FFFFFF"/>
                </a:solidFill>
                <a:cs typeface="Arial" pitchFamily="34" charset="0"/>
              </a:rPr>
              <a:t>We know employees continue to ask for more help to improve their home-office set-up &amp; it appears the focus remains to enable CT </a:t>
            </a:r>
          </a:p>
        </p:txBody>
      </p:sp>
      <p:sp>
        <p:nvSpPr>
          <p:cNvPr id="56" name="Rectangle 55">
            <a:extLst>
              <a:ext uri="{FF2B5EF4-FFF2-40B4-BE49-F238E27FC236}">
                <a16:creationId xmlns:a16="http://schemas.microsoft.com/office/drawing/2014/main" id="{91CBB607-A829-45E8-9A18-ECDB7D3A14B3}"/>
              </a:ext>
            </a:extLst>
          </p:cNvPr>
          <p:cNvSpPr/>
          <p:nvPr/>
        </p:nvSpPr>
        <p:spPr>
          <a:xfrm>
            <a:off x="1840816" y="2360423"/>
            <a:ext cx="1519017" cy="38735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grpSp>
        <p:nvGrpSpPr>
          <p:cNvPr id="44" name="Group 43">
            <a:extLst>
              <a:ext uri="{FF2B5EF4-FFF2-40B4-BE49-F238E27FC236}">
                <a16:creationId xmlns:a16="http://schemas.microsoft.com/office/drawing/2014/main" id="{883A5565-A4AF-407F-91CB-1C35C13F726B}"/>
              </a:ext>
            </a:extLst>
          </p:cNvPr>
          <p:cNvGrpSpPr>
            <a:grpSpLocks noChangeAspect="1"/>
          </p:cNvGrpSpPr>
          <p:nvPr/>
        </p:nvGrpSpPr>
        <p:grpSpPr>
          <a:xfrm>
            <a:off x="599640" y="864696"/>
            <a:ext cx="457200" cy="457200"/>
            <a:chOff x="5867400" y="3200400"/>
            <a:chExt cx="457200" cy="457200"/>
          </a:xfrm>
        </p:grpSpPr>
        <p:sp>
          <p:nvSpPr>
            <p:cNvPr id="52" name="AutoShape 43">
              <a:extLst>
                <a:ext uri="{FF2B5EF4-FFF2-40B4-BE49-F238E27FC236}">
                  <a16:creationId xmlns:a16="http://schemas.microsoft.com/office/drawing/2014/main" id="{D13DA472-2631-486F-AA97-7B2F6A04B64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7">
              <a:extLst>
                <a:ext uri="{FF2B5EF4-FFF2-40B4-BE49-F238E27FC236}">
                  <a16:creationId xmlns:a16="http://schemas.microsoft.com/office/drawing/2014/main" id="{30712943-D149-42AC-A01F-D2BACE64263C}"/>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70" name="Title 2">
            <a:extLst>
              <a:ext uri="{FF2B5EF4-FFF2-40B4-BE49-F238E27FC236}">
                <a16:creationId xmlns:a16="http://schemas.microsoft.com/office/drawing/2014/main" id="{BEE3B3CD-11E7-4FF4-B64C-95DD02D69873}"/>
              </a:ext>
            </a:extLst>
          </p:cNvPr>
          <p:cNvSpPr>
            <a:spLocks noGrp="1"/>
          </p:cNvSpPr>
          <p:nvPr>
            <p:ph type="title"/>
          </p:nvPr>
        </p:nvSpPr>
        <p:spPr>
          <a:xfrm>
            <a:off x="630237" y="622300"/>
            <a:ext cx="8521045" cy="304699"/>
          </a:xfrm>
        </p:spPr>
        <p:txBody>
          <a:bodyPr vert="horz"/>
          <a:lstStyle/>
          <a:p>
            <a:r>
              <a:rPr lang="en-US" sz="2200" dirty="0">
                <a:solidFill>
                  <a:srgbClr val="295E7E"/>
                </a:solidFill>
              </a:rPr>
              <a:t>Right help &amp; support is available to make home set-up productive</a:t>
            </a:r>
          </a:p>
        </p:txBody>
      </p:sp>
      <p:sp>
        <p:nvSpPr>
          <p:cNvPr id="48" name="Rectangle 47">
            <a:extLst>
              <a:ext uri="{FF2B5EF4-FFF2-40B4-BE49-F238E27FC236}">
                <a16:creationId xmlns:a16="http://schemas.microsoft.com/office/drawing/2014/main" id="{9D556670-1E3C-4D4B-8EBB-DD8B36081053}"/>
              </a:ext>
            </a:extLst>
          </p:cNvPr>
          <p:cNvSpPr/>
          <p:nvPr/>
        </p:nvSpPr>
        <p:spPr>
          <a:xfrm>
            <a:off x="6050867" y="2360423"/>
            <a:ext cx="1519016" cy="370715"/>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Tree>
    <p:custDataLst>
      <p:tags r:id="rId2"/>
    </p:custDataLst>
    <p:extLst>
      <p:ext uri="{BB962C8B-B14F-4D97-AF65-F5344CB8AC3E}">
        <p14:creationId xmlns:p14="http://schemas.microsoft.com/office/powerpoint/2010/main" val="3376735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07824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326"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63" name="Picture 62">
            <a:extLst>
              <a:ext uri="{FF2B5EF4-FFF2-40B4-BE49-F238E27FC236}">
                <a16:creationId xmlns:a16="http://schemas.microsoft.com/office/drawing/2014/main" id="{DF043DB6-FA15-4CF4-B4EE-93D99DF63E29}"/>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16329" y="-1248"/>
            <a:ext cx="4375670" cy="6859255"/>
          </a:xfrm>
          <a:prstGeom prst="rect">
            <a:avLst/>
          </a:prstGeom>
        </p:spPr>
      </p:pic>
      <p:sp>
        <p:nvSpPr>
          <p:cNvPr id="53" name="Rectangular Callout 52"/>
          <p:cNvSpPr/>
          <p:nvPr/>
        </p:nvSpPr>
        <p:spPr>
          <a:xfrm>
            <a:off x="257717" y="4113352"/>
            <a:ext cx="3829294" cy="1166096"/>
          </a:xfrm>
          <a:prstGeom prst="wedgeRectCallout">
            <a:avLst>
              <a:gd name="adj1" fmla="val 3716"/>
              <a:gd name="adj2" fmla="val 5594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Monitor provided is much smaller than what is in the office. We should be provided a selection of tested, high-quality headsets. IT gear should be provided from an internal, curated menu, so each person can choose the gear that best suits them.</a:t>
            </a:r>
            <a:r>
              <a:rPr lang="en-GB" sz="1200" dirty="0">
                <a:cs typeface="Arial" pitchFamily="34" charset="0"/>
              </a:rPr>
              <a:t>”</a:t>
            </a:r>
            <a:endParaRPr lang="en-GB" sz="1000" i="1" dirty="0">
              <a:cs typeface="Arial" pitchFamily="34" charset="0"/>
            </a:endParaRPr>
          </a:p>
          <a:p>
            <a:pPr algn="r"/>
            <a:r>
              <a:rPr lang="en-GB" sz="1000" i="1" dirty="0">
                <a:cs typeface="Arial" pitchFamily="34" charset="0"/>
              </a:rPr>
              <a:t>Senior ECT</a:t>
            </a:r>
          </a:p>
        </p:txBody>
      </p:sp>
      <p:sp>
        <p:nvSpPr>
          <p:cNvPr id="41" name="Rectangular Callout 40"/>
          <p:cNvSpPr/>
          <p:nvPr/>
        </p:nvSpPr>
        <p:spPr>
          <a:xfrm>
            <a:off x="257711" y="5459552"/>
            <a:ext cx="4117961" cy="1232421"/>
          </a:xfrm>
          <a:prstGeom prst="wedgeRectCallout">
            <a:avLst>
              <a:gd name="adj1" fmla="val -5439"/>
              <a:gd name="adj2" fmla="val -5797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Allowance for home technology could be higher, also more categories of equipment or furniture should be included (e.g. desks, laptop/monitor risers, USB expansion dongles, quality earphones, etc.). Just give a generous enough overall budget for all IT purpose.</a:t>
            </a:r>
            <a:r>
              <a:rPr lang="en-GB" sz="1200" dirty="0">
                <a:cs typeface="Arial" pitchFamily="34" charset="0"/>
              </a:rPr>
              <a:t>”</a:t>
            </a:r>
          </a:p>
          <a:p>
            <a:pPr algn="r"/>
            <a:r>
              <a:rPr lang="en-GB" sz="1000" i="1" dirty="0">
                <a:cs typeface="Arial" pitchFamily="34" charset="0"/>
              </a:rPr>
              <a:t>Project Leader</a:t>
            </a:r>
          </a:p>
        </p:txBody>
      </p:sp>
      <p:sp>
        <p:nvSpPr>
          <p:cNvPr id="59" name="Oval 58"/>
          <p:cNvSpPr>
            <a:spLocks noChangeAspect="1"/>
          </p:cNvSpPr>
          <p:nvPr/>
        </p:nvSpPr>
        <p:spPr>
          <a:xfrm>
            <a:off x="8555039" y="1853970"/>
            <a:ext cx="3127248" cy="3127248"/>
          </a:xfrm>
          <a:prstGeom prst="ellipse">
            <a:avLst/>
          </a:prstGeom>
          <a:solidFill>
            <a:srgbClr val="F2F2F2"/>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180</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Mentions</a:t>
            </a:r>
          </a:p>
        </p:txBody>
      </p:sp>
      <p:sp>
        <p:nvSpPr>
          <p:cNvPr id="36" name="Rectangle 35">
            <a:extLst>
              <a:ext uri="{FF2B5EF4-FFF2-40B4-BE49-F238E27FC236}">
                <a16:creationId xmlns:a16="http://schemas.microsoft.com/office/drawing/2014/main" id="{BD7135CD-7748-497B-BD71-90F42AA7ACE5}"/>
              </a:ext>
            </a:extLst>
          </p:cNvPr>
          <p:cNvSpPr/>
          <p:nvPr/>
        </p:nvSpPr>
        <p:spPr>
          <a:xfrm>
            <a:off x="7816241" y="-1"/>
            <a:ext cx="4375759" cy="122078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200" kern="0" dirty="0">
                <a:solidFill>
                  <a:srgbClr val="FFFFFF"/>
                </a:solidFill>
              </a:rPr>
              <a:t> Help &amp; Support for Home Set-Up </a:t>
            </a:r>
          </a:p>
        </p:txBody>
      </p:sp>
      <p:sp>
        <p:nvSpPr>
          <p:cNvPr id="28" name="Rectangle 27">
            <a:extLst>
              <a:ext uri="{FF2B5EF4-FFF2-40B4-BE49-F238E27FC236}">
                <a16:creationId xmlns:a16="http://schemas.microsoft.com/office/drawing/2014/main" id="{AE8BA0A3-A22B-4066-9085-3FC79F11C9A0}"/>
              </a:ext>
            </a:extLst>
          </p:cNvPr>
          <p:cNvSpPr/>
          <p:nvPr/>
        </p:nvSpPr>
        <p:spPr>
          <a:xfrm>
            <a:off x="185639" y="3665676"/>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85843" y="320732"/>
            <a:ext cx="7394470" cy="15926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Whilst many employees feel well-supported, some mentioned that their allowance was minimal &amp; not adequate to enable a productive home set-up. </a:t>
            </a:r>
          </a:p>
          <a:p>
            <a:pPr algn="just"/>
            <a:r>
              <a:rPr lang="en-US" sz="1600" dirty="0">
                <a:solidFill>
                  <a:srgbClr val="FFFFFF"/>
                </a:solidFill>
              </a:rPr>
              <a:t>Others said the IT equipment provided did not meet their work needs (e.g. a Tablet for whiteboarding), or is not high enough quality (e.g. old screens). Overall, employees are positive about the support aspect for their home set-up, but feel the equipment does not meet needs, &amp; not of sufficient quality. </a:t>
            </a:r>
          </a:p>
        </p:txBody>
      </p:sp>
      <p:graphicFrame>
        <p:nvGraphicFramePr>
          <p:cNvPr id="30" name="Chart 29">
            <a:extLst>
              <a:ext uri="{FF2B5EF4-FFF2-40B4-BE49-F238E27FC236}">
                <a16:creationId xmlns:a16="http://schemas.microsoft.com/office/drawing/2014/main" id="{541DD65B-C063-4958-B88E-3B727A014C8E}"/>
              </a:ext>
            </a:extLst>
          </p:cNvPr>
          <p:cNvGraphicFramePr/>
          <p:nvPr>
            <p:custDataLst>
              <p:tags r:id="rId4"/>
            </p:custDataLst>
            <p:extLst>
              <p:ext uri="{D42A27DB-BD31-4B8C-83A1-F6EECF244321}">
                <p14:modId xmlns:p14="http://schemas.microsoft.com/office/powerpoint/2010/main" val="1276983921"/>
              </p:ext>
            </p:extLst>
          </p:nvPr>
        </p:nvGraphicFramePr>
        <p:xfrm>
          <a:off x="174625" y="2301875"/>
          <a:ext cx="7500938" cy="958850"/>
        </p:xfrm>
        <a:graphic>
          <a:graphicData uri="http://schemas.openxmlformats.org/drawingml/2006/chart">
            <c:chart xmlns:c="http://schemas.openxmlformats.org/drawingml/2006/chart" xmlns:r="http://schemas.openxmlformats.org/officeDocument/2006/relationships" r:id="rId16"/>
          </a:graphicData>
        </a:graphic>
      </p:graphicFrame>
      <p:sp>
        <p:nvSpPr>
          <p:cNvPr id="132" name="Rectangle 131">
            <a:extLst>
              <a:ext uri="{FF2B5EF4-FFF2-40B4-BE49-F238E27FC236}">
                <a16:creationId xmlns:a16="http://schemas.microsoft.com/office/drawing/2014/main" id="{EB1A4E61-8D9D-4717-82E0-88C113E598A5}"/>
              </a:ext>
            </a:extLst>
          </p:cNvPr>
          <p:cNvSpPr/>
          <p:nvPr>
            <p:custDataLst>
              <p:tags r:id="rId5"/>
            </p:custDataLst>
          </p:nvPr>
        </p:nvSpPr>
        <p:spPr bwMode="gray">
          <a:xfrm>
            <a:off x="317500" y="3303588"/>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6"/>
            </p:custDataLst>
          </p:nvPr>
        </p:nvSpPr>
        <p:spPr bwMode="gray">
          <a:xfrm>
            <a:off x="1211263" y="33035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2082800" y="33035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8"/>
            </p:custDataLst>
          </p:nvPr>
        </p:nvSpPr>
        <p:spPr bwMode="gray">
          <a:xfrm>
            <a:off x="582613" y="328453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9"/>
            </p:custDataLst>
          </p:nvPr>
        </p:nvSpPr>
        <p:spPr bwMode="gray">
          <a:xfrm>
            <a:off x="1476375" y="32845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2347913" y="328453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67217" y="217963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71" name="Rectangular Callout 53">
            <a:extLst>
              <a:ext uri="{FF2B5EF4-FFF2-40B4-BE49-F238E27FC236}">
                <a16:creationId xmlns:a16="http://schemas.microsoft.com/office/drawing/2014/main" id="{AA9CA627-F35A-4543-8C24-FB1BC26F7883}"/>
              </a:ext>
            </a:extLst>
          </p:cNvPr>
          <p:cNvSpPr/>
          <p:nvPr/>
        </p:nvSpPr>
        <p:spPr>
          <a:xfrm>
            <a:off x="6309562" y="5453725"/>
            <a:ext cx="1283181" cy="1232421"/>
          </a:xfrm>
          <a:prstGeom prst="wedgeRectCallout">
            <a:avLst>
              <a:gd name="adj1" fmla="val -42622"/>
              <a:gd name="adj2" fmla="val -5867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T support people are responsive and helpful. Tools are bad.</a:t>
            </a:r>
            <a:r>
              <a:rPr lang="en-GB" sz="1000" dirty="0">
                <a:cs typeface="Arial" pitchFamily="34" charset="0"/>
              </a:rPr>
              <a:t>”</a:t>
            </a:r>
            <a:endParaRPr lang="en-GB" sz="1000" i="1" dirty="0">
              <a:cs typeface="Arial" pitchFamily="34" charset="0"/>
            </a:endParaRPr>
          </a:p>
          <a:p>
            <a:pPr algn="r"/>
            <a:r>
              <a:rPr lang="en-GB" sz="1000" i="1" dirty="0" err="1">
                <a:cs typeface="Arial" pitchFamily="34" charset="0"/>
              </a:rPr>
              <a:t>MDP</a:t>
            </a:r>
            <a:endParaRPr lang="en-GB" sz="1200" i="1" dirty="0">
              <a:cs typeface="Arial" pitchFamily="34" charset="0"/>
            </a:endParaRPr>
          </a:p>
        </p:txBody>
      </p:sp>
      <p:sp>
        <p:nvSpPr>
          <p:cNvPr id="45" name="Rectangular Callout 42">
            <a:extLst>
              <a:ext uri="{FF2B5EF4-FFF2-40B4-BE49-F238E27FC236}">
                <a16:creationId xmlns:a16="http://schemas.microsoft.com/office/drawing/2014/main" id="{AD2491B2-CF80-41FA-9991-41923233CBCE}"/>
              </a:ext>
            </a:extLst>
          </p:cNvPr>
          <p:cNvSpPr/>
          <p:nvPr/>
        </p:nvSpPr>
        <p:spPr>
          <a:xfrm>
            <a:off x="5196505" y="4110668"/>
            <a:ext cx="2396239" cy="1168779"/>
          </a:xfrm>
          <a:prstGeom prst="wedgeRectCallout">
            <a:avLst>
              <a:gd name="adj1" fmla="val 27898"/>
              <a:gd name="adj2" fmla="val 5485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Having a Tablet would be awesome to substitute for the lack of white-board session (drawing with the mouse or using </a:t>
            </a:r>
            <a:r>
              <a:rPr lang="en-US" sz="1200" dirty="0" err="1">
                <a:cs typeface="Arial" pitchFamily="34" charset="0"/>
              </a:rPr>
              <a:t>miro</a:t>
            </a:r>
            <a:r>
              <a:rPr lang="en-US" sz="1200" dirty="0">
                <a:cs typeface="Arial" pitchFamily="34" charset="0"/>
              </a:rPr>
              <a:t> is not efficient)</a:t>
            </a:r>
            <a:r>
              <a:rPr lang="en-GB" sz="1200" dirty="0">
                <a:cs typeface="Arial" pitchFamily="34" charset="0"/>
              </a:rPr>
              <a:t>”</a:t>
            </a:r>
          </a:p>
          <a:p>
            <a:pPr algn="r"/>
            <a:r>
              <a:rPr lang="en-GB" sz="1000" i="1" dirty="0">
                <a:cs typeface="Arial" pitchFamily="34" charset="0"/>
              </a:rPr>
              <a:t>Other CT</a:t>
            </a:r>
          </a:p>
        </p:txBody>
      </p:sp>
      <p:sp>
        <p:nvSpPr>
          <p:cNvPr id="49" name="Rectangular Callout 42">
            <a:extLst>
              <a:ext uri="{FF2B5EF4-FFF2-40B4-BE49-F238E27FC236}">
                <a16:creationId xmlns:a16="http://schemas.microsoft.com/office/drawing/2014/main" id="{20EEC30D-9407-4B8B-9390-5BB699BC778A}"/>
              </a:ext>
            </a:extLst>
          </p:cNvPr>
          <p:cNvSpPr/>
          <p:nvPr/>
        </p:nvSpPr>
        <p:spPr>
          <a:xfrm>
            <a:off x="4507344" y="5453725"/>
            <a:ext cx="1661603" cy="1232421"/>
          </a:xfrm>
          <a:prstGeom prst="wedgeRectCallout">
            <a:avLst>
              <a:gd name="adj1" fmla="val 12010"/>
              <a:gd name="adj2" fmla="val -546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Excellent. I feel well supported to be highly productive working from home.</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roject Leader</a:t>
            </a:r>
          </a:p>
        </p:txBody>
      </p:sp>
      <p:sp>
        <p:nvSpPr>
          <p:cNvPr id="50" name="Rectangular Callout 42">
            <a:extLst>
              <a:ext uri="{FF2B5EF4-FFF2-40B4-BE49-F238E27FC236}">
                <a16:creationId xmlns:a16="http://schemas.microsoft.com/office/drawing/2014/main" id="{730A3167-3B56-4576-BF29-F1EEA4EA33A1}"/>
              </a:ext>
            </a:extLst>
          </p:cNvPr>
          <p:cNvSpPr/>
          <p:nvPr/>
        </p:nvSpPr>
        <p:spPr>
          <a:xfrm>
            <a:off x="4148098" y="4110668"/>
            <a:ext cx="987320" cy="1168779"/>
          </a:xfrm>
          <a:prstGeom prst="wedgeRectCallout">
            <a:avLst>
              <a:gd name="adj1" fmla="val 25448"/>
              <a:gd name="adj2" fmla="val 5713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Old IT hardware, especially screens.</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Associate</a:t>
            </a:r>
          </a:p>
        </p:txBody>
      </p:sp>
    </p:spTree>
    <p:extLst>
      <p:ext uri="{BB962C8B-B14F-4D97-AF65-F5344CB8AC3E}">
        <p14:creationId xmlns:p14="http://schemas.microsoft.com/office/powerpoint/2010/main" val="130013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9160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73"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VPN</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7ED79E02-E78F-4D74-A1DB-CB7C44D77428}"/>
              </a:ext>
            </a:extLst>
          </p:cNvPr>
          <p:cNvGrpSpPr>
            <a:grpSpLocks noChangeAspect="1"/>
          </p:cNvGrpSpPr>
          <p:nvPr/>
        </p:nvGrpSpPr>
        <p:grpSpPr>
          <a:xfrm>
            <a:off x="9702800" y="1784350"/>
            <a:ext cx="1646238" cy="1644650"/>
            <a:chOff x="5273675" y="2606675"/>
            <a:chExt cx="1646238" cy="1644650"/>
          </a:xfrm>
        </p:grpSpPr>
        <p:sp>
          <p:nvSpPr>
            <p:cNvPr id="12" name="AutoShape 3">
              <a:extLst>
                <a:ext uri="{FF2B5EF4-FFF2-40B4-BE49-F238E27FC236}">
                  <a16:creationId xmlns:a16="http://schemas.microsoft.com/office/drawing/2014/main" id="{AE8BF087-76B4-4310-A1EB-E95D429B2C11}"/>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6">
              <a:extLst>
                <a:ext uri="{FF2B5EF4-FFF2-40B4-BE49-F238E27FC236}">
                  <a16:creationId xmlns:a16="http://schemas.microsoft.com/office/drawing/2014/main" id="{240396D1-5AFD-496A-9203-849469346C48}"/>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0" name="Title 1">
            <a:extLst>
              <a:ext uri="{FF2B5EF4-FFF2-40B4-BE49-F238E27FC236}">
                <a16:creationId xmlns:a16="http://schemas.microsoft.com/office/drawing/2014/main" id="{320BC3F7-9380-475B-A50E-E2375BB30B7A}"/>
              </a:ext>
            </a:extLst>
          </p:cNvPr>
          <p:cNvSpPr txBox="1">
            <a:spLocks/>
          </p:cNvSpPr>
          <p:nvPr/>
        </p:nvSpPr>
        <p:spPr bwMode="blackWhite">
          <a:xfrm>
            <a:off x="625200" y="2062954"/>
            <a:ext cx="6973350" cy="2041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sym typeface="Trebuchet MS" panose="020B0603020202020204" pitchFamily="34" charset="0"/>
              </a:defRPr>
            </a:lvl1pPr>
          </a:lstStyle>
          <a:p>
            <a:r>
              <a:rPr lang="en-GB" dirty="0"/>
              <a:t>Infrastructure Communications</a:t>
            </a:r>
          </a:p>
        </p:txBody>
      </p:sp>
    </p:spTree>
    <p:extLst>
      <p:ext uri="{BB962C8B-B14F-4D97-AF65-F5344CB8AC3E}">
        <p14:creationId xmlns:p14="http://schemas.microsoft.com/office/powerpoint/2010/main" val="257630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688141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128" name="think-cell Slide" r:id="rId20" imgW="473" imgH="473" progId="TCLayout.ActiveDocument.1">
                  <p:embed/>
                </p:oleObj>
              </mc:Choice>
              <mc:Fallback>
                <p:oleObj name="think-cell Slide" r:id="rId20" imgW="473" imgH="473" progId="TCLayout.ActiveDocument.1">
                  <p:embed/>
                  <p:pic>
                    <p:nvPicPr>
                      <p:cNvPr id="5" name="Object 4"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2396728376"/>
              </p:ext>
            </p:extLst>
          </p:nvPr>
        </p:nvGraphicFramePr>
        <p:xfrm>
          <a:off x="630000" y="3651020"/>
          <a:ext cx="11104800" cy="1567500"/>
        </p:xfrm>
        <a:graphic>
          <a:graphicData uri="http://schemas.openxmlformats.org/drawingml/2006/table">
            <a:tbl>
              <a:tblPr/>
              <a:tblGrid>
                <a:gridCol w="1087890">
                  <a:extLst>
                    <a:ext uri="{9D8B030D-6E8A-4147-A177-3AD203B41FA5}">
                      <a16:colId xmlns:a16="http://schemas.microsoft.com/office/drawing/2014/main" val="20001"/>
                    </a:ext>
                  </a:extLst>
                </a:gridCol>
                <a:gridCol w="1001691">
                  <a:extLst>
                    <a:ext uri="{9D8B030D-6E8A-4147-A177-3AD203B41FA5}">
                      <a16:colId xmlns:a16="http://schemas.microsoft.com/office/drawing/2014/main" val="20002"/>
                    </a:ext>
                  </a:extLst>
                </a:gridCol>
                <a:gridCol w="1001691">
                  <a:extLst>
                    <a:ext uri="{9D8B030D-6E8A-4147-A177-3AD203B41FA5}">
                      <a16:colId xmlns:a16="http://schemas.microsoft.com/office/drawing/2014/main" val="3319684832"/>
                    </a:ext>
                  </a:extLst>
                </a:gridCol>
                <a:gridCol w="1001691">
                  <a:extLst>
                    <a:ext uri="{9D8B030D-6E8A-4147-A177-3AD203B41FA5}">
                      <a16:colId xmlns:a16="http://schemas.microsoft.com/office/drawing/2014/main" val="20010"/>
                    </a:ext>
                  </a:extLst>
                </a:gridCol>
                <a:gridCol w="1001691">
                  <a:extLst>
                    <a:ext uri="{9D8B030D-6E8A-4147-A177-3AD203B41FA5}">
                      <a16:colId xmlns:a16="http://schemas.microsoft.com/office/drawing/2014/main" val="3920180896"/>
                    </a:ext>
                  </a:extLst>
                </a:gridCol>
                <a:gridCol w="1001691">
                  <a:extLst>
                    <a:ext uri="{9D8B030D-6E8A-4147-A177-3AD203B41FA5}">
                      <a16:colId xmlns:a16="http://schemas.microsoft.com/office/drawing/2014/main" val="333694880"/>
                    </a:ext>
                  </a:extLst>
                </a:gridCol>
                <a:gridCol w="1001691">
                  <a:extLst>
                    <a:ext uri="{9D8B030D-6E8A-4147-A177-3AD203B41FA5}">
                      <a16:colId xmlns:a16="http://schemas.microsoft.com/office/drawing/2014/main" val="20011"/>
                    </a:ext>
                  </a:extLst>
                </a:gridCol>
                <a:gridCol w="1001691">
                  <a:extLst>
                    <a:ext uri="{9D8B030D-6E8A-4147-A177-3AD203B41FA5}">
                      <a16:colId xmlns:a16="http://schemas.microsoft.com/office/drawing/2014/main" val="3971245875"/>
                    </a:ext>
                  </a:extLst>
                </a:gridCol>
                <a:gridCol w="1001691">
                  <a:extLst>
                    <a:ext uri="{9D8B030D-6E8A-4147-A177-3AD203B41FA5}">
                      <a16:colId xmlns:a16="http://schemas.microsoft.com/office/drawing/2014/main" val="4232048535"/>
                    </a:ext>
                  </a:extLst>
                </a:gridCol>
                <a:gridCol w="1001691">
                  <a:extLst>
                    <a:ext uri="{9D8B030D-6E8A-4147-A177-3AD203B41FA5}">
                      <a16:colId xmlns:a16="http://schemas.microsoft.com/office/drawing/2014/main" val="2039183088"/>
                    </a:ext>
                  </a:extLst>
                </a:gridCol>
                <a:gridCol w="1001691">
                  <a:extLst>
                    <a:ext uri="{9D8B030D-6E8A-4147-A177-3AD203B41FA5}">
                      <a16:colId xmlns:a16="http://schemas.microsoft.com/office/drawing/2014/main" val="1093385398"/>
                    </a:ext>
                  </a:extLst>
                </a:gridCol>
              </a:tblGrid>
              <a:tr h="749966">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 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a:t>
                      </a: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19</a:t>
                      </a: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 Average</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3939">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88350">
                <a:tc>
                  <a:txBody>
                    <a:bodyPr/>
                    <a:lstStyle/>
                    <a:p>
                      <a:pPr algn="l" fontAlgn="b"/>
                      <a:r>
                        <a:rPr lang="en-GB" sz="1200" b="0" i="0" u="none" strike="noStrike" dirty="0">
                          <a:effectLst/>
                          <a:latin typeface="+mj-lt"/>
                        </a:rPr>
                        <a:t>VPN</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3</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5</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7%</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9" name="Title 2">
            <a:extLst>
              <a:ext uri="{FF2B5EF4-FFF2-40B4-BE49-F238E27FC236}">
                <a16:creationId xmlns:a16="http://schemas.microsoft.com/office/drawing/2014/main" id="{7005E8DE-C3BD-4C99-8A8B-A43FC745724D}"/>
              </a:ext>
            </a:extLst>
          </p:cNvPr>
          <p:cNvSpPr>
            <a:spLocks noGrp="1"/>
          </p:cNvSpPr>
          <p:nvPr>
            <p:ph type="title"/>
          </p:nvPr>
        </p:nvSpPr>
        <p:spPr>
          <a:xfrm>
            <a:off x="630000" y="622800"/>
            <a:ext cx="10933350" cy="332399"/>
          </a:xfrm>
        </p:spPr>
        <p:txBody>
          <a:bodyPr vert="horz"/>
          <a:lstStyle/>
          <a:p>
            <a:r>
              <a:rPr lang="en-US" dirty="0">
                <a:solidFill>
                  <a:srgbClr val="295E7E"/>
                </a:solidFill>
              </a:rPr>
              <a:t>VPN Satisfaction</a:t>
            </a:r>
          </a:p>
        </p:txBody>
      </p:sp>
      <p:sp>
        <p:nvSpPr>
          <p:cNvPr id="35" name="Rectangle 34">
            <a:extLst>
              <a:ext uri="{FF2B5EF4-FFF2-40B4-BE49-F238E27FC236}">
                <a16:creationId xmlns:a16="http://schemas.microsoft.com/office/drawing/2014/main" id="{DBC34E2B-3CB9-48FD-9A23-BF89C591BECE}"/>
              </a:ext>
            </a:extLst>
          </p:cNvPr>
          <p:cNvSpPr/>
          <p:nvPr/>
        </p:nvSpPr>
        <p:spPr>
          <a:xfrm>
            <a:off x="997488" y="925006"/>
            <a:ext cx="6570296"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a:t>
            </a:r>
            <a:endParaRPr lang="en-US" sz="1600" i="1" baseline="30000" dirty="0">
              <a:solidFill>
                <a:srgbClr val="575757"/>
              </a:solidFill>
            </a:endParaRPr>
          </a:p>
        </p:txBody>
      </p:sp>
      <p:sp>
        <p:nvSpPr>
          <p:cNvPr id="31" name="Rectangle 30">
            <a:extLst>
              <a:ext uri="{FF2B5EF4-FFF2-40B4-BE49-F238E27FC236}">
                <a16:creationId xmlns:a16="http://schemas.microsoft.com/office/drawing/2014/main" id="{2E665849-2E53-4A92-BB43-AD9B8CA89B1A}"/>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Rectangle 33">
            <a:extLst>
              <a:ext uri="{FF2B5EF4-FFF2-40B4-BE49-F238E27FC236}">
                <a16:creationId xmlns:a16="http://schemas.microsoft.com/office/drawing/2014/main" id="{F84E6C4B-13E7-410A-8C08-28A2AE955CA1}"/>
              </a:ext>
            </a:extLst>
          </p:cNvPr>
          <p:cNvSpPr/>
          <p:nvPr/>
        </p:nvSpPr>
        <p:spPr>
          <a:xfrm>
            <a:off x="219075" y="5980209"/>
            <a:ext cx="11725275"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t 87% E-SAT in Q4, this is the 2</a:t>
            </a:r>
            <a:r>
              <a:rPr lang="en-US" baseline="30000" dirty="0">
                <a:solidFill>
                  <a:srgbClr val="575757"/>
                </a:solidFill>
              </a:rPr>
              <a:t>nd</a:t>
            </a:r>
            <a:r>
              <a:rPr lang="en-US" dirty="0">
                <a:solidFill>
                  <a:srgbClr val="575757"/>
                </a:solidFill>
              </a:rPr>
              <a:t> highest score for VPN so far. </a:t>
            </a:r>
          </a:p>
          <a:p>
            <a:pPr algn="ctr"/>
            <a:r>
              <a:rPr lang="en-US" dirty="0">
                <a:solidFill>
                  <a:srgbClr val="575757"/>
                </a:solidFill>
              </a:rPr>
              <a:t>Comparing annual averages, VPN is +4% improved vs 2020.</a:t>
            </a:r>
          </a:p>
        </p:txBody>
      </p:sp>
      <p:graphicFrame>
        <p:nvGraphicFramePr>
          <p:cNvPr id="72" name="Chart 71">
            <a:extLst>
              <a:ext uri="{FF2B5EF4-FFF2-40B4-BE49-F238E27FC236}">
                <a16:creationId xmlns:a16="http://schemas.microsoft.com/office/drawing/2014/main" id="{84D10C35-BC33-49F0-9354-A33AA7D3A278}"/>
              </a:ext>
            </a:extLst>
          </p:cNvPr>
          <p:cNvGraphicFramePr/>
          <p:nvPr>
            <p:custDataLst>
              <p:tags r:id="rId5"/>
            </p:custDataLst>
            <p:extLst>
              <p:ext uri="{D42A27DB-BD31-4B8C-83A1-F6EECF244321}">
                <p14:modId xmlns:p14="http://schemas.microsoft.com/office/powerpoint/2010/main" val="1937064219"/>
              </p:ext>
            </p:extLst>
          </p:nvPr>
        </p:nvGraphicFramePr>
        <p:xfrm>
          <a:off x="741363" y="1725613"/>
          <a:ext cx="9648825" cy="1268412"/>
        </p:xfrm>
        <a:graphic>
          <a:graphicData uri="http://schemas.openxmlformats.org/drawingml/2006/chart">
            <c:chart xmlns:c="http://schemas.openxmlformats.org/drawingml/2006/chart" xmlns:r="http://schemas.openxmlformats.org/officeDocument/2006/relationships" r:id="rId22"/>
          </a:graphicData>
        </a:graphic>
      </p:graphicFrame>
      <p:sp>
        <p:nvSpPr>
          <p:cNvPr id="66" name="Text Placeholder 3">
            <a:extLst>
              <a:ext uri="{FF2B5EF4-FFF2-40B4-BE49-F238E27FC236}">
                <a16:creationId xmlns:a16="http://schemas.microsoft.com/office/drawing/2014/main" id="{A9B1327D-6C1B-4380-9ACD-1F9CA4A5C337}"/>
              </a:ext>
            </a:extLst>
          </p:cNvPr>
          <p:cNvSpPr>
            <a:spLocks noGrp="1"/>
          </p:cNvSpPr>
          <p:nvPr>
            <p:custDataLst>
              <p:tags r:id="rId6"/>
            </p:custDataLst>
          </p:nvPr>
        </p:nvSpPr>
        <p:spPr bwMode="gray">
          <a:xfrm>
            <a:off x="10036175" y="2136775"/>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A64E349-9150-4C3A-93F9-4FF408C54F70}" type="datetime'''''''1'''''''''''''''''''''''''''''''''">
              <a:rPr lang="en-US" altLang="en-US" smtClean="0">
                <a:solidFill>
                  <a:schemeClr val="bg1"/>
                </a:solidFill>
                <a:effectLst/>
                <a:sym typeface="+mn-lt"/>
              </a:rPr>
              <a:pPr algn="ctr">
                <a:spcBef>
                  <a:spcPct val="0"/>
                </a:spcBef>
                <a:spcAft>
                  <a:spcPct val="0"/>
                </a:spcAft>
              </a:pPr>
              <a:t>1</a:t>
            </a:fld>
            <a:endParaRPr lang="en-US" dirty="0">
              <a:solidFill>
                <a:schemeClr val="bg1"/>
              </a:solidFill>
              <a:sym typeface="+mn-lt"/>
            </a:endParaRPr>
          </a:p>
        </p:txBody>
      </p:sp>
      <p:sp>
        <p:nvSpPr>
          <p:cNvPr id="20" name="Text Placeholder 3">
            <a:extLst>
              <a:ext uri="{FF2B5EF4-FFF2-40B4-BE49-F238E27FC236}">
                <a16:creationId xmlns:a16="http://schemas.microsoft.com/office/drawing/2014/main" id="{A34036DC-59CE-442C-A536-E5FCA59A7978}"/>
              </a:ext>
            </a:extLst>
          </p:cNvPr>
          <p:cNvSpPr>
            <a:spLocks noGrp="1"/>
          </p:cNvSpPr>
          <p:nvPr>
            <p:custDataLst>
              <p:tags r:id="rId7"/>
            </p:custDataLst>
          </p:nvPr>
        </p:nvSpPr>
        <p:spPr bwMode="gray">
          <a:xfrm>
            <a:off x="635000" y="2136775"/>
            <a:ext cx="2714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593CE3D-2D79-4631-9D59-F59DABAEA36F}" type="datetime'''''''''''''''''''''''''''''''''V''''''''''P''N'''''''''''''">
              <a:rPr lang="en-US" altLang="en-US" smtClean="0"/>
              <a:pPr/>
              <a:t>VPN</a:t>
            </a:fld>
            <a:endParaRPr lang="en-US" dirty="0">
              <a:sym typeface="+mn-lt"/>
            </a:endParaRPr>
          </a:p>
        </p:txBody>
      </p:sp>
      <p:sp>
        <p:nvSpPr>
          <p:cNvPr id="23" name="Rectangle 22">
            <a:extLst>
              <a:ext uri="{FF2B5EF4-FFF2-40B4-BE49-F238E27FC236}">
                <a16:creationId xmlns:a16="http://schemas.microsoft.com/office/drawing/2014/main" id="{70AF550B-1C11-491A-8F86-98D6AD8876BF}"/>
              </a:ext>
            </a:extLst>
          </p:cNvPr>
          <p:cNvSpPr/>
          <p:nvPr>
            <p:custDataLst>
              <p:tags r:id="rId8"/>
            </p:custDataLst>
          </p:nvPr>
        </p:nvSpPr>
        <p:spPr bwMode="gray">
          <a:xfrm>
            <a:off x="3335338" y="303530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Rectangle 20">
            <a:extLst>
              <a:ext uri="{FF2B5EF4-FFF2-40B4-BE49-F238E27FC236}">
                <a16:creationId xmlns:a16="http://schemas.microsoft.com/office/drawing/2014/main" id="{F8BAFBB1-6C51-4A37-AAB5-D8E0C45C787D}"/>
              </a:ext>
            </a:extLst>
          </p:cNvPr>
          <p:cNvSpPr/>
          <p:nvPr>
            <p:custDataLst>
              <p:tags r:id="rId9"/>
            </p:custDataLst>
          </p:nvPr>
        </p:nvSpPr>
        <p:spPr bwMode="gray">
          <a:xfrm>
            <a:off x="6446838" y="303530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ectangle 23">
            <a:extLst>
              <a:ext uri="{FF2B5EF4-FFF2-40B4-BE49-F238E27FC236}">
                <a16:creationId xmlns:a16="http://schemas.microsoft.com/office/drawing/2014/main" id="{04149C84-6FC2-4566-AC67-A725EB892DE6}"/>
              </a:ext>
            </a:extLst>
          </p:cNvPr>
          <p:cNvSpPr/>
          <p:nvPr>
            <p:custDataLst>
              <p:tags r:id="rId10"/>
            </p:custDataLst>
          </p:nvPr>
        </p:nvSpPr>
        <p:spPr bwMode="gray">
          <a:xfrm>
            <a:off x="4625975" y="303530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Rectangle 24">
            <a:extLst>
              <a:ext uri="{FF2B5EF4-FFF2-40B4-BE49-F238E27FC236}">
                <a16:creationId xmlns:a16="http://schemas.microsoft.com/office/drawing/2014/main" id="{256BAAFB-0841-4A2F-9FEC-024767D1DBEA}"/>
              </a:ext>
            </a:extLst>
          </p:cNvPr>
          <p:cNvSpPr/>
          <p:nvPr>
            <p:custDataLst>
              <p:tags r:id="rId11"/>
            </p:custDataLst>
          </p:nvPr>
        </p:nvSpPr>
        <p:spPr bwMode="gray">
          <a:xfrm>
            <a:off x="5575300" y="303530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Rectangle 25">
            <a:extLst>
              <a:ext uri="{FF2B5EF4-FFF2-40B4-BE49-F238E27FC236}">
                <a16:creationId xmlns:a16="http://schemas.microsoft.com/office/drawing/2014/main" id="{CA809193-400B-4C2B-A726-84D183340577}"/>
              </a:ext>
            </a:extLst>
          </p:cNvPr>
          <p:cNvSpPr/>
          <p:nvPr>
            <p:custDataLst>
              <p:tags r:id="rId12"/>
            </p:custDataLst>
          </p:nvPr>
        </p:nvSpPr>
        <p:spPr bwMode="gray">
          <a:xfrm>
            <a:off x="7583488" y="303530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ext Placeholder 3">
            <a:extLst>
              <a:ext uri="{FF2B5EF4-FFF2-40B4-BE49-F238E27FC236}">
                <a16:creationId xmlns:a16="http://schemas.microsoft.com/office/drawing/2014/main" id="{13642F34-BF41-4ACD-8C18-7B7332779E86}"/>
              </a:ext>
            </a:extLst>
          </p:cNvPr>
          <p:cNvSpPr>
            <a:spLocks noGrp="1"/>
          </p:cNvSpPr>
          <p:nvPr>
            <p:custDataLst>
              <p:tags r:id="rId13"/>
            </p:custDataLst>
          </p:nvPr>
        </p:nvSpPr>
        <p:spPr bwMode="gray">
          <a:xfrm>
            <a:off x="3600450" y="301625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C355382-FC67-4C5A-A512-903F2D44EC67}" type="datetime'''''''V''er''y'' ''''Sa''t''''''i''''sf''''''''i''e''d'''''">
              <a:rPr lang="en-US" altLang="en-US" smtClean="0"/>
              <a:pPr/>
              <a:t>Very Satisfied</a:t>
            </a:fld>
            <a:endParaRPr lang="en-US" dirty="0">
              <a:sym typeface="+mn-lt"/>
            </a:endParaRPr>
          </a:p>
        </p:txBody>
      </p:sp>
      <p:sp>
        <p:nvSpPr>
          <p:cNvPr id="33" name="Text Placeholder 3">
            <a:extLst>
              <a:ext uri="{FF2B5EF4-FFF2-40B4-BE49-F238E27FC236}">
                <a16:creationId xmlns:a16="http://schemas.microsoft.com/office/drawing/2014/main" id="{93979979-CEB4-4205-8AA1-90CD26CB4323}"/>
              </a:ext>
            </a:extLst>
          </p:cNvPr>
          <p:cNvSpPr>
            <a:spLocks noGrp="1"/>
          </p:cNvSpPr>
          <p:nvPr>
            <p:custDataLst>
              <p:tags r:id="rId14"/>
            </p:custDataLst>
          </p:nvPr>
        </p:nvSpPr>
        <p:spPr bwMode="gray">
          <a:xfrm>
            <a:off x="6711950" y="301625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4F66E08-E709-41FD-8638-5176352E741D}" type="datetime'''''''D''''i''s''''''''''''sa''ti''''s''''f''''''i''''''ed'">
              <a:rPr lang="en-US" altLang="en-US" smtClean="0"/>
              <a:pPr/>
              <a:t>Dissatisfied</a:t>
            </a:fld>
            <a:endParaRPr lang="en-US" dirty="0">
              <a:sym typeface="+mn-lt"/>
            </a:endParaRPr>
          </a:p>
        </p:txBody>
      </p:sp>
      <p:sp>
        <p:nvSpPr>
          <p:cNvPr id="30" name="Text Placeholder 3">
            <a:extLst>
              <a:ext uri="{FF2B5EF4-FFF2-40B4-BE49-F238E27FC236}">
                <a16:creationId xmlns:a16="http://schemas.microsoft.com/office/drawing/2014/main" id="{8FE2E647-4750-4171-A69A-E8E71B9E3E46}"/>
              </a:ext>
            </a:extLst>
          </p:cNvPr>
          <p:cNvSpPr>
            <a:spLocks noGrp="1"/>
          </p:cNvSpPr>
          <p:nvPr>
            <p:custDataLst>
              <p:tags r:id="rId15"/>
            </p:custDataLst>
          </p:nvPr>
        </p:nvSpPr>
        <p:spPr bwMode="gray">
          <a:xfrm>
            <a:off x="4891088" y="301625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CAA6A4F-8282-4688-B218-4934821D5DEC}" type="datetime'S''ati''s''''''''''fi''''e''''''''''''''''''''''d'''''''">
              <a:rPr lang="en-US" altLang="en-US" smtClean="0"/>
              <a:pPr/>
              <a:t>Satisfied</a:t>
            </a:fld>
            <a:endParaRPr lang="en-US" dirty="0">
              <a:sym typeface="+mn-lt"/>
            </a:endParaRPr>
          </a:p>
        </p:txBody>
      </p:sp>
      <p:sp>
        <p:nvSpPr>
          <p:cNvPr id="28" name="Text Placeholder 3">
            <a:extLst>
              <a:ext uri="{FF2B5EF4-FFF2-40B4-BE49-F238E27FC236}">
                <a16:creationId xmlns:a16="http://schemas.microsoft.com/office/drawing/2014/main" id="{983BE108-3D5A-430B-AB89-529D54145CBD}"/>
              </a:ext>
            </a:extLst>
          </p:cNvPr>
          <p:cNvSpPr>
            <a:spLocks noGrp="1"/>
          </p:cNvSpPr>
          <p:nvPr>
            <p:custDataLst>
              <p:tags r:id="rId16"/>
            </p:custDataLst>
          </p:nvPr>
        </p:nvSpPr>
        <p:spPr bwMode="gray">
          <a:xfrm>
            <a:off x="5840413" y="301625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1C9BA30-1106-4C25-B5FB-5F19DC057F84}" type="datetime'N''''''''''''''''''''''''''''e''u''''''tr''''''''a''''l'''''''">
              <a:rPr lang="en-US" altLang="en-US" smtClean="0"/>
              <a:pPr/>
              <a:t>Neutral</a:t>
            </a:fld>
            <a:endParaRPr lang="en-US" dirty="0">
              <a:sym typeface="+mn-lt"/>
            </a:endParaRPr>
          </a:p>
        </p:txBody>
      </p:sp>
      <p:sp>
        <p:nvSpPr>
          <p:cNvPr id="32" name="Text Placeholder 3">
            <a:extLst>
              <a:ext uri="{FF2B5EF4-FFF2-40B4-BE49-F238E27FC236}">
                <a16:creationId xmlns:a16="http://schemas.microsoft.com/office/drawing/2014/main" id="{FC0C51E4-E12A-4B16-B02E-B45D787846DE}"/>
              </a:ext>
            </a:extLst>
          </p:cNvPr>
          <p:cNvSpPr>
            <a:spLocks noGrp="1"/>
          </p:cNvSpPr>
          <p:nvPr>
            <p:custDataLst>
              <p:tags r:id="rId17"/>
            </p:custDataLst>
          </p:nvPr>
        </p:nvSpPr>
        <p:spPr bwMode="gray">
          <a:xfrm>
            <a:off x="7848600" y="301625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EA28152-FAAB-40B4-BAC7-B7FB85C845D4}" type="datetime'''V''er''y'' ''''''Di''''''s''sa''''''''''''tis''i''''''f''ed'">
              <a:rPr lang="en-US" altLang="en-US" smtClean="0"/>
              <a:pPr/>
              <a:t>Very Dissatisifed</a:t>
            </a:fld>
            <a:endParaRPr lang="en-US" dirty="0">
              <a:sym typeface="+mn-lt"/>
            </a:endParaRPr>
          </a:p>
        </p:txBody>
      </p:sp>
      <p:sp>
        <p:nvSpPr>
          <p:cNvPr id="38" name="Rectangle 37">
            <a:extLst>
              <a:ext uri="{FF2B5EF4-FFF2-40B4-BE49-F238E27FC236}">
                <a16:creationId xmlns:a16="http://schemas.microsoft.com/office/drawing/2014/main" id="{FA4F8291-6AA4-44B3-AE1A-D84094DD95B8}"/>
              </a:ext>
            </a:extLst>
          </p:cNvPr>
          <p:cNvSpPr/>
          <p:nvPr/>
        </p:nvSpPr>
        <p:spPr>
          <a:xfrm>
            <a:off x="568325" y="1431925"/>
            <a:ext cx="6719888" cy="3587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9" name="Rectangle 38">
            <a:extLst>
              <a:ext uri="{FF2B5EF4-FFF2-40B4-BE49-F238E27FC236}">
                <a16:creationId xmlns:a16="http://schemas.microsoft.com/office/drawing/2014/main" id="{90962E36-18CD-43F7-B746-BBFBCA606A35}"/>
              </a:ext>
            </a:extLst>
          </p:cNvPr>
          <p:cNvSpPr/>
          <p:nvPr/>
        </p:nvSpPr>
        <p:spPr>
          <a:xfrm>
            <a:off x="10213975" y="2114550"/>
            <a:ext cx="542925"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7%</a:t>
            </a:r>
          </a:p>
        </p:txBody>
      </p:sp>
      <p:sp>
        <p:nvSpPr>
          <p:cNvPr id="40" name="Rectangle 39">
            <a:extLst>
              <a:ext uri="{FF2B5EF4-FFF2-40B4-BE49-F238E27FC236}">
                <a16:creationId xmlns:a16="http://schemas.microsoft.com/office/drawing/2014/main" id="{43C3DF8C-8FA1-4310-8CCE-8C380DA4D068}"/>
              </a:ext>
            </a:extLst>
          </p:cNvPr>
          <p:cNvSpPr/>
          <p:nvPr/>
        </p:nvSpPr>
        <p:spPr>
          <a:xfrm>
            <a:off x="10123842" y="1727200"/>
            <a:ext cx="603250" cy="2571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41" name="Rectangle 40">
            <a:extLst>
              <a:ext uri="{FF2B5EF4-FFF2-40B4-BE49-F238E27FC236}">
                <a16:creationId xmlns:a16="http://schemas.microsoft.com/office/drawing/2014/main" id="{66963A22-D082-424A-8449-F9655622D017}"/>
              </a:ext>
            </a:extLst>
          </p:cNvPr>
          <p:cNvSpPr/>
          <p:nvPr/>
        </p:nvSpPr>
        <p:spPr>
          <a:xfrm>
            <a:off x="10792618" y="1708150"/>
            <a:ext cx="966788" cy="2619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50" name="Rectangle 49">
            <a:extLst>
              <a:ext uri="{FF2B5EF4-FFF2-40B4-BE49-F238E27FC236}">
                <a16:creationId xmlns:a16="http://schemas.microsoft.com/office/drawing/2014/main" id="{C8AE9843-961B-4CD9-B4EC-24BD33C039A0}"/>
              </a:ext>
            </a:extLst>
          </p:cNvPr>
          <p:cNvSpPr/>
          <p:nvPr/>
        </p:nvSpPr>
        <p:spPr>
          <a:xfrm>
            <a:off x="10817224" y="2084388"/>
            <a:ext cx="917575" cy="276225"/>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nvGrpSpPr>
          <p:cNvPr id="51" name="Group 50">
            <a:extLst>
              <a:ext uri="{FF2B5EF4-FFF2-40B4-BE49-F238E27FC236}">
                <a16:creationId xmlns:a16="http://schemas.microsoft.com/office/drawing/2014/main" id="{9272EA5E-8977-449D-90A8-A855EA66D504}"/>
              </a:ext>
            </a:extLst>
          </p:cNvPr>
          <p:cNvGrpSpPr/>
          <p:nvPr/>
        </p:nvGrpSpPr>
        <p:grpSpPr>
          <a:xfrm>
            <a:off x="630000" y="5422782"/>
            <a:ext cx="6155997" cy="444350"/>
            <a:chOff x="753111" y="3331233"/>
            <a:chExt cx="6155997" cy="444350"/>
          </a:xfrm>
        </p:grpSpPr>
        <p:grpSp>
          <p:nvGrpSpPr>
            <p:cNvPr id="52" name="Group 51">
              <a:extLst>
                <a:ext uri="{FF2B5EF4-FFF2-40B4-BE49-F238E27FC236}">
                  <a16:creationId xmlns:a16="http://schemas.microsoft.com/office/drawing/2014/main" id="{68CB2F8F-AD3B-40B9-BF94-9FE3B44C200B}"/>
                </a:ext>
              </a:extLst>
            </p:cNvPr>
            <p:cNvGrpSpPr/>
            <p:nvPr/>
          </p:nvGrpSpPr>
          <p:grpSpPr>
            <a:xfrm>
              <a:off x="753111" y="3331233"/>
              <a:ext cx="6155997" cy="220957"/>
              <a:chOff x="753111" y="3331233"/>
              <a:chExt cx="6155997" cy="220957"/>
            </a:xfrm>
          </p:grpSpPr>
          <p:sp>
            <p:nvSpPr>
              <p:cNvPr id="59" name="Rectangle 58">
                <a:extLst>
                  <a:ext uri="{FF2B5EF4-FFF2-40B4-BE49-F238E27FC236}">
                    <a16:creationId xmlns:a16="http://schemas.microsoft.com/office/drawing/2014/main" id="{2F2E3CBC-95B9-4706-B67C-CEF3BE9D1757}"/>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61" name="Rectangle 60">
                <a:extLst>
                  <a:ext uri="{FF2B5EF4-FFF2-40B4-BE49-F238E27FC236}">
                    <a16:creationId xmlns:a16="http://schemas.microsoft.com/office/drawing/2014/main" id="{02BC721B-31BC-4F3B-8550-B1B2678A5C1E}"/>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62" name="Rectangle 61">
                <a:extLst>
                  <a:ext uri="{FF2B5EF4-FFF2-40B4-BE49-F238E27FC236}">
                    <a16:creationId xmlns:a16="http://schemas.microsoft.com/office/drawing/2014/main" id="{48E109CC-5643-4F05-8B98-296308787E1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63" name="Rectangle 62">
                <a:extLst>
                  <a:ext uri="{FF2B5EF4-FFF2-40B4-BE49-F238E27FC236}">
                    <a16:creationId xmlns:a16="http://schemas.microsoft.com/office/drawing/2014/main" id="{D6232709-4192-48FE-B045-61D13457D4C7}"/>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64" name="Rectangle 63">
                <a:extLst>
                  <a:ext uri="{FF2B5EF4-FFF2-40B4-BE49-F238E27FC236}">
                    <a16:creationId xmlns:a16="http://schemas.microsoft.com/office/drawing/2014/main" id="{71BEF14B-6502-4888-97E8-6D2F3CF5CA33}"/>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65" name="Rectangle 64">
                <a:extLst>
                  <a:ext uri="{FF2B5EF4-FFF2-40B4-BE49-F238E27FC236}">
                    <a16:creationId xmlns:a16="http://schemas.microsoft.com/office/drawing/2014/main" id="{587A2140-8FAD-4B55-99E2-5AC0F5E6A907}"/>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53" name="Rectangle 52">
              <a:extLst>
                <a:ext uri="{FF2B5EF4-FFF2-40B4-BE49-F238E27FC236}">
                  <a16:creationId xmlns:a16="http://schemas.microsoft.com/office/drawing/2014/main" id="{A948E227-BB7C-4B86-81BC-87244AAE4458}"/>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54" name="Rectangle 53">
              <a:extLst>
                <a:ext uri="{FF2B5EF4-FFF2-40B4-BE49-F238E27FC236}">
                  <a16:creationId xmlns:a16="http://schemas.microsoft.com/office/drawing/2014/main" id="{CE8FBDC1-C786-487F-88D4-AF71F6A744CB}"/>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55" name="Rectangle 54">
              <a:extLst>
                <a:ext uri="{FF2B5EF4-FFF2-40B4-BE49-F238E27FC236}">
                  <a16:creationId xmlns:a16="http://schemas.microsoft.com/office/drawing/2014/main" id="{0AC18AD0-448C-47FF-8111-65AB39700145}"/>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56" name="Rectangle 55">
              <a:extLst>
                <a:ext uri="{FF2B5EF4-FFF2-40B4-BE49-F238E27FC236}">
                  <a16:creationId xmlns:a16="http://schemas.microsoft.com/office/drawing/2014/main" id="{57A5AE6A-4636-4C4E-819B-52EADC0DEDC0}"/>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57" name="Rectangle 56">
              <a:extLst>
                <a:ext uri="{FF2B5EF4-FFF2-40B4-BE49-F238E27FC236}">
                  <a16:creationId xmlns:a16="http://schemas.microsoft.com/office/drawing/2014/main" id="{923B4D3F-0A3F-499A-99BB-7DCFABC73B3A}"/>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8" name="Rectangle 57">
              <a:extLst>
                <a:ext uri="{FF2B5EF4-FFF2-40B4-BE49-F238E27FC236}">
                  <a16:creationId xmlns:a16="http://schemas.microsoft.com/office/drawing/2014/main" id="{C04F98B6-6D06-4177-B372-7DFCD9355BC1}"/>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70" name="Oval 20">
            <a:extLst>
              <a:ext uri="{FF2B5EF4-FFF2-40B4-BE49-F238E27FC236}">
                <a16:creationId xmlns:a16="http://schemas.microsoft.com/office/drawing/2014/main" id="{C2F17A6E-4070-4E3E-8269-1372782C2118}"/>
              </a:ext>
            </a:extLst>
          </p:cNvPr>
          <p:cNvSpPr>
            <a:spLocks noChangeAspect="1" noChangeArrowheads="1"/>
          </p:cNvSpPr>
          <p:nvPr/>
        </p:nvSpPr>
        <p:spPr bwMode="auto">
          <a:xfrm>
            <a:off x="10793427" y="4911976"/>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grpSp>
        <p:nvGrpSpPr>
          <p:cNvPr id="73" name="Group 72">
            <a:extLst>
              <a:ext uri="{FF2B5EF4-FFF2-40B4-BE49-F238E27FC236}">
                <a16:creationId xmlns:a16="http://schemas.microsoft.com/office/drawing/2014/main" id="{A45741E6-51A4-409B-9D2F-6B484972F657}"/>
              </a:ext>
            </a:extLst>
          </p:cNvPr>
          <p:cNvGrpSpPr>
            <a:grpSpLocks noChangeAspect="1"/>
          </p:cNvGrpSpPr>
          <p:nvPr/>
        </p:nvGrpSpPr>
        <p:grpSpPr>
          <a:xfrm>
            <a:off x="514429" y="864696"/>
            <a:ext cx="457200" cy="457200"/>
            <a:chOff x="5867400" y="3200400"/>
            <a:chExt cx="457200" cy="457200"/>
          </a:xfrm>
        </p:grpSpPr>
        <p:sp>
          <p:nvSpPr>
            <p:cNvPr id="74" name="AutoShape 43">
              <a:extLst>
                <a:ext uri="{FF2B5EF4-FFF2-40B4-BE49-F238E27FC236}">
                  <a16:creationId xmlns:a16="http://schemas.microsoft.com/office/drawing/2014/main" id="{15171CEA-96A4-4C2C-8AC9-D96F313378F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7">
              <a:extLst>
                <a:ext uri="{FF2B5EF4-FFF2-40B4-BE49-F238E27FC236}">
                  <a16:creationId xmlns:a16="http://schemas.microsoft.com/office/drawing/2014/main" id="{86ABD49C-ABDD-4931-9BDB-9CFE4D17042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7" name="Rectangle 46">
            <a:extLst>
              <a:ext uri="{FF2B5EF4-FFF2-40B4-BE49-F238E27FC236}">
                <a16:creationId xmlns:a16="http://schemas.microsoft.com/office/drawing/2014/main" id="{A6ECBAAF-20B0-4838-A3F6-A915091701D8}"/>
              </a:ext>
            </a:extLst>
          </p:cNvPr>
          <p:cNvSpPr/>
          <p:nvPr/>
        </p:nvSpPr>
        <p:spPr>
          <a:xfrm>
            <a:off x="10253161" y="2663824"/>
            <a:ext cx="271463"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48" name="Rectangle 47">
            <a:extLst>
              <a:ext uri="{FF2B5EF4-FFF2-40B4-BE49-F238E27FC236}">
                <a16:creationId xmlns:a16="http://schemas.microsoft.com/office/drawing/2014/main" id="{88930362-2AE0-4D19-B247-F0AE0521F65F}"/>
              </a:ext>
            </a:extLst>
          </p:cNvPr>
          <p:cNvSpPr/>
          <p:nvPr/>
        </p:nvSpPr>
        <p:spPr>
          <a:xfrm flipH="1">
            <a:off x="7730834" y="3662932"/>
            <a:ext cx="2020690" cy="1555588"/>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8" name="Group 77">
            <a:extLst>
              <a:ext uri="{FF2B5EF4-FFF2-40B4-BE49-F238E27FC236}">
                <a16:creationId xmlns:a16="http://schemas.microsoft.com/office/drawing/2014/main" id="{4DFB5DA2-9CCB-40D1-A9C3-27CAC86E37F0}"/>
              </a:ext>
            </a:extLst>
          </p:cNvPr>
          <p:cNvGrpSpPr/>
          <p:nvPr/>
        </p:nvGrpSpPr>
        <p:grpSpPr>
          <a:xfrm>
            <a:off x="9751525" y="5356845"/>
            <a:ext cx="2116895" cy="591304"/>
            <a:chOff x="9751525" y="5356845"/>
            <a:chExt cx="2116895" cy="591304"/>
          </a:xfrm>
        </p:grpSpPr>
        <p:sp>
          <p:nvSpPr>
            <p:cNvPr id="79" name="Oval 20">
              <a:extLst>
                <a:ext uri="{FF2B5EF4-FFF2-40B4-BE49-F238E27FC236}">
                  <a16:creationId xmlns:a16="http://schemas.microsoft.com/office/drawing/2014/main" id="{CCBFBD87-8E9F-4617-A53F-62885C99CFB7}"/>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80" name="Rectangle 79">
              <a:extLst>
                <a:ext uri="{FF2B5EF4-FFF2-40B4-BE49-F238E27FC236}">
                  <a16:creationId xmlns:a16="http://schemas.microsoft.com/office/drawing/2014/main" id="{870B707D-DB72-43F6-935D-011187724028}"/>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81" name="Oval 20">
              <a:extLst>
                <a:ext uri="{FF2B5EF4-FFF2-40B4-BE49-F238E27FC236}">
                  <a16:creationId xmlns:a16="http://schemas.microsoft.com/office/drawing/2014/main" id="{CF036C50-E8AD-446C-B6D8-0F67435D7FE8}"/>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82" name="Oval 20">
              <a:extLst>
                <a:ext uri="{FF2B5EF4-FFF2-40B4-BE49-F238E27FC236}">
                  <a16:creationId xmlns:a16="http://schemas.microsoft.com/office/drawing/2014/main" id="{B6CC2823-0E65-4847-8CFC-A93AAB7632A4}"/>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83" name="Rectangle 82">
              <a:extLst>
                <a:ext uri="{FF2B5EF4-FFF2-40B4-BE49-F238E27FC236}">
                  <a16:creationId xmlns:a16="http://schemas.microsoft.com/office/drawing/2014/main" id="{03FC5C9C-BB18-4DC9-9BD5-EFD75034BCFD}"/>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84" name="Rectangle 83">
              <a:extLst>
                <a:ext uri="{FF2B5EF4-FFF2-40B4-BE49-F238E27FC236}">
                  <a16:creationId xmlns:a16="http://schemas.microsoft.com/office/drawing/2014/main" id="{4AC0D1AD-A168-4B91-9F02-F99E76B3966C}"/>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69" name="Left Bracket 68">
            <a:extLst>
              <a:ext uri="{FF2B5EF4-FFF2-40B4-BE49-F238E27FC236}">
                <a16:creationId xmlns:a16="http://schemas.microsoft.com/office/drawing/2014/main" id="{CA8D7C59-35C6-4A93-AF0D-2947AF55CA6C}"/>
              </a:ext>
            </a:extLst>
          </p:cNvPr>
          <p:cNvSpPr/>
          <p:nvPr/>
        </p:nvSpPr>
        <p:spPr>
          <a:xfrm rot="5400000">
            <a:off x="8692548" y="2082277"/>
            <a:ext cx="163131" cy="2971801"/>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152849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146"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dirty="0">
                <a:solidFill>
                  <a:srgbClr val="295E7E"/>
                </a:solidFill>
              </a:rPr>
              <a:t>VPN Satisfaction</a:t>
            </a:r>
          </a:p>
        </p:txBody>
      </p:sp>
      <p:graphicFrame>
        <p:nvGraphicFramePr>
          <p:cNvPr id="56" name="Chart 55">
            <a:extLst>
              <a:ext uri="{FF2B5EF4-FFF2-40B4-BE49-F238E27FC236}">
                <a16:creationId xmlns:a16="http://schemas.microsoft.com/office/drawing/2014/main" id="{50088C63-94E0-425C-AD79-7E594B1A0285}"/>
              </a:ext>
            </a:extLst>
          </p:cNvPr>
          <p:cNvGraphicFramePr/>
          <p:nvPr>
            <p:custDataLst>
              <p:tags r:id="rId5"/>
            </p:custDataLst>
          </p:nvPr>
        </p:nvGraphicFramePr>
        <p:xfrm>
          <a:off x="1236663" y="3236913"/>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50" name="Text Placeholder 3"/>
          <p:cNvSpPr>
            <a:spLocks noGrp="1"/>
          </p:cNvSpPr>
          <p:nvPr>
            <p:custDataLst>
              <p:tags r:id="rId6"/>
            </p:custDataLst>
          </p:nvPr>
        </p:nvSpPr>
        <p:spPr bwMode="gray">
          <a:xfrm>
            <a:off x="2154238" y="3381375"/>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A9B6AF0-5710-4FFB-A9F7-DF721DFF2B76}" type="datetime'''''''''''''''''''''''''''''''''''''''''''''''''''''5'''">
              <a:rPr lang="en-US" altLang="en-US" sz="1600" smtClean="0">
                <a:solidFill>
                  <a:schemeClr val="bg1"/>
                </a:solidFill>
                <a:effectLst/>
              </a:rPr>
              <a:pPr/>
              <a:t>5</a:t>
            </a:fld>
            <a:r>
              <a:rPr lang="en-US" altLang="en-US" sz="1600">
                <a:solidFill>
                  <a:schemeClr val="bg1"/>
                </a:solidFill>
              </a:rPr>
              <a:t>%</a:t>
            </a:r>
            <a:endParaRPr lang="en-US" sz="1600" dirty="0">
              <a:solidFill>
                <a:schemeClr val="bg1"/>
              </a:solidFill>
              <a:sym typeface="+mn-lt"/>
            </a:endParaRPr>
          </a:p>
        </p:txBody>
      </p:sp>
      <p:sp>
        <p:nvSpPr>
          <p:cNvPr id="73" name="Text Placeholder 3"/>
          <p:cNvSpPr>
            <a:spLocks noGrp="1"/>
          </p:cNvSpPr>
          <p:nvPr>
            <p:custDataLst>
              <p:tags r:id="rId7"/>
            </p:custDataLst>
          </p:nvPr>
        </p:nvSpPr>
        <p:spPr bwMode="gray">
          <a:xfrm>
            <a:off x="3251200" y="4060825"/>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A6E0AE-F01A-477A-BD18-7405F48D70B6}" type="datetime'''''''''''''''''''''''''''3''''9'">
              <a:rPr lang="en-US" altLang="en-US" sz="1600" smtClean="0">
                <a:solidFill>
                  <a:schemeClr val="bg1"/>
                </a:solidFill>
                <a:effectLst/>
              </a:rPr>
              <a:pPr/>
              <a:t>39</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8"/>
            </p:custDataLst>
          </p:nvPr>
        </p:nvSpPr>
        <p:spPr bwMode="gray">
          <a:xfrm>
            <a:off x="1749425" y="5175250"/>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29D553A-3EAD-409D-8A45-1DC6D5C79B2D}" type="datetime'''''''''''''''''''''''''''''4''''''1'">
              <a:rPr lang="en-US" altLang="en-US" sz="1600" smtClean="0">
                <a:solidFill>
                  <a:schemeClr val="bg1"/>
                </a:solidFill>
                <a:effectLst/>
              </a:rPr>
              <a:pPr/>
              <a:t>41</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9"/>
            </p:custDataLst>
          </p:nvPr>
        </p:nvSpPr>
        <p:spPr bwMode="gray">
          <a:xfrm>
            <a:off x="1631950" y="3702050"/>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1383337-533E-4A4F-A6A7-06E32F91CA1D}" type="datetime'''''''''''''''1''3'''''''''''''''''''''''''''''''''">
              <a:rPr lang="en-US" altLang="en-US" sz="1600" smtClean="0">
                <a:effectLst/>
              </a:rPr>
              <a:pPr/>
              <a:t>13</a:t>
            </a:fld>
            <a:r>
              <a:rPr lang="en-US" altLang="en-US" sz="1600"/>
              <a:t>%</a:t>
            </a:r>
            <a:endParaRPr lang="en-US" sz="1600" dirty="0">
              <a:sym typeface="+mn-lt"/>
            </a:endParaRPr>
          </a:p>
        </p:txBody>
      </p:sp>
      <p:sp>
        <p:nvSpPr>
          <p:cNvPr id="41" name="Text Placeholder 3"/>
          <p:cNvSpPr>
            <a:spLocks noGrp="1"/>
          </p:cNvSpPr>
          <p:nvPr>
            <p:custDataLst>
              <p:tags r:id="rId10"/>
            </p:custDataLst>
          </p:nvPr>
        </p:nvSpPr>
        <p:spPr bwMode="gray">
          <a:xfrm>
            <a:off x="2355850" y="3649663"/>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5647BA6-112D-45AB-831C-6A04B5B907B2}"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45" name="Rectangle 44"/>
          <p:cNvSpPr/>
          <p:nvPr>
            <p:custDataLst>
              <p:tags r:id="rId11"/>
            </p:custDataLst>
          </p:nvPr>
        </p:nvSpPr>
        <p:spPr bwMode="gray">
          <a:xfrm>
            <a:off x="1762125" y="62293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4873625" y="62293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3052763" y="62293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6010275" y="62293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5"/>
            </p:custDataLst>
          </p:nvPr>
        </p:nvSpPr>
        <p:spPr bwMode="gray">
          <a:xfrm>
            <a:off x="4002088" y="62293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2027238" y="62103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2" name="Text Placeholder 3"/>
          <p:cNvSpPr>
            <a:spLocks noGrp="1"/>
          </p:cNvSpPr>
          <p:nvPr>
            <p:custDataLst>
              <p:tags r:id="rId17"/>
            </p:custDataLst>
          </p:nvPr>
        </p:nvSpPr>
        <p:spPr bwMode="gray">
          <a:xfrm>
            <a:off x="6275388" y="62103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8" name="Text Placeholder 3"/>
          <p:cNvSpPr>
            <a:spLocks noGrp="1"/>
          </p:cNvSpPr>
          <p:nvPr>
            <p:custDataLst>
              <p:tags r:id="rId18"/>
            </p:custDataLst>
          </p:nvPr>
        </p:nvSpPr>
        <p:spPr bwMode="gray">
          <a:xfrm>
            <a:off x="3317875" y="62103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9"/>
            </p:custDataLst>
          </p:nvPr>
        </p:nvSpPr>
        <p:spPr bwMode="gray">
          <a:xfrm>
            <a:off x="4267200" y="62103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0" name="Text Placeholder 3"/>
          <p:cNvSpPr>
            <a:spLocks noGrp="1"/>
          </p:cNvSpPr>
          <p:nvPr>
            <p:custDataLst>
              <p:tags r:id="rId20"/>
            </p:custDataLst>
          </p:nvPr>
        </p:nvSpPr>
        <p:spPr bwMode="gray">
          <a:xfrm>
            <a:off x="5138738" y="62103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6" name="Chart 65">
            <a:extLst>
              <a:ext uri="{FF2B5EF4-FFF2-40B4-BE49-F238E27FC236}">
                <a16:creationId xmlns:a16="http://schemas.microsoft.com/office/drawing/2014/main" id="{4403E39F-5B9E-46AB-84C0-053BDB0C266D}"/>
              </a:ext>
            </a:extLst>
          </p:cNvPr>
          <p:cNvGraphicFramePr/>
          <p:nvPr>
            <p:custDataLst>
              <p:tags r:id="rId21"/>
            </p:custDataLst>
          </p:nvPr>
        </p:nvGraphicFramePr>
        <p:xfrm>
          <a:off x="5283200" y="3236913"/>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29" name="Text Placeholder 3"/>
          <p:cNvSpPr>
            <a:spLocks noGrp="1"/>
          </p:cNvSpPr>
          <p:nvPr>
            <p:custDataLst>
              <p:tags r:id="rId22"/>
            </p:custDataLst>
          </p:nvPr>
        </p:nvSpPr>
        <p:spPr bwMode="gray">
          <a:xfrm>
            <a:off x="7358063" y="4248150"/>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442BC2B-E05F-4FC1-985F-60B6E3F99B74}" type="datetime'''''''''''''''''''4''''''''6'''''''''''''''''''''''''''''''''">
              <a:rPr lang="en-US" altLang="en-US" sz="1600" smtClean="0">
                <a:solidFill>
                  <a:schemeClr val="bg1"/>
                </a:solidFill>
                <a:effectLst/>
              </a:rPr>
              <a:pPr/>
              <a:t>46</a:t>
            </a:fld>
            <a:r>
              <a:rPr lang="en-US" altLang="en-US" sz="1600">
                <a:solidFill>
                  <a:schemeClr val="bg1"/>
                </a:solidFill>
              </a:rPr>
              <a:t>%</a:t>
            </a:r>
            <a:endParaRPr lang="en-US" sz="1600" dirty="0">
              <a:solidFill>
                <a:schemeClr val="bg1"/>
              </a:solidFill>
              <a:sym typeface="+mn-lt"/>
            </a:endParaRPr>
          </a:p>
        </p:txBody>
      </p:sp>
      <p:sp>
        <p:nvSpPr>
          <p:cNvPr id="32" name="Text Placeholder 3"/>
          <p:cNvSpPr>
            <a:spLocks noGrp="1"/>
          </p:cNvSpPr>
          <p:nvPr>
            <p:custDataLst>
              <p:tags r:id="rId23"/>
            </p:custDataLst>
          </p:nvPr>
        </p:nvSpPr>
        <p:spPr bwMode="gray">
          <a:xfrm>
            <a:off x="6102350" y="3414713"/>
            <a:ext cx="279400"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34ADA00-5D6C-42E8-83A4-4932687C1614}" type="datetime'''''6'''''''''''''''''''">
              <a:rPr lang="en-US" altLang="en-US" sz="1600" smtClean="0"/>
              <a:pPr/>
              <a:t>6</a:t>
            </a:fld>
            <a:r>
              <a:rPr lang="en-US" altLang="en-US" sz="1600"/>
              <a:t>%</a:t>
            </a:r>
            <a:endParaRPr lang="en-US" sz="1600" dirty="0">
              <a:sym typeface="+mn-lt"/>
            </a:endParaRPr>
          </a:p>
        </p:txBody>
      </p:sp>
      <p:sp>
        <p:nvSpPr>
          <p:cNvPr id="31" name="Text Placeholder 3"/>
          <p:cNvSpPr>
            <a:spLocks noGrp="1"/>
          </p:cNvSpPr>
          <p:nvPr>
            <p:custDataLst>
              <p:tags r:id="rId24"/>
            </p:custDataLst>
          </p:nvPr>
        </p:nvSpPr>
        <p:spPr bwMode="gray">
          <a:xfrm>
            <a:off x="5468938" y="4762500"/>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EC76AB1-88FD-452B-87DE-12D4DD227BD3}" type="datetime'''''4''''''''''''''''''''''''6'''''">
              <a:rPr lang="en-US" altLang="en-US" sz="1600" smtClean="0">
                <a:solidFill>
                  <a:schemeClr val="bg1"/>
                </a:solidFill>
                <a:effectLst/>
              </a:rPr>
              <a:pPr/>
              <a:t>46</a:t>
            </a:fld>
            <a:r>
              <a:rPr lang="en-US" altLang="en-US" sz="1600">
                <a:solidFill>
                  <a:schemeClr val="bg1"/>
                </a:solidFill>
              </a:rPr>
              <a:t>%</a:t>
            </a:r>
            <a:endParaRPr lang="en-US" sz="1600" dirty="0">
              <a:solidFill>
                <a:schemeClr val="bg1"/>
              </a:solidFill>
              <a:sym typeface="+mn-lt"/>
            </a:endParaRPr>
          </a:p>
        </p:txBody>
      </p:sp>
      <p:sp>
        <p:nvSpPr>
          <p:cNvPr id="33" name="Text Placeholder 3"/>
          <p:cNvSpPr>
            <a:spLocks noGrp="1"/>
          </p:cNvSpPr>
          <p:nvPr>
            <p:custDataLst>
              <p:tags r:id="rId25"/>
            </p:custDataLst>
          </p:nvPr>
        </p:nvSpPr>
        <p:spPr bwMode="gray">
          <a:xfrm>
            <a:off x="6356350" y="3446463"/>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6D127CD-5E9B-4B7B-BA49-6C6ED6190571}"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30" name="Text Placeholder 3"/>
          <p:cNvSpPr>
            <a:spLocks noGrp="1"/>
          </p:cNvSpPr>
          <p:nvPr>
            <p:custDataLst>
              <p:tags r:id="rId26"/>
            </p:custDataLst>
          </p:nvPr>
        </p:nvSpPr>
        <p:spPr bwMode="gray">
          <a:xfrm>
            <a:off x="6418263" y="3714750"/>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B429E2C-AE13-4C55-A07D-380FD2CDA519}" type="datetime'''''0'''''''''''''''''''''''''''''''''''''''''''''''''''''''''">
              <a:rPr lang="en-US" altLang="en-US" sz="1600" smtClean="0">
                <a:solidFill>
                  <a:schemeClr val="bg1"/>
                </a:solidFill>
                <a:effectLst/>
              </a:rPr>
              <a:pPr/>
              <a:t>0</a:t>
            </a:fld>
            <a:r>
              <a:rPr lang="en-US" altLang="en-US" sz="1600">
                <a:solidFill>
                  <a:schemeClr val="bg1"/>
                </a:solidFill>
              </a:rPr>
              <a:t>%</a:t>
            </a:r>
            <a:endParaRPr lang="en-US" sz="1600" dirty="0">
              <a:solidFill>
                <a:schemeClr val="bg1"/>
              </a:solidFill>
              <a:sym typeface="+mn-lt"/>
            </a:endParaRPr>
          </a:p>
        </p:txBody>
      </p:sp>
      <p:sp>
        <p:nvSpPr>
          <p:cNvPr id="72" name="Rectangle 71"/>
          <p:cNvSpPr/>
          <p:nvPr/>
        </p:nvSpPr>
        <p:spPr>
          <a:xfrm>
            <a:off x="486380" y="1479455"/>
            <a:ext cx="4027663" cy="9744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1% </a:t>
            </a:r>
            <a:r>
              <a:rPr lang="en-US" dirty="0">
                <a:solidFill>
                  <a:srgbClr val="575757"/>
                </a:solidFill>
              </a:rPr>
              <a:t>CT satisfied</a:t>
            </a:r>
          </a:p>
          <a:p>
            <a:pPr algn="ctr"/>
            <a:endParaRPr lang="en-US" sz="1000" dirty="0">
              <a:solidFill>
                <a:srgbClr val="575757"/>
              </a:solidFill>
            </a:endParaRPr>
          </a:p>
          <a:p>
            <a:pPr algn="ctr"/>
            <a:r>
              <a:rPr lang="en-US" dirty="0"/>
              <a:t>q</a:t>
            </a:r>
            <a:r>
              <a:rPr lang="en-US" sz="1600" dirty="0">
                <a:solidFill>
                  <a:srgbClr val="E71C57"/>
                </a:solidFill>
                <a:latin typeface="Wingdings 3" panose="05040102010807070707" pitchFamily="18" charset="2"/>
              </a:rPr>
              <a:t>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chemeClr val="tx1"/>
                </a:solidFill>
              </a:rPr>
              <a:t>2%</a:t>
            </a:r>
            <a:r>
              <a:rPr lang="en-US" sz="1400" dirty="0">
                <a:solidFill>
                  <a:srgbClr val="575757"/>
                </a:solidFill>
              </a:rPr>
              <a:t> vs Q3 '21  | </a:t>
            </a: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4 '20</a:t>
            </a:r>
            <a:r>
              <a:rPr lang="en-US" sz="1400" dirty="0">
                <a:solidFill>
                  <a:srgbClr val="E71C57"/>
                </a:solidFill>
                <a:latin typeface="Wingdings 3" panose="05040102010807070707" pitchFamily="18" charset="2"/>
              </a:rPr>
              <a:t> </a:t>
            </a:r>
          </a:p>
          <a:p>
            <a:pPr algn="ctr"/>
            <a:r>
              <a:rPr lang="en-US" sz="1400" dirty="0">
                <a:solidFill>
                  <a:srgbClr val="29BA74"/>
                </a:solidFill>
                <a:latin typeface="Wingdings 3" panose="05040102010807070707" pitchFamily="18" charset="2"/>
              </a:rPr>
              <a:t>p</a:t>
            </a:r>
            <a:r>
              <a:rPr lang="en-US" sz="1400" dirty="0">
                <a:solidFill>
                  <a:srgbClr val="575757"/>
                </a:solidFill>
              </a:rPr>
              <a:t>1% vs BIC Target</a:t>
            </a:r>
          </a:p>
        </p:txBody>
      </p:sp>
      <p:sp>
        <p:nvSpPr>
          <p:cNvPr id="74" name="Rectangle 73"/>
          <p:cNvSpPr/>
          <p:nvPr/>
        </p:nvSpPr>
        <p:spPr>
          <a:xfrm>
            <a:off x="4385261" y="1431114"/>
            <a:ext cx="4221577" cy="1005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92% </a:t>
            </a:r>
            <a:r>
              <a:rPr lang="en-US" dirty="0">
                <a:solidFill>
                  <a:srgbClr val="575757"/>
                </a:solidFill>
              </a:rPr>
              <a:t>BST 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chemeClr val="tx1"/>
                </a:solidFill>
              </a:rPr>
              <a:t>1%</a:t>
            </a:r>
            <a:r>
              <a:rPr lang="en-US" sz="1400" dirty="0">
                <a:solidFill>
                  <a:srgbClr val="575757"/>
                </a:solidFill>
              </a:rPr>
              <a:t> vs Q3 '21  | </a:t>
            </a:r>
            <a:r>
              <a:rPr lang="en-US" sz="1400" dirty="0">
                <a:solidFill>
                  <a:srgbClr val="29BA74"/>
                </a:solidFill>
                <a:latin typeface="Wingdings 3" panose="05040102010807070707" pitchFamily="18" charset="2"/>
              </a:rPr>
              <a:t>p</a:t>
            </a:r>
            <a:r>
              <a:rPr lang="en-US" sz="1400" dirty="0">
                <a:solidFill>
                  <a:srgbClr val="575757"/>
                </a:solidFill>
              </a:rPr>
              <a:t>8% vs Q4 '20 </a:t>
            </a:r>
          </a:p>
          <a:p>
            <a:pPr algn="ctr"/>
            <a:r>
              <a:rPr lang="en-US" sz="1400" dirty="0">
                <a:solidFill>
                  <a:srgbClr val="29BA74"/>
                </a:solidFill>
                <a:latin typeface="Wingdings 3" panose="05040102010807070707" pitchFamily="18" charset="2"/>
              </a:rPr>
              <a:t>p</a:t>
            </a:r>
            <a:r>
              <a:rPr lang="en-US" sz="1400" dirty="0">
                <a:solidFill>
                  <a:srgbClr val="575757"/>
                </a:solidFill>
              </a:rPr>
              <a:t>12% vs BIC Target</a:t>
            </a:r>
          </a:p>
        </p:txBody>
      </p:sp>
      <p:sp>
        <p:nvSpPr>
          <p:cNvPr id="7" name="Rectangle 6"/>
          <p:cNvSpPr/>
          <p:nvPr/>
        </p:nvSpPr>
        <p:spPr>
          <a:xfrm>
            <a:off x="1714359" y="4129882"/>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819525" y="4203365"/>
            <a:ext cx="1511300"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61" name="Rectangle 60"/>
          <p:cNvSpPr/>
          <p:nvPr/>
        </p:nvSpPr>
        <p:spPr>
          <a:xfrm>
            <a:off x="9156906" y="1"/>
            <a:ext cx="2892834"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here is high satisfaction for both cohorts for VPN</a:t>
            </a:r>
          </a:p>
          <a:p>
            <a:endParaRPr lang="en-GB" dirty="0">
              <a:solidFill>
                <a:srgbClr val="FFFFFF"/>
              </a:solidFill>
              <a:cs typeface="Arial" pitchFamily="34" charset="0"/>
            </a:endParaRPr>
          </a:p>
          <a:p>
            <a:r>
              <a:rPr lang="en-GB" dirty="0">
                <a:solidFill>
                  <a:srgbClr val="FFFFFF"/>
                </a:solidFill>
                <a:cs typeface="Arial" pitchFamily="34" charset="0"/>
              </a:rPr>
              <a:t>Comparing the 2020 annual average with 2021, E-SAT is +3% improved for CT (at 82%)</a:t>
            </a:r>
          </a:p>
        </p:txBody>
      </p:sp>
      <p:cxnSp>
        <p:nvCxnSpPr>
          <p:cNvPr id="35" name="Straight Connector 34"/>
          <p:cNvCxnSpPr/>
          <p:nvPr/>
        </p:nvCxnSpPr>
        <p:spPr>
          <a:xfrm flipH="1" flipV="1">
            <a:off x="681605" y="2466975"/>
            <a:ext cx="7707176" cy="0"/>
          </a:xfrm>
          <a:prstGeom prst="line">
            <a:avLst/>
          </a:prstGeom>
          <a:ln w="19050" cap="rnd">
            <a:solidFill>
              <a:schemeClr val="tx1">
                <a:lumMod val="60000"/>
                <a:lumOff val="40000"/>
              </a:schemeClr>
            </a:solidFill>
            <a:prstDash val="sysDot"/>
          </a:ln>
        </p:spPr>
      </p:cxnSp>
      <p:sp>
        <p:nvSpPr>
          <p:cNvPr id="49" name="Rectangle 4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57" name="Rectangle 56">
            <a:extLst>
              <a:ext uri="{FF2B5EF4-FFF2-40B4-BE49-F238E27FC236}">
                <a16:creationId xmlns:a16="http://schemas.microsoft.com/office/drawing/2014/main" id="{A72C8083-0CC2-4FA2-842F-E0E408A592FE}"/>
              </a:ext>
            </a:extLst>
          </p:cNvPr>
          <p:cNvSpPr/>
          <p:nvPr/>
        </p:nvSpPr>
        <p:spPr>
          <a:xfrm>
            <a:off x="5736540" y="2451415"/>
            <a:ext cx="1519017" cy="387350"/>
          </a:xfrm>
          <a:prstGeom prst="rect">
            <a:avLst/>
          </a:prstGeom>
          <a:solidFill>
            <a:srgbClr val="30C1D7"/>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Excellent</a:t>
            </a:r>
          </a:p>
        </p:txBody>
      </p:sp>
      <p:sp>
        <p:nvSpPr>
          <p:cNvPr id="63" name="Rectangle 62">
            <a:extLst>
              <a:ext uri="{FF2B5EF4-FFF2-40B4-BE49-F238E27FC236}">
                <a16:creationId xmlns:a16="http://schemas.microsoft.com/office/drawing/2014/main" id="{F7F67F94-28F4-4639-9978-72A7BDCA3CF1}"/>
              </a:ext>
            </a:extLst>
          </p:cNvPr>
          <p:cNvSpPr/>
          <p:nvPr/>
        </p:nvSpPr>
        <p:spPr>
          <a:xfrm>
            <a:off x="1853523" y="2464578"/>
            <a:ext cx="1519017"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76" name="Group 75">
            <a:extLst>
              <a:ext uri="{FF2B5EF4-FFF2-40B4-BE49-F238E27FC236}">
                <a16:creationId xmlns:a16="http://schemas.microsoft.com/office/drawing/2014/main" id="{B1FDAD70-DA3A-46DD-8EB9-9B8880C79B71}"/>
              </a:ext>
            </a:extLst>
          </p:cNvPr>
          <p:cNvGrpSpPr>
            <a:grpSpLocks noChangeAspect="1"/>
          </p:cNvGrpSpPr>
          <p:nvPr/>
        </p:nvGrpSpPr>
        <p:grpSpPr>
          <a:xfrm>
            <a:off x="514429" y="864696"/>
            <a:ext cx="457200" cy="457200"/>
            <a:chOff x="5867400" y="3200400"/>
            <a:chExt cx="457200" cy="457200"/>
          </a:xfrm>
        </p:grpSpPr>
        <p:sp>
          <p:nvSpPr>
            <p:cNvPr id="78" name="AutoShape 43">
              <a:extLst>
                <a:ext uri="{FF2B5EF4-FFF2-40B4-BE49-F238E27FC236}">
                  <a16:creationId xmlns:a16="http://schemas.microsoft.com/office/drawing/2014/main" id="{C25E27C0-2E81-4D4A-BA91-22FFFB9DA05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7">
              <a:extLst>
                <a:ext uri="{FF2B5EF4-FFF2-40B4-BE49-F238E27FC236}">
                  <a16:creationId xmlns:a16="http://schemas.microsoft.com/office/drawing/2014/main" id="{67650444-7ECB-419A-8176-FC81B5D00FC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544741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171"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79859" y="0"/>
            <a:ext cx="2864137"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A question introduced in Q2 2020, employees are asked – 'when using VPN, how satisfied are you with how your IT tools function?'</a:t>
            </a:r>
          </a:p>
          <a:p>
            <a:endParaRPr lang="en-GB" dirty="0">
              <a:solidFill>
                <a:srgbClr val="FFFFFF"/>
              </a:solidFill>
              <a:cs typeface="Arial" pitchFamily="34" charset="0"/>
            </a:endParaRPr>
          </a:p>
          <a:p>
            <a:r>
              <a:rPr lang="en-GB" dirty="0">
                <a:solidFill>
                  <a:srgbClr val="FFFFFF"/>
                </a:solidFill>
                <a:cs typeface="Arial" pitchFamily="34" charset="0"/>
              </a:rPr>
              <a:t>86% are satisfied, trending up +2% Q4 year-over-year</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T Tools on VPN – Overall Satisfaction</a:t>
            </a:r>
          </a:p>
        </p:txBody>
      </p:sp>
      <p:graphicFrame>
        <p:nvGraphicFramePr>
          <p:cNvPr id="64" name="Chart 63">
            <a:extLst>
              <a:ext uri="{FF2B5EF4-FFF2-40B4-BE49-F238E27FC236}">
                <a16:creationId xmlns:a16="http://schemas.microsoft.com/office/drawing/2014/main" id="{9885ACB4-A606-434B-BCA1-3731B976A05C}"/>
              </a:ext>
            </a:extLst>
          </p:cNvPr>
          <p:cNvGraphicFramePr/>
          <p:nvPr>
            <p:custDataLst>
              <p:tags r:id="rId5"/>
            </p:custDataLst>
          </p:nvPr>
        </p:nvGraphicFramePr>
        <p:xfrm>
          <a:off x="2778125" y="2368550"/>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41" name="Text Placeholder 3"/>
          <p:cNvSpPr>
            <a:spLocks noGrp="1"/>
          </p:cNvSpPr>
          <p:nvPr>
            <p:custDataLst>
              <p:tags r:id="rId6"/>
            </p:custDataLst>
          </p:nvPr>
        </p:nvSpPr>
        <p:spPr bwMode="gray">
          <a:xfrm>
            <a:off x="4300538" y="2759075"/>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45F2B2D-6986-4D25-884A-9A1A88E12AD4}"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7"/>
            </p:custDataLst>
          </p:nvPr>
        </p:nvSpPr>
        <p:spPr bwMode="gray">
          <a:xfrm>
            <a:off x="4156075" y="2490788"/>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D68E548-754E-405E-9045-C107F6B3E5DD}"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73" name="Text Placeholder 3"/>
          <p:cNvSpPr>
            <a:spLocks noGrp="1"/>
          </p:cNvSpPr>
          <p:nvPr>
            <p:custDataLst>
              <p:tags r:id="rId8"/>
            </p:custDataLst>
          </p:nvPr>
        </p:nvSpPr>
        <p:spPr bwMode="gray">
          <a:xfrm>
            <a:off x="5613400" y="3486150"/>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buNone/>
            </a:pPr>
            <a:r>
              <a:rPr lang="en-US" altLang="en-US" sz="1600" dirty="0">
                <a:solidFill>
                  <a:schemeClr val="bg1"/>
                </a:solidFill>
              </a:rPr>
              <a:t>38%</a:t>
            </a:r>
            <a:endParaRPr lang="en-US" sz="1600" dirty="0">
              <a:solidFill>
                <a:schemeClr val="bg1"/>
              </a:solidFill>
              <a:sym typeface="+mn-lt"/>
            </a:endParaRPr>
          </a:p>
        </p:txBody>
      </p:sp>
      <p:sp>
        <p:nvSpPr>
          <p:cNvPr id="55" name="Text Placeholder 3"/>
          <p:cNvSpPr>
            <a:spLocks noGrp="1"/>
          </p:cNvSpPr>
          <p:nvPr>
            <p:custDataLst>
              <p:tags r:id="rId9"/>
            </p:custDataLst>
          </p:nvPr>
        </p:nvSpPr>
        <p:spPr bwMode="gray">
          <a:xfrm>
            <a:off x="3321050" y="4938713"/>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buNone/>
            </a:pPr>
            <a:r>
              <a:rPr lang="en-US" sz="1600" dirty="0">
                <a:solidFill>
                  <a:schemeClr val="bg1"/>
                </a:solidFill>
                <a:sym typeface="+mn-lt"/>
              </a:rPr>
              <a:t>48%</a:t>
            </a:r>
          </a:p>
        </p:txBody>
      </p:sp>
      <p:sp>
        <p:nvSpPr>
          <p:cNvPr id="53" name="Text Placeholder 3"/>
          <p:cNvSpPr>
            <a:spLocks noGrp="1"/>
          </p:cNvSpPr>
          <p:nvPr>
            <p:custDataLst>
              <p:tags r:id="rId10"/>
            </p:custDataLst>
          </p:nvPr>
        </p:nvSpPr>
        <p:spPr bwMode="gray">
          <a:xfrm>
            <a:off x="3529013" y="2755900"/>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sz="1600" dirty="0"/>
              <a:t>11%</a:t>
            </a:r>
            <a:endParaRPr lang="en-US" sz="1600" dirty="0">
              <a:sym typeface="+mn-lt"/>
            </a:endParaRPr>
          </a:p>
        </p:txBody>
      </p:sp>
      <p:sp>
        <p:nvSpPr>
          <p:cNvPr id="51" name="Rectangle 50"/>
          <p:cNvSpPr/>
          <p:nvPr>
            <p:custDataLst>
              <p:tags r:id="rId11"/>
            </p:custDataLst>
          </p:nvPr>
        </p:nvSpPr>
        <p:spPr bwMode="gray">
          <a:xfrm>
            <a:off x="4764088"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652588"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2943225"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4"/>
            </p:custDataLst>
          </p:nvPr>
        </p:nvSpPr>
        <p:spPr bwMode="gray">
          <a:xfrm>
            <a:off x="3892550"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00738"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1917700"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7"/>
            </p:custDataLst>
          </p:nvPr>
        </p:nvSpPr>
        <p:spPr bwMode="gray">
          <a:xfrm>
            <a:off x="3208338"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18"/>
            </p:custDataLst>
          </p:nvPr>
        </p:nvSpPr>
        <p:spPr bwMode="gray">
          <a:xfrm>
            <a:off x="6165850"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9" name="Text Placeholder 3"/>
          <p:cNvSpPr>
            <a:spLocks noGrp="1"/>
          </p:cNvSpPr>
          <p:nvPr>
            <p:custDataLst>
              <p:tags r:id="rId19"/>
            </p:custDataLst>
          </p:nvPr>
        </p:nvSpPr>
        <p:spPr bwMode="gray">
          <a:xfrm>
            <a:off x="4157663"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0" name="Text Placeholder 3"/>
          <p:cNvSpPr>
            <a:spLocks noGrp="1"/>
          </p:cNvSpPr>
          <p:nvPr>
            <p:custDataLst>
              <p:tags r:id="rId20"/>
            </p:custDataLst>
          </p:nvPr>
        </p:nvSpPr>
        <p:spPr bwMode="gray">
          <a:xfrm>
            <a:off x="5029200"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96" name="Rectangle 95"/>
          <p:cNvSpPr/>
          <p:nvPr/>
        </p:nvSpPr>
        <p:spPr>
          <a:xfrm>
            <a:off x="2971801" y="1446038"/>
            <a:ext cx="5365375"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6% </a:t>
            </a:r>
            <a:r>
              <a:rPr lang="en-US" dirty="0">
                <a:solidFill>
                  <a:srgbClr val="575757"/>
                </a:solidFill>
              </a:rPr>
              <a:t>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1</a:t>
            </a:r>
            <a:r>
              <a:rPr lang="en-US" sz="1400" dirty="0">
                <a:solidFill>
                  <a:srgbClr val="575757"/>
                </a:solidFill>
              </a:rPr>
              <a:t>% vs Q3 '21</a:t>
            </a:r>
            <a:r>
              <a:rPr lang="en-US" sz="1400" baseline="30000" dirty="0">
                <a:solidFill>
                  <a:srgbClr val="575757"/>
                </a:solidFill>
              </a:rPr>
              <a:t> </a:t>
            </a:r>
            <a:r>
              <a:rPr lang="en-US" sz="1400" dirty="0">
                <a:solidFill>
                  <a:srgbClr val="575757"/>
                </a:solidFill>
              </a:rPr>
              <a:t>|</a:t>
            </a:r>
            <a:r>
              <a:rPr lang="en-US" sz="1400" baseline="30000" dirty="0">
                <a:solidFill>
                  <a:srgbClr val="575757"/>
                </a:solidFill>
              </a:rPr>
              <a:t> </a:t>
            </a:r>
            <a:r>
              <a:rPr lang="en-US" sz="1400" dirty="0">
                <a:solidFill>
                  <a:srgbClr val="29BA74"/>
                </a:solidFill>
                <a:latin typeface="Wingdings 3" panose="05040102010807070707" pitchFamily="18" charset="2"/>
              </a:rPr>
              <a:t>p</a:t>
            </a:r>
            <a:r>
              <a:rPr lang="en-US" sz="1400" dirty="0">
                <a:solidFill>
                  <a:srgbClr val="575757"/>
                </a:solidFill>
                <a:latin typeface="+mj-lt"/>
              </a:rPr>
              <a:t>2</a:t>
            </a:r>
            <a:r>
              <a:rPr lang="en-US" sz="1400" dirty="0">
                <a:solidFill>
                  <a:srgbClr val="575757"/>
                </a:solidFill>
              </a:rPr>
              <a:t>% vs Q4 '20</a:t>
            </a:r>
            <a:endParaRPr lang="en-US" sz="1400" baseline="30000" dirty="0">
              <a:solidFill>
                <a:srgbClr val="575757"/>
              </a:solidFill>
            </a:endParaRPr>
          </a:p>
        </p:txBody>
      </p:sp>
      <p:sp>
        <p:nvSpPr>
          <p:cNvPr id="29" name="Rectangle 28"/>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36" name="Straight Connector 3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48" name="Rectangle 4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5" name="Rectangle 34">
            <a:extLst>
              <a:ext uri="{FF2B5EF4-FFF2-40B4-BE49-F238E27FC236}">
                <a16:creationId xmlns:a16="http://schemas.microsoft.com/office/drawing/2014/main" id="{85CA4EC2-9556-4BCA-ACD1-351554018B62}"/>
              </a:ext>
            </a:extLst>
          </p:cNvPr>
          <p:cNvSpPr/>
          <p:nvPr/>
        </p:nvSpPr>
        <p:spPr>
          <a:xfrm>
            <a:off x="1443131" y="1392248"/>
            <a:ext cx="1301658" cy="60649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4" name="Group 43">
            <a:extLst>
              <a:ext uri="{FF2B5EF4-FFF2-40B4-BE49-F238E27FC236}">
                <a16:creationId xmlns:a16="http://schemas.microsoft.com/office/drawing/2014/main" id="{D33ECFAF-6CAC-4FE4-B065-ECE5D6BB6D99}"/>
              </a:ext>
            </a:extLst>
          </p:cNvPr>
          <p:cNvGrpSpPr>
            <a:grpSpLocks noChangeAspect="1"/>
          </p:cNvGrpSpPr>
          <p:nvPr/>
        </p:nvGrpSpPr>
        <p:grpSpPr>
          <a:xfrm>
            <a:off x="514429" y="864696"/>
            <a:ext cx="457200" cy="457200"/>
            <a:chOff x="5867400" y="3200400"/>
            <a:chExt cx="457200" cy="457200"/>
          </a:xfrm>
        </p:grpSpPr>
        <p:sp>
          <p:nvSpPr>
            <p:cNvPr id="52" name="AutoShape 43">
              <a:extLst>
                <a:ext uri="{FF2B5EF4-FFF2-40B4-BE49-F238E27FC236}">
                  <a16:creationId xmlns:a16="http://schemas.microsoft.com/office/drawing/2014/main" id="{2A369383-7907-440E-9734-85CD4423EE4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7">
              <a:extLst>
                <a:ext uri="{FF2B5EF4-FFF2-40B4-BE49-F238E27FC236}">
                  <a16:creationId xmlns:a16="http://schemas.microsoft.com/office/drawing/2014/main" id="{9549C893-A72A-4836-8ABE-D4EA1E75E768}"/>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2717252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192"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dirty="0">
                <a:solidFill>
                  <a:srgbClr val="295E7E"/>
                </a:solidFill>
              </a:rPr>
              <a:t>IT Tools on VPN – Overall Satisfaction</a:t>
            </a:r>
          </a:p>
        </p:txBody>
      </p:sp>
      <p:graphicFrame>
        <p:nvGraphicFramePr>
          <p:cNvPr id="60" name="Chart 59">
            <a:extLst>
              <a:ext uri="{FF2B5EF4-FFF2-40B4-BE49-F238E27FC236}">
                <a16:creationId xmlns:a16="http://schemas.microsoft.com/office/drawing/2014/main" id="{C9082675-1A69-4002-8D02-B456BF8D4942}"/>
              </a:ext>
            </a:extLst>
          </p:cNvPr>
          <p:cNvGraphicFramePr/>
          <p:nvPr>
            <p:custDataLst>
              <p:tags r:id="rId5"/>
            </p:custDataLst>
          </p:nvPr>
        </p:nvGraphicFramePr>
        <p:xfrm>
          <a:off x="1047750" y="3095625"/>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50" name="Text Placeholder 3"/>
          <p:cNvSpPr>
            <a:spLocks noGrp="1"/>
          </p:cNvSpPr>
          <p:nvPr>
            <p:custDataLst>
              <p:tags r:id="rId6"/>
            </p:custDataLst>
          </p:nvPr>
        </p:nvSpPr>
        <p:spPr bwMode="gray">
          <a:xfrm>
            <a:off x="2019300" y="322580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4955A77-395E-4417-A3C6-E5F297E5E629}" type="datetime'''''''''''''''3'''''''''''''''''">
              <a:rPr lang="en-US" altLang="en-US" sz="1600" smtClean="0">
                <a:solidFill>
                  <a:schemeClr val="bg1"/>
                </a:solidFill>
                <a:effectLst/>
              </a:rPr>
              <a:pPr/>
              <a:t>3</a:t>
            </a:fld>
            <a:r>
              <a:rPr lang="en-US" altLang="en-US" sz="1600">
                <a:solidFill>
                  <a:schemeClr val="bg1"/>
                </a:solidFill>
              </a:rPr>
              <a:t>%</a:t>
            </a:r>
            <a:endParaRPr lang="en-US" sz="1600" dirty="0">
              <a:solidFill>
                <a:schemeClr val="bg1"/>
              </a:solidFill>
              <a:sym typeface="+mn-lt"/>
            </a:endParaRPr>
          </a:p>
        </p:txBody>
      </p:sp>
      <p:sp>
        <p:nvSpPr>
          <p:cNvPr id="73" name="Text Placeholder 3"/>
          <p:cNvSpPr>
            <a:spLocks noGrp="1"/>
          </p:cNvSpPr>
          <p:nvPr>
            <p:custDataLst>
              <p:tags r:id="rId7"/>
            </p:custDataLst>
          </p:nvPr>
        </p:nvSpPr>
        <p:spPr bwMode="gray">
          <a:xfrm>
            <a:off x="2997200" y="3787775"/>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0C31FF7-B408-44CA-997F-D5EBAB2FAC4A}" type="datetime'''''''''''''''''''''''''''''''''''''''3''''''''''5'''''''''''">
              <a:rPr lang="en-US" altLang="en-US" sz="1600" smtClean="0">
                <a:solidFill>
                  <a:schemeClr val="bg1"/>
                </a:solidFill>
                <a:effectLst/>
              </a:rPr>
              <a:pPr/>
              <a:t>35</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8"/>
            </p:custDataLst>
          </p:nvPr>
        </p:nvSpPr>
        <p:spPr bwMode="gray">
          <a:xfrm>
            <a:off x="2162175" y="349408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A1745FB-2C1B-4E0E-85BB-B92A190CC958}"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9"/>
            </p:custDataLst>
          </p:nvPr>
        </p:nvSpPr>
        <p:spPr bwMode="gray">
          <a:xfrm>
            <a:off x="1673225" y="5113338"/>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06301EA-4948-42E3-A46D-A861C9F34D55}" type="datetime'''''''''''''4''''''''''''''''''''''7'''''''''''''''''''''''''">
              <a:rPr lang="en-US" altLang="en-US" sz="1600" smtClean="0">
                <a:solidFill>
                  <a:schemeClr val="bg1"/>
                </a:solidFill>
                <a:effectLst/>
              </a:rPr>
              <a:pPr/>
              <a:t>47</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10"/>
            </p:custDataLst>
          </p:nvPr>
        </p:nvSpPr>
        <p:spPr bwMode="gray">
          <a:xfrm>
            <a:off x="1492250" y="3511550"/>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F96021A-5D20-4676-B9FA-3BE773F84A48}" type="datetime'''''''''''''''''1''''''''''''''''''''''''''''''5'''''''''''''">
              <a:rPr lang="en-US" altLang="en-US" sz="1600" smtClean="0">
                <a:effectLst/>
              </a:rPr>
              <a:pPr/>
              <a:t>15</a:t>
            </a:fld>
            <a:r>
              <a:rPr lang="en-US" altLang="en-US" sz="1600"/>
              <a:t>%</a:t>
            </a:r>
            <a:endParaRPr lang="en-US" sz="1600" dirty="0">
              <a:sym typeface="+mn-lt"/>
            </a:endParaRPr>
          </a:p>
        </p:txBody>
      </p:sp>
      <p:sp>
        <p:nvSpPr>
          <p:cNvPr id="47" name="Rectangle 46"/>
          <p:cNvSpPr/>
          <p:nvPr>
            <p:custDataLst>
              <p:tags r:id="rId11"/>
            </p:custDataLst>
          </p:nvPr>
        </p:nvSpPr>
        <p:spPr bwMode="gray">
          <a:xfrm>
            <a:off x="3903663" y="60610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663700" y="606107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2954338" y="606107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4"/>
            </p:custDataLst>
          </p:nvPr>
        </p:nvSpPr>
        <p:spPr bwMode="gray">
          <a:xfrm>
            <a:off x="4775200" y="606107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11850" y="60610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Text Placeholder 3"/>
          <p:cNvSpPr>
            <a:spLocks noGrp="1"/>
          </p:cNvSpPr>
          <p:nvPr>
            <p:custDataLst>
              <p:tags r:id="rId16"/>
            </p:custDataLst>
          </p:nvPr>
        </p:nvSpPr>
        <p:spPr bwMode="gray">
          <a:xfrm>
            <a:off x="3219450" y="604202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4" name="Text Placeholder 3"/>
          <p:cNvSpPr>
            <a:spLocks noGrp="1"/>
          </p:cNvSpPr>
          <p:nvPr>
            <p:custDataLst>
              <p:tags r:id="rId17"/>
            </p:custDataLst>
          </p:nvPr>
        </p:nvSpPr>
        <p:spPr bwMode="gray">
          <a:xfrm>
            <a:off x="1928813" y="604202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8"/>
            </p:custDataLst>
          </p:nvPr>
        </p:nvSpPr>
        <p:spPr bwMode="gray">
          <a:xfrm>
            <a:off x="4168775" y="60420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19"/>
            </p:custDataLst>
          </p:nvPr>
        </p:nvSpPr>
        <p:spPr bwMode="gray">
          <a:xfrm>
            <a:off x="6176963" y="604202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20"/>
            </p:custDataLst>
          </p:nvPr>
        </p:nvSpPr>
        <p:spPr bwMode="gray">
          <a:xfrm>
            <a:off x="5040313" y="604202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9" name="Chart 68">
            <a:extLst>
              <a:ext uri="{FF2B5EF4-FFF2-40B4-BE49-F238E27FC236}">
                <a16:creationId xmlns:a16="http://schemas.microsoft.com/office/drawing/2014/main" id="{1EC2BC4F-12FD-4740-9293-A0E3182390A3}"/>
              </a:ext>
            </a:extLst>
          </p:cNvPr>
          <p:cNvGraphicFramePr/>
          <p:nvPr>
            <p:custDataLst>
              <p:tags r:id="rId21"/>
            </p:custDataLst>
          </p:nvPr>
        </p:nvGraphicFramePr>
        <p:xfrm>
          <a:off x="5286375" y="3095625"/>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32" name="Text Placeholder 3"/>
          <p:cNvSpPr>
            <a:spLocks noGrp="1"/>
          </p:cNvSpPr>
          <p:nvPr>
            <p:custDataLst>
              <p:tags r:id="rId22"/>
            </p:custDataLst>
          </p:nvPr>
        </p:nvSpPr>
        <p:spPr bwMode="gray">
          <a:xfrm>
            <a:off x="6059488" y="3294063"/>
            <a:ext cx="279400"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7E86F5A-51E7-44EC-A65D-702791CB6855}" type="datetime'''''''''''''''''''''8'''''''''''''''''''''">
              <a:rPr lang="en-US" altLang="en-US" sz="1600" smtClean="0">
                <a:effectLst/>
              </a:rPr>
              <a:pPr/>
              <a:t>8</a:t>
            </a:fld>
            <a:r>
              <a:rPr lang="en-US" altLang="en-US" sz="1600"/>
              <a:t>%</a:t>
            </a:r>
            <a:endParaRPr lang="en-US" sz="1600" dirty="0">
              <a:sym typeface="+mn-lt"/>
            </a:endParaRPr>
          </a:p>
        </p:txBody>
      </p:sp>
      <p:sp>
        <p:nvSpPr>
          <p:cNvPr id="31" name="Text Placeholder 3"/>
          <p:cNvSpPr>
            <a:spLocks noGrp="1"/>
          </p:cNvSpPr>
          <p:nvPr>
            <p:custDataLst>
              <p:tags r:id="rId23"/>
            </p:custDataLst>
          </p:nvPr>
        </p:nvSpPr>
        <p:spPr bwMode="gray">
          <a:xfrm>
            <a:off x="5583238" y="4806950"/>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1BC4C4C-0591-4A11-BB9A-6DA51804275B}" type="datetime'''''''''5''''''0'''''''''''''''''''''''''''''''''''''''''''''">
              <a:rPr lang="en-US" altLang="en-US" sz="1600" smtClean="0">
                <a:solidFill>
                  <a:schemeClr val="bg1"/>
                </a:solidFill>
                <a:effectLst/>
              </a:rPr>
              <a:pPr/>
              <a:t>50</a:t>
            </a:fld>
            <a:r>
              <a:rPr lang="en-US" altLang="en-US" sz="1600">
                <a:solidFill>
                  <a:schemeClr val="bg1"/>
                </a:solidFill>
              </a:rPr>
              <a:t>%</a:t>
            </a:r>
            <a:endParaRPr lang="en-US" sz="1600" dirty="0">
              <a:solidFill>
                <a:schemeClr val="bg1"/>
              </a:solidFill>
              <a:sym typeface="+mn-lt"/>
            </a:endParaRPr>
          </a:p>
        </p:txBody>
      </p:sp>
      <p:sp>
        <p:nvSpPr>
          <p:cNvPr id="29" name="Text Placeholder 3"/>
          <p:cNvSpPr>
            <a:spLocks noGrp="1"/>
          </p:cNvSpPr>
          <p:nvPr>
            <p:custDataLst>
              <p:tags r:id="rId24"/>
            </p:custDataLst>
          </p:nvPr>
        </p:nvSpPr>
        <p:spPr bwMode="gray">
          <a:xfrm>
            <a:off x="7313613" y="3948113"/>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3F6CBA5-46F3-4766-B4C9-BCBC4B6B8130}" type="datetime'''''''''''''''''''''40'''''''''''''''''''''''''''">
              <a:rPr lang="en-US" altLang="en-US" sz="1600" smtClean="0">
                <a:solidFill>
                  <a:schemeClr val="bg1"/>
                </a:solidFill>
                <a:effectLst/>
              </a:rPr>
              <a:pPr/>
              <a:t>40</a:t>
            </a:fld>
            <a:r>
              <a:rPr lang="en-US" altLang="en-US" sz="1600">
                <a:solidFill>
                  <a:schemeClr val="bg1"/>
                </a:solidFill>
              </a:rPr>
              <a:t>%</a:t>
            </a:r>
            <a:endParaRPr lang="en-US" sz="1600" dirty="0">
              <a:solidFill>
                <a:schemeClr val="bg1"/>
              </a:solidFill>
              <a:sym typeface="+mn-lt"/>
            </a:endParaRPr>
          </a:p>
        </p:txBody>
      </p:sp>
      <p:sp>
        <p:nvSpPr>
          <p:cNvPr id="33" name="Text Placeholder 3"/>
          <p:cNvSpPr>
            <a:spLocks noGrp="1"/>
          </p:cNvSpPr>
          <p:nvPr>
            <p:custDataLst>
              <p:tags r:id="rId25"/>
            </p:custDataLst>
          </p:nvPr>
        </p:nvSpPr>
        <p:spPr bwMode="gray">
          <a:xfrm>
            <a:off x="6362700" y="3205163"/>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BD8A7BE-F103-4940-A4DC-51831FF68FDB}"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30" name="Text Placeholder 3"/>
          <p:cNvSpPr>
            <a:spLocks noGrp="1"/>
          </p:cNvSpPr>
          <p:nvPr>
            <p:custDataLst>
              <p:tags r:id="rId26"/>
            </p:custDataLst>
          </p:nvPr>
        </p:nvSpPr>
        <p:spPr bwMode="gray">
          <a:xfrm>
            <a:off x="6423025" y="3473450"/>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B21208-2B5F-4B2F-9E94-4E480DC2D3CB}" type="datetime'''''''''''''''''''''''''''0'''''">
              <a:rPr lang="en-US" altLang="en-US" sz="1600" smtClean="0">
                <a:solidFill>
                  <a:schemeClr val="bg1"/>
                </a:solidFill>
                <a:effectLst/>
              </a:rPr>
              <a:pPr/>
              <a:t>0</a:t>
            </a:fld>
            <a:r>
              <a:rPr lang="en-US" altLang="en-US" sz="1600">
                <a:solidFill>
                  <a:schemeClr val="bg1"/>
                </a:solidFill>
              </a:rPr>
              <a:t>%</a:t>
            </a:r>
            <a:endParaRPr lang="en-US" sz="1600" dirty="0">
              <a:solidFill>
                <a:schemeClr val="bg1"/>
              </a:solidFill>
              <a:sym typeface="+mn-lt"/>
            </a:endParaRPr>
          </a:p>
        </p:txBody>
      </p:sp>
      <p:sp>
        <p:nvSpPr>
          <p:cNvPr id="72" name="Rectangle 71"/>
          <p:cNvSpPr/>
          <p:nvPr/>
        </p:nvSpPr>
        <p:spPr>
          <a:xfrm>
            <a:off x="349250" y="1603279"/>
            <a:ext cx="4027488" cy="741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1% </a:t>
            </a:r>
            <a:r>
              <a:rPr lang="en-US" dirty="0">
                <a:solidFill>
                  <a:srgbClr val="575757"/>
                </a:solidFill>
              </a:rPr>
              <a:t>CT 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chemeClr val="tx1"/>
                </a:solidFill>
              </a:rPr>
              <a:t>1%</a:t>
            </a:r>
            <a:r>
              <a:rPr lang="en-US" sz="1400" dirty="0">
                <a:solidFill>
                  <a:srgbClr val="575757"/>
                </a:solidFill>
              </a:rPr>
              <a:t> vs Q3 '21 |</a:t>
            </a:r>
            <a:r>
              <a:rPr lang="en-US" sz="1400" dirty="0">
                <a:solidFill>
                  <a:srgbClr val="E71C57"/>
                </a:solidFill>
                <a:latin typeface="Wingdings 3" panose="05040102010807070707" pitchFamily="18" charset="2"/>
              </a:rPr>
              <a:t>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chemeClr val="tx1"/>
                </a:solidFill>
              </a:rPr>
              <a:t>2%</a:t>
            </a:r>
            <a:r>
              <a:rPr lang="en-US" sz="1400" dirty="0">
                <a:solidFill>
                  <a:srgbClr val="575757"/>
                </a:solidFill>
              </a:rPr>
              <a:t> vs Q4 '20</a:t>
            </a:r>
          </a:p>
        </p:txBody>
      </p:sp>
      <p:sp>
        <p:nvSpPr>
          <p:cNvPr id="74" name="Rectangle 73"/>
          <p:cNvSpPr/>
          <p:nvPr/>
        </p:nvSpPr>
        <p:spPr>
          <a:xfrm>
            <a:off x="4421187" y="1502886"/>
            <a:ext cx="4221577" cy="8607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90% </a:t>
            </a:r>
            <a:r>
              <a:rPr lang="en-US" dirty="0">
                <a:solidFill>
                  <a:srgbClr val="575757"/>
                </a:solidFill>
              </a:rPr>
              <a:t>BST satisfied</a:t>
            </a:r>
          </a:p>
          <a:p>
            <a:pPr algn="ctr"/>
            <a:endParaRPr lang="en-US" sz="1000" dirty="0">
              <a:solidFill>
                <a:srgbClr val="575757"/>
              </a:solidFill>
            </a:endParaRPr>
          </a:p>
          <a:p>
            <a:pPr algn="ct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3 '21 | </a:t>
            </a:r>
            <a:r>
              <a:rPr lang="en-US" sz="1400" dirty="0">
                <a:solidFill>
                  <a:srgbClr val="29BA74"/>
                </a:solidFill>
                <a:latin typeface="Wingdings 3" panose="05040102010807070707" pitchFamily="18" charset="2"/>
              </a:rPr>
              <a:t>p</a:t>
            </a:r>
            <a:r>
              <a:rPr lang="en-US" sz="1400" dirty="0">
                <a:solidFill>
                  <a:schemeClr val="tx1"/>
                </a:solidFill>
              </a:rPr>
              <a:t>5%</a:t>
            </a:r>
            <a:r>
              <a:rPr lang="en-US" sz="1400" dirty="0">
                <a:solidFill>
                  <a:srgbClr val="575757"/>
                </a:solidFill>
              </a:rPr>
              <a:t> vs Q4 '20</a:t>
            </a:r>
          </a:p>
        </p:txBody>
      </p:sp>
      <p:sp>
        <p:nvSpPr>
          <p:cNvPr id="7" name="Rectangle 6"/>
          <p:cNvSpPr/>
          <p:nvPr/>
        </p:nvSpPr>
        <p:spPr>
          <a:xfrm>
            <a:off x="1492250" y="4067175"/>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761037" y="4032250"/>
            <a:ext cx="1511300"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61" name="Rectangle 60"/>
          <p:cNvSpPr/>
          <p:nvPr/>
        </p:nvSpPr>
        <p:spPr>
          <a:xfrm>
            <a:off x="9227284" y="1"/>
            <a:ext cx="2822456"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omparing the 2020 annual average with 2021, E-SAT is trending flat for CT at 81%. No downtrend is positive given the strong reliance on this tool</a:t>
            </a:r>
          </a:p>
        </p:txBody>
      </p:sp>
      <p:cxnSp>
        <p:nvCxnSpPr>
          <p:cNvPr id="35" name="Straight Connector 34"/>
          <p:cNvCxnSpPr/>
          <p:nvPr/>
        </p:nvCxnSpPr>
        <p:spPr>
          <a:xfrm flipH="1" flipV="1">
            <a:off x="676275" y="2368550"/>
            <a:ext cx="7707313" cy="0"/>
          </a:xfrm>
          <a:prstGeom prst="line">
            <a:avLst/>
          </a:prstGeom>
          <a:ln w="19050" cap="rnd">
            <a:solidFill>
              <a:schemeClr val="tx1">
                <a:lumMod val="60000"/>
                <a:lumOff val="40000"/>
              </a:schemeClr>
            </a:solidFill>
            <a:prstDash val="sysDot"/>
          </a:ln>
        </p:spPr>
      </p:cxnSp>
      <p:sp>
        <p:nvSpPr>
          <p:cNvPr id="49" name="Rectangle 4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63" name="Rectangle 62">
            <a:extLst>
              <a:ext uri="{FF2B5EF4-FFF2-40B4-BE49-F238E27FC236}">
                <a16:creationId xmlns:a16="http://schemas.microsoft.com/office/drawing/2014/main" id="{6066F960-D989-424B-BD78-4DF44862B5F3}"/>
              </a:ext>
            </a:extLst>
          </p:cNvPr>
          <p:cNvSpPr/>
          <p:nvPr/>
        </p:nvSpPr>
        <p:spPr>
          <a:xfrm>
            <a:off x="1542683" y="2373509"/>
            <a:ext cx="1519238"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3" name="Group 42">
            <a:extLst>
              <a:ext uri="{FF2B5EF4-FFF2-40B4-BE49-F238E27FC236}">
                <a16:creationId xmlns:a16="http://schemas.microsoft.com/office/drawing/2014/main" id="{7B8560E6-C212-48BD-B95F-96229EEE7A89}"/>
              </a:ext>
            </a:extLst>
          </p:cNvPr>
          <p:cNvGrpSpPr>
            <a:grpSpLocks noChangeAspect="1"/>
          </p:cNvGrpSpPr>
          <p:nvPr/>
        </p:nvGrpSpPr>
        <p:grpSpPr>
          <a:xfrm>
            <a:off x="514429" y="864696"/>
            <a:ext cx="457200" cy="457200"/>
            <a:chOff x="5867400" y="3200400"/>
            <a:chExt cx="457200" cy="457200"/>
          </a:xfrm>
        </p:grpSpPr>
        <p:sp>
          <p:nvSpPr>
            <p:cNvPr id="44" name="AutoShape 43">
              <a:extLst>
                <a:ext uri="{FF2B5EF4-FFF2-40B4-BE49-F238E27FC236}">
                  <a16:creationId xmlns:a16="http://schemas.microsoft.com/office/drawing/2014/main" id="{57057A57-0FD2-465F-A883-B054A1153CD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7">
              <a:extLst>
                <a:ext uri="{FF2B5EF4-FFF2-40B4-BE49-F238E27FC236}">
                  <a16:creationId xmlns:a16="http://schemas.microsoft.com/office/drawing/2014/main" id="{6738F307-492E-4B77-8042-4D9686AFFE6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52" name="Rectangle 51">
            <a:extLst>
              <a:ext uri="{FF2B5EF4-FFF2-40B4-BE49-F238E27FC236}">
                <a16:creationId xmlns:a16="http://schemas.microsoft.com/office/drawing/2014/main" id="{7D9FBEC8-BEBF-41CC-BC08-504F97771419}"/>
              </a:ext>
            </a:extLst>
          </p:cNvPr>
          <p:cNvSpPr/>
          <p:nvPr/>
        </p:nvSpPr>
        <p:spPr>
          <a:xfrm>
            <a:off x="5742891" y="2376488"/>
            <a:ext cx="1519017" cy="387350"/>
          </a:xfrm>
          <a:prstGeom prst="rect">
            <a:avLst/>
          </a:prstGeom>
          <a:solidFill>
            <a:srgbClr val="30C1D7"/>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Excellent</a:t>
            </a:r>
          </a:p>
        </p:txBody>
      </p:sp>
    </p:spTree>
    <p:custDataLst>
      <p:tags r:id="rId2"/>
    </p:custDataLst>
    <p:extLst>
      <p:ext uri="{BB962C8B-B14F-4D97-AF65-F5344CB8AC3E}">
        <p14:creationId xmlns:p14="http://schemas.microsoft.com/office/powerpoint/2010/main" val="2663920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88378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96" name="think-cell Slide" r:id="rId6" imgW="324" imgH="324" progId="TCLayout.ActiveDocument.1">
                  <p:embed/>
                </p:oleObj>
              </mc:Choice>
              <mc:Fallback>
                <p:oleObj name="think-cell Slide" r:id="rId6" imgW="324" imgH="324"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8" name="Rectangle 17"/>
          <p:cNvSpPr/>
          <p:nvPr/>
        </p:nvSpPr>
        <p:spPr>
          <a:xfrm>
            <a:off x="4651858" y="3740101"/>
            <a:ext cx="3273552" cy="232420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otal Eligible Employees: </a:t>
            </a:r>
            <a:r>
              <a:rPr lang="en-US" sz="1600" dirty="0">
                <a:solidFill>
                  <a:srgbClr val="295E7E"/>
                </a:solidFill>
              </a:rPr>
              <a:t>20621</a:t>
            </a:r>
          </a:p>
          <a:p>
            <a:r>
              <a:rPr lang="en-US" sz="1600" dirty="0">
                <a:solidFill>
                  <a:srgbClr val="575757"/>
                </a:solidFill>
              </a:rPr>
              <a:t>Total Q3 Target employees: </a:t>
            </a:r>
            <a:r>
              <a:rPr lang="en-US" sz="1600" dirty="0">
                <a:solidFill>
                  <a:srgbClr val="295E7E"/>
                </a:solidFill>
              </a:rPr>
              <a:t>5181</a:t>
            </a:r>
            <a:r>
              <a:rPr lang="en-US" sz="1600" dirty="0">
                <a:solidFill>
                  <a:srgbClr val="29BA74"/>
                </a:solidFill>
              </a:rPr>
              <a:t> </a:t>
            </a:r>
          </a:p>
          <a:p>
            <a:pPr lvl="1"/>
            <a:endParaRPr lang="en-US" sz="1000" dirty="0">
              <a:solidFill>
                <a:srgbClr val="575757"/>
              </a:solidFill>
            </a:endParaRPr>
          </a:p>
          <a:p>
            <a:pPr lvl="1"/>
            <a:r>
              <a:rPr lang="en-US" sz="1400" dirty="0">
                <a:solidFill>
                  <a:srgbClr val="575757"/>
                </a:solidFill>
              </a:rPr>
              <a:t>BST:</a:t>
            </a:r>
            <a:r>
              <a:rPr lang="en-US" sz="1400" dirty="0">
                <a:solidFill>
                  <a:srgbClr val="29BA74"/>
                </a:solidFill>
              </a:rPr>
              <a:t> </a:t>
            </a:r>
            <a:r>
              <a:rPr lang="en-US" sz="1400" dirty="0">
                <a:solidFill>
                  <a:srgbClr val="295E7E"/>
                </a:solidFill>
              </a:rPr>
              <a:t>1778 (34%)</a:t>
            </a:r>
          </a:p>
          <a:p>
            <a:pPr lvl="1"/>
            <a:r>
              <a:rPr lang="en-US" sz="1400" dirty="0">
                <a:solidFill>
                  <a:srgbClr val="575757"/>
                </a:solidFill>
              </a:rPr>
              <a:t>CT:</a:t>
            </a:r>
            <a:r>
              <a:rPr lang="en-US" sz="1400" dirty="0">
                <a:solidFill>
                  <a:srgbClr val="29BA74"/>
                </a:solidFill>
              </a:rPr>
              <a:t> </a:t>
            </a:r>
            <a:r>
              <a:rPr lang="en-US" sz="1400" dirty="0">
                <a:solidFill>
                  <a:srgbClr val="295E7E"/>
                </a:solidFill>
              </a:rPr>
              <a:t>3403 (66%) </a:t>
            </a:r>
          </a:p>
          <a:p>
            <a:pPr lvl="1"/>
            <a:endParaRPr lang="en-US" sz="1000" dirty="0">
              <a:solidFill>
                <a:srgbClr val="575757"/>
              </a:solidFill>
            </a:endParaRPr>
          </a:p>
          <a:p>
            <a:pPr lvl="2"/>
            <a:r>
              <a:rPr lang="en-US" sz="1400" dirty="0">
                <a:solidFill>
                  <a:srgbClr val="575757"/>
                </a:solidFill>
              </a:rPr>
              <a:t>AP:</a:t>
            </a:r>
            <a:r>
              <a:rPr lang="en-US" sz="1400" dirty="0">
                <a:solidFill>
                  <a:srgbClr val="29BA74"/>
                </a:solidFill>
              </a:rPr>
              <a:t> </a:t>
            </a:r>
            <a:r>
              <a:rPr lang="en-US" sz="1400" dirty="0">
                <a:solidFill>
                  <a:srgbClr val="295E7E"/>
                </a:solidFill>
              </a:rPr>
              <a:t>1207</a:t>
            </a:r>
          </a:p>
          <a:p>
            <a:pPr lvl="2"/>
            <a:r>
              <a:rPr lang="en-US" sz="1400" dirty="0">
                <a:solidFill>
                  <a:srgbClr val="575757"/>
                </a:solidFill>
              </a:rPr>
              <a:t>CEMA:</a:t>
            </a:r>
            <a:r>
              <a:rPr lang="en-US" sz="1400" dirty="0">
                <a:solidFill>
                  <a:srgbClr val="29BA74"/>
                </a:solidFill>
              </a:rPr>
              <a:t> </a:t>
            </a:r>
            <a:r>
              <a:rPr lang="en-US" sz="1400" dirty="0">
                <a:solidFill>
                  <a:srgbClr val="295E7E"/>
                </a:solidFill>
              </a:rPr>
              <a:t>1352</a:t>
            </a:r>
            <a:endParaRPr lang="en-US" sz="1400" dirty="0">
              <a:solidFill>
                <a:srgbClr val="29BA74"/>
              </a:solidFill>
            </a:endParaRPr>
          </a:p>
          <a:p>
            <a:pPr lvl="2"/>
            <a:r>
              <a:rPr lang="en-US" sz="1400" dirty="0">
                <a:solidFill>
                  <a:srgbClr val="575757"/>
                </a:solidFill>
              </a:rPr>
              <a:t>NAMR:</a:t>
            </a:r>
            <a:r>
              <a:rPr lang="en-US" sz="1400" dirty="0">
                <a:solidFill>
                  <a:srgbClr val="29BA74"/>
                </a:solidFill>
              </a:rPr>
              <a:t> </a:t>
            </a:r>
            <a:r>
              <a:rPr lang="en-US" sz="1400" dirty="0">
                <a:solidFill>
                  <a:srgbClr val="295E7E"/>
                </a:solidFill>
              </a:rPr>
              <a:t>1658</a:t>
            </a:r>
            <a:endParaRPr lang="en-US" sz="1400" dirty="0">
              <a:solidFill>
                <a:srgbClr val="29BA74"/>
              </a:solidFill>
            </a:endParaRPr>
          </a:p>
          <a:p>
            <a:pPr lvl="2"/>
            <a:r>
              <a:rPr lang="en-US" sz="1400" dirty="0">
                <a:solidFill>
                  <a:srgbClr val="575757"/>
                </a:solidFill>
              </a:rPr>
              <a:t>WESA:</a:t>
            </a:r>
            <a:r>
              <a:rPr lang="en-US" sz="1400" dirty="0">
                <a:solidFill>
                  <a:srgbClr val="29BA74"/>
                </a:solidFill>
              </a:rPr>
              <a:t> </a:t>
            </a:r>
            <a:r>
              <a:rPr lang="en-US" sz="1400" dirty="0">
                <a:solidFill>
                  <a:srgbClr val="295E7E"/>
                </a:solidFill>
              </a:rPr>
              <a:t>964</a:t>
            </a:r>
            <a:endParaRPr lang="en-US" sz="1400" dirty="0">
              <a:solidFill>
                <a:srgbClr val="29BA74"/>
              </a:solidFill>
            </a:endParaRPr>
          </a:p>
        </p:txBody>
      </p:sp>
      <p:sp>
        <p:nvSpPr>
          <p:cNvPr id="22" name="Rectangle 21"/>
          <p:cNvSpPr/>
          <p:nvPr/>
        </p:nvSpPr>
        <p:spPr>
          <a:xfrm>
            <a:off x="8590788" y="3740101"/>
            <a:ext cx="3273552" cy="232420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otal Eligible Employees: </a:t>
            </a:r>
            <a:r>
              <a:rPr lang="en-US" sz="1600" dirty="0">
                <a:solidFill>
                  <a:srgbClr val="295E7E"/>
                </a:solidFill>
              </a:rPr>
              <a:t>21116</a:t>
            </a:r>
          </a:p>
          <a:p>
            <a:r>
              <a:rPr lang="en-US" sz="1600" dirty="0">
                <a:solidFill>
                  <a:srgbClr val="575757"/>
                </a:solidFill>
              </a:rPr>
              <a:t>Total Q4 Target employees: </a:t>
            </a:r>
            <a:r>
              <a:rPr lang="en-US" sz="1600" dirty="0">
                <a:solidFill>
                  <a:srgbClr val="295E7E"/>
                </a:solidFill>
              </a:rPr>
              <a:t>5272</a:t>
            </a:r>
            <a:endParaRPr lang="en-US" sz="1600" dirty="0">
              <a:solidFill>
                <a:srgbClr val="29BA74"/>
              </a:solidFill>
            </a:endParaRPr>
          </a:p>
          <a:p>
            <a:pPr lvl="1"/>
            <a:endParaRPr lang="en-US" sz="1000" dirty="0">
              <a:solidFill>
                <a:srgbClr val="575757"/>
              </a:solidFill>
            </a:endParaRPr>
          </a:p>
          <a:p>
            <a:pPr lvl="1"/>
            <a:r>
              <a:rPr lang="en-US" sz="1400" dirty="0">
                <a:solidFill>
                  <a:srgbClr val="575757"/>
                </a:solidFill>
              </a:rPr>
              <a:t>BST:</a:t>
            </a:r>
            <a:r>
              <a:rPr lang="en-US" sz="1400" dirty="0">
                <a:solidFill>
                  <a:srgbClr val="29BA74"/>
                </a:solidFill>
              </a:rPr>
              <a:t> </a:t>
            </a:r>
            <a:r>
              <a:rPr lang="en-US" sz="1400" dirty="0">
                <a:solidFill>
                  <a:srgbClr val="295E7E"/>
                </a:solidFill>
              </a:rPr>
              <a:t>1829 (35%)</a:t>
            </a:r>
          </a:p>
          <a:p>
            <a:pPr lvl="1"/>
            <a:r>
              <a:rPr lang="en-US" sz="1400" dirty="0">
                <a:solidFill>
                  <a:srgbClr val="575757"/>
                </a:solidFill>
              </a:rPr>
              <a:t>CT:</a:t>
            </a:r>
            <a:r>
              <a:rPr lang="en-US" sz="1400" dirty="0">
                <a:solidFill>
                  <a:srgbClr val="29BA74"/>
                </a:solidFill>
              </a:rPr>
              <a:t> </a:t>
            </a:r>
            <a:r>
              <a:rPr lang="en-US" sz="1400" dirty="0">
                <a:solidFill>
                  <a:srgbClr val="295E7E"/>
                </a:solidFill>
              </a:rPr>
              <a:t>3443 (65%) </a:t>
            </a:r>
          </a:p>
          <a:p>
            <a:pPr lvl="1"/>
            <a:endParaRPr lang="en-US" sz="1000" dirty="0">
              <a:solidFill>
                <a:srgbClr val="575757"/>
              </a:solidFill>
            </a:endParaRPr>
          </a:p>
          <a:p>
            <a:pPr lvl="2"/>
            <a:r>
              <a:rPr lang="en-US" sz="1400" dirty="0">
                <a:solidFill>
                  <a:srgbClr val="575757"/>
                </a:solidFill>
              </a:rPr>
              <a:t>AP:</a:t>
            </a:r>
            <a:r>
              <a:rPr lang="en-US" sz="1400" dirty="0">
                <a:solidFill>
                  <a:srgbClr val="29BA74"/>
                </a:solidFill>
              </a:rPr>
              <a:t> </a:t>
            </a:r>
            <a:r>
              <a:rPr lang="en-US" sz="1400" dirty="0">
                <a:solidFill>
                  <a:srgbClr val="295E7E"/>
                </a:solidFill>
              </a:rPr>
              <a:t>1262</a:t>
            </a:r>
          </a:p>
          <a:p>
            <a:pPr lvl="2"/>
            <a:r>
              <a:rPr lang="en-US" sz="1400" dirty="0" err="1">
                <a:solidFill>
                  <a:srgbClr val="575757"/>
                </a:solidFill>
              </a:rPr>
              <a:t>CEMA</a:t>
            </a:r>
            <a:r>
              <a:rPr lang="en-US" sz="1400" dirty="0">
                <a:solidFill>
                  <a:srgbClr val="575757"/>
                </a:solidFill>
              </a:rPr>
              <a:t>:</a:t>
            </a:r>
            <a:r>
              <a:rPr lang="en-US" sz="1400" dirty="0">
                <a:solidFill>
                  <a:srgbClr val="29BA74"/>
                </a:solidFill>
              </a:rPr>
              <a:t> </a:t>
            </a:r>
            <a:r>
              <a:rPr lang="en-US" sz="1400" dirty="0">
                <a:solidFill>
                  <a:srgbClr val="295E7E"/>
                </a:solidFill>
              </a:rPr>
              <a:t>1338</a:t>
            </a:r>
            <a:endParaRPr lang="en-US" sz="1400" dirty="0">
              <a:solidFill>
                <a:srgbClr val="29BA74"/>
              </a:solidFill>
            </a:endParaRPr>
          </a:p>
          <a:p>
            <a:pPr lvl="2"/>
            <a:r>
              <a:rPr lang="en-US" sz="1400" dirty="0" err="1">
                <a:solidFill>
                  <a:srgbClr val="575757"/>
                </a:solidFill>
              </a:rPr>
              <a:t>NAMR</a:t>
            </a:r>
            <a:r>
              <a:rPr lang="en-US" sz="1400" dirty="0">
                <a:solidFill>
                  <a:srgbClr val="575757"/>
                </a:solidFill>
              </a:rPr>
              <a:t>:</a:t>
            </a:r>
            <a:r>
              <a:rPr lang="en-US" sz="1400" dirty="0">
                <a:solidFill>
                  <a:srgbClr val="29BA74"/>
                </a:solidFill>
              </a:rPr>
              <a:t> </a:t>
            </a:r>
            <a:r>
              <a:rPr lang="en-US" sz="1400" dirty="0">
                <a:solidFill>
                  <a:srgbClr val="295E7E"/>
                </a:solidFill>
              </a:rPr>
              <a:t>1735</a:t>
            </a:r>
            <a:endParaRPr lang="en-US" sz="1400" dirty="0">
              <a:solidFill>
                <a:srgbClr val="29BA74"/>
              </a:solidFill>
            </a:endParaRPr>
          </a:p>
          <a:p>
            <a:pPr lvl="2"/>
            <a:r>
              <a:rPr lang="en-US" sz="1400" dirty="0" err="1">
                <a:solidFill>
                  <a:srgbClr val="575757"/>
                </a:solidFill>
              </a:rPr>
              <a:t>WESA</a:t>
            </a:r>
            <a:r>
              <a:rPr lang="en-US" sz="1400" dirty="0">
                <a:solidFill>
                  <a:srgbClr val="575757"/>
                </a:solidFill>
              </a:rPr>
              <a:t>:</a:t>
            </a:r>
            <a:r>
              <a:rPr lang="en-US" sz="1400" dirty="0">
                <a:solidFill>
                  <a:srgbClr val="29BA74"/>
                </a:solidFill>
              </a:rPr>
              <a:t> </a:t>
            </a:r>
            <a:r>
              <a:rPr lang="en-US" sz="1400" dirty="0">
                <a:solidFill>
                  <a:srgbClr val="295E7E"/>
                </a:solidFill>
              </a:rPr>
              <a:t>935</a:t>
            </a:r>
            <a:endParaRPr lang="en-US" sz="1400" dirty="0">
              <a:solidFill>
                <a:srgbClr val="29BA74"/>
              </a:solidFill>
            </a:endParaRPr>
          </a:p>
        </p:txBody>
      </p:sp>
      <p:sp>
        <p:nvSpPr>
          <p:cNvPr id="3" name="Title 2"/>
          <p:cNvSpPr>
            <a:spLocks noGrp="1"/>
          </p:cNvSpPr>
          <p:nvPr>
            <p:ph type="title"/>
          </p:nvPr>
        </p:nvSpPr>
        <p:spPr>
          <a:xfrm>
            <a:off x="327661" y="2681103"/>
            <a:ext cx="3637566" cy="1495794"/>
          </a:xfrm>
        </p:spPr>
        <p:txBody>
          <a:bodyPr vert="horz"/>
          <a:lstStyle/>
          <a:p>
            <a:r>
              <a:rPr lang="en-US" dirty="0"/>
              <a:t>2021 Target Employees - Quarterly Summary</a:t>
            </a:r>
          </a:p>
        </p:txBody>
      </p:sp>
      <p:sp>
        <p:nvSpPr>
          <p:cNvPr id="9" name="Rectangle 8"/>
          <p:cNvSpPr/>
          <p:nvPr/>
        </p:nvSpPr>
        <p:spPr>
          <a:xfrm>
            <a:off x="4651858" y="677148"/>
            <a:ext cx="3273552" cy="232420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otal Eligible Employees: </a:t>
            </a:r>
            <a:r>
              <a:rPr lang="en-US" sz="1600" dirty="0">
                <a:solidFill>
                  <a:srgbClr val="295E7E"/>
                </a:solidFill>
              </a:rPr>
              <a:t>20575</a:t>
            </a:r>
            <a:r>
              <a:rPr lang="en-US" sz="1600" dirty="0">
                <a:solidFill>
                  <a:srgbClr val="29BA74"/>
                </a:solidFill>
              </a:rPr>
              <a:t> </a:t>
            </a:r>
            <a:endParaRPr lang="en-US" sz="1600" dirty="0">
              <a:solidFill>
                <a:srgbClr val="575757"/>
              </a:solidFill>
            </a:endParaRPr>
          </a:p>
          <a:p>
            <a:r>
              <a:rPr lang="en-US" sz="1600" dirty="0">
                <a:solidFill>
                  <a:srgbClr val="575757"/>
                </a:solidFill>
              </a:rPr>
              <a:t>Total Q1 Target employees: </a:t>
            </a:r>
            <a:r>
              <a:rPr lang="en-US" sz="1600" dirty="0">
                <a:solidFill>
                  <a:srgbClr val="295E7E"/>
                </a:solidFill>
              </a:rPr>
              <a:t>5137</a:t>
            </a:r>
            <a:r>
              <a:rPr lang="en-US" sz="1600" dirty="0">
                <a:solidFill>
                  <a:srgbClr val="29BA74"/>
                </a:solidFill>
              </a:rPr>
              <a:t> </a:t>
            </a:r>
          </a:p>
          <a:p>
            <a:pPr lvl="1"/>
            <a:endParaRPr lang="en-US" sz="1000" dirty="0">
              <a:solidFill>
                <a:srgbClr val="575757"/>
              </a:solidFill>
            </a:endParaRPr>
          </a:p>
          <a:p>
            <a:pPr lvl="1"/>
            <a:r>
              <a:rPr lang="en-US" sz="1400" dirty="0">
                <a:solidFill>
                  <a:srgbClr val="575757"/>
                </a:solidFill>
              </a:rPr>
              <a:t>BST:</a:t>
            </a:r>
            <a:r>
              <a:rPr lang="en-US" sz="1400" dirty="0">
                <a:solidFill>
                  <a:srgbClr val="29BA74"/>
                </a:solidFill>
              </a:rPr>
              <a:t> </a:t>
            </a:r>
            <a:r>
              <a:rPr lang="en-US" sz="1400" dirty="0">
                <a:solidFill>
                  <a:srgbClr val="295E7E"/>
                </a:solidFill>
              </a:rPr>
              <a:t>1815 (35%)</a:t>
            </a:r>
          </a:p>
          <a:p>
            <a:pPr lvl="1"/>
            <a:r>
              <a:rPr lang="en-US" sz="1400" dirty="0">
                <a:solidFill>
                  <a:srgbClr val="575757"/>
                </a:solidFill>
              </a:rPr>
              <a:t>CT:</a:t>
            </a:r>
            <a:r>
              <a:rPr lang="en-US" sz="1400" dirty="0">
                <a:solidFill>
                  <a:srgbClr val="29BA74"/>
                </a:solidFill>
              </a:rPr>
              <a:t> </a:t>
            </a:r>
            <a:r>
              <a:rPr lang="en-US" sz="1400" dirty="0">
                <a:solidFill>
                  <a:srgbClr val="295E7E"/>
                </a:solidFill>
              </a:rPr>
              <a:t>3322 (65%) </a:t>
            </a:r>
          </a:p>
          <a:p>
            <a:pPr lvl="1"/>
            <a:endParaRPr lang="en-US" sz="1000" dirty="0">
              <a:solidFill>
                <a:srgbClr val="575757"/>
              </a:solidFill>
            </a:endParaRPr>
          </a:p>
          <a:p>
            <a:pPr lvl="1"/>
            <a:r>
              <a:rPr lang="en-US" sz="1400" dirty="0">
                <a:solidFill>
                  <a:srgbClr val="575757"/>
                </a:solidFill>
              </a:rPr>
              <a:t>	AP:</a:t>
            </a:r>
            <a:r>
              <a:rPr lang="en-US" sz="1400" dirty="0">
                <a:solidFill>
                  <a:srgbClr val="29BA74"/>
                </a:solidFill>
              </a:rPr>
              <a:t> </a:t>
            </a:r>
            <a:r>
              <a:rPr lang="en-US" sz="1400" dirty="0">
                <a:solidFill>
                  <a:srgbClr val="295E7E"/>
                </a:solidFill>
              </a:rPr>
              <a:t>1229</a:t>
            </a:r>
          </a:p>
          <a:p>
            <a:pPr lvl="1"/>
            <a:r>
              <a:rPr lang="en-US" sz="1400" dirty="0">
                <a:solidFill>
                  <a:srgbClr val="575757"/>
                </a:solidFill>
              </a:rPr>
              <a:t>	NAMR:</a:t>
            </a:r>
            <a:r>
              <a:rPr lang="en-US" sz="1400" dirty="0">
                <a:solidFill>
                  <a:srgbClr val="29BA74"/>
                </a:solidFill>
              </a:rPr>
              <a:t> </a:t>
            </a:r>
            <a:r>
              <a:rPr lang="en-US" sz="1400" dirty="0">
                <a:solidFill>
                  <a:srgbClr val="295E7E"/>
                </a:solidFill>
              </a:rPr>
              <a:t>1689</a:t>
            </a:r>
          </a:p>
          <a:p>
            <a:pPr lvl="1"/>
            <a:r>
              <a:rPr lang="en-US" sz="1400" dirty="0">
                <a:solidFill>
                  <a:srgbClr val="575757"/>
                </a:solidFill>
              </a:rPr>
              <a:t>	CEMA:</a:t>
            </a:r>
            <a:r>
              <a:rPr lang="en-US" sz="1400" dirty="0">
                <a:solidFill>
                  <a:srgbClr val="29BA74"/>
                </a:solidFill>
              </a:rPr>
              <a:t> </a:t>
            </a:r>
            <a:r>
              <a:rPr lang="en-US" sz="1400" dirty="0">
                <a:solidFill>
                  <a:srgbClr val="295E7E"/>
                </a:solidFill>
              </a:rPr>
              <a:t>1294</a:t>
            </a:r>
          </a:p>
          <a:p>
            <a:pPr lvl="1"/>
            <a:r>
              <a:rPr lang="en-US" sz="1400" dirty="0">
                <a:solidFill>
                  <a:srgbClr val="575757"/>
                </a:solidFill>
              </a:rPr>
              <a:t>	WESA:</a:t>
            </a:r>
            <a:r>
              <a:rPr lang="en-US" sz="1400" dirty="0">
                <a:solidFill>
                  <a:srgbClr val="29BA74"/>
                </a:solidFill>
              </a:rPr>
              <a:t> </a:t>
            </a:r>
            <a:r>
              <a:rPr lang="en-US" sz="1400" dirty="0">
                <a:solidFill>
                  <a:srgbClr val="295E7E"/>
                </a:solidFill>
              </a:rPr>
              <a:t>925</a:t>
            </a:r>
          </a:p>
        </p:txBody>
      </p:sp>
      <p:sp>
        <p:nvSpPr>
          <p:cNvPr id="7" name="Oval 6"/>
          <p:cNvSpPr/>
          <p:nvPr/>
        </p:nvSpPr>
        <p:spPr>
          <a:xfrm>
            <a:off x="4169664" y="276723"/>
            <a:ext cx="806806" cy="585216"/>
          </a:xfrm>
          <a:prstGeom prst="ellipse">
            <a:avLst/>
          </a:prstGeom>
          <a:solidFill>
            <a:srgbClr val="295E7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Q1</a:t>
            </a:r>
            <a:endParaRPr lang="en-US" baseline="30000" dirty="0">
              <a:solidFill>
                <a:srgbClr val="FFFFFF"/>
              </a:solidFill>
            </a:endParaRPr>
          </a:p>
        </p:txBody>
      </p:sp>
      <p:sp>
        <p:nvSpPr>
          <p:cNvPr id="17" name="Rectangle 16"/>
          <p:cNvSpPr/>
          <p:nvPr/>
        </p:nvSpPr>
        <p:spPr>
          <a:xfrm>
            <a:off x="8590788" y="677148"/>
            <a:ext cx="3273552" cy="232420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otal Eligible Employees: </a:t>
            </a:r>
            <a:r>
              <a:rPr lang="en-US" sz="1600" dirty="0">
                <a:solidFill>
                  <a:srgbClr val="295E7E"/>
                </a:solidFill>
              </a:rPr>
              <a:t>20867</a:t>
            </a:r>
          </a:p>
          <a:p>
            <a:r>
              <a:rPr lang="en-US" sz="1600" dirty="0">
                <a:solidFill>
                  <a:srgbClr val="575757"/>
                </a:solidFill>
              </a:rPr>
              <a:t>Total Q2 Target employees: </a:t>
            </a:r>
            <a:r>
              <a:rPr lang="en-US" sz="1600" dirty="0">
                <a:solidFill>
                  <a:srgbClr val="295E7E"/>
                </a:solidFill>
              </a:rPr>
              <a:t>5217</a:t>
            </a:r>
          </a:p>
          <a:p>
            <a:pPr lvl="1"/>
            <a:endParaRPr lang="en-US" sz="1000" dirty="0">
              <a:solidFill>
                <a:srgbClr val="575757"/>
              </a:solidFill>
            </a:endParaRPr>
          </a:p>
          <a:p>
            <a:pPr lvl="1"/>
            <a:r>
              <a:rPr lang="en-US" sz="1400" dirty="0">
                <a:solidFill>
                  <a:srgbClr val="575757"/>
                </a:solidFill>
              </a:rPr>
              <a:t>BST:</a:t>
            </a:r>
            <a:r>
              <a:rPr lang="en-US" sz="1400" dirty="0">
                <a:solidFill>
                  <a:srgbClr val="29BA74"/>
                </a:solidFill>
              </a:rPr>
              <a:t> </a:t>
            </a:r>
            <a:r>
              <a:rPr lang="en-US" sz="1400" dirty="0">
                <a:solidFill>
                  <a:srgbClr val="295E7E"/>
                </a:solidFill>
              </a:rPr>
              <a:t>1823 (35%)</a:t>
            </a:r>
          </a:p>
          <a:p>
            <a:pPr lvl="1"/>
            <a:r>
              <a:rPr lang="en-US" sz="1400" dirty="0">
                <a:solidFill>
                  <a:srgbClr val="575757"/>
                </a:solidFill>
              </a:rPr>
              <a:t>CT:</a:t>
            </a:r>
            <a:r>
              <a:rPr lang="en-US" sz="1400" dirty="0">
                <a:solidFill>
                  <a:srgbClr val="29BA74"/>
                </a:solidFill>
              </a:rPr>
              <a:t> </a:t>
            </a:r>
            <a:r>
              <a:rPr lang="en-US" sz="1400" dirty="0">
                <a:solidFill>
                  <a:srgbClr val="295E7E"/>
                </a:solidFill>
              </a:rPr>
              <a:t>3394 (65%) </a:t>
            </a:r>
          </a:p>
          <a:p>
            <a:pPr lvl="1"/>
            <a:endParaRPr lang="en-US" sz="1000" dirty="0">
              <a:solidFill>
                <a:srgbClr val="575757"/>
              </a:solidFill>
            </a:endParaRPr>
          </a:p>
          <a:p>
            <a:pPr lvl="2"/>
            <a:r>
              <a:rPr lang="en-US" sz="1400" dirty="0">
                <a:solidFill>
                  <a:srgbClr val="575757"/>
                </a:solidFill>
              </a:rPr>
              <a:t>AP:</a:t>
            </a:r>
            <a:r>
              <a:rPr lang="en-US" sz="1400" dirty="0">
                <a:solidFill>
                  <a:srgbClr val="29BA74"/>
                </a:solidFill>
              </a:rPr>
              <a:t> </a:t>
            </a:r>
            <a:r>
              <a:rPr lang="en-US" sz="1400" dirty="0">
                <a:solidFill>
                  <a:srgbClr val="295E7E"/>
                </a:solidFill>
              </a:rPr>
              <a:t>1217</a:t>
            </a:r>
          </a:p>
          <a:p>
            <a:pPr lvl="2"/>
            <a:r>
              <a:rPr lang="en-US" sz="1400" dirty="0">
                <a:solidFill>
                  <a:srgbClr val="575757"/>
                </a:solidFill>
              </a:rPr>
              <a:t>CEMA:</a:t>
            </a:r>
            <a:r>
              <a:rPr lang="en-US" sz="1400" dirty="0">
                <a:solidFill>
                  <a:srgbClr val="29BA74"/>
                </a:solidFill>
              </a:rPr>
              <a:t> </a:t>
            </a:r>
            <a:r>
              <a:rPr lang="en-US" sz="1400" dirty="0">
                <a:solidFill>
                  <a:srgbClr val="295E7E"/>
                </a:solidFill>
              </a:rPr>
              <a:t>1374</a:t>
            </a:r>
          </a:p>
          <a:p>
            <a:pPr lvl="2"/>
            <a:r>
              <a:rPr lang="en-US" sz="1400" dirty="0">
                <a:solidFill>
                  <a:srgbClr val="575757"/>
                </a:solidFill>
              </a:rPr>
              <a:t>NAMR:</a:t>
            </a:r>
            <a:r>
              <a:rPr lang="en-US" sz="1400" dirty="0">
                <a:solidFill>
                  <a:srgbClr val="29BA74"/>
                </a:solidFill>
              </a:rPr>
              <a:t> </a:t>
            </a:r>
            <a:r>
              <a:rPr lang="en-US" sz="1400" dirty="0">
                <a:solidFill>
                  <a:srgbClr val="295E7E"/>
                </a:solidFill>
              </a:rPr>
              <a:t>1700</a:t>
            </a:r>
          </a:p>
          <a:p>
            <a:pPr lvl="2"/>
            <a:r>
              <a:rPr lang="en-US" sz="1400" dirty="0">
                <a:solidFill>
                  <a:srgbClr val="575757"/>
                </a:solidFill>
              </a:rPr>
              <a:t>WESA:</a:t>
            </a:r>
            <a:r>
              <a:rPr lang="en-US" sz="1400" dirty="0">
                <a:solidFill>
                  <a:srgbClr val="29BA74"/>
                </a:solidFill>
              </a:rPr>
              <a:t> </a:t>
            </a:r>
            <a:r>
              <a:rPr lang="en-US" sz="1400" dirty="0">
                <a:solidFill>
                  <a:srgbClr val="295E7E"/>
                </a:solidFill>
              </a:rPr>
              <a:t>926</a:t>
            </a:r>
          </a:p>
        </p:txBody>
      </p:sp>
      <p:sp>
        <p:nvSpPr>
          <p:cNvPr id="298" name="Oval 297"/>
          <p:cNvSpPr/>
          <p:nvPr/>
        </p:nvSpPr>
        <p:spPr>
          <a:xfrm>
            <a:off x="8108594" y="276723"/>
            <a:ext cx="806806" cy="585216"/>
          </a:xfrm>
          <a:prstGeom prst="ellipse">
            <a:avLst/>
          </a:prstGeom>
          <a:solidFill>
            <a:srgbClr val="295E7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Q2</a:t>
            </a:r>
            <a:endParaRPr lang="en-US" baseline="30000" dirty="0">
              <a:solidFill>
                <a:srgbClr val="FFFFFF"/>
              </a:solidFill>
            </a:endParaRPr>
          </a:p>
        </p:txBody>
      </p:sp>
      <p:sp>
        <p:nvSpPr>
          <p:cNvPr id="299" name="Oval 298"/>
          <p:cNvSpPr/>
          <p:nvPr/>
        </p:nvSpPr>
        <p:spPr>
          <a:xfrm>
            <a:off x="4171798" y="3312244"/>
            <a:ext cx="806806" cy="585216"/>
          </a:xfrm>
          <a:prstGeom prst="ellipse">
            <a:avLst/>
          </a:prstGeom>
          <a:solidFill>
            <a:srgbClr val="295E7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Q3</a:t>
            </a:r>
          </a:p>
        </p:txBody>
      </p:sp>
      <p:sp>
        <p:nvSpPr>
          <p:cNvPr id="300" name="Oval 299"/>
          <p:cNvSpPr/>
          <p:nvPr/>
        </p:nvSpPr>
        <p:spPr>
          <a:xfrm>
            <a:off x="8090306" y="3297418"/>
            <a:ext cx="806806" cy="585216"/>
          </a:xfrm>
          <a:prstGeom prst="ellipse">
            <a:avLst/>
          </a:prstGeom>
          <a:solidFill>
            <a:srgbClr val="295E7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Q4</a:t>
            </a:r>
          </a:p>
        </p:txBody>
      </p:sp>
      <p:grpSp>
        <p:nvGrpSpPr>
          <p:cNvPr id="51" name="Group 50"/>
          <p:cNvGrpSpPr>
            <a:grpSpLocks noChangeAspect="1"/>
          </p:cNvGrpSpPr>
          <p:nvPr/>
        </p:nvGrpSpPr>
        <p:grpSpPr>
          <a:xfrm>
            <a:off x="4197300" y="3222409"/>
            <a:ext cx="306910" cy="306910"/>
            <a:chOff x="5961063" y="3294063"/>
            <a:chExt cx="269875" cy="269875"/>
          </a:xfrm>
        </p:grpSpPr>
        <p:sp>
          <p:nvSpPr>
            <p:cNvPr id="52" name="Oval 14"/>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Freeform 15"/>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p:nvSpPr>
        <p:spPr>
          <a:xfrm>
            <a:off x="4632290" y="6199833"/>
            <a:ext cx="7234813" cy="442127"/>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We reached out to a total of </a:t>
            </a:r>
            <a:r>
              <a:rPr lang="en-US" sz="1600" dirty="0">
                <a:solidFill>
                  <a:srgbClr val="D4DF33"/>
                </a:solidFill>
              </a:rPr>
              <a:t>20,807</a:t>
            </a:r>
            <a:r>
              <a:rPr lang="en-US" sz="1600" dirty="0">
                <a:solidFill>
                  <a:srgbClr val="FFFFFF"/>
                </a:solidFill>
              </a:rPr>
              <a:t> employees in 2021</a:t>
            </a:r>
          </a:p>
        </p:txBody>
      </p:sp>
      <p:grpSp>
        <p:nvGrpSpPr>
          <p:cNvPr id="5" name="Group 4">
            <a:extLst>
              <a:ext uri="{FF2B5EF4-FFF2-40B4-BE49-F238E27FC236}">
                <a16:creationId xmlns:a16="http://schemas.microsoft.com/office/drawing/2014/main" id="{6E7D3BBF-E36F-4350-B20F-FD7813E3DFAA}"/>
              </a:ext>
            </a:extLst>
          </p:cNvPr>
          <p:cNvGrpSpPr/>
          <p:nvPr/>
        </p:nvGrpSpPr>
        <p:grpSpPr>
          <a:xfrm>
            <a:off x="4976470" y="0"/>
            <a:ext cx="940977" cy="1009871"/>
            <a:chOff x="6140583" y="-1159297"/>
            <a:chExt cx="1644650" cy="1644650"/>
          </a:xfrm>
        </p:grpSpPr>
        <p:sp>
          <p:nvSpPr>
            <p:cNvPr id="55" name="AutoShape 3">
              <a:extLst>
                <a:ext uri="{FF2B5EF4-FFF2-40B4-BE49-F238E27FC236}">
                  <a16:creationId xmlns:a16="http://schemas.microsoft.com/office/drawing/2014/main" id="{54E35371-7F35-4AFB-826D-E7A1E9B1A896}"/>
                </a:ext>
              </a:extLst>
            </p:cNvPr>
            <p:cNvSpPr>
              <a:spLocks noChangeAspect="1" noChangeArrowheads="1" noTextEdit="1"/>
            </p:cNvSpPr>
            <p:nvPr/>
          </p:nvSpPr>
          <p:spPr bwMode="auto">
            <a:xfrm>
              <a:off x="6140583" y="-1159297"/>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8">
              <a:extLst>
                <a:ext uri="{FF2B5EF4-FFF2-40B4-BE49-F238E27FC236}">
                  <a16:creationId xmlns:a16="http://schemas.microsoft.com/office/drawing/2014/main" id="{0C1798D5-0D13-455D-B948-08270DF0DCAD}"/>
                </a:ext>
              </a:extLst>
            </p:cNvPr>
            <p:cNvSpPr>
              <a:spLocks/>
            </p:cNvSpPr>
            <p:nvPr/>
          </p:nvSpPr>
          <p:spPr bwMode="auto">
            <a:xfrm>
              <a:off x="6199321" y="-671935"/>
              <a:ext cx="1533525" cy="614362"/>
            </a:xfrm>
            <a:custGeom>
              <a:avLst/>
              <a:gdLst>
                <a:gd name="connsiteX0" fmla="*/ 1246187 w 1533525"/>
                <a:gd name="connsiteY0" fmla="*/ 511175 h 614362"/>
                <a:gd name="connsiteX1" fmla="*/ 1517878 w 1533525"/>
                <a:gd name="connsiteY1" fmla="*/ 511175 h 614362"/>
                <a:gd name="connsiteX2" fmla="*/ 1533525 w 1533525"/>
                <a:gd name="connsiteY2" fmla="*/ 527050 h 614362"/>
                <a:gd name="connsiteX3" fmla="*/ 1517878 w 1533525"/>
                <a:gd name="connsiteY3" fmla="*/ 542925 h 614362"/>
                <a:gd name="connsiteX4" fmla="*/ 1255433 w 1533525"/>
                <a:gd name="connsiteY4" fmla="*/ 542925 h 614362"/>
                <a:gd name="connsiteX5" fmla="*/ 1246187 w 1533525"/>
                <a:gd name="connsiteY5" fmla="*/ 511175 h 614362"/>
                <a:gd name="connsiteX6" fmla="*/ 735012 w 1533525"/>
                <a:gd name="connsiteY6" fmla="*/ 511175 h 614362"/>
                <a:gd name="connsiteX7" fmla="*/ 792162 w 1533525"/>
                <a:gd name="connsiteY7" fmla="*/ 511175 h 614362"/>
                <a:gd name="connsiteX8" fmla="*/ 783101 w 1533525"/>
                <a:gd name="connsiteY8" fmla="*/ 542925 h 614362"/>
                <a:gd name="connsiteX9" fmla="*/ 744072 w 1533525"/>
                <a:gd name="connsiteY9" fmla="*/ 542925 h 614362"/>
                <a:gd name="connsiteX10" fmla="*/ 735012 w 1533525"/>
                <a:gd name="connsiteY10" fmla="*/ 511175 h 614362"/>
                <a:gd name="connsiteX11" fmla="*/ 15650 w 1533525"/>
                <a:gd name="connsiteY11" fmla="*/ 511175 h 614362"/>
                <a:gd name="connsiteX12" fmla="*/ 280988 w 1533525"/>
                <a:gd name="connsiteY12" fmla="*/ 511175 h 614362"/>
                <a:gd name="connsiteX13" fmla="*/ 271740 w 1533525"/>
                <a:gd name="connsiteY13" fmla="*/ 542925 h 614362"/>
                <a:gd name="connsiteX14" fmla="*/ 15650 w 1533525"/>
                <a:gd name="connsiteY14" fmla="*/ 542925 h 614362"/>
                <a:gd name="connsiteX15" fmla="*/ 0 w 1533525"/>
                <a:gd name="connsiteY15" fmla="*/ 527050 h 614362"/>
                <a:gd name="connsiteX16" fmla="*/ 15650 w 1533525"/>
                <a:gd name="connsiteY16" fmla="*/ 511175 h 614362"/>
                <a:gd name="connsiteX17" fmla="*/ 947992 w 1533525"/>
                <a:gd name="connsiteY17" fmla="*/ 452437 h 614362"/>
                <a:gd name="connsiteX18" fmla="*/ 979312 w 1533525"/>
                <a:gd name="connsiteY18" fmla="*/ 469557 h 614362"/>
                <a:gd name="connsiteX19" fmla="*/ 997107 w 1533525"/>
                <a:gd name="connsiteY19" fmla="*/ 473837 h 614362"/>
                <a:gd name="connsiteX20" fmla="*/ 1019174 w 1533525"/>
                <a:gd name="connsiteY20" fmla="*/ 475264 h 614362"/>
                <a:gd name="connsiteX21" fmla="*/ 1041240 w 1533525"/>
                <a:gd name="connsiteY21" fmla="*/ 473837 h 614362"/>
                <a:gd name="connsiteX22" fmla="*/ 1059035 w 1533525"/>
                <a:gd name="connsiteY22" fmla="*/ 469557 h 614362"/>
                <a:gd name="connsiteX23" fmla="*/ 1091067 w 1533525"/>
                <a:gd name="connsiteY23" fmla="*/ 452437 h 614362"/>
                <a:gd name="connsiteX24" fmla="*/ 1185738 w 1533525"/>
                <a:gd name="connsiteY24" fmla="*/ 468844 h 614362"/>
                <a:gd name="connsiteX25" fmla="*/ 1195704 w 1533525"/>
                <a:gd name="connsiteY25" fmla="*/ 478117 h 614362"/>
                <a:gd name="connsiteX26" fmla="*/ 1204246 w 1533525"/>
                <a:gd name="connsiteY26" fmla="*/ 493097 h 614362"/>
                <a:gd name="connsiteX27" fmla="*/ 1211364 w 1533525"/>
                <a:gd name="connsiteY27" fmla="*/ 509503 h 614362"/>
                <a:gd name="connsiteX28" fmla="*/ 1211364 w 1533525"/>
                <a:gd name="connsiteY28" fmla="*/ 510930 h 614362"/>
                <a:gd name="connsiteX29" fmla="*/ 1222041 w 1533525"/>
                <a:gd name="connsiteY29" fmla="*/ 542316 h 614362"/>
                <a:gd name="connsiteX30" fmla="*/ 1239124 w 1533525"/>
                <a:gd name="connsiteY30" fmla="*/ 607229 h 614362"/>
                <a:gd name="connsiteX31" fmla="*/ 1233430 w 1533525"/>
                <a:gd name="connsiteY31" fmla="*/ 614362 h 614362"/>
                <a:gd name="connsiteX32" fmla="*/ 804918 w 1533525"/>
                <a:gd name="connsiteY32" fmla="*/ 614362 h 614362"/>
                <a:gd name="connsiteX33" fmla="*/ 799935 w 1533525"/>
                <a:gd name="connsiteY33" fmla="*/ 607229 h 614362"/>
                <a:gd name="connsiteX34" fmla="*/ 817018 w 1533525"/>
                <a:gd name="connsiteY34" fmla="*/ 542316 h 614362"/>
                <a:gd name="connsiteX35" fmla="*/ 826984 w 1533525"/>
                <a:gd name="connsiteY35" fmla="*/ 510930 h 614362"/>
                <a:gd name="connsiteX36" fmla="*/ 827696 w 1533525"/>
                <a:gd name="connsiteY36" fmla="*/ 509503 h 614362"/>
                <a:gd name="connsiteX37" fmla="*/ 834102 w 1533525"/>
                <a:gd name="connsiteY37" fmla="*/ 493097 h 614362"/>
                <a:gd name="connsiteX38" fmla="*/ 842644 w 1533525"/>
                <a:gd name="connsiteY38" fmla="*/ 478117 h 614362"/>
                <a:gd name="connsiteX39" fmla="*/ 853321 w 1533525"/>
                <a:gd name="connsiteY39" fmla="*/ 468844 h 614362"/>
                <a:gd name="connsiteX40" fmla="*/ 947992 w 1533525"/>
                <a:gd name="connsiteY40" fmla="*/ 452437 h 614362"/>
                <a:gd name="connsiteX41" fmla="*/ 436105 w 1533525"/>
                <a:gd name="connsiteY41" fmla="*/ 452437 h 614362"/>
                <a:gd name="connsiteX42" fmla="*/ 466713 w 1533525"/>
                <a:gd name="connsiteY42" fmla="*/ 468844 h 614362"/>
                <a:gd name="connsiteX43" fmla="*/ 485932 w 1533525"/>
                <a:gd name="connsiteY43" fmla="*/ 473837 h 614362"/>
                <a:gd name="connsiteX44" fmla="*/ 507998 w 1533525"/>
                <a:gd name="connsiteY44" fmla="*/ 475264 h 614362"/>
                <a:gd name="connsiteX45" fmla="*/ 530065 w 1533525"/>
                <a:gd name="connsiteY45" fmla="*/ 473837 h 614362"/>
                <a:gd name="connsiteX46" fmla="*/ 547860 w 1533525"/>
                <a:gd name="connsiteY46" fmla="*/ 469557 h 614362"/>
                <a:gd name="connsiteX47" fmla="*/ 579180 w 1533525"/>
                <a:gd name="connsiteY47" fmla="*/ 452437 h 614362"/>
                <a:gd name="connsiteX48" fmla="*/ 673851 w 1533525"/>
                <a:gd name="connsiteY48" fmla="*/ 468844 h 614362"/>
                <a:gd name="connsiteX49" fmla="*/ 684528 w 1533525"/>
                <a:gd name="connsiteY49" fmla="*/ 478117 h 614362"/>
                <a:gd name="connsiteX50" fmla="*/ 693070 w 1533525"/>
                <a:gd name="connsiteY50" fmla="*/ 493097 h 614362"/>
                <a:gd name="connsiteX51" fmla="*/ 699476 w 1533525"/>
                <a:gd name="connsiteY51" fmla="*/ 509503 h 614362"/>
                <a:gd name="connsiteX52" fmla="*/ 700188 w 1533525"/>
                <a:gd name="connsiteY52" fmla="*/ 510930 h 614362"/>
                <a:gd name="connsiteX53" fmla="*/ 710154 w 1533525"/>
                <a:gd name="connsiteY53" fmla="*/ 542316 h 614362"/>
                <a:gd name="connsiteX54" fmla="*/ 727237 w 1533525"/>
                <a:gd name="connsiteY54" fmla="*/ 607229 h 614362"/>
                <a:gd name="connsiteX55" fmla="*/ 722254 w 1533525"/>
                <a:gd name="connsiteY55" fmla="*/ 614362 h 614362"/>
                <a:gd name="connsiteX56" fmla="*/ 293742 w 1533525"/>
                <a:gd name="connsiteY56" fmla="*/ 614362 h 614362"/>
                <a:gd name="connsiteX57" fmla="*/ 288048 w 1533525"/>
                <a:gd name="connsiteY57" fmla="*/ 607229 h 614362"/>
                <a:gd name="connsiteX58" fmla="*/ 305131 w 1533525"/>
                <a:gd name="connsiteY58" fmla="*/ 542316 h 614362"/>
                <a:gd name="connsiteX59" fmla="*/ 315808 w 1533525"/>
                <a:gd name="connsiteY59" fmla="*/ 510930 h 614362"/>
                <a:gd name="connsiteX60" fmla="*/ 315808 w 1533525"/>
                <a:gd name="connsiteY60" fmla="*/ 509503 h 614362"/>
                <a:gd name="connsiteX61" fmla="*/ 321503 w 1533525"/>
                <a:gd name="connsiteY61" fmla="*/ 496663 h 614362"/>
                <a:gd name="connsiteX62" fmla="*/ 331468 w 1533525"/>
                <a:gd name="connsiteY62" fmla="*/ 478117 h 614362"/>
                <a:gd name="connsiteX63" fmla="*/ 341434 w 1533525"/>
                <a:gd name="connsiteY63" fmla="*/ 468844 h 614362"/>
                <a:gd name="connsiteX64" fmla="*/ 436105 w 1533525"/>
                <a:gd name="connsiteY64" fmla="*/ 452437 h 614362"/>
                <a:gd name="connsiteX65" fmla="*/ 764317 w 1533525"/>
                <a:gd name="connsiteY65" fmla="*/ 349250 h 614362"/>
                <a:gd name="connsiteX66" fmla="*/ 778175 w 1533525"/>
                <a:gd name="connsiteY66" fmla="*/ 350679 h 614362"/>
                <a:gd name="connsiteX67" fmla="*/ 788387 w 1533525"/>
                <a:gd name="connsiteY67" fmla="*/ 352822 h 614362"/>
                <a:gd name="connsiteX68" fmla="*/ 789845 w 1533525"/>
                <a:gd name="connsiteY68" fmla="*/ 355680 h 614362"/>
                <a:gd name="connsiteX69" fmla="*/ 773799 w 1533525"/>
                <a:gd name="connsiteY69" fmla="*/ 380683 h 614362"/>
                <a:gd name="connsiteX70" fmla="*/ 773799 w 1533525"/>
                <a:gd name="connsiteY70" fmla="*/ 382826 h 614362"/>
                <a:gd name="connsiteX71" fmla="*/ 789116 w 1533525"/>
                <a:gd name="connsiteY71" fmla="*/ 477838 h 614362"/>
                <a:gd name="connsiteX72" fmla="*/ 736600 w 1533525"/>
                <a:gd name="connsiteY72" fmla="*/ 477838 h 614362"/>
                <a:gd name="connsiteX73" fmla="*/ 753376 w 1533525"/>
                <a:gd name="connsiteY73" fmla="*/ 382826 h 614362"/>
                <a:gd name="connsiteX74" fmla="*/ 753376 w 1533525"/>
                <a:gd name="connsiteY74" fmla="*/ 380683 h 614362"/>
                <a:gd name="connsiteX75" fmla="*/ 737329 w 1533525"/>
                <a:gd name="connsiteY75" fmla="*/ 355680 h 614362"/>
                <a:gd name="connsiteX76" fmla="*/ 738788 w 1533525"/>
                <a:gd name="connsiteY76" fmla="*/ 352822 h 614362"/>
                <a:gd name="connsiteX77" fmla="*/ 749729 w 1533525"/>
                <a:gd name="connsiteY77" fmla="*/ 350679 h 614362"/>
                <a:gd name="connsiteX78" fmla="*/ 764317 w 1533525"/>
                <a:gd name="connsiteY78" fmla="*/ 349250 h 614362"/>
                <a:gd name="connsiteX79" fmla="*/ 1200963 w 1533525"/>
                <a:gd name="connsiteY79" fmla="*/ 334962 h 614362"/>
                <a:gd name="connsiteX80" fmla="*/ 1203105 w 1533525"/>
                <a:gd name="connsiteY80" fmla="*/ 337095 h 614362"/>
                <a:gd name="connsiteX81" fmla="*/ 1268787 w 1533525"/>
                <a:gd name="connsiteY81" fmla="*/ 409598 h 614362"/>
                <a:gd name="connsiteX82" fmla="*/ 1280210 w 1533525"/>
                <a:gd name="connsiteY82" fmla="*/ 409598 h 614362"/>
                <a:gd name="connsiteX83" fmla="*/ 1345893 w 1533525"/>
                <a:gd name="connsiteY83" fmla="*/ 337095 h 614362"/>
                <a:gd name="connsiteX84" fmla="*/ 1348034 w 1533525"/>
                <a:gd name="connsiteY84" fmla="*/ 334962 h 614362"/>
                <a:gd name="connsiteX85" fmla="*/ 1441561 w 1533525"/>
                <a:gd name="connsiteY85" fmla="*/ 351311 h 614362"/>
                <a:gd name="connsiteX86" fmla="*/ 1492250 w 1533525"/>
                <a:gd name="connsiteY86" fmla="*/ 477837 h 614362"/>
                <a:gd name="connsiteX87" fmla="*/ 1232376 w 1533525"/>
                <a:gd name="connsiteY87" fmla="*/ 477837 h 614362"/>
                <a:gd name="connsiteX88" fmla="*/ 1198821 w 1533525"/>
                <a:gd name="connsiteY88" fmla="*/ 440164 h 614362"/>
                <a:gd name="connsiteX89" fmla="*/ 1101725 w 1533525"/>
                <a:gd name="connsiteY89" fmla="*/ 421682 h 614362"/>
                <a:gd name="connsiteX90" fmla="*/ 1111720 w 1533525"/>
                <a:gd name="connsiteY90" fmla="*/ 409598 h 614362"/>
                <a:gd name="connsiteX91" fmla="*/ 1112434 w 1533525"/>
                <a:gd name="connsiteY91" fmla="*/ 408177 h 614362"/>
                <a:gd name="connsiteX92" fmla="*/ 1118859 w 1533525"/>
                <a:gd name="connsiteY92" fmla="*/ 394671 h 614362"/>
                <a:gd name="connsiteX93" fmla="*/ 1120287 w 1533525"/>
                <a:gd name="connsiteY93" fmla="*/ 390406 h 614362"/>
                <a:gd name="connsiteX94" fmla="*/ 1155271 w 1533525"/>
                <a:gd name="connsiteY94" fmla="*/ 338516 h 614362"/>
                <a:gd name="connsiteX95" fmla="*/ 1200963 w 1533525"/>
                <a:gd name="connsiteY95" fmla="*/ 334962 h 614362"/>
                <a:gd name="connsiteX96" fmla="*/ 837524 w 1533525"/>
                <a:gd name="connsiteY96" fmla="*/ 334962 h 614362"/>
                <a:gd name="connsiteX97" fmla="*/ 883153 w 1533525"/>
                <a:gd name="connsiteY97" fmla="*/ 338545 h 614362"/>
                <a:gd name="connsiteX98" fmla="*/ 917375 w 1533525"/>
                <a:gd name="connsiteY98" fmla="*/ 389427 h 614362"/>
                <a:gd name="connsiteX99" fmla="*/ 919514 w 1533525"/>
                <a:gd name="connsiteY99" fmla="*/ 395160 h 614362"/>
                <a:gd name="connsiteX100" fmla="*/ 928069 w 1533525"/>
                <a:gd name="connsiteY100" fmla="*/ 412360 h 614362"/>
                <a:gd name="connsiteX101" fmla="*/ 936625 w 1533525"/>
                <a:gd name="connsiteY101" fmla="*/ 422393 h 614362"/>
                <a:gd name="connsiteX102" fmla="*/ 839663 w 1533525"/>
                <a:gd name="connsiteY102" fmla="*/ 441026 h 614362"/>
                <a:gd name="connsiteX103" fmla="*/ 817562 w 1533525"/>
                <a:gd name="connsiteY103" fmla="*/ 460375 h 614362"/>
                <a:gd name="connsiteX104" fmla="*/ 835386 w 1533525"/>
                <a:gd name="connsiteY104" fmla="*/ 337112 h 614362"/>
                <a:gd name="connsiteX105" fmla="*/ 837524 w 1533525"/>
                <a:gd name="connsiteY105" fmla="*/ 334962 h 614362"/>
                <a:gd name="connsiteX106" fmla="*/ 689650 w 1533525"/>
                <a:gd name="connsiteY106" fmla="*/ 334962 h 614362"/>
                <a:gd name="connsiteX107" fmla="*/ 691789 w 1533525"/>
                <a:gd name="connsiteY107" fmla="*/ 337112 h 614362"/>
                <a:gd name="connsiteX108" fmla="*/ 709613 w 1533525"/>
                <a:gd name="connsiteY108" fmla="*/ 460375 h 614362"/>
                <a:gd name="connsiteX109" fmla="*/ 687511 w 1533525"/>
                <a:gd name="connsiteY109" fmla="*/ 441026 h 614362"/>
                <a:gd name="connsiteX110" fmla="*/ 590550 w 1533525"/>
                <a:gd name="connsiteY110" fmla="*/ 422393 h 614362"/>
                <a:gd name="connsiteX111" fmla="*/ 600531 w 1533525"/>
                <a:gd name="connsiteY111" fmla="*/ 410210 h 614362"/>
                <a:gd name="connsiteX112" fmla="*/ 601244 w 1533525"/>
                <a:gd name="connsiteY112" fmla="*/ 408777 h 614362"/>
                <a:gd name="connsiteX113" fmla="*/ 607661 w 1533525"/>
                <a:gd name="connsiteY113" fmla="*/ 395160 h 614362"/>
                <a:gd name="connsiteX114" fmla="*/ 609087 w 1533525"/>
                <a:gd name="connsiteY114" fmla="*/ 390860 h 614362"/>
                <a:gd name="connsiteX115" fmla="*/ 644021 w 1533525"/>
                <a:gd name="connsiteY115" fmla="*/ 338545 h 614362"/>
                <a:gd name="connsiteX116" fmla="*/ 689650 w 1533525"/>
                <a:gd name="connsiteY116" fmla="*/ 334962 h 614362"/>
                <a:gd name="connsiteX117" fmla="*/ 180120 w 1533525"/>
                <a:gd name="connsiteY117" fmla="*/ 334962 h 614362"/>
                <a:gd name="connsiteX118" fmla="*/ 252360 w 1533525"/>
                <a:gd name="connsiteY118" fmla="*/ 369082 h 614362"/>
                <a:gd name="connsiteX119" fmla="*/ 323885 w 1533525"/>
                <a:gd name="connsiteY119" fmla="*/ 334962 h 614362"/>
                <a:gd name="connsiteX120" fmla="*/ 371806 w 1533525"/>
                <a:gd name="connsiteY120" fmla="*/ 338516 h 614362"/>
                <a:gd name="connsiteX121" fmla="*/ 406138 w 1533525"/>
                <a:gd name="connsiteY121" fmla="*/ 388985 h 614362"/>
                <a:gd name="connsiteX122" fmla="*/ 408284 w 1533525"/>
                <a:gd name="connsiteY122" fmla="*/ 394671 h 614362"/>
                <a:gd name="connsiteX123" fmla="*/ 416867 w 1533525"/>
                <a:gd name="connsiteY123" fmla="*/ 411731 h 614362"/>
                <a:gd name="connsiteX124" fmla="*/ 425450 w 1533525"/>
                <a:gd name="connsiteY124" fmla="*/ 421682 h 614362"/>
                <a:gd name="connsiteX125" fmla="*/ 328176 w 1533525"/>
                <a:gd name="connsiteY125" fmla="*/ 440164 h 614362"/>
                <a:gd name="connsiteX126" fmla="*/ 294560 w 1533525"/>
                <a:gd name="connsiteY126" fmla="*/ 477837 h 614362"/>
                <a:gd name="connsiteX127" fmla="*/ 34925 w 1533525"/>
                <a:gd name="connsiteY127" fmla="*/ 477837 h 614362"/>
                <a:gd name="connsiteX128" fmla="*/ 84992 w 1533525"/>
                <a:gd name="connsiteY128" fmla="*/ 351311 h 614362"/>
                <a:gd name="connsiteX129" fmla="*/ 180120 w 1533525"/>
                <a:gd name="connsiteY129" fmla="*/ 334962 h 614362"/>
                <a:gd name="connsiteX130" fmla="*/ 1381410 w 1533525"/>
                <a:gd name="connsiteY130" fmla="*/ 215900 h 614362"/>
                <a:gd name="connsiteX131" fmla="*/ 1414463 w 1533525"/>
                <a:gd name="connsiteY131" fmla="*/ 298275 h 614362"/>
                <a:gd name="connsiteX132" fmla="*/ 1376380 w 1533525"/>
                <a:gd name="connsiteY132" fmla="*/ 320675 h 614362"/>
                <a:gd name="connsiteX133" fmla="*/ 1349074 w 1533525"/>
                <a:gd name="connsiteY133" fmla="*/ 319230 h 614362"/>
                <a:gd name="connsiteX134" fmla="*/ 1346200 w 1533525"/>
                <a:gd name="connsiteY134" fmla="*/ 317785 h 614362"/>
                <a:gd name="connsiteX135" fmla="*/ 1346200 w 1533525"/>
                <a:gd name="connsiteY135" fmla="*/ 293939 h 614362"/>
                <a:gd name="connsiteX136" fmla="*/ 1381410 w 1533525"/>
                <a:gd name="connsiteY136" fmla="*/ 215900 h 614362"/>
                <a:gd name="connsiteX137" fmla="*/ 1167890 w 1533525"/>
                <a:gd name="connsiteY137" fmla="*/ 215900 h 614362"/>
                <a:gd name="connsiteX138" fmla="*/ 1203325 w 1533525"/>
                <a:gd name="connsiteY138" fmla="*/ 293939 h 614362"/>
                <a:gd name="connsiteX139" fmla="*/ 1203325 w 1533525"/>
                <a:gd name="connsiteY139" fmla="*/ 317785 h 614362"/>
                <a:gd name="connsiteX140" fmla="*/ 1200490 w 1533525"/>
                <a:gd name="connsiteY140" fmla="*/ 319230 h 614362"/>
                <a:gd name="connsiteX141" fmla="*/ 1173559 w 1533525"/>
                <a:gd name="connsiteY141" fmla="*/ 320675 h 614362"/>
                <a:gd name="connsiteX142" fmla="*/ 1163637 w 1533525"/>
                <a:gd name="connsiteY142" fmla="*/ 317785 h 614362"/>
                <a:gd name="connsiteX143" fmla="*/ 1171433 w 1533525"/>
                <a:gd name="connsiteY143" fmla="*/ 278765 h 614362"/>
                <a:gd name="connsiteX144" fmla="*/ 1165055 w 1533525"/>
                <a:gd name="connsiteY144" fmla="*/ 233242 h 614362"/>
                <a:gd name="connsiteX145" fmla="*/ 1167890 w 1533525"/>
                <a:gd name="connsiteY145" fmla="*/ 215900 h 614362"/>
                <a:gd name="connsiteX146" fmla="*/ 1019174 w 1533525"/>
                <a:gd name="connsiteY146" fmla="*/ 155575 h 614362"/>
                <a:gd name="connsiteX147" fmla="*/ 1139824 w 1533525"/>
                <a:gd name="connsiteY147" fmla="*/ 278763 h 614362"/>
                <a:gd name="connsiteX148" fmla="*/ 1136969 w 1533525"/>
                <a:gd name="connsiteY148" fmla="*/ 297989 h 614362"/>
                <a:gd name="connsiteX149" fmla="*/ 1136255 w 1533525"/>
                <a:gd name="connsiteY149" fmla="*/ 299413 h 614362"/>
                <a:gd name="connsiteX150" fmla="*/ 1130543 w 1533525"/>
                <a:gd name="connsiteY150" fmla="*/ 317215 h 614362"/>
                <a:gd name="connsiteX151" fmla="*/ 1130543 w 1533525"/>
                <a:gd name="connsiteY151" fmla="*/ 317927 h 614362"/>
                <a:gd name="connsiteX152" fmla="*/ 1126260 w 1533525"/>
                <a:gd name="connsiteY152" fmla="*/ 327184 h 614362"/>
                <a:gd name="connsiteX153" fmla="*/ 1114124 w 1533525"/>
                <a:gd name="connsiteY153" fmla="*/ 348546 h 614362"/>
                <a:gd name="connsiteX154" fmla="*/ 1094134 w 1533525"/>
                <a:gd name="connsiteY154" fmla="*/ 372045 h 614362"/>
                <a:gd name="connsiteX155" fmla="*/ 1084854 w 1533525"/>
                <a:gd name="connsiteY155" fmla="*/ 394119 h 614362"/>
                <a:gd name="connsiteX156" fmla="*/ 1079142 w 1533525"/>
                <a:gd name="connsiteY156" fmla="*/ 400527 h 614362"/>
                <a:gd name="connsiteX157" fmla="*/ 1058439 w 1533525"/>
                <a:gd name="connsiteY157" fmla="*/ 414057 h 614362"/>
                <a:gd name="connsiteX158" fmla="*/ 1019174 w 1533525"/>
                <a:gd name="connsiteY158" fmla="*/ 425450 h 614362"/>
                <a:gd name="connsiteX159" fmla="*/ 979909 w 1533525"/>
                <a:gd name="connsiteY159" fmla="*/ 413345 h 614362"/>
                <a:gd name="connsiteX160" fmla="*/ 959206 w 1533525"/>
                <a:gd name="connsiteY160" fmla="*/ 399815 h 614362"/>
                <a:gd name="connsiteX161" fmla="*/ 953495 w 1533525"/>
                <a:gd name="connsiteY161" fmla="*/ 394119 h 614362"/>
                <a:gd name="connsiteX162" fmla="*/ 944214 w 1533525"/>
                <a:gd name="connsiteY162" fmla="*/ 372045 h 614362"/>
                <a:gd name="connsiteX163" fmla="*/ 924939 w 1533525"/>
                <a:gd name="connsiteY163" fmla="*/ 348546 h 614362"/>
                <a:gd name="connsiteX164" fmla="*/ 912088 w 1533525"/>
                <a:gd name="connsiteY164" fmla="*/ 327184 h 614362"/>
                <a:gd name="connsiteX165" fmla="*/ 907091 w 1533525"/>
                <a:gd name="connsiteY165" fmla="*/ 315079 h 614362"/>
                <a:gd name="connsiteX166" fmla="*/ 907091 w 1533525"/>
                <a:gd name="connsiteY166" fmla="*/ 313655 h 614362"/>
                <a:gd name="connsiteX167" fmla="*/ 898524 w 1533525"/>
                <a:gd name="connsiteY167" fmla="*/ 278763 h 614362"/>
                <a:gd name="connsiteX168" fmla="*/ 1019174 w 1533525"/>
                <a:gd name="connsiteY168" fmla="*/ 155575 h 614362"/>
                <a:gd name="connsiteX169" fmla="*/ 507999 w 1533525"/>
                <a:gd name="connsiteY169" fmla="*/ 155575 h 614362"/>
                <a:gd name="connsiteX170" fmla="*/ 628649 w 1533525"/>
                <a:gd name="connsiteY170" fmla="*/ 278763 h 614362"/>
                <a:gd name="connsiteX171" fmla="*/ 619368 w 1533525"/>
                <a:gd name="connsiteY171" fmla="*/ 317215 h 614362"/>
                <a:gd name="connsiteX172" fmla="*/ 619368 w 1533525"/>
                <a:gd name="connsiteY172" fmla="*/ 317927 h 614362"/>
                <a:gd name="connsiteX173" fmla="*/ 615085 w 1533525"/>
                <a:gd name="connsiteY173" fmla="*/ 327184 h 614362"/>
                <a:gd name="connsiteX174" fmla="*/ 602948 w 1533525"/>
                <a:gd name="connsiteY174" fmla="*/ 348546 h 614362"/>
                <a:gd name="connsiteX175" fmla="*/ 582959 w 1533525"/>
                <a:gd name="connsiteY175" fmla="*/ 372045 h 614362"/>
                <a:gd name="connsiteX176" fmla="*/ 573678 w 1533525"/>
                <a:gd name="connsiteY176" fmla="*/ 394119 h 614362"/>
                <a:gd name="connsiteX177" fmla="*/ 567253 w 1533525"/>
                <a:gd name="connsiteY177" fmla="*/ 400527 h 614362"/>
                <a:gd name="connsiteX178" fmla="*/ 547264 w 1533525"/>
                <a:gd name="connsiteY178" fmla="*/ 414057 h 614362"/>
                <a:gd name="connsiteX179" fmla="*/ 507999 w 1533525"/>
                <a:gd name="connsiteY179" fmla="*/ 425450 h 614362"/>
                <a:gd name="connsiteX180" fmla="*/ 468020 w 1533525"/>
                <a:gd name="connsiteY180" fmla="*/ 413345 h 614362"/>
                <a:gd name="connsiteX181" fmla="*/ 447317 w 1533525"/>
                <a:gd name="connsiteY181" fmla="*/ 399815 h 614362"/>
                <a:gd name="connsiteX182" fmla="*/ 442319 w 1533525"/>
                <a:gd name="connsiteY182" fmla="*/ 394119 h 614362"/>
                <a:gd name="connsiteX183" fmla="*/ 433039 w 1533525"/>
                <a:gd name="connsiteY183" fmla="*/ 372045 h 614362"/>
                <a:gd name="connsiteX184" fmla="*/ 413763 w 1533525"/>
                <a:gd name="connsiteY184" fmla="*/ 348546 h 614362"/>
                <a:gd name="connsiteX185" fmla="*/ 400913 w 1533525"/>
                <a:gd name="connsiteY185" fmla="*/ 327184 h 614362"/>
                <a:gd name="connsiteX186" fmla="*/ 395916 w 1533525"/>
                <a:gd name="connsiteY186" fmla="*/ 315079 h 614362"/>
                <a:gd name="connsiteX187" fmla="*/ 395202 w 1533525"/>
                <a:gd name="connsiteY187" fmla="*/ 313655 h 614362"/>
                <a:gd name="connsiteX188" fmla="*/ 387349 w 1533525"/>
                <a:gd name="connsiteY188" fmla="*/ 278763 h 614362"/>
                <a:gd name="connsiteX189" fmla="*/ 507999 w 1533525"/>
                <a:gd name="connsiteY189" fmla="*/ 155575 h 614362"/>
                <a:gd name="connsiteX190" fmla="*/ 1275200 w 1533525"/>
                <a:gd name="connsiteY190" fmla="*/ 0 h 614362"/>
                <a:gd name="connsiteX191" fmla="*/ 1397875 w 1533525"/>
                <a:gd name="connsiteY191" fmla="*/ 124537 h 614362"/>
                <a:gd name="connsiteX192" fmla="*/ 1393596 w 1533525"/>
                <a:gd name="connsiteY192" fmla="*/ 166524 h 614362"/>
                <a:gd name="connsiteX193" fmla="*/ 1393596 w 1533525"/>
                <a:gd name="connsiteY193" fmla="*/ 165812 h 614362"/>
                <a:gd name="connsiteX194" fmla="*/ 1380044 w 1533525"/>
                <a:gd name="connsiteY194" fmla="*/ 185026 h 614362"/>
                <a:gd name="connsiteX195" fmla="*/ 1378618 w 1533525"/>
                <a:gd name="connsiteY195" fmla="*/ 185738 h 614362"/>
                <a:gd name="connsiteX196" fmla="*/ 1370772 w 1533525"/>
                <a:gd name="connsiteY196" fmla="*/ 185738 h 614362"/>
                <a:gd name="connsiteX197" fmla="*/ 1370059 w 1533525"/>
                <a:gd name="connsiteY197" fmla="*/ 185026 h 614362"/>
                <a:gd name="connsiteX198" fmla="*/ 1208870 w 1533525"/>
                <a:gd name="connsiteY198" fmla="*/ 100341 h 614362"/>
                <a:gd name="connsiteX199" fmla="*/ 1207444 w 1533525"/>
                <a:gd name="connsiteY199" fmla="*/ 99630 h 614362"/>
                <a:gd name="connsiteX200" fmla="*/ 1159658 w 1533525"/>
                <a:gd name="connsiteY200" fmla="*/ 175064 h 614362"/>
                <a:gd name="connsiteX201" fmla="*/ 1152525 w 1533525"/>
                <a:gd name="connsiteY201" fmla="*/ 124537 h 614362"/>
                <a:gd name="connsiteX202" fmla="*/ 1275200 w 1533525"/>
                <a:gd name="connsiteY202" fmla="*/ 0 h 614362"/>
                <a:gd name="connsiteX203" fmla="*/ 763587 w 1533525"/>
                <a:gd name="connsiteY203" fmla="*/ 0 h 614362"/>
                <a:gd name="connsiteX204" fmla="*/ 884237 w 1533525"/>
                <a:gd name="connsiteY204" fmla="*/ 123004 h 614362"/>
                <a:gd name="connsiteX205" fmla="*/ 879953 w 1533525"/>
                <a:gd name="connsiteY205" fmla="*/ 164953 h 614362"/>
                <a:gd name="connsiteX206" fmla="*/ 866389 w 1533525"/>
                <a:gd name="connsiteY206" fmla="*/ 184150 h 614362"/>
                <a:gd name="connsiteX207" fmla="*/ 857108 w 1533525"/>
                <a:gd name="connsiteY207" fmla="*/ 184150 h 614362"/>
                <a:gd name="connsiteX208" fmla="*/ 856394 w 1533525"/>
                <a:gd name="connsiteY208" fmla="*/ 93142 h 614362"/>
                <a:gd name="connsiteX209" fmla="*/ 697194 w 1533525"/>
                <a:gd name="connsiteY209" fmla="*/ 98830 h 614362"/>
                <a:gd name="connsiteX210" fmla="*/ 667923 w 1533525"/>
                <a:gd name="connsiteY210" fmla="*/ 182017 h 614362"/>
                <a:gd name="connsiteX211" fmla="*/ 660070 w 1533525"/>
                <a:gd name="connsiteY211" fmla="*/ 181306 h 614362"/>
                <a:gd name="connsiteX212" fmla="*/ 647934 w 1533525"/>
                <a:gd name="connsiteY212" fmla="*/ 166375 h 614362"/>
                <a:gd name="connsiteX213" fmla="*/ 642937 w 1533525"/>
                <a:gd name="connsiteY213" fmla="*/ 123004 h 614362"/>
                <a:gd name="connsiteX214" fmla="*/ 763587 w 1533525"/>
                <a:gd name="connsiteY214" fmla="*/ 0 h 614362"/>
                <a:gd name="connsiteX215" fmla="*/ 252412 w 1533525"/>
                <a:gd name="connsiteY215" fmla="*/ 0 h 614362"/>
                <a:gd name="connsiteX216" fmla="*/ 373062 w 1533525"/>
                <a:gd name="connsiteY216" fmla="*/ 123004 h 614362"/>
                <a:gd name="connsiteX217" fmla="*/ 368778 w 1533525"/>
                <a:gd name="connsiteY217" fmla="*/ 164953 h 614362"/>
                <a:gd name="connsiteX218" fmla="*/ 368064 w 1533525"/>
                <a:gd name="connsiteY218" fmla="*/ 164953 h 614362"/>
                <a:gd name="connsiteX219" fmla="*/ 354500 w 1533525"/>
                <a:gd name="connsiteY219" fmla="*/ 184150 h 614362"/>
                <a:gd name="connsiteX220" fmla="*/ 345933 w 1533525"/>
                <a:gd name="connsiteY220" fmla="*/ 184150 h 614362"/>
                <a:gd name="connsiteX221" fmla="*/ 344506 w 1533525"/>
                <a:gd name="connsiteY221" fmla="*/ 93142 h 614362"/>
                <a:gd name="connsiteX222" fmla="*/ 186019 w 1533525"/>
                <a:gd name="connsiteY222" fmla="*/ 98830 h 614362"/>
                <a:gd name="connsiteX223" fmla="*/ 156748 w 1533525"/>
                <a:gd name="connsiteY223" fmla="*/ 182017 h 614362"/>
                <a:gd name="connsiteX224" fmla="*/ 148182 w 1533525"/>
                <a:gd name="connsiteY224" fmla="*/ 181306 h 614362"/>
                <a:gd name="connsiteX225" fmla="*/ 136759 w 1533525"/>
                <a:gd name="connsiteY225" fmla="*/ 166375 h 614362"/>
                <a:gd name="connsiteX226" fmla="*/ 131762 w 1533525"/>
                <a:gd name="connsiteY226" fmla="*/ 123004 h 614362"/>
                <a:gd name="connsiteX227" fmla="*/ 252412 w 1533525"/>
                <a:gd name="connsiteY227" fmla="*/ 0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533525" h="614362">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947992" y="452437"/>
                  </a:moveTo>
                  <a:cubicBezTo>
                    <a:pt x="947992" y="452437"/>
                    <a:pt x="958670" y="462424"/>
                    <a:pt x="979312" y="469557"/>
                  </a:cubicBezTo>
                  <a:cubicBezTo>
                    <a:pt x="984295" y="470984"/>
                    <a:pt x="990701" y="472410"/>
                    <a:pt x="997107" y="473837"/>
                  </a:cubicBezTo>
                  <a:cubicBezTo>
                    <a:pt x="1004226" y="474550"/>
                    <a:pt x="1011344" y="475264"/>
                    <a:pt x="1019174" y="475264"/>
                  </a:cubicBezTo>
                  <a:cubicBezTo>
                    <a:pt x="1027004" y="475264"/>
                    <a:pt x="1034834" y="474550"/>
                    <a:pt x="1041240" y="473837"/>
                  </a:cubicBezTo>
                  <a:cubicBezTo>
                    <a:pt x="1047646" y="472410"/>
                    <a:pt x="1054053" y="470984"/>
                    <a:pt x="1059035" y="469557"/>
                  </a:cubicBezTo>
                  <a:cubicBezTo>
                    <a:pt x="1080390" y="462424"/>
                    <a:pt x="1091067" y="452437"/>
                    <a:pt x="1091067" y="452437"/>
                  </a:cubicBezTo>
                  <a:cubicBezTo>
                    <a:pt x="1091067" y="452437"/>
                    <a:pt x="1152283" y="453150"/>
                    <a:pt x="1185738" y="468844"/>
                  </a:cubicBezTo>
                  <a:cubicBezTo>
                    <a:pt x="1189297" y="470270"/>
                    <a:pt x="1192145" y="473837"/>
                    <a:pt x="1195704" y="478117"/>
                  </a:cubicBezTo>
                  <a:cubicBezTo>
                    <a:pt x="1198551" y="482397"/>
                    <a:pt x="1201398" y="487390"/>
                    <a:pt x="1204246" y="493097"/>
                  </a:cubicBezTo>
                  <a:cubicBezTo>
                    <a:pt x="1206381" y="498090"/>
                    <a:pt x="1209228" y="503797"/>
                    <a:pt x="1211364" y="509503"/>
                  </a:cubicBezTo>
                  <a:cubicBezTo>
                    <a:pt x="1211364" y="510217"/>
                    <a:pt x="1211364" y="510930"/>
                    <a:pt x="1211364" y="510930"/>
                  </a:cubicBezTo>
                  <a:cubicBezTo>
                    <a:pt x="1215635" y="520916"/>
                    <a:pt x="1218482" y="531616"/>
                    <a:pt x="1222041" y="542316"/>
                  </a:cubicBezTo>
                  <a:cubicBezTo>
                    <a:pt x="1229871" y="570849"/>
                    <a:pt x="1235565" y="598669"/>
                    <a:pt x="1239124" y="607229"/>
                  </a:cubicBezTo>
                  <a:cubicBezTo>
                    <a:pt x="1239836" y="610796"/>
                    <a:pt x="1237701" y="614362"/>
                    <a:pt x="1233430" y="614362"/>
                  </a:cubicBezTo>
                  <a:cubicBezTo>
                    <a:pt x="1233430" y="614362"/>
                    <a:pt x="1233430" y="614362"/>
                    <a:pt x="804918" y="614362"/>
                  </a:cubicBezTo>
                  <a:cubicBezTo>
                    <a:pt x="801359" y="614362"/>
                    <a:pt x="798511" y="610796"/>
                    <a:pt x="799935" y="607229"/>
                  </a:cubicBezTo>
                  <a:cubicBezTo>
                    <a:pt x="802782" y="598669"/>
                    <a:pt x="808477" y="570849"/>
                    <a:pt x="817018" y="542316"/>
                  </a:cubicBezTo>
                  <a:cubicBezTo>
                    <a:pt x="819866" y="531616"/>
                    <a:pt x="823425" y="520916"/>
                    <a:pt x="826984" y="510930"/>
                  </a:cubicBezTo>
                  <a:cubicBezTo>
                    <a:pt x="826984" y="510930"/>
                    <a:pt x="826984" y="510217"/>
                    <a:pt x="827696" y="509503"/>
                  </a:cubicBezTo>
                  <a:cubicBezTo>
                    <a:pt x="829831" y="503797"/>
                    <a:pt x="831967" y="498090"/>
                    <a:pt x="834102" y="493097"/>
                  </a:cubicBezTo>
                  <a:cubicBezTo>
                    <a:pt x="836949" y="487390"/>
                    <a:pt x="839796" y="482397"/>
                    <a:pt x="842644" y="478117"/>
                  </a:cubicBezTo>
                  <a:cubicBezTo>
                    <a:pt x="846203" y="473837"/>
                    <a:pt x="849762" y="470270"/>
                    <a:pt x="853321" y="468844"/>
                  </a:cubicBezTo>
                  <a:cubicBezTo>
                    <a:pt x="886064" y="453150"/>
                    <a:pt x="947992" y="452437"/>
                    <a:pt x="947992" y="452437"/>
                  </a:cubicBezTo>
                  <a:close/>
                  <a:moveTo>
                    <a:pt x="436105" y="452437"/>
                  </a:moveTo>
                  <a:cubicBezTo>
                    <a:pt x="436105" y="452437"/>
                    <a:pt x="446782" y="462424"/>
                    <a:pt x="466713" y="468844"/>
                  </a:cubicBezTo>
                  <a:cubicBezTo>
                    <a:pt x="472408" y="470984"/>
                    <a:pt x="478814" y="472410"/>
                    <a:pt x="485932" y="473837"/>
                  </a:cubicBezTo>
                  <a:cubicBezTo>
                    <a:pt x="492338" y="474550"/>
                    <a:pt x="500168" y="475264"/>
                    <a:pt x="507998" y="475264"/>
                  </a:cubicBezTo>
                  <a:cubicBezTo>
                    <a:pt x="515828" y="475264"/>
                    <a:pt x="522946" y="474550"/>
                    <a:pt x="530065" y="473837"/>
                  </a:cubicBezTo>
                  <a:cubicBezTo>
                    <a:pt x="536471" y="472410"/>
                    <a:pt x="542877" y="470984"/>
                    <a:pt x="547860" y="469557"/>
                  </a:cubicBezTo>
                  <a:cubicBezTo>
                    <a:pt x="568502" y="462424"/>
                    <a:pt x="579180" y="452437"/>
                    <a:pt x="579180" y="452437"/>
                  </a:cubicBezTo>
                  <a:cubicBezTo>
                    <a:pt x="579180" y="452437"/>
                    <a:pt x="641108" y="453150"/>
                    <a:pt x="673851" y="468844"/>
                  </a:cubicBezTo>
                  <a:cubicBezTo>
                    <a:pt x="677410" y="470270"/>
                    <a:pt x="680969" y="473837"/>
                    <a:pt x="684528" y="478117"/>
                  </a:cubicBezTo>
                  <a:cubicBezTo>
                    <a:pt x="687376" y="482397"/>
                    <a:pt x="690223" y="487390"/>
                    <a:pt x="693070" y="493097"/>
                  </a:cubicBezTo>
                  <a:cubicBezTo>
                    <a:pt x="695205" y="498090"/>
                    <a:pt x="697341" y="503797"/>
                    <a:pt x="699476" y="509503"/>
                  </a:cubicBezTo>
                  <a:cubicBezTo>
                    <a:pt x="700188" y="510217"/>
                    <a:pt x="700188" y="510930"/>
                    <a:pt x="700188" y="510930"/>
                  </a:cubicBezTo>
                  <a:cubicBezTo>
                    <a:pt x="703747" y="520916"/>
                    <a:pt x="707306" y="531616"/>
                    <a:pt x="710154" y="542316"/>
                  </a:cubicBezTo>
                  <a:cubicBezTo>
                    <a:pt x="718695" y="570849"/>
                    <a:pt x="724390" y="598669"/>
                    <a:pt x="727237" y="607229"/>
                  </a:cubicBezTo>
                  <a:cubicBezTo>
                    <a:pt x="728661" y="610796"/>
                    <a:pt x="725814" y="614362"/>
                    <a:pt x="722254" y="614362"/>
                  </a:cubicBezTo>
                  <a:cubicBezTo>
                    <a:pt x="722254" y="614362"/>
                    <a:pt x="722254" y="614362"/>
                    <a:pt x="293742" y="614362"/>
                  </a:cubicBezTo>
                  <a:cubicBezTo>
                    <a:pt x="289471" y="614362"/>
                    <a:pt x="287336" y="610796"/>
                    <a:pt x="288048" y="607229"/>
                  </a:cubicBezTo>
                  <a:cubicBezTo>
                    <a:pt x="291607" y="598669"/>
                    <a:pt x="297301" y="570849"/>
                    <a:pt x="305131" y="542316"/>
                  </a:cubicBezTo>
                  <a:cubicBezTo>
                    <a:pt x="308690" y="531616"/>
                    <a:pt x="311537" y="520916"/>
                    <a:pt x="315808" y="510930"/>
                  </a:cubicBezTo>
                  <a:cubicBezTo>
                    <a:pt x="315808" y="510930"/>
                    <a:pt x="315808" y="510217"/>
                    <a:pt x="315808" y="509503"/>
                  </a:cubicBezTo>
                  <a:cubicBezTo>
                    <a:pt x="317944" y="505223"/>
                    <a:pt x="319367" y="500943"/>
                    <a:pt x="321503" y="496663"/>
                  </a:cubicBezTo>
                  <a:cubicBezTo>
                    <a:pt x="324350" y="489530"/>
                    <a:pt x="327909" y="483110"/>
                    <a:pt x="331468" y="478117"/>
                  </a:cubicBezTo>
                  <a:cubicBezTo>
                    <a:pt x="335027" y="473837"/>
                    <a:pt x="337875" y="470270"/>
                    <a:pt x="341434" y="468844"/>
                  </a:cubicBezTo>
                  <a:cubicBezTo>
                    <a:pt x="374889" y="453150"/>
                    <a:pt x="436105" y="452437"/>
                    <a:pt x="436105" y="452437"/>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019174" y="155575"/>
                  </a:moveTo>
                  <a:cubicBezTo>
                    <a:pt x="1087709" y="155575"/>
                    <a:pt x="1139824" y="211116"/>
                    <a:pt x="1139824" y="278763"/>
                  </a:cubicBezTo>
                  <a:cubicBezTo>
                    <a:pt x="1139824" y="285172"/>
                    <a:pt x="1138396" y="291580"/>
                    <a:pt x="1136969" y="297989"/>
                  </a:cubicBezTo>
                  <a:cubicBezTo>
                    <a:pt x="1136969" y="298701"/>
                    <a:pt x="1136255" y="298701"/>
                    <a:pt x="1136255" y="299413"/>
                  </a:cubicBezTo>
                  <a:cubicBezTo>
                    <a:pt x="1134827" y="305822"/>
                    <a:pt x="1132685" y="311518"/>
                    <a:pt x="1130543" y="317215"/>
                  </a:cubicBezTo>
                  <a:cubicBezTo>
                    <a:pt x="1130543" y="317215"/>
                    <a:pt x="1130543" y="317215"/>
                    <a:pt x="1130543" y="317927"/>
                  </a:cubicBezTo>
                  <a:cubicBezTo>
                    <a:pt x="1130543" y="319351"/>
                    <a:pt x="1129116" y="322912"/>
                    <a:pt x="1126260" y="327184"/>
                  </a:cubicBezTo>
                  <a:cubicBezTo>
                    <a:pt x="1123404" y="333593"/>
                    <a:pt x="1119121" y="341425"/>
                    <a:pt x="1114124" y="348546"/>
                  </a:cubicBezTo>
                  <a:cubicBezTo>
                    <a:pt x="1107699" y="358515"/>
                    <a:pt x="1099846" y="367772"/>
                    <a:pt x="1094134" y="372045"/>
                  </a:cubicBezTo>
                  <a:cubicBezTo>
                    <a:pt x="1086995" y="390558"/>
                    <a:pt x="1091279" y="383438"/>
                    <a:pt x="1084854" y="394119"/>
                  </a:cubicBezTo>
                  <a:cubicBezTo>
                    <a:pt x="1083426" y="396255"/>
                    <a:pt x="1081284" y="398391"/>
                    <a:pt x="1079142" y="400527"/>
                  </a:cubicBezTo>
                  <a:cubicBezTo>
                    <a:pt x="1074145" y="404800"/>
                    <a:pt x="1067006" y="409784"/>
                    <a:pt x="1058439" y="414057"/>
                  </a:cubicBezTo>
                  <a:cubicBezTo>
                    <a:pt x="1045589" y="420465"/>
                    <a:pt x="1030597" y="425450"/>
                    <a:pt x="1019174" y="425450"/>
                  </a:cubicBezTo>
                  <a:cubicBezTo>
                    <a:pt x="1007752" y="425450"/>
                    <a:pt x="992760" y="419753"/>
                    <a:pt x="979909" y="413345"/>
                  </a:cubicBezTo>
                  <a:cubicBezTo>
                    <a:pt x="971343" y="409072"/>
                    <a:pt x="964204" y="404088"/>
                    <a:pt x="959206" y="399815"/>
                  </a:cubicBezTo>
                  <a:cubicBezTo>
                    <a:pt x="957064" y="397679"/>
                    <a:pt x="954923" y="395543"/>
                    <a:pt x="953495" y="394119"/>
                  </a:cubicBezTo>
                  <a:cubicBezTo>
                    <a:pt x="947784" y="385574"/>
                    <a:pt x="951353" y="390558"/>
                    <a:pt x="944214" y="372045"/>
                  </a:cubicBezTo>
                  <a:cubicBezTo>
                    <a:pt x="939931" y="369196"/>
                    <a:pt x="932078" y="359227"/>
                    <a:pt x="924939" y="348546"/>
                  </a:cubicBezTo>
                  <a:cubicBezTo>
                    <a:pt x="919941" y="341425"/>
                    <a:pt x="915658" y="334305"/>
                    <a:pt x="912088" y="327184"/>
                  </a:cubicBezTo>
                  <a:cubicBezTo>
                    <a:pt x="909233" y="322200"/>
                    <a:pt x="907091" y="317927"/>
                    <a:pt x="907091" y="315079"/>
                  </a:cubicBezTo>
                  <a:cubicBezTo>
                    <a:pt x="907091" y="314367"/>
                    <a:pt x="907091" y="314367"/>
                    <a:pt x="907091" y="313655"/>
                  </a:cubicBezTo>
                  <a:cubicBezTo>
                    <a:pt x="904235" y="302974"/>
                    <a:pt x="898524" y="290868"/>
                    <a:pt x="898524" y="278763"/>
                  </a:cubicBezTo>
                  <a:cubicBezTo>
                    <a:pt x="898524" y="211116"/>
                    <a:pt x="951353" y="155575"/>
                    <a:pt x="1019174" y="155575"/>
                  </a:cubicBezTo>
                  <a:close/>
                  <a:moveTo>
                    <a:pt x="507999" y="155575"/>
                  </a:moveTo>
                  <a:cubicBezTo>
                    <a:pt x="575820" y="155575"/>
                    <a:pt x="628649" y="211116"/>
                    <a:pt x="628649" y="278763"/>
                  </a:cubicBezTo>
                  <a:cubicBezTo>
                    <a:pt x="628649" y="292293"/>
                    <a:pt x="622938" y="305110"/>
                    <a:pt x="619368" y="317215"/>
                  </a:cubicBezTo>
                  <a:cubicBezTo>
                    <a:pt x="619368" y="317215"/>
                    <a:pt x="619368" y="317215"/>
                    <a:pt x="619368" y="317927"/>
                  </a:cubicBezTo>
                  <a:cubicBezTo>
                    <a:pt x="619368" y="319351"/>
                    <a:pt x="617940" y="322912"/>
                    <a:pt x="615085" y="327184"/>
                  </a:cubicBezTo>
                  <a:cubicBezTo>
                    <a:pt x="612229" y="333593"/>
                    <a:pt x="607946" y="341425"/>
                    <a:pt x="602948" y="348546"/>
                  </a:cubicBezTo>
                  <a:cubicBezTo>
                    <a:pt x="595809" y="358515"/>
                    <a:pt x="588670" y="367772"/>
                    <a:pt x="582959" y="372045"/>
                  </a:cubicBezTo>
                  <a:cubicBezTo>
                    <a:pt x="575106" y="390558"/>
                    <a:pt x="579389" y="383438"/>
                    <a:pt x="573678" y="394119"/>
                  </a:cubicBezTo>
                  <a:cubicBezTo>
                    <a:pt x="572250" y="396255"/>
                    <a:pt x="570109" y="398391"/>
                    <a:pt x="567253" y="400527"/>
                  </a:cubicBezTo>
                  <a:cubicBezTo>
                    <a:pt x="562256" y="404800"/>
                    <a:pt x="555117" y="409784"/>
                    <a:pt x="547264" y="414057"/>
                  </a:cubicBezTo>
                  <a:cubicBezTo>
                    <a:pt x="534413" y="420465"/>
                    <a:pt x="519421" y="425450"/>
                    <a:pt x="507999" y="425450"/>
                  </a:cubicBezTo>
                  <a:cubicBezTo>
                    <a:pt x="495862" y="425450"/>
                    <a:pt x="480870" y="419753"/>
                    <a:pt x="468020" y="413345"/>
                  </a:cubicBezTo>
                  <a:cubicBezTo>
                    <a:pt x="460167" y="409072"/>
                    <a:pt x="452314" y="404088"/>
                    <a:pt x="447317" y="399815"/>
                  </a:cubicBezTo>
                  <a:cubicBezTo>
                    <a:pt x="445175" y="397679"/>
                    <a:pt x="443747" y="395543"/>
                    <a:pt x="442319" y="394119"/>
                  </a:cubicBezTo>
                  <a:cubicBezTo>
                    <a:pt x="436608" y="385574"/>
                    <a:pt x="440178" y="390558"/>
                    <a:pt x="433039" y="372045"/>
                  </a:cubicBezTo>
                  <a:cubicBezTo>
                    <a:pt x="428755" y="369196"/>
                    <a:pt x="420902" y="359227"/>
                    <a:pt x="413763" y="348546"/>
                  </a:cubicBezTo>
                  <a:cubicBezTo>
                    <a:pt x="408766" y="341425"/>
                    <a:pt x="403769" y="334305"/>
                    <a:pt x="400913" y="327184"/>
                  </a:cubicBezTo>
                  <a:cubicBezTo>
                    <a:pt x="398057" y="322200"/>
                    <a:pt x="395916" y="317927"/>
                    <a:pt x="395916" y="315079"/>
                  </a:cubicBezTo>
                  <a:cubicBezTo>
                    <a:pt x="395202" y="314367"/>
                    <a:pt x="395916" y="314367"/>
                    <a:pt x="395202" y="313655"/>
                  </a:cubicBezTo>
                  <a:cubicBezTo>
                    <a:pt x="393060" y="302974"/>
                    <a:pt x="387349" y="290868"/>
                    <a:pt x="387349" y="278763"/>
                  </a:cubicBezTo>
                  <a:cubicBezTo>
                    <a:pt x="387349" y="211116"/>
                    <a:pt x="439464" y="155575"/>
                    <a:pt x="507999" y="155575"/>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nvGrpSpPr>
          <p:cNvPr id="57" name="Group 56">
            <a:extLst>
              <a:ext uri="{FF2B5EF4-FFF2-40B4-BE49-F238E27FC236}">
                <a16:creationId xmlns:a16="http://schemas.microsoft.com/office/drawing/2014/main" id="{F3EDFCBC-88B7-45DA-9888-337A64D26336}"/>
              </a:ext>
            </a:extLst>
          </p:cNvPr>
          <p:cNvGrpSpPr/>
          <p:nvPr/>
        </p:nvGrpSpPr>
        <p:grpSpPr>
          <a:xfrm>
            <a:off x="8912535" y="3718"/>
            <a:ext cx="940977" cy="1009871"/>
            <a:chOff x="6140583" y="-1159297"/>
            <a:chExt cx="1644650" cy="1644650"/>
          </a:xfrm>
        </p:grpSpPr>
        <p:sp>
          <p:nvSpPr>
            <p:cNvPr id="58" name="AutoShape 3">
              <a:extLst>
                <a:ext uri="{FF2B5EF4-FFF2-40B4-BE49-F238E27FC236}">
                  <a16:creationId xmlns:a16="http://schemas.microsoft.com/office/drawing/2014/main" id="{9168B9A7-D1D4-4A58-9119-BA8F89798C09}"/>
                </a:ext>
              </a:extLst>
            </p:cNvPr>
            <p:cNvSpPr>
              <a:spLocks noChangeAspect="1" noChangeArrowheads="1" noTextEdit="1"/>
            </p:cNvSpPr>
            <p:nvPr/>
          </p:nvSpPr>
          <p:spPr bwMode="auto">
            <a:xfrm>
              <a:off x="6140583" y="-1159297"/>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8">
              <a:extLst>
                <a:ext uri="{FF2B5EF4-FFF2-40B4-BE49-F238E27FC236}">
                  <a16:creationId xmlns:a16="http://schemas.microsoft.com/office/drawing/2014/main" id="{6CE7EA5B-2093-40B3-89F0-743F0C68DD4C}"/>
                </a:ext>
              </a:extLst>
            </p:cNvPr>
            <p:cNvSpPr>
              <a:spLocks/>
            </p:cNvSpPr>
            <p:nvPr/>
          </p:nvSpPr>
          <p:spPr bwMode="auto">
            <a:xfrm>
              <a:off x="6199321" y="-671935"/>
              <a:ext cx="1533525" cy="614362"/>
            </a:xfrm>
            <a:custGeom>
              <a:avLst/>
              <a:gdLst>
                <a:gd name="connsiteX0" fmla="*/ 1246187 w 1533525"/>
                <a:gd name="connsiteY0" fmla="*/ 511175 h 614362"/>
                <a:gd name="connsiteX1" fmla="*/ 1517878 w 1533525"/>
                <a:gd name="connsiteY1" fmla="*/ 511175 h 614362"/>
                <a:gd name="connsiteX2" fmla="*/ 1533525 w 1533525"/>
                <a:gd name="connsiteY2" fmla="*/ 527050 h 614362"/>
                <a:gd name="connsiteX3" fmla="*/ 1517878 w 1533525"/>
                <a:gd name="connsiteY3" fmla="*/ 542925 h 614362"/>
                <a:gd name="connsiteX4" fmla="*/ 1255433 w 1533525"/>
                <a:gd name="connsiteY4" fmla="*/ 542925 h 614362"/>
                <a:gd name="connsiteX5" fmla="*/ 1246187 w 1533525"/>
                <a:gd name="connsiteY5" fmla="*/ 511175 h 614362"/>
                <a:gd name="connsiteX6" fmla="*/ 735012 w 1533525"/>
                <a:gd name="connsiteY6" fmla="*/ 511175 h 614362"/>
                <a:gd name="connsiteX7" fmla="*/ 792162 w 1533525"/>
                <a:gd name="connsiteY7" fmla="*/ 511175 h 614362"/>
                <a:gd name="connsiteX8" fmla="*/ 783101 w 1533525"/>
                <a:gd name="connsiteY8" fmla="*/ 542925 h 614362"/>
                <a:gd name="connsiteX9" fmla="*/ 744072 w 1533525"/>
                <a:gd name="connsiteY9" fmla="*/ 542925 h 614362"/>
                <a:gd name="connsiteX10" fmla="*/ 735012 w 1533525"/>
                <a:gd name="connsiteY10" fmla="*/ 511175 h 614362"/>
                <a:gd name="connsiteX11" fmla="*/ 15650 w 1533525"/>
                <a:gd name="connsiteY11" fmla="*/ 511175 h 614362"/>
                <a:gd name="connsiteX12" fmla="*/ 280988 w 1533525"/>
                <a:gd name="connsiteY12" fmla="*/ 511175 h 614362"/>
                <a:gd name="connsiteX13" fmla="*/ 271740 w 1533525"/>
                <a:gd name="connsiteY13" fmla="*/ 542925 h 614362"/>
                <a:gd name="connsiteX14" fmla="*/ 15650 w 1533525"/>
                <a:gd name="connsiteY14" fmla="*/ 542925 h 614362"/>
                <a:gd name="connsiteX15" fmla="*/ 0 w 1533525"/>
                <a:gd name="connsiteY15" fmla="*/ 527050 h 614362"/>
                <a:gd name="connsiteX16" fmla="*/ 15650 w 1533525"/>
                <a:gd name="connsiteY16" fmla="*/ 511175 h 614362"/>
                <a:gd name="connsiteX17" fmla="*/ 947992 w 1533525"/>
                <a:gd name="connsiteY17" fmla="*/ 452437 h 614362"/>
                <a:gd name="connsiteX18" fmla="*/ 979312 w 1533525"/>
                <a:gd name="connsiteY18" fmla="*/ 469557 h 614362"/>
                <a:gd name="connsiteX19" fmla="*/ 997107 w 1533525"/>
                <a:gd name="connsiteY19" fmla="*/ 473837 h 614362"/>
                <a:gd name="connsiteX20" fmla="*/ 1019174 w 1533525"/>
                <a:gd name="connsiteY20" fmla="*/ 475264 h 614362"/>
                <a:gd name="connsiteX21" fmla="*/ 1041240 w 1533525"/>
                <a:gd name="connsiteY21" fmla="*/ 473837 h 614362"/>
                <a:gd name="connsiteX22" fmla="*/ 1059035 w 1533525"/>
                <a:gd name="connsiteY22" fmla="*/ 469557 h 614362"/>
                <a:gd name="connsiteX23" fmla="*/ 1091067 w 1533525"/>
                <a:gd name="connsiteY23" fmla="*/ 452437 h 614362"/>
                <a:gd name="connsiteX24" fmla="*/ 1185738 w 1533525"/>
                <a:gd name="connsiteY24" fmla="*/ 468844 h 614362"/>
                <a:gd name="connsiteX25" fmla="*/ 1195704 w 1533525"/>
                <a:gd name="connsiteY25" fmla="*/ 478117 h 614362"/>
                <a:gd name="connsiteX26" fmla="*/ 1204246 w 1533525"/>
                <a:gd name="connsiteY26" fmla="*/ 493097 h 614362"/>
                <a:gd name="connsiteX27" fmla="*/ 1211364 w 1533525"/>
                <a:gd name="connsiteY27" fmla="*/ 509503 h 614362"/>
                <a:gd name="connsiteX28" fmla="*/ 1211364 w 1533525"/>
                <a:gd name="connsiteY28" fmla="*/ 510930 h 614362"/>
                <a:gd name="connsiteX29" fmla="*/ 1222041 w 1533525"/>
                <a:gd name="connsiteY29" fmla="*/ 542316 h 614362"/>
                <a:gd name="connsiteX30" fmla="*/ 1239124 w 1533525"/>
                <a:gd name="connsiteY30" fmla="*/ 607229 h 614362"/>
                <a:gd name="connsiteX31" fmla="*/ 1233430 w 1533525"/>
                <a:gd name="connsiteY31" fmla="*/ 614362 h 614362"/>
                <a:gd name="connsiteX32" fmla="*/ 804918 w 1533525"/>
                <a:gd name="connsiteY32" fmla="*/ 614362 h 614362"/>
                <a:gd name="connsiteX33" fmla="*/ 799935 w 1533525"/>
                <a:gd name="connsiteY33" fmla="*/ 607229 h 614362"/>
                <a:gd name="connsiteX34" fmla="*/ 817018 w 1533525"/>
                <a:gd name="connsiteY34" fmla="*/ 542316 h 614362"/>
                <a:gd name="connsiteX35" fmla="*/ 826984 w 1533525"/>
                <a:gd name="connsiteY35" fmla="*/ 510930 h 614362"/>
                <a:gd name="connsiteX36" fmla="*/ 827696 w 1533525"/>
                <a:gd name="connsiteY36" fmla="*/ 509503 h 614362"/>
                <a:gd name="connsiteX37" fmla="*/ 834102 w 1533525"/>
                <a:gd name="connsiteY37" fmla="*/ 493097 h 614362"/>
                <a:gd name="connsiteX38" fmla="*/ 842644 w 1533525"/>
                <a:gd name="connsiteY38" fmla="*/ 478117 h 614362"/>
                <a:gd name="connsiteX39" fmla="*/ 853321 w 1533525"/>
                <a:gd name="connsiteY39" fmla="*/ 468844 h 614362"/>
                <a:gd name="connsiteX40" fmla="*/ 947992 w 1533525"/>
                <a:gd name="connsiteY40" fmla="*/ 452437 h 614362"/>
                <a:gd name="connsiteX41" fmla="*/ 436105 w 1533525"/>
                <a:gd name="connsiteY41" fmla="*/ 452437 h 614362"/>
                <a:gd name="connsiteX42" fmla="*/ 466713 w 1533525"/>
                <a:gd name="connsiteY42" fmla="*/ 468844 h 614362"/>
                <a:gd name="connsiteX43" fmla="*/ 485932 w 1533525"/>
                <a:gd name="connsiteY43" fmla="*/ 473837 h 614362"/>
                <a:gd name="connsiteX44" fmla="*/ 507998 w 1533525"/>
                <a:gd name="connsiteY44" fmla="*/ 475264 h 614362"/>
                <a:gd name="connsiteX45" fmla="*/ 530065 w 1533525"/>
                <a:gd name="connsiteY45" fmla="*/ 473837 h 614362"/>
                <a:gd name="connsiteX46" fmla="*/ 547860 w 1533525"/>
                <a:gd name="connsiteY46" fmla="*/ 469557 h 614362"/>
                <a:gd name="connsiteX47" fmla="*/ 579180 w 1533525"/>
                <a:gd name="connsiteY47" fmla="*/ 452437 h 614362"/>
                <a:gd name="connsiteX48" fmla="*/ 673851 w 1533525"/>
                <a:gd name="connsiteY48" fmla="*/ 468844 h 614362"/>
                <a:gd name="connsiteX49" fmla="*/ 684528 w 1533525"/>
                <a:gd name="connsiteY49" fmla="*/ 478117 h 614362"/>
                <a:gd name="connsiteX50" fmla="*/ 693070 w 1533525"/>
                <a:gd name="connsiteY50" fmla="*/ 493097 h 614362"/>
                <a:gd name="connsiteX51" fmla="*/ 699476 w 1533525"/>
                <a:gd name="connsiteY51" fmla="*/ 509503 h 614362"/>
                <a:gd name="connsiteX52" fmla="*/ 700188 w 1533525"/>
                <a:gd name="connsiteY52" fmla="*/ 510930 h 614362"/>
                <a:gd name="connsiteX53" fmla="*/ 710154 w 1533525"/>
                <a:gd name="connsiteY53" fmla="*/ 542316 h 614362"/>
                <a:gd name="connsiteX54" fmla="*/ 727237 w 1533525"/>
                <a:gd name="connsiteY54" fmla="*/ 607229 h 614362"/>
                <a:gd name="connsiteX55" fmla="*/ 722254 w 1533525"/>
                <a:gd name="connsiteY55" fmla="*/ 614362 h 614362"/>
                <a:gd name="connsiteX56" fmla="*/ 293742 w 1533525"/>
                <a:gd name="connsiteY56" fmla="*/ 614362 h 614362"/>
                <a:gd name="connsiteX57" fmla="*/ 288048 w 1533525"/>
                <a:gd name="connsiteY57" fmla="*/ 607229 h 614362"/>
                <a:gd name="connsiteX58" fmla="*/ 305131 w 1533525"/>
                <a:gd name="connsiteY58" fmla="*/ 542316 h 614362"/>
                <a:gd name="connsiteX59" fmla="*/ 315808 w 1533525"/>
                <a:gd name="connsiteY59" fmla="*/ 510930 h 614362"/>
                <a:gd name="connsiteX60" fmla="*/ 315808 w 1533525"/>
                <a:gd name="connsiteY60" fmla="*/ 509503 h 614362"/>
                <a:gd name="connsiteX61" fmla="*/ 321503 w 1533525"/>
                <a:gd name="connsiteY61" fmla="*/ 496663 h 614362"/>
                <a:gd name="connsiteX62" fmla="*/ 331468 w 1533525"/>
                <a:gd name="connsiteY62" fmla="*/ 478117 h 614362"/>
                <a:gd name="connsiteX63" fmla="*/ 341434 w 1533525"/>
                <a:gd name="connsiteY63" fmla="*/ 468844 h 614362"/>
                <a:gd name="connsiteX64" fmla="*/ 436105 w 1533525"/>
                <a:gd name="connsiteY64" fmla="*/ 452437 h 614362"/>
                <a:gd name="connsiteX65" fmla="*/ 764317 w 1533525"/>
                <a:gd name="connsiteY65" fmla="*/ 349250 h 614362"/>
                <a:gd name="connsiteX66" fmla="*/ 778175 w 1533525"/>
                <a:gd name="connsiteY66" fmla="*/ 350679 h 614362"/>
                <a:gd name="connsiteX67" fmla="*/ 788387 w 1533525"/>
                <a:gd name="connsiteY67" fmla="*/ 352822 h 614362"/>
                <a:gd name="connsiteX68" fmla="*/ 789845 w 1533525"/>
                <a:gd name="connsiteY68" fmla="*/ 355680 h 614362"/>
                <a:gd name="connsiteX69" fmla="*/ 773799 w 1533525"/>
                <a:gd name="connsiteY69" fmla="*/ 380683 h 614362"/>
                <a:gd name="connsiteX70" fmla="*/ 773799 w 1533525"/>
                <a:gd name="connsiteY70" fmla="*/ 382826 h 614362"/>
                <a:gd name="connsiteX71" fmla="*/ 789116 w 1533525"/>
                <a:gd name="connsiteY71" fmla="*/ 477838 h 614362"/>
                <a:gd name="connsiteX72" fmla="*/ 736600 w 1533525"/>
                <a:gd name="connsiteY72" fmla="*/ 477838 h 614362"/>
                <a:gd name="connsiteX73" fmla="*/ 753376 w 1533525"/>
                <a:gd name="connsiteY73" fmla="*/ 382826 h 614362"/>
                <a:gd name="connsiteX74" fmla="*/ 753376 w 1533525"/>
                <a:gd name="connsiteY74" fmla="*/ 380683 h 614362"/>
                <a:gd name="connsiteX75" fmla="*/ 737329 w 1533525"/>
                <a:gd name="connsiteY75" fmla="*/ 355680 h 614362"/>
                <a:gd name="connsiteX76" fmla="*/ 738788 w 1533525"/>
                <a:gd name="connsiteY76" fmla="*/ 352822 h 614362"/>
                <a:gd name="connsiteX77" fmla="*/ 749729 w 1533525"/>
                <a:gd name="connsiteY77" fmla="*/ 350679 h 614362"/>
                <a:gd name="connsiteX78" fmla="*/ 764317 w 1533525"/>
                <a:gd name="connsiteY78" fmla="*/ 349250 h 614362"/>
                <a:gd name="connsiteX79" fmla="*/ 1200963 w 1533525"/>
                <a:gd name="connsiteY79" fmla="*/ 334962 h 614362"/>
                <a:gd name="connsiteX80" fmla="*/ 1203105 w 1533525"/>
                <a:gd name="connsiteY80" fmla="*/ 337095 h 614362"/>
                <a:gd name="connsiteX81" fmla="*/ 1268787 w 1533525"/>
                <a:gd name="connsiteY81" fmla="*/ 409598 h 614362"/>
                <a:gd name="connsiteX82" fmla="*/ 1280210 w 1533525"/>
                <a:gd name="connsiteY82" fmla="*/ 409598 h 614362"/>
                <a:gd name="connsiteX83" fmla="*/ 1345893 w 1533525"/>
                <a:gd name="connsiteY83" fmla="*/ 337095 h 614362"/>
                <a:gd name="connsiteX84" fmla="*/ 1348034 w 1533525"/>
                <a:gd name="connsiteY84" fmla="*/ 334962 h 614362"/>
                <a:gd name="connsiteX85" fmla="*/ 1441561 w 1533525"/>
                <a:gd name="connsiteY85" fmla="*/ 351311 h 614362"/>
                <a:gd name="connsiteX86" fmla="*/ 1492250 w 1533525"/>
                <a:gd name="connsiteY86" fmla="*/ 477837 h 614362"/>
                <a:gd name="connsiteX87" fmla="*/ 1232376 w 1533525"/>
                <a:gd name="connsiteY87" fmla="*/ 477837 h 614362"/>
                <a:gd name="connsiteX88" fmla="*/ 1198821 w 1533525"/>
                <a:gd name="connsiteY88" fmla="*/ 440164 h 614362"/>
                <a:gd name="connsiteX89" fmla="*/ 1101725 w 1533525"/>
                <a:gd name="connsiteY89" fmla="*/ 421682 h 614362"/>
                <a:gd name="connsiteX90" fmla="*/ 1111720 w 1533525"/>
                <a:gd name="connsiteY90" fmla="*/ 409598 h 614362"/>
                <a:gd name="connsiteX91" fmla="*/ 1112434 w 1533525"/>
                <a:gd name="connsiteY91" fmla="*/ 408177 h 614362"/>
                <a:gd name="connsiteX92" fmla="*/ 1118859 w 1533525"/>
                <a:gd name="connsiteY92" fmla="*/ 394671 h 614362"/>
                <a:gd name="connsiteX93" fmla="*/ 1120287 w 1533525"/>
                <a:gd name="connsiteY93" fmla="*/ 390406 h 614362"/>
                <a:gd name="connsiteX94" fmla="*/ 1155271 w 1533525"/>
                <a:gd name="connsiteY94" fmla="*/ 338516 h 614362"/>
                <a:gd name="connsiteX95" fmla="*/ 1200963 w 1533525"/>
                <a:gd name="connsiteY95" fmla="*/ 334962 h 614362"/>
                <a:gd name="connsiteX96" fmla="*/ 837524 w 1533525"/>
                <a:gd name="connsiteY96" fmla="*/ 334962 h 614362"/>
                <a:gd name="connsiteX97" fmla="*/ 883153 w 1533525"/>
                <a:gd name="connsiteY97" fmla="*/ 338545 h 614362"/>
                <a:gd name="connsiteX98" fmla="*/ 917375 w 1533525"/>
                <a:gd name="connsiteY98" fmla="*/ 389427 h 614362"/>
                <a:gd name="connsiteX99" fmla="*/ 919514 w 1533525"/>
                <a:gd name="connsiteY99" fmla="*/ 395160 h 614362"/>
                <a:gd name="connsiteX100" fmla="*/ 928069 w 1533525"/>
                <a:gd name="connsiteY100" fmla="*/ 412360 h 614362"/>
                <a:gd name="connsiteX101" fmla="*/ 936625 w 1533525"/>
                <a:gd name="connsiteY101" fmla="*/ 422393 h 614362"/>
                <a:gd name="connsiteX102" fmla="*/ 839663 w 1533525"/>
                <a:gd name="connsiteY102" fmla="*/ 441026 h 614362"/>
                <a:gd name="connsiteX103" fmla="*/ 817562 w 1533525"/>
                <a:gd name="connsiteY103" fmla="*/ 460375 h 614362"/>
                <a:gd name="connsiteX104" fmla="*/ 835386 w 1533525"/>
                <a:gd name="connsiteY104" fmla="*/ 337112 h 614362"/>
                <a:gd name="connsiteX105" fmla="*/ 837524 w 1533525"/>
                <a:gd name="connsiteY105" fmla="*/ 334962 h 614362"/>
                <a:gd name="connsiteX106" fmla="*/ 689650 w 1533525"/>
                <a:gd name="connsiteY106" fmla="*/ 334962 h 614362"/>
                <a:gd name="connsiteX107" fmla="*/ 691789 w 1533525"/>
                <a:gd name="connsiteY107" fmla="*/ 337112 h 614362"/>
                <a:gd name="connsiteX108" fmla="*/ 709613 w 1533525"/>
                <a:gd name="connsiteY108" fmla="*/ 460375 h 614362"/>
                <a:gd name="connsiteX109" fmla="*/ 687511 w 1533525"/>
                <a:gd name="connsiteY109" fmla="*/ 441026 h 614362"/>
                <a:gd name="connsiteX110" fmla="*/ 590550 w 1533525"/>
                <a:gd name="connsiteY110" fmla="*/ 422393 h 614362"/>
                <a:gd name="connsiteX111" fmla="*/ 600531 w 1533525"/>
                <a:gd name="connsiteY111" fmla="*/ 410210 h 614362"/>
                <a:gd name="connsiteX112" fmla="*/ 601244 w 1533525"/>
                <a:gd name="connsiteY112" fmla="*/ 408777 h 614362"/>
                <a:gd name="connsiteX113" fmla="*/ 607661 w 1533525"/>
                <a:gd name="connsiteY113" fmla="*/ 395160 h 614362"/>
                <a:gd name="connsiteX114" fmla="*/ 609087 w 1533525"/>
                <a:gd name="connsiteY114" fmla="*/ 390860 h 614362"/>
                <a:gd name="connsiteX115" fmla="*/ 644021 w 1533525"/>
                <a:gd name="connsiteY115" fmla="*/ 338545 h 614362"/>
                <a:gd name="connsiteX116" fmla="*/ 689650 w 1533525"/>
                <a:gd name="connsiteY116" fmla="*/ 334962 h 614362"/>
                <a:gd name="connsiteX117" fmla="*/ 180120 w 1533525"/>
                <a:gd name="connsiteY117" fmla="*/ 334962 h 614362"/>
                <a:gd name="connsiteX118" fmla="*/ 252360 w 1533525"/>
                <a:gd name="connsiteY118" fmla="*/ 369082 h 614362"/>
                <a:gd name="connsiteX119" fmla="*/ 323885 w 1533525"/>
                <a:gd name="connsiteY119" fmla="*/ 334962 h 614362"/>
                <a:gd name="connsiteX120" fmla="*/ 371806 w 1533525"/>
                <a:gd name="connsiteY120" fmla="*/ 338516 h 614362"/>
                <a:gd name="connsiteX121" fmla="*/ 406138 w 1533525"/>
                <a:gd name="connsiteY121" fmla="*/ 388985 h 614362"/>
                <a:gd name="connsiteX122" fmla="*/ 408284 w 1533525"/>
                <a:gd name="connsiteY122" fmla="*/ 394671 h 614362"/>
                <a:gd name="connsiteX123" fmla="*/ 416867 w 1533525"/>
                <a:gd name="connsiteY123" fmla="*/ 411731 h 614362"/>
                <a:gd name="connsiteX124" fmla="*/ 425450 w 1533525"/>
                <a:gd name="connsiteY124" fmla="*/ 421682 h 614362"/>
                <a:gd name="connsiteX125" fmla="*/ 328176 w 1533525"/>
                <a:gd name="connsiteY125" fmla="*/ 440164 h 614362"/>
                <a:gd name="connsiteX126" fmla="*/ 294560 w 1533525"/>
                <a:gd name="connsiteY126" fmla="*/ 477837 h 614362"/>
                <a:gd name="connsiteX127" fmla="*/ 34925 w 1533525"/>
                <a:gd name="connsiteY127" fmla="*/ 477837 h 614362"/>
                <a:gd name="connsiteX128" fmla="*/ 84992 w 1533525"/>
                <a:gd name="connsiteY128" fmla="*/ 351311 h 614362"/>
                <a:gd name="connsiteX129" fmla="*/ 180120 w 1533525"/>
                <a:gd name="connsiteY129" fmla="*/ 334962 h 614362"/>
                <a:gd name="connsiteX130" fmla="*/ 1381410 w 1533525"/>
                <a:gd name="connsiteY130" fmla="*/ 215900 h 614362"/>
                <a:gd name="connsiteX131" fmla="*/ 1414463 w 1533525"/>
                <a:gd name="connsiteY131" fmla="*/ 298275 h 614362"/>
                <a:gd name="connsiteX132" fmla="*/ 1376380 w 1533525"/>
                <a:gd name="connsiteY132" fmla="*/ 320675 h 614362"/>
                <a:gd name="connsiteX133" fmla="*/ 1349074 w 1533525"/>
                <a:gd name="connsiteY133" fmla="*/ 319230 h 614362"/>
                <a:gd name="connsiteX134" fmla="*/ 1346200 w 1533525"/>
                <a:gd name="connsiteY134" fmla="*/ 317785 h 614362"/>
                <a:gd name="connsiteX135" fmla="*/ 1346200 w 1533525"/>
                <a:gd name="connsiteY135" fmla="*/ 293939 h 614362"/>
                <a:gd name="connsiteX136" fmla="*/ 1381410 w 1533525"/>
                <a:gd name="connsiteY136" fmla="*/ 215900 h 614362"/>
                <a:gd name="connsiteX137" fmla="*/ 1167890 w 1533525"/>
                <a:gd name="connsiteY137" fmla="*/ 215900 h 614362"/>
                <a:gd name="connsiteX138" fmla="*/ 1203325 w 1533525"/>
                <a:gd name="connsiteY138" fmla="*/ 293939 h 614362"/>
                <a:gd name="connsiteX139" fmla="*/ 1203325 w 1533525"/>
                <a:gd name="connsiteY139" fmla="*/ 317785 h 614362"/>
                <a:gd name="connsiteX140" fmla="*/ 1200490 w 1533525"/>
                <a:gd name="connsiteY140" fmla="*/ 319230 h 614362"/>
                <a:gd name="connsiteX141" fmla="*/ 1173559 w 1533525"/>
                <a:gd name="connsiteY141" fmla="*/ 320675 h 614362"/>
                <a:gd name="connsiteX142" fmla="*/ 1163637 w 1533525"/>
                <a:gd name="connsiteY142" fmla="*/ 317785 h 614362"/>
                <a:gd name="connsiteX143" fmla="*/ 1171433 w 1533525"/>
                <a:gd name="connsiteY143" fmla="*/ 278765 h 614362"/>
                <a:gd name="connsiteX144" fmla="*/ 1165055 w 1533525"/>
                <a:gd name="connsiteY144" fmla="*/ 233242 h 614362"/>
                <a:gd name="connsiteX145" fmla="*/ 1167890 w 1533525"/>
                <a:gd name="connsiteY145" fmla="*/ 215900 h 614362"/>
                <a:gd name="connsiteX146" fmla="*/ 1019174 w 1533525"/>
                <a:gd name="connsiteY146" fmla="*/ 155575 h 614362"/>
                <a:gd name="connsiteX147" fmla="*/ 1139824 w 1533525"/>
                <a:gd name="connsiteY147" fmla="*/ 278763 h 614362"/>
                <a:gd name="connsiteX148" fmla="*/ 1136969 w 1533525"/>
                <a:gd name="connsiteY148" fmla="*/ 297989 h 614362"/>
                <a:gd name="connsiteX149" fmla="*/ 1136255 w 1533525"/>
                <a:gd name="connsiteY149" fmla="*/ 299413 h 614362"/>
                <a:gd name="connsiteX150" fmla="*/ 1130543 w 1533525"/>
                <a:gd name="connsiteY150" fmla="*/ 317215 h 614362"/>
                <a:gd name="connsiteX151" fmla="*/ 1130543 w 1533525"/>
                <a:gd name="connsiteY151" fmla="*/ 317927 h 614362"/>
                <a:gd name="connsiteX152" fmla="*/ 1126260 w 1533525"/>
                <a:gd name="connsiteY152" fmla="*/ 327184 h 614362"/>
                <a:gd name="connsiteX153" fmla="*/ 1114124 w 1533525"/>
                <a:gd name="connsiteY153" fmla="*/ 348546 h 614362"/>
                <a:gd name="connsiteX154" fmla="*/ 1094134 w 1533525"/>
                <a:gd name="connsiteY154" fmla="*/ 372045 h 614362"/>
                <a:gd name="connsiteX155" fmla="*/ 1084854 w 1533525"/>
                <a:gd name="connsiteY155" fmla="*/ 394119 h 614362"/>
                <a:gd name="connsiteX156" fmla="*/ 1079142 w 1533525"/>
                <a:gd name="connsiteY156" fmla="*/ 400527 h 614362"/>
                <a:gd name="connsiteX157" fmla="*/ 1058439 w 1533525"/>
                <a:gd name="connsiteY157" fmla="*/ 414057 h 614362"/>
                <a:gd name="connsiteX158" fmla="*/ 1019174 w 1533525"/>
                <a:gd name="connsiteY158" fmla="*/ 425450 h 614362"/>
                <a:gd name="connsiteX159" fmla="*/ 979909 w 1533525"/>
                <a:gd name="connsiteY159" fmla="*/ 413345 h 614362"/>
                <a:gd name="connsiteX160" fmla="*/ 959206 w 1533525"/>
                <a:gd name="connsiteY160" fmla="*/ 399815 h 614362"/>
                <a:gd name="connsiteX161" fmla="*/ 953495 w 1533525"/>
                <a:gd name="connsiteY161" fmla="*/ 394119 h 614362"/>
                <a:gd name="connsiteX162" fmla="*/ 944214 w 1533525"/>
                <a:gd name="connsiteY162" fmla="*/ 372045 h 614362"/>
                <a:gd name="connsiteX163" fmla="*/ 924939 w 1533525"/>
                <a:gd name="connsiteY163" fmla="*/ 348546 h 614362"/>
                <a:gd name="connsiteX164" fmla="*/ 912088 w 1533525"/>
                <a:gd name="connsiteY164" fmla="*/ 327184 h 614362"/>
                <a:gd name="connsiteX165" fmla="*/ 907091 w 1533525"/>
                <a:gd name="connsiteY165" fmla="*/ 315079 h 614362"/>
                <a:gd name="connsiteX166" fmla="*/ 907091 w 1533525"/>
                <a:gd name="connsiteY166" fmla="*/ 313655 h 614362"/>
                <a:gd name="connsiteX167" fmla="*/ 898524 w 1533525"/>
                <a:gd name="connsiteY167" fmla="*/ 278763 h 614362"/>
                <a:gd name="connsiteX168" fmla="*/ 1019174 w 1533525"/>
                <a:gd name="connsiteY168" fmla="*/ 155575 h 614362"/>
                <a:gd name="connsiteX169" fmla="*/ 507999 w 1533525"/>
                <a:gd name="connsiteY169" fmla="*/ 155575 h 614362"/>
                <a:gd name="connsiteX170" fmla="*/ 628649 w 1533525"/>
                <a:gd name="connsiteY170" fmla="*/ 278763 h 614362"/>
                <a:gd name="connsiteX171" fmla="*/ 619368 w 1533525"/>
                <a:gd name="connsiteY171" fmla="*/ 317215 h 614362"/>
                <a:gd name="connsiteX172" fmla="*/ 619368 w 1533525"/>
                <a:gd name="connsiteY172" fmla="*/ 317927 h 614362"/>
                <a:gd name="connsiteX173" fmla="*/ 615085 w 1533525"/>
                <a:gd name="connsiteY173" fmla="*/ 327184 h 614362"/>
                <a:gd name="connsiteX174" fmla="*/ 602948 w 1533525"/>
                <a:gd name="connsiteY174" fmla="*/ 348546 h 614362"/>
                <a:gd name="connsiteX175" fmla="*/ 582959 w 1533525"/>
                <a:gd name="connsiteY175" fmla="*/ 372045 h 614362"/>
                <a:gd name="connsiteX176" fmla="*/ 573678 w 1533525"/>
                <a:gd name="connsiteY176" fmla="*/ 394119 h 614362"/>
                <a:gd name="connsiteX177" fmla="*/ 567253 w 1533525"/>
                <a:gd name="connsiteY177" fmla="*/ 400527 h 614362"/>
                <a:gd name="connsiteX178" fmla="*/ 547264 w 1533525"/>
                <a:gd name="connsiteY178" fmla="*/ 414057 h 614362"/>
                <a:gd name="connsiteX179" fmla="*/ 507999 w 1533525"/>
                <a:gd name="connsiteY179" fmla="*/ 425450 h 614362"/>
                <a:gd name="connsiteX180" fmla="*/ 468020 w 1533525"/>
                <a:gd name="connsiteY180" fmla="*/ 413345 h 614362"/>
                <a:gd name="connsiteX181" fmla="*/ 447317 w 1533525"/>
                <a:gd name="connsiteY181" fmla="*/ 399815 h 614362"/>
                <a:gd name="connsiteX182" fmla="*/ 442319 w 1533525"/>
                <a:gd name="connsiteY182" fmla="*/ 394119 h 614362"/>
                <a:gd name="connsiteX183" fmla="*/ 433039 w 1533525"/>
                <a:gd name="connsiteY183" fmla="*/ 372045 h 614362"/>
                <a:gd name="connsiteX184" fmla="*/ 413763 w 1533525"/>
                <a:gd name="connsiteY184" fmla="*/ 348546 h 614362"/>
                <a:gd name="connsiteX185" fmla="*/ 400913 w 1533525"/>
                <a:gd name="connsiteY185" fmla="*/ 327184 h 614362"/>
                <a:gd name="connsiteX186" fmla="*/ 395916 w 1533525"/>
                <a:gd name="connsiteY186" fmla="*/ 315079 h 614362"/>
                <a:gd name="connsiteX187" fmla="*/ 395202 w 1533525"/>
                <a:gd name="connsiteY187" fmla="*/ 313655 h 614362"/>
                <a:gd name="connsiteX188" fmla="*/ 387349 w 1533525"/>
                <a:gd name="connsiteY188" fmla="*/ 278763 h 614362"/>
                <a:gd name="connsiteX189" fmla="*/ 507999 w 1533525"/>
                <a:gd name="connsiteY189" fmla="*/ 155575 h 614362"/>
                <a:gd name="connsiteX190" fmla="*/ 1275200 w 1533525"/>
                <a:gd name="connsiteY190" fmla="*/ 0 h 614362"/>
                <a:gd name="connsiteX191" fmla="*/ 1397875 w 1533525"/>
                <a:gd name="connsiteY191" fmla="*/ 124537 h 614362"/>
                <a:gd name="connsiteX192" fmla="*/ 1393596 w 1533525"/>
                <a:gd name="connsiteY192" fmla="*/ 166524 h 614362"/>
                <a:gd name="connsiteX193" fmla="*/ 1393596 w 1533525"/>
                <a:gd name="connsiteY193" fmla="*/ 165812 h 614362"/>
                <a:gd name="connsiteX194" fmla="*/ 1380044 w 1533525"/>
                <a:gd name="connsiteY194" fmla="*/ 185026 h 614362"/>
                <a:gd name="connsiteX195" fmla="*/ 1378618 w 1533525"/>
                <a:gd name="connsiteY195" fmla="*/ 185738 h 614362"/>
                <a:gd name="connsiteX196" fmla="*/ 1370772 w 1533525"/>
                <a:gd name="connsiteY196" fmla="*/ 185738 h 614362"/>
                <a:gd name="connsiteX197" fmla="*/ 1370059 w 1533525"/>
                <a:gd name="connsiteY197" fmla="*/ 185026 h 614362"/>
                <a:gd name="connsiteX198" fmla="*/ 1208870 w 1533525"/>
                <a:gd name="connsiteY198" fmla="*/ 100341 h 614362"/>
                <a:gd name="connsiteX199" fmla="*/ 1207444 w 1533525"/>
                <a:gd name="connsiteY199" fmla="*/ 99630 h 614362"/>
                <a:gd name="connsiteX200" fmla="*/ 1159658 w 1533525"/>
                <a:gd name="connsiteY200" fmla="*/ 175064 h 614362"/>
                <a:gd name="connsiteX201" fmla="*/ 1152525 w 1533525"/>
                <a:gd name="connsiteY201" fmla="*/ 124537 h 614362"/>
                <a:gd name="connsiteX202" fmla="*/ 1275200 w 1533525"/>
                <a:gd name="connsiteY202" fmla="*/ 0 h 614362"/>
                <a:gd name="connsiteX203" fmla="*/ 763587 w 1533525"/>
                <a:gd name="connsiteY203" fmla="*/ 0 h 614362"/>
                <a:gd name="connsiteX204" fmla="*/ 884237 w 1533525"/>
                <a:gd name="connsiteY204" fmla="*/ 123004 h 614362"/>
                <a:gd name="connsiteX205" fmla="*/ 879953 w 1533525"/>
                <a:gd name="connsiteY205" fmla="*/ 164953 h 614362"/>
                <a:gd name="connsiteX206" fmla="*/ 866389 w 1533525"/>
                <a:gd name="connsiteY206" fmla="*/ 184150 h 614362"/>
                <a:gd name="connsiteX207" fmla="*/ 857108 w 1533525"/>
                <a:gd name="connsiteY207" fmla="*/ 184150 h 614362"/>
                <a:gd name="connsiteX208" fmla="*/ 856394 w 1533525"/>
                <a:gd name="connsiteY208" fmla="*/ 93142 h 614362"/>
                <a:gd name="connsiteX209" fmla="*/ 697194 w 1533525"/>
                <a:gd name="connsiteY209" fmla="*/ 98830 h 614362"/>
                <a:gd name="connsiteX210" fmla="*/ 667923 w 1533525"/>
                <a:gd name="connsiteY210" fmla="*/ 182017 h 614362"/>
                <a:gd name="connsiteX211" fmla="*/ 660070 w 1533525"/>
                <a:gd name="connsiteY211" fmla="*/ 181306 h 614362"/>
                <a:gd name="connsiteX212" fmla="*/ 647934 w 1533525"/>
                <a:gd name="connsiteY212" fmla="*/ 166375 h 614362"/>
                <a:gd name="connsiteX213" fmla="*/ 642937 w 1533525"/>
                <a:gd name="connsiteY213" fmla="*/ 123004 h 614362"/>
                <a:gd name="connsiteX214" fmla="*/ 763587 w 1533525"/>
                <a:gd name="connsiteY214" fmla="*/ 0 h 614362"/>
                <a:gd name="connsiteX215" fmla="*/ 252412 w 1533525"/>
                <a:gd name="connsiteY215" fmla="*/ 0 h 614362"/>
                <a:gd name="connsiteX216" fmla="*/ 373062 w 1533525"/>
                <a:gd name="connsiteY216" fmla="*/ 123004 h 614362"/>
                <a:gd name="connsiteX217" fmla="*/ 368778 w 1533525"/>
                <a:gd name="connsiteY217" fmla="*/ 164953 h 614362"/>
                <a:gd name="connsiteX218" fmla="*/ 368064 w 1533525"/>
                <a:gd name="connsiteY218" fmla="*/ 164953 h 614362"/>
                <a:gd name="connsiteX219" fmla="*/ 354500 w 1533525"/>
                <a:gd name="connsiteY219" fmla="*/ 184150 h 614362"/>
                <a:gd name="connsiteX220" fmla="*/ 345933 w 1533525"/>
                <a:gd name="connsiteY220" fmla="*/ 184150 h 614362"/>
                <a:gd name="connsiteX221" fmla="*/ 344506 w 1533525"/>
                <a:gd name="connsiteY221" fmla="*/ 93142 h 614362"/>
                <a:gd name="connsiteX222" fmla="*/ 186019 w 1533525"/>
                <a:gd name="connsiteY222" fmla="*/ 98830 h 614362"/>
                <a:gd name="connsiteX223" fmla="*/ 156748 w 1533525"/>
                <a:gd name="connsiteY223" fmla="*/ 182017 h 614362"/>
                <a:gd name="connsiteX224" fmla="*/ 148182 w 1533525"/>
                <a:gd name="connsiteY224" fmla="*/ 181306 h 614362"/>
                <a:gd name="connsiteX225" fmla="*/ 136759 w 1533525"/>
                <a:gd name="connsiteY225" fmla="*/ 166375 h 614362"/>
                <a:gd name="connsiteX226" fmla="*/ 131762 w 1533525"/>
                <a:gd name="connsiteY226" fmla="*/ 123004 h 614362"/>
                <a:gd name="connsiteX227" fmla="*/ 252412 w 1533525"/>
                <a:gd name="connsiteY227" fmla="*/ 0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533525" h="614362">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947992" y="452437"/>
                  </a:moveTo>
                  <a:cubicBezTo>
                    <a:pt x="947992" y="452437"/>
                    <a:pt x="958670" y="462424"/>
                    <a:pt x="979312" y="469557"/>
                  </a:cubicBezTo>
                  <a:cubicBezTo>
                    <a:pt x="984295" y="470984"/>
                    <a:pt x="990701" y="472410"/>
                    <a:pt x="997107" y="473837"/>
                  </a:cubicBezTo>
                  <a:cubicBezTo>
                    <a:pt x="1004226" y="474550"/>
                    <a:pt x="1011344" y="475264"/>
                    <a:pt x="1019174" y="475264"/>
                  </a:cubicBezTo>
                  <a:cubicBezTo>
                    <a:pt x="1027004" y="475264"/>
                    <a:pt x="1034834" y="474550"/>
                    <a:pt x="1041240" y="473837"/>
                  </a:cubicBezTo>
                  <a:cubicBezTo>
                    <a:pt x="1047646" y="472410"/>
                    <a:pt x="1054053" y="470984"/>
                    <a:pt x="1059035" y="469557"/>
                  </a:cubicBezTo>
                  <a:cubicBezTo>
                    <a:pt x="1080390" y="462424"/>
                    <a:pt x="1091067" y="452437"/>
                    <a:pt x="1091067" y="452437"/>
                  </a:cubicBezTo>
                  <a:cubicBezTo>
                    <a:pt x="1091067" y="452437"/>
                    <a:pt x="1152283" y="453150"/>
                    <a:pt x="1185738" y="468844"/>
                  </a:cubicBezTo>
                  <a:cubicBezTo>
                    <a:pt x="1189297" y="470270"/>
                    <a:pt x="1192145" y="473837"/>
                    <a:pt x="1195704" y="478117"/>
                  </a:cubicBezTo>
                  <a:cubicBezTo>
                    <a:pt x="1198551" y="482397"/>
                    <a:pt x="1201398" y="487390"/>
                    <a:pt x="1204246" y="493097"/>
                  </a:cubicBezTo>
                  <a:cubicBezTo>
                    <a:pt x="1206381" y="498090"/>
                    <a:pt x="1209228" y="503797"/>
                    <a:pt x="1211364" y="509503"/>
                  </a:cubicBezTo>
                  <a:cubicBezTo>
                    <a:pt x="1211364" y="510217"/>
                    <a:pt x="1211364" y="510930"/>
                    <a:pt x="1211364" y="510930"/>
                  </a:cubicBezTo>
                  <a:cubicBezTo>
                    <a:pt x="1215635" y="520916"/>
                    <a:pt x="1218482" y="531616"/>
                    <a:pt x="1222041" y="542316"/>
                  </a:cubicBezTo>
                  <a:cubicBezTo>
                    <a:pt x="1229871" y="570849"/>
                    <a:pt x="1235565" y="598669"/>
                    <a:pt x="1239124" y="607229"/>
                  </a:cubicBezTo>
                  <a:cubicBezTo>
                    <a:pt x="1239836" y="610796"/>
                    <a:pt x="1237701" y="614362"/>
                    <a:pt x="1233430" y="614362"/>
                  </a:cubicBezTo>
                  <a:cubicBezTo>
                    <a:pt x="1233430" y="614362"/>
                    <a:pt x="1233430" y="614362"/>
                    <a:pt x="804918" y="614362"/>
                  </a:cubicBezTo>
                  <a:cubicBezTo>
                    <a:pt x="801359" y="614362"/>
                    <a:pt x="798511" y="610796"/>
                    <a:pt x="799935" y="607229"/>
                  </a:cubicBezTo>
                  <a:cubicBezTo>
                    <a:pt x="802782" y="598669"/>
                    <a:pt x="808477" y="570849"/>
                    <a:pt x="817018" y="542316"/>
                  </a:cubicBezTo>
                  <a:cubicBezTo>
                    <a:pt x="819866" y="531616"/>
                    <a:pt x="823425" y="520916"/>
                    <a:pt x="826984" y="510930"/>
                  </a:cubicBezTo>
                  <a:cubicBezTo>
                    <a:pt x="826984" y="510930"/>
                    <a:pt x="826984" y="510217"/>
                    <a:pt x="827696" y="509503"/>
                  </a:cubicBezTo>
                  <a:cubicBezTo>
                    <a:pt x="829831" y="503797"/>
                    <a:pt x="831967" y="498090"/>
                    <a:pt x="834102" y="493097"/>
                  </a:cubicBezTo>
                  <a:cubicBezTo>
                    <a:pt x="836949" y="487390"/>
                    <a:pt x="839796" y="482397"/>
                    <a:pt x="842644" y="478117"/>
                  </a:cubicBezTo>
                  <a:cubicBezTo>
                    <a:pt x="846203" y="473837"/>
                    <a:pt x="849762" y="470270"/>
                    <a:pt x="853321" y="468844"/>
                  </a:cubicBezTo>
                  <a:cubicBezTo>
                    <a:pt x="886064" y="453150"/>
                    <a:pt x="947992" y="452437"/>
                    <a:pt x="947992" y="452437"/>
                  </a:cubicBezTo>
                  <a:close/>
                  <a:moveTo>
                    <a:pt x="436105" y="452437"/>
                  </a:moveTo>
                  <a:cubicBezTo>
                    <a:pt x="436105" y="452437"/>
                    <a:pt x="446782" y="462424"/>
                    <a:pt x="466713" y="468844"/>
                  </a:cubicBezTo>
                  <a:cubicBezTo>
                    <a:pt x="472408" y="470984"/>
                    <a:pt x="478814" y="472410"/>
                    <a:pt x="485932" y="473837"/>
                  </a:cubicBezTo>
                  <a:cubicBezTo>
                    <a:pt x="492338" y="474550"/>
                    <a:pt x="500168" y="475264"/>
                    <a:pt x="507998" y="475264"/>
                  </a:cubicBezTo>
                  <a:cubicBezTo>
                    <a:pt x="515828" y="475264"/>
                    <a:pt x="522946" y="474550"/>
                    <a:pt x="530065" y="473837"/>
                  </a:cubicBezTo>
                  <a:cubicBezTo>
                    <a:pt x="536471" y="472410"/>
                    <a:pt x="542877" y="470984"/>
                    <a:pt x="547860" y="469557"/>
                  </a:cubicBezTo>
                  <a:cubicBezTo>
                    <a:pt x="568502" y="462424"/>
                    <a:pt x="579180" y="452437"/>
                    <a:pt x="579180" y="452437"/>
                  </a:cubicBezTo>
                  <a:cubicBezTo>
                    <a:pt x="579180" y="452437"/>
                    <a:pt x="641108" y="453150"/>
                    <a:pt x="673851" y="468844"/>
                  </a:cubicBezTo>
                  <a:cubicBezTo>
                    <a:pt x="677410" y="470270"/>
                    <a:pt x="680969" y="473837"/>
                    <a:pt x="684528" y="478117"/>
                  </a:cubicBezTo>
                  <a:cubicBezTo>
                    <a:pt x="687376" y="482397"/>
                    <a:pt x="690223" y="487390"/>
                    <a:pt x="693070" y="493097"/>
                  </a:cubicBezTo>
                  <a:cubicBezTo>
                    <a:pt x="695205" y="498090"/>
                    <a:pt x="697341" y="503797"/>
                    <a:pt x="699476" y="509503"/>
                  </a:cubicBezTo>
                  <a:cubicBezTo>
                    <a:pt x="700188" y="510217"/>
                    <a:pt x="700188" y="510930"/>
                    <a:pt x="700188" y="510930"/>
                  </a:cubicBezTo>
                  <a:cubicBezTo>
                    <a:pt x="703747" y="520916"/>
                    <a:pt x="707306" y="531616"/>
                    <a:pt x="710154" y="542316"/>
                  </a:cubicBezTo>
                  <a:cubicBezTo>
                    <a:pt x="718695" y="570849"/>
                    <a:pt x="724390" y="598669"/>
                    <a:pt x="727237" y="607229"/>
                  </a:cubicBezTo>
                  <a:cubicBezTo>
                    <a:pt x="728661" y="610796"/>
                    <a:pt x="725814" y="614362"/>
                    <a:pt x="722254" y="614362"/>
                  </a:cubicBezTo>
                  <a:cubicBezTo>
                    <a:pt x="722254" y="614362"/>
                    <a:pt x="722254" y="614362"/>
                    <a:pt x="293742" y="614362"/>
                  </a:cubicBezTo>
                  <a:cubicBezTo>
                    <a:pt x="289471" y="614362"/>
                    <a:pt x="287336" y="610796"/>
                    <a:pt x="288048" y="607229"/>
                  </a:cubicBezTo>
                  <a:cubicBezTo>
                    <a:pt x="291607" y="598669"/>
                    <a:pt x="297301" y="570849"/>
                    <a:pt x="305131" y="542316"/>
                  </a:cubicBezTo>
                  <a:cubicBezTo>
                    <a:pt x="308690" y="531616"/>
                    <a:pt x="311537" y="520916"/>
                    <a:pt x="315808" y="510930"/>
                  </a:cubicBezTo>
                  <a:cubicBezTo>
                    <a:pt x="315808" y="510930"/>
                    <a:pt x="315808" y="510217"/>
                    <a:pt x="315808" y="509503"/>
                  </a:cubicBezTo>
                  <a:cubicBezTo>
                    <a:pt x="317944" y="505223"/>
                    <a:pt x="319367" y="500943"/>
                    <a:pt x="321503" y="496663"/>
                  </a:cubicBezTo>
                  <a:cubicBezTo>
                    <a:pt x="324350" y="489530"/>
                    <a:pt x="327909" y="483110"/>
                    <a:pt x="331468" y="478117"/>
                  </a:cubicBezTo>
                  <a:cubicBezTo>
                    <a:pt x="335027" y="473837"/>
                    <a:pt x="337875" y="470270"/>
                    <a:pt x="341434" y="468844"/>
                  </a:cubicBezTo>
                  <a:cubicBezTo>
                    <a:pt x="374889" y="453150"/>
                    <a:pt x="436105" y="452437"/>
                    <a:pt x="436105" y="452437"/>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019174" y="155575"/>
                  </a:moveTo>
                  <a:cubicBezTo>
                    <a:pt x="1087709" y="155575"/>
                    <a:pt x="1139824" y="211116"/>
                    <a:pt x="1139824" y="278763"/>
                  </a:cubicBezTo>
                  <a:cubicBezTo>
                    <a:pt x="1139824" y="285172"/>
                    <a:pt x="1138396" y="291580"/>
                    <a:pt x="1136969" y="297989"/>
                  </a:cubicBezTo>
                  <a:cubicBezTo>
                    <a:pt x="1136969" y="298701"/>
                    <a:pt x="1136255" y="298701"/>
                    <a:pt x="1136255" y="299413"/>
                  </a:cubicBezTo>
                  <a:cubicBezTo>
                    <a:pt x="1134827" y="305822"/>
                    <a:pt x="1132685" y="311518"/>
                    <a:pt x="1130543" y="317215"/>
                  </a:cubicBezTo>
                  <a:cubicBezTo>
                    <a:pt x="1130543" y="317215"/>
                    <a:pt x="1130543" y="317215"/>
                    <a:pt x="1130543" y="317927"/>
                  </a:cubicBezTo>
                  <a:cubicBezTo>
                    <a:pt x="1130543" y="319351"/>
                    <a:pt x="1129116" y="322912"/>
                    <a:pt x="1126260" y="327184"/>
                  </a:cubicBezTo>
                  <a:cubicBezTo>
                    <a:pt x="1123404" y="333593"/>
                    <a:pt x="1119121" y="341425"/>
                    <a:pt x="1114124" y="348546"/>
                  </a:cubicBezTo>
                  <a:cubicBezTo>
                    <a:pt x="1107699" y="358515"/>
                    <a:pt x="1099846" y="367772"/>
                    <a:pt x="1094134" y="372045"/>
                  </a:cubicBezTo>
                  <a:cubicBezTo>
                    <a:pt x="1086995" y="390558"/>
                    <a:pt x="1091279" y="383438"/>
                    <a:pt x="1084854" y="394119"/>
                  </a:cubicBezTo>
                  <a:cubicBezTo>
                    <a:pt x="1083426" y="396255"/>
                    <a:pt x="1081284" y="398391"/>
                    <a:pt x="1079142" y="400527"/>
                  </a:cubicBezTo>
                  <a:cubicBezTo>
                    <a:pt x="1074145" y="404800"/>
                    <a:pt x="1067006" y="409784"/>
                    <a:pt x="1058439" y="414057"/>
                  </a:cubicBezTo>
                  <a:cubicBezTo>
                    <a:pt x="1045589" y="420465"/>
                    <a:pt x="1030597" y="425450"/>
                    <a:pt x="1019174" y="425450"/>
                  </a:cubicBezTo>
                  <a:cubicBezTo>
                    <a:pt x="1007752" y="425450"/>
                    <a:pt x="992760" y="419753"/>
                    <a:pt x="979909" y="413345"/>
                  </a:cubicBezTo>
                  <a:cubicBezTo>
                    <a:pt x="971343" y="409072"/>
                    <a:pt x="964204" y="404088"/>
                    <a:pt x="959206" y="399815"/>
                  </a:cubicBezTo>
                  <a:cubicBezTo>
                    <a:pt x="957064" y="397679"/>
                    <a:pt x="954923" y="395543"/>
                    <a:pt x="953495" y="394119"/>
                  </a:cubicBezTo>
                  <a:cubicBezTo>
                    <a:pt x="947784" y="385574"/>
                    <a:pt x="951353" y="390558"/>
                    <a:pt x="944214" y="372045"/>
                  </a:cubicBezTo>
                  <a:cubicBezTo>
                    <a:pt x="939931" y="369196"/>
                    <a:pt x="932078" y="359227"/>
                    <a:pt x="924939" y="348546"/>
                  </a:cubicBezTo>
                  <a:cubicBezTo>
                    <a:pt x="919941" y="341425"/>
                    <a:pt x="915658" y="334305"/>
                    <a:pt x="912088" y="327184"/>
                  </a:cubicBezTo>
                  <a:cubicBezTo>
                    <a:pt x="909233" y="322200"/>
                    <a:pt x="907091" y="317927"/>
                    <a:pt x="907091" y="315079"/>
                  </a:cubicBezTo>
                  <a:cubicBezTo>
                    <a:pt x="907091" y="314367"/>
                    <a:pt x="907091" y="314367"/>
                    <a:pt x="907091" y="313655"/>
                  </a:cubicBezTo>
                  <a:cubicBezTo>
                    <a:pt x="904235" y="302974"/>
                    <a:pt x="898524" y="290868"/>
                    <a:pt x="898524" y="278763"/>
                  </a:cubicBezTo>
                  <a:cubicBezTo>
                    <a:pt x="898524" y="211116"/>
                    <a:pt x="951353" y="155575"/>
                    <a:pt x="1019174" y="155575"/>
                  </a:cubicBezTo>
                  <a:close/>
                  <a:moveTo>
                    <a:pt x="507999" y="155575"/>
                  </a:moveTo>
                  <a:cubicBezTo>
                    <a:pt x="575820" y="155575"/>
                    <a:pt x="628649" y="211116"/>
                    <a:pt x="628649" y="278763"/>
                  </a:cubicBezTo>
                  <a:cubicBezTo>
                    <a:pt x="628649" y="292293"/>
                    <a:pt x="622938" y="305110"/>
                    <a:pt x="619368" y="317215"/>
                  </a:cubicBezTo>
                  <a:cubicBezTo>
                    <a:pt x="619368" y="317215"/>
                    <a:pt x="619368" y="317215"/>
                    <a:pt x="619368" y="317927"/>
                  </a:cubicBezTo>
                  <a:cubicBezTo>
                    <a:pt x="619368" y="319351"/>
                    <a:pt x="617940" y="322912"/>
                    <a:pt x="615085" y="327184"/>
                  </a:cubicBezTo>
                  <a:cubicBezTo>
                    <a:pt x="612229" y="333593"/>
                    <a:pt x="607946" y="341425"/>
                    <a:pt x="602948" y="348546"/>
                  </a:cubicBezTo>
                  <a:cubicBezTo>
                    <a:pt x="595809" y="358515"/>
                    <a:pt x="588670" y="367772"/>
                    <a:pt x="582959" y="372045"/>
                  </a:cubicBezTo>
                  <a:cubicBezTo>
                    <a:pt x="575106" y="390558"/>
                    <a:pt x="579389" y="383438"/>
                    <a:pt x="573678" y="394119"/>
                  </a:cubicBezTo>
                  <a:cubicBezTo>
                    <a:pt x="572250" y="396255"/>
                    <a:pt x="570109" y="398391"/>
                    <a:pt x="567253" y="400527"/>
                  </a:cubicBezTo>
                  <a:cubicBezTo>
                    <a:pt x="562256" y="404800"/>
                    <a:pt x="555117" y="409784"/>
                    <a:pt x="547264" y="414057"/>
                  </a:cubicBezTo>
                  <a:cubicBezTo>
                    <a:pt x="534413" y="420465"/>
                    <a:pt x="519421" y="425450"/>
                    <a:pt x="507999" y="425450"/>
                  </a:cubicBezTo>
                  <a:cubicBezTo>
                    <a:pt x="495862" y="425450"/>
                    <a:pt x="480870" y="419753"/>
                    <a:pt x="468020" y="413345"/>
                  </a:cubicBezTo>
                  <a:cubicBezTo>
                    <a:pt x="460167" y="409072"/>
                    <a:pt x="452314" y="404088"/>
                    <a:pt x="447317" y="399815"/>
                  </a:cubicBezTo>
                  <a:cubicBezTo>
                    <a:pt x="445175" y="397679"/>
                    <a:pt x="443747" y="395543"/>
                    <a:pt x="442319" y="394119"/>
                  </a:cubicBezTo>
                  <a:cubicBezTo>
                    <a:pt x="436608" y="385574"/>
                    <a:pt x="440178" y="390558"/>
                    <a:pt x="433039" y="372045"/>
                  </a:cubicBezTo>
                  <a:cubicBezTo>
                    <a:pt x="428755" y="369196"/>
                    <a:pt x="420902" y="359227"/>
                    <a:pt x="413763" y="348546"/>
                  </a:cubicBezTo>
                  <a:cubicBezTo>
                    <a:pt x="408766" y="341425"/>
                    <a:pt x="403769" y="334305"/>
                    <a:pt x="400913" y="327184"/>
                  </a:cubicBezTo>
                  <a:cubicBezTo>
                    <a:pt x="398057" y="322200"/>
                    <a:pt x="395916" y="317927"/>
                    <a:pt x="395916" y="315079"/>
                  </a:cubicBezTo>
                  <a:cubicBezTo>
                    <a:pt x="395202" y="314367"/>
                    <a:pt x="395916" y="314367"/>
                    <a:pt x="395202" y="313655"/>
                  </a:cubicBezTo>
                  <a:cubicBezTo>
                    <a:pt x="393060" y="302974"/>
                    <a:pt x="387349" y="290868"/>
                    <a:pt x="387349" y="278763"/>
                  </a:cubicBezTo>
                  <a:cubicBezTo>
                    <a:pt x="387349" y="211116"/>
                    <a:pt x="439464" y="155575"/>
                    <a:pt x="507999" y="155575"/>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nvGrpSpPr>
          <p:cNvPr id="60" name="Group 59">
            <a:extLst>
              <a:ext uri="{FF2B5EF4-FFF2-40B4-BE49-F238E27FC236}">
                <a16:creationId xmlns:a16="http://schemas.microsoft.com/office/drawing/2014/main" id="{3243B460-6442-4D71-B723-A943E4AA87AF}"/>
              </a:ext>
            </a:extLst>
          </p:cNvPr>
          <p:cNvGrpSpPr/>
          <p:nvPr/>
        </p:nvGrpSpPr>
        <p:grpSpPr>
          <a:xfrm>
            <a:off x="4976470" y="3076608"/>
            <a:ext cx="940977" cy="1009871"/>
            <a:chOff x="6140583" y="-1159297"/>
            <a:chExt cx="1644650" cy="1644650"/>
          </a:xfrm>
        </p:grpSpPr>
        <p:sp>
          <p:nvSpPr>
            <p:cNvPr id="61" name="AutoShape 3">
              <a:extLst>
                <a:ext uri="{FF2B5EF4-FFF2-40B4-BE49-F238E27FC236}">
                  <a16:creationId xmlns:a16="http://schemas.microsoft.com/office/drawing/2014/main" id="{3B918DC4-9CB0-4FAA-8CBD-E66098A5461F}"/>
                </a:ext>
              </a:extLst>
            </p:cNvPr>
            <p:cNvSpPr>
              <a:spLocks noChangeAspect="1" noChangeArrowheads="1" noTextEdit="1"/>
            </p:cNvSpPr>
            <p:nvPr/>
          </p:nvSpPr>
          <p:spPr bwMode="auto">
            <a:xfrm>
              <a:off x="6140583" y="-1159297"/>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8">
              <a:extLst>
                <a:ext uri="{FF2B5EF4-FFF2-40B4-BE49-F238E27FC236}">
                  <a16:creationId xmlns:a16="http://schemas.microsoft.com/office/drawing/2014/main" id="{7A4C7CCC-AF4B-4B75-9420-0960ABD7E6B8}"/>
                </a:ext>
              </a:extLst>
            </p:cNvPr>
            <p:cNvSpPr>
              <a:spLocks/>
            </p:cNvSpPr>
            <p:nvPr/>
          </p:nvSpPr>
          <p:spPr bwMode="auto">
            <a:xfrm>
              <a:off x="6199321" y="-671935"/>
              <a:ext cx="1533525" cy="614362"/>
            </a:xfrm>
            <a:custGeom>
              <a:avLst/>
              <a:gdLst>
                <a:gd name="connsiteX0" fmla="*/ 1246187 w 1533525"/>
                <a:gd name="connsiteY0" fmla="*/ 511175 h 614362"/>
                <a:gd name="connsiteX1" fmla="*/ 1517878 w 1533525"/>
                <a:gd name="connsiteY1" fmla="*/ 511175 h 614362"/>
                <a:gd name="connsiteX2" fmla="*/ 1533525 w 1533525"/>
                <a:gd name="connsiteY2" fmla="*/ 527050 h 614362"/>
                <a:gd name="connsiteX3" fmla="*/ 1517878 w 1533525"/>
                <a:gd name="connsiteY3" fmla="*/ 542925 h 614362"/>
                <a:gd name="connsiteX4" fmla="*/ 1255433 w 1533525"/>
                <a:gd name="connsiteY4" fmla="*/ 542925 h 614362"/>
                <a:gd name="connsiteX5" fmla="*/ 1246187 w 1533525"/>
                <a:gd name="connsiteY5" fmla="*/ 511175 h 614362"/>
                <a:gd name="connsiteX6" fmla="*/ 735012 w 1533525"/>
                <a:gd name="connsiteY6" fmla="*/ 511175 h 614362"/>
                <a:gd name="connsiteX7" fmla="*/ 792162 w 1533525"/>
                <a:gd name="connsiteY7" fmla="*/ 511175 h 614362"/>
                <a:gd name="connsiteX8" fmla="*/ 783101 w 1533525"/>
                <a:gd name="connsiteY8" fmla="*/ 542925 h 614362"/>
                <a:gd name="connsiteX9" fmla="*/ 744072 w 1533525"/>
                <a:gd name="connsiteY9" fmla="*/ 542925 h 614362"/>
                <a:gd name="connsiteX10" fmla="*/ 735012 w 1533525"/>
                <a:gd name="connsiteY10" fmla="*/ 511175 h 614362"/>
                <a:gd name="connsiteX11" fmla="*/ 15650 w 1533525"/>
                <a:gd name="connsiteY11" fmla="*/ 511175 h 614362"/>
                <a:gd name="connsiteX12" fmla="*/ 280988 w 1533525"/>
                <a:gd name="connsiteY12" fmla="*/ 511175 h 614362"/>
                <a:gd name="connsiteX13" fmla="*/ 271740 w 1533525"/>
                <a:gd name="connsiteY13" fmla="*/ 542925 h 614362"/>
                <a:gd name="connsiteX14" fmla="*/ 15650 w 1533525"/>
                <a:gd name="connsiteY14" fmla="*/ 542925 h 614362"/>
                <a:gd name="connsiteX15" fmla="*/ 0 w 1533525"/>
                <a:gd name="connsiteY15" fmla="*/ 527050 h 614362"/>
                <a:gd name="connsiteX16" fmla="*/ 15650 w 1533525"/>
                <a:gd name="connsiteY16" fmla="*/ 511175 h 614362"/>
                <a:gd name="connsiteX17" fmla="*/ 947992 w 1533525"/>
                <a:gd name="connsiteY17" fmla="*/ 452437 h 614362"/>
                <a:gd name="connsiteX18" fmla="*/ 979312 w 1533525"/>
                <a:gd name="connsiteY18" fmla="*/ 469557 h 614362"/>
                <a:gd name="connsiteX19" fmla="*/ 997107 w 1533525"/>
                <a:gd name="connsiteY19" fmla="*/ 473837 h 614362"/>
                <a:gd name="connsiteX20" fmla="*/ 1019174 w 1533525"/>
                <a:gd name="connsiteY20" fmla="*/ 475264 h 614362"/>
                <a:gd name="connsiteX21" fmla="*/ 1041240 w 1533525"/>
                <a:gd name="connsiteY21" fmla="*/ 473837 h 614362"/>
                <a:gd name="connsiteX22" fmla="*/ 1059035 w 1533525"/>
                <a:gd name="connsiteY22" fmla="*/ 469557 h 614362"/>
                <a:gd name="connsiteX23" fmla="*/ 1091067 w 1533525"/>
                <a:gd name="connsiteY23" fmla="*/ 452437 h 614362"/>
                <a:gd name="connsiteX24" fmla="*/ 1185738 w 1533525"/>
                <a:gd name="connsiteY24" fmla="*/ 468844 h 614362"/>
                <a:gd name="connsiteX25" fmla="*/ 1195704 w 1533525"/>
                <a:gd name="connsiteY25" fmla="*/ 478117 h 614362"/>
                <a:gd name="connsiteX26" fmla="*/ 1204246 w 1533525"/>
                <a:gd name="connsiteY26" fmla="*/ 493097 h 614362"/>
                <a:gd name="connsiteX27" fmla="*/ 1211364 w 1533525"/>
                <a:gd name="connsiteY27" fmla="*/ 509503 h 614362"/>
                <a:gd name="connsiteX28" fmla="*/ 1211364 w 1533525"/>
                <a:gd name="connsiteY28" fmla="*/ 510930 h 614362"/>
                <a:gd name="connsiteX29" fmla="*/ 1222041 w 1533525"/>
                <a:gd name="connsiteY29" fmla="*/ 542316 h 614362"/>
                <a:gd name="connsiteX30" fmla="*/ 1239124 w 1533525"/>
                <a:gd name="connsiteY30" fmla="*/ 607229 h 614362"/>
                <a:gd name="connsiteX31" fmla="*/ 1233430 w 1533525"/>
                <a:gd name="connsiteY31" fmla="*/ 614362 h 614362"/>
                <a:gd name="connsiteX32" fmla="*/ 804918 w 1533525"/>
                <a:gd name="connsiteY32" fmla="*/ 614362 h 614362"/>
                <a:gd name="connsiteX33" fmla="*/ 799935 w 1533525"/>
                <a:gd name="connsiteY33" fmla="*/ 607229 h 614362"/>
                <a:gd name="connsiteX34" fmla="*/ 817018 w 1533525"/>
                <a:gd name="connsiteY34" fmla="*/ 542316 h 614362"/>
                <a:gd name="connsiteX35" fmla="*/ 826984 w 1533525"/>
                <a:gd name="connsiteY35" fmla="*/ 510930 h 614362"/>
                <a:gd name="connsiteX36" fmla="*/ 827696 w 1533525"/>
                <a:gd name="connsiteY36" fmla="*/ 509503 h 614362"/>
                <a:gd name="connsiteX37" fmla="*/ 834102 w 1533525"/>
                <a:gd name="connsiteY37" fmla="*/ 493097 h 614362"/>
                <a:gd name="connsiteX38" fmla="*/ 842644 w 1533525"/>
                <a:gd name="connsiteY38" fmla="*/ 478117 h 614362"/>
                <a:gd name="connsiteX39" fmla="*/ 853321 w 1533525"/>
                <a:gd name="connsiteY39" fmla="*/ 468844 h 614362"/>
                <a:gd name="connsiteX40" fmla="*/ 947992 w 1533525"/>
                <a:gd name="connsiteY40" fmla="*/ 452437 h 614362"/>
                <a:gd name="connsiteX41" fmla="*/ 436105 w 1533525"/>
                <a:gd name="connsiteY41" fmla="*/ 452437 h 614362"/>
                <a:gd name="connsiteX42" fmla="*/ 466713 w 1533525"/>
                <a:gd name="connsiteY42" fmla="*/ 468844 h 614362"/>
                <a:gd name="connsiteX43" fmla="*/ 485932 w 1533525"/>
                <a:gd name="connsiteY43" fmla="*/ 473837 h 614362"/>
                <a:gd name="connsiteX44" fmla="*/ 507998 w 1533525"/>
                <a:gd name="connsiteY44" fmla="*/ 475264 h 614362"/>
                <a:gd name="connsiteX45" fmla="*/ 530065 w 1533525"/>
                <a:gd name="connsiteY45" fmla="*/ 473837 h 614362"/>
                <a:gd name="connsiteX46" fmla="*/ 547860 w 1533525"/>
                <a:gd name="connsiteY46" fmla="*/ 469557 h 614362"/>
                <a:gd name="connsiteX47" fmla="*/ 579180 w 1533525"/>
                <a:gd name="connsiteY47" fmla="*/ 452437 h 614362"/>
                <a:gd name="connsiteX48" fmla="*/ 673851 w 1533525"/>
                <a:gd name="connsiteY48" fmla="*/ 468844 h 614362"/>
                <a:gd name="connsiteX49" fmla="*/ 684528 w 1533525"/>
                <a:gd name="connsiteY49" fmla="*/ 478117 h 614362"/>
                <a:gd name="connsiteX50" fmla="*/ 693070 w 1533525"/>
                <a:gd name="connsiteY50" fmla="*/ 493097 h 614362"/>
                <a:gd name="connsiteX51" fmla="*/ 699476 w 1533525"/>
                <a:gd name="connsiteY51" fmla="*/ 509503 h 614362"/>
                <a:gd name="connsiteX52" fmla="*/ 700188 w 1533525"/>
                <a:gd name="connsiteY52" fmla="*/ 510930 h 614362"/>
                <a:gd name="connsiteX53" fmla="*/ 710154 w 1533525"/>
                <a:gd name="connsiteY53" fmla="*/ 542316 h 614362"/>
                <a:gd name="connsiteX54" fmla="*/ 727237 w 1533525"/>
                <a:gd name="connsiteY54" fmla="*/ 607229 h 614362"/>
                <a:gd name="connsiteX55" fmla="*/ 722254 w 1533525"/>
                <a:gd name="connsiteY55" fmla="*/ 614362 h 614362"/>
                <a:gd name="connsiteX56" fmla="*/ 293742 w 1533525"/>
                <a:gd name="connsiteY56" fmla="*/ 614362 h 614362"/>
                <a:gd name="connsiteX57" fmla="*/ 288048 w 1533525"/>
                <a:gd name="connsiteY57" fmla="*/ 607229 h 614362"/>
                <a:gd name="connsiteX58" fmla="*/ 305131 w 1533525"/>
                <a:gd name="connsiteY58" fmla="*/ 542316 h 614362"/>
                <a:gd name="connsiteX59" fmla="*/ 315808 w 1533525"/>
                <a:gd name="connsiteY59" fmla="*/ 510930 h 614362"/>
                <a:gd name="connsiteX60" fmla="*/ 315808 w 1533525"/>
                <a:gd name="connsiteY60" fmla="*/ 509503 h 614362"/>
                <a:gd name="connsiteX61" fmla="*/ 321503 w 1533525"/>
                <a:gd name="connsiteY61" fmla="*/ 496663 h 614362"/>
                <a:gd name="connsiteX62" fmla="*/ 331468 w 1533525"/>
                <a:gd name="connsiteY62" fmla="*/ 478117 h 614362"/>
                <a:gd name="connsiteX63" fmla="*/ 341434 w 1533525"/>
                <a:gd name="connsiteY63" fmla="*/ 468844 h 614362"/>
                <a:gd name="connsiteX64" fmla="*/ 436105 w 1533525"/>
                <a:gd name="connsiteY64" fmla="*/ 452437 h 614362"/>
                <a:gd name="connsiteX65" fmla="*/ 764317 w 1533525"/>
                <a:gd name="connsiteY65" fmla="*/ 349250 h 614362"/>
                <a:gd name="connsiteX66" fmla="*/ 778175 w 1533525"/>
                <a:gd name="connsiteY66" fmla="*/ 350679 h 614362"/>
                <a:gd name="connsiteX67" fmla="*/ 788387 w 1533525"/>
                <a:gd name="connsiteY67" fmla="*/ 352822 h 614362"/>
                <a:gd name="connsiteX68" fmla="*/ 789845 w 1533525"/>
                <a:gd name="connsiteY68" fmla="*/ 355680 h 614362"/>
                <a:gd name="connsiteX69" fmla="*/ 773799 w 1533525"/>
                <a:gd name="connsiteY69" fmla="*/ 380683 h 614362"/>
                <a:gd name="connsiteX70" fmla="*/ 773799 w 1533525"/>
                <a:gd name="connsiteY70" fmla="*/ 382826 h 614362"/>
                <a:gd name="connsiteX71" fmla="*/ 789116 w 1533525"/>
                <a:gd name="connsiteY71" fmla="*/ 477838 h 614362"/>
                <a:gd name="connsiteX72" fmla="*/ 736600 w 1533525"/>
                <a:gd name="connsiteY72" fmla="*/ 477838 h 614362"/>
                <a:gd name="connsiteX73" fmla="*/ 753376 w 1533525"/>
                <a:gd name="connsiteY73" fmla="*/ 382826 h 614362"/>
                <a:gd name="connsiteX74" fmla="*/ 753376 w 1533525"/>
                <a:gd name="connsiteY74" fmla="*/ 380683 h 614362"/>
                <a:gd name="connsiteX75" fmla="*/ 737329 w 1533525"/>
                <a:gd name="connsiteY75" fmla="*/ 355680 h 614362"/>
                <a:gd name="connsiteX76" fmla="*/ 738788 w 1533525"/>
                <a:gd name="connsiteY76" fmla="*/ 352822 h 614362"/>
                <a:gd name="connsiteX77" fmla="*/ 749729 w 1533525"/>
                <a:gd name="connsiteY77" fmla="*/ 350679 h 614362"/>
                <a:gd name="connsiteX78" fmla="*/ 764317 w 1533525"/>
                <a:gd name="connsiteY78" fmla="*/ 349250 h 614362"/>
                <a:gd name="connsiteX79" fmla="*/ 1200963 w 1533525"/>
                <a:gd name="connsiteY79" fmla="*/ 334962 h 614362"/>
                <a:gd name="connsiteX80" fmla="*/ 1203105 w 1533525"/>
                <a:gd name="connsiteY80" fmla="*/ 337095 h 614362"/>
                <a:gd name="connsiteX81" fmla="*/ 1268787 w 1533525"/>
                <a:gd name="connsiteY81" fmla="*/ 409598 h 614362"/>
                <a:gd name="connsiteX82" fmla="*/ 1280210 w 1533525"/>
                <a:gd name="connsiteY82" fmla="*/ 409598 h 614362"/>
                <a:gd name="connsiteX83" fmla="*/ 1345893 w 1533525"/>
                <a:gd name="connsiteY83" fmla="*/ 337095 h 614362"/>
                <a:gd name="connsiteX84" fmla="*/ 1348034 w 1533525"/>
                <a:gd name="connsiteY84" fmla="*/ 334962 h 614362"/>
                <a:gd name="connsiteX85" fmla="*/ 1441561 w 1533525"/>
                <a:gd name="connsiteY85" fmla="*/ 351311 h 614362"/>
                <a:gd name="connsiteX86" fmla="*/ 1492250 w 1533525"/>
                <a:gd name="connsiteY86" fmla="*/ 477837 h 614362"/>
                <a:gd name="connsiteX87" fmla="*/ 1232376 w 1533525"/>
                <a:gd name="connsiteY87" fmla="*/ 477837 h 614362"/>
                <a:gd name="connsiteX88" fmla="*/ 1198821 w 1533525"/>
                <a:gd name="connsiteY88" fmla="*/ 440164 h 614362"/>
                <a:gd name="connsiteX89" fmla="*/ 1101725 w 1533525"/>
                <a:gd name="connsiteY89" fmla="*/ 421682 h 614362"/>
                <a:gd name="connsiteX90" fmla="*/ 1111720 w 1533525"/>
                <a:gd name="connsiteY90" fmla="*/ 409598 h 614362"/>
                <a:gd name="connsiteX91" fmla="*/ 1112434 w 1533525"/>
                <a:gd name="connsiteY91" fmla="*/ 408177 h 614362"/>
                <a:gd name="connsiteX92" fmla="*/ 1118859 w 1533525"/>
                <a:gd name="connsiteY92" fmla="*/ 394671 h 614362"/>
                <a:gd name="connsiteX93" fmla="*/ 1120287 w 1533525"/>
                <a:gd name="connsiteY93" fmla="*/ 390406 h 614362"/>
                <a:gd name="connsiteX94" fmla="*/ 1155271 w 1533525"/>
                <a:gd name="connsiteY94" fmla="*/ 338516 h 614362"/>
                <a:gd name="connsiteX95" fmla="*/ 1200963 w 1533525"/>
                <a:gd name="connsiteY95" fmla="*/ 334962 h 614362"/>
                <a:gd name="connsiteX96" fmla="*/ 837524 w 1533525"/>
                <a:gd name="connsiteY96" fmla="*/ 334962 h 614362"/>
                <a:gd name="connsiteX97" fmla="*/ 883153 w 1533525"/>
                <a:gd name="connsiteY97" fmla="*/ 338545 h 614362"/>
                <a:gd name="connsiteX98" fmla="*/ 917375 w 1533525"/>
                <a:gd name="connsiteY98" fmla="*/ 389427 h 614362"/>
                <a:gd name="connsiteX99" fmla="*/ 919514 w 1533525"/>
                <a:gd name="connsiteY99" fmla="*/ 395160 h 614362"/>
                <a:gd name="connsiteX100" fmla="*/ 928069 w 1533525"/>
                <a:gd name="connsiteY100" fmla="*/ 412360 h 614362"/>
                <a:gd name="connsiteX101" fmla="*/ 936625 w 1533525"/>
                <a:gd name="connsiteY101" fmla="*/ 422393 h 614362"/>
                <a:gd name="connsiteX102" fmla="*/ 839663 w 1533525"/>
                <a:gd name="connsiteY102" fmla="*/ 441026 h 614362"/>
                <a:gd name="connsiteX103" fmla="*/ 817562 w 1533525"/>
                <a:gd name="connsiteY103" fmla="*/ 460375 h 614362"/>
                <a:gd name="connsiteX104" fmla="*/ 835386 w 1533525"/>
                <a:gd name="connsiteY104" fmla="*/ 337112 h 614362"/>
                <a:gd name="connsiteX105" fmla="*/ 837524 w 1533525"/>
                <a:gd name="connsiteY105" fmla="*/ 334962 h 614362"/>
                <a:gd name="connsiteX106" fmla="*/ 689650 w 1533525"/>
                <a:gd name="connsiteY106" fmla="*/ 334962 h 614362"/>
                <a:gd name="connsiteX107" fmla="*/ 691789 w 1533525"/>
                <a:gd name="connsiteY107" fmla="*/ 337112 h 614362"/>
                <a:gd name="connsiteX108" fmla="*/ 709613 w 1533525"/>
                <a:gd name="connsiteY108" fmla="*/ 460375 h 614362"/>
                <a:gd name="connsiteX109" fmla="*/ 687511 w 1533525"/>
                <a:gd name="connsiteY109" fmla="*/ 441026 h 614362"/>
                <a:gd name="connsiteX110" fmla="*/ 590550 w 1533525"/>
                <a:gd name="connsiteY110" fmla="*/ 422393 h 614362"/>
                <a:gd name="connsiteX111" fmla="*/ 600531 w 1533525"/>
                <a:gd name="connsiteY111" fmla="*/ 410210 h 614362"/>
                <a:gd name="connsiteX112" fmla="*/ 601244 w 1533525"/>
                <a:gd name="connsiteY112" fmla="*/ 408777 h 614362"/>
                <a:gd name="connsiteX113" fmla="*/ 607661 w 1533525"/>
                <a:gd name="connsiteY113" fmla="*/ 395160 h 614362"/>
                <a:gd name="connsiteX114" fmla="*/ 609087 w 1533525"/>
                <a:gd name="connsiteY114" fmla="*/ 390860 h 614362"/>
                <a:gd name="connsiteX115" fmla="*/ 644021 w 1533525"/>
                <a:gd name="connsiteY115" fmla="*/ 338545 h 614362"/>
                <a:gd name="connsiteX116" fmla="*/ 689650 w 1533525"/>
                <a:gd name="connsiteY116" fmla="*/ 334962 h 614362"/>
                <a:gd name="connsiteX117" fmla="*/ 180120 w 1533525"/>
                <a:gd name="connsiteY117" fmla="*/ 334962 h 614362"/>
                <a:gd name="connsiteX118" fmla="*/ 252360 w 1533525"/>
                <a:gd name="connsiteY118" fmla="*/ 369082 h 614362"/>
                <a:gd name="connsiteX119" fmla="*/ 323885 w 1533525"/>
                <a:gd name="connsiteY119" fmla="*/ 334962 h 614362"/>
                <a:gd name="connsiteX120" fmla="*/ 371806 w 1533525"/>
                <a:gd name="connsiteY120" fmla="*/ 338516 h 614362"/>
                <a:gd name="connsiteX121" fmla="*/ 406138 w 1533525"/>
                <a:gd name="connsiteY121" fmla="*/ 388985 h 614362"/>
                <a:gd name="connsiteX122" fmla="*/ 408284 w 1533525"/>
                <a:gd name="connsiteY122" fmla="*/ 394671 h 614362"/>
                <a:gd name="connsiteX123" fmla="*/ 416867 w 1533525"/>
                <a:gd name="connsiteY123" fmla="*/ 411731 h 614362"/>
                <a:gd name="connsiteX124" fmla="*/ 425450 w 1533525"/>
                <a:gd name="connsiteY124" fmla="*/ 421682 h 614362"/>
                <a:gd name="connsiteX125" fmla="*/ 328176 w 1533525"/>
                <a:gd name="connsiteY125" fmla="*/ 440164 h 614362"/>
                <a:gd name="connsiteX126" fmla="*/ 294560 w 1533525"/>
                <a:gd name="connsiteY126" fmla="*/ 477837 h 614362"/>
                <a:gd name="connsiteX127" fmla="*/ 34925 w 1533525"/>
                <a:gd name="connsiteY127" fmla="*/ 477837 h 614362"/>
                <a:gd name="connsiteX128" fmla="*/ 84992 w 1533525"/>
                <a:gd name="connsiteY128" fmla="*/ 351311 h 614362"/>
                <a:gd name="connsiteX129" fmla="*/ 180120 w 1533525"/>
                <a:gd name="connsiteY129" fmla="*/ 334962 h 614362"/>
                <a:gd name="connsiteX130" fmla="*/ 1381410 w 1533525"/>
                <a:gd name="connsiteY130" fmla="*/ 215900 h 614362"/>
                <a:gd name="connsiteX131" fmla="*/ 1414463 w 1533525"/>
                <a:gd name="connsiteY131" fmla="*/ 298275 h 614362"/>
                <a:gd name="connsiteX132" fmla="*/ 1376380 w 1533525"/>
                <a:gd name="connsiteY132" fmla="*/ 320675 h 614362"/>
                <a:gd name="connsiteX133" fmla="*/ 1349074 w 1533525"/>
                <a:gd name="connsiteY133" fmla="*/ 319230 h 614362"/>
                <a:gd name="connsiteX134" fmla="*/ 1346200 w 1533525"/>
                <a:gd name="connsiteY134" fmla="*/ 317785 h 614362"/>
                <a:gd name="connsiteX135" fmla="*/ 1346200 w 1533525"/>
                <a:gd name="connsiteY135" fmla="*/ 293939 h 614362"/>
                <a:gd name="connsiteX136" fmla="*/ 1381410 w 1533525"/>
                <a:gd name="connsiteY136" fmla="*/ 215900 h 614362"/>
                <a:gd name="connsiteX137" fmla="*/ 1167890 w 1533525"/>
                <a:gd name="connsiteY137" fmla="*/ 215900 h 614362"/>
                <a:gd name="connsiteX138" fmla="*/ 1203325 w 1533525"/>
                <a:gd name="connsiteY138" fmla="*/ 293939 h 614362"/>
                <a:gd name="connsiteX139" fmla="*/ 1203325 w 1533525"/>
                <a:gd name="connsiteY139" fmla="*/ 317785 h 614362"/>
                <a:gd name="connsiteX140" fmla="*/ 1200490 w 1533525"/>
                <a:gd name="connsiteY140" fmla="*/ 319230 h 614362"/>
                <a:gd name="connsiteX141" fmla="*/ 1173559 w 1533525"/>
                <a:gd name="connsiteY141" fmla="*/ 320675 h 614362"/>
                <a:gd name="connsiteX142" fmla="*/ 1163637 w 1533525"/>
                <a:gd name="connsiteY142" fmla="*/ 317785 h 614362"/>
                <a:gd name="connsiteX143" fmla="*/ 1171433 w 1533525"/>
                <a:gd name="connsiteY143" fmla="*/ 278765 h 614362"/>
                <a:gd name="connsiteX144" fmla="*/ 1165055 w 1533525"/>
                <a:gd name="connsiteY144" fmla="*/ 233242 h 614362"/>
                <a:gd name="connsiteX145" fmla="*/ 1167890 w 1533525"/>
                <a:gd name="connsiteY145" fmla="*/ 215900 h 614362"/>
                <a:gd name="connsiteX146" fmla="*/ 1019174 w 1533525"/>
                <a:gd name="connsiteY146" fmla="*/ 155575 h 614362"/>
                <a:gd name="connsiteX147" fmla="*/ 1139824 w 1533525"/>
                <a:gd name="connsiteY147" fmla="*/ 278763 h 614362"/>
                <a:gd name="connsiteX148" fmla="*/ 1136969 w 1533525"/>
                <a:gd name="connsiteY148" fmla="*/ 297989 h 614362"/>
                <a:gd name="connsiteX149" fmla="*/ 1136255 w 1533525"/>
                <a:gd name="connsiteY149" fmla="*/ 299413 h 614362"/>
                <a:gd name="connsiteX150" fmla="*/ 1130543 w 1533525"/>
                <a:gd name="connsiteY150" fmla="*/ 317215 h 614362"/>
                <a:gd name="connsiteX151" fmla="*/ 1130543 w 1533525"/>
                <a:gd name="connsiteY151" fmla="*/ 317927 h 614362"/>
                <a:gd name="connsiteX152" fmla="*/ 1126260 w 1533525"/>
                <a:gd name="connsiteY152" fmla="*/ 327184 h 614362"/>
                <a:gd name="connsiteX153" fmla="*/ 1114124 w 1533525"/>
                <a:gd name="connsiteY153" fmla="*/ 348546 h 614362"/>
                <a:gd name="connsiteX154" fmla="*/ 1094134 w 1533525"/>
                <a:gd name="connsiteY154" fmla="*/ 372045 h 614362"/>
                <a:gd name="connsiteX155" fmla="*/ 1084854 w 1533525"/>
                <a:gd name="connsiteY155" fmla="*/ 394119 h 614362"/>
                <a:gd name="connsiteX156" fmla="*/ 1079142 w 1533525"/>
                <a:gd name="connsiteY156" fmla="*/ 400527 h 614362"/>
                <a:gd name="connsiteX157" fmla="*/ 1058439 w 1533525"/>
                <a:gd name="connsiteY157" fmla="*/ 414057 h 614362"/>
                <a:gd name="connsiteX158" fmla="*/ 1019174 w 1533525"/>
                <a:gd name="connsiteY158" fmla="*/ 425450 h 614362"/>
                <a:gd name="connsiteX159" fmla="*/ 979909 w 1533525"/>
                <a:gd name="connsiteY159" fmla="*/ 413345 h 614362"/>
                <a:gd name="connsiteX160" fmla="*/ 959206 w 1533525"/>
                <a:gd name="connsiteY160" fmla="*/ 399815 h 614362"/>
                <a:gd name="connsiteX161" fmla="*/ 953495 w 1533525"/>
                <a:gd name="connsiteY161" fmla="*/ 394119 h 614362"/>
                <a:gd name="connsiteX162" fmla="*/ 944214 w 1533525"/>
                <a:gd name="connsiteY162" fmla="*/ 372045 h 614362"/>
                <a:gd name="connsiteX163" fmla="*/ 924939 w 1533525"/>
                <a:gd name="connsiteY163" fmla="*/ 348546 h 614362"/>
                <a:gd name="connsiteX164" fmla="*/ 912088 w 1533525"/>
                <a:gd name="connsiteY164" fmla="*/ 327184 h 614362"/>
                <a:gd name="connsiteX165" fmla="*/ 907091 w 1533525"/>
                <a:gd name="connsiteY165" fmla="*/ 315079 h 614362"/>
                <a:gd name="connsiteX166" fmla="*/ 907091 w 1533525"/>
                <a:gd name="connsiteY166" fmla="*/ 313655 h 614362"/>
                <a:gd name="connsiteX167" fmla="*/ 898524 w 1533525"/>
                <a:gd name="connsiteY167" fmla="*/ 278763 h 614362"/>
                <a:gd name="connsiteX168" fmla="*/ 1019174 w 1533525"/>
                <a:gd name="connsiteY168" fmla="*/ 155575 h 614362"/>
                <a:gd name="connsiteX169" fmla="*/ 507999 w 1533525"/>
                <a:gd name="connsiteY169" fmla="*/ 155575 h 614362"/>
                <a:gd name="connsiteX170" fmla="*/ 628649 w 1533525"/>
                <a:gd name="connsiteY170" fmla="*/ 278763 h 614362"/>
                <a:gd name="connsiteX171" fmla="*/ 619368 w 1533525"/>
                <a:gd name="connsiteY171" fmla="*/ 317215 h 614362"/>
                <a:gd name="connsiteX172" fmla="*/ 619368 w 1533525"/>
                <a:gd name="connsiteY172" fmla="*/ 317927 h 614362"/>
                <a:gd name="connsiteX173" fmla="*/ 615085 w 1533525"/>
                <a:gd name="connsiteY173" fmla="*/ 327184 h 614362"/>
                <a:gd name="connsiteX174" fmla="*/ 602948 w 1533525"/>
                <a:gd name="connsiteY174" fmla="*/ 348546 h 614362"/>
                <a:gd name="connsiteX175" fmla="*/ 582959 w 1533525"/>
                <a:gd name="connsiteY175" fmla="*/ 372045 h 614362"/>
                <a:gd name="connsiteX176" fmla="*/ 573678 w 1533525"/>
                <a:gd name="connsiteY176" fmla="*/ 394119 h 614362"/>
                <a:gd name="connsiteX177" fmla="*/ 567253 w 1533525"/>
                <a:gd name="connsiteY177" fmla="*/ 400527 h 614362"/>
                <a:gd name="connsiteX178" fmla="*/ 547264 w 1533525"/>
                <a:gd name="connsiteY178" fmla="*/ 414057 h 614362"/>
                <a:gd name="connsiteX179" fmla="*/ 507999 w 1533525"/>
                <a:gd name="connsiteY179" fmla="*/ 425450 h 614362"/>
                <a:gd name="connsiteX180" fmla="*/ 468020 w 1533525"/>
                <a:gd name="connsiteY180" fmla="*/ 413345 h 614362"/>
                <a:gd name="connsiteX181" fmla="*/ 447317 w 1533525"/>
                <a:gd name="connsiteY181" fmla="*/ 399815 h 614362"/>
                <a:gd name="connsiteX182" fmla="*/ 442319 w 1533525"/>
                <a:gd name="connsiteY182" fmla="*/ 394119 h 614362"/>
                <a:gd name="connsiteX183" fmla="*/ 433039 w 1533525"/>
                <a:gd name="connsiteY183" fmla="*/ 372045 h 614362"/>
                <a:gd name="connsiteX184" fmla="*/ 413763 w 1533525"/>
                <a:gd name="connsiteY184" fmla="*/ 348546 h 614362"/>
                <a:gd name="connsiteX185" fmla="*/ 400913 w 1533525"/>
                <a:gd name="connsiteY185" fmla="*/ 327184 h 614362"/>
                <a:gd name="connsiteX186" fmla="*/ 395916 w 1533525"/>
                <a:gd name="connsiteY186" fmla="*/ 315079 h 614362"/>
                <a:gd name="connsiteX187" fmla="*/ 395202 w 1533525"/>
                <a:gd name="connsiteY187" fmla="*/ 313655 h 614362"/>
                <a:gd name="connsiteX188" fmla="*/ 387349 w 1533525"/>
                <a:gd name="connsiteY188" fmla="*/ 278763 h 614362"/>
                <a:gd name="connsiteX189" fmla="*/ 507999 w 1533525"/>
                <a:gd name="connsiteY189" fmla="*/ 155575 h 614362"/>
                <a:gd name="connsiteX190" fmla="*/ 1275200 w 1533525"/>
                <a:gd name="connsiteY190" fmla="*/ 0 h 614362"/>
                <a:gd name="connsiteX191" fmla="*/ 1397875 w 1533525"/>
                <a:gd name="connsiteY191" fmla="*/ 124537 h 614362"/>
                <a:gd name="connsiteX192" fmla="*/ 1393596 w 1533525"/>
                <a:gd name="connsiteY192" fmla="*/ 166524 h 614362"/>
                <a:gd name="connsiteX193" fmla="*/ 1393596 w 1533525"/>
                <a:gd name="connsiteY193" fmla="*/ 165812 h 614362"/>
                <a:gd name="connsiteX194" fmla="*/ 1380044 w 1533525"/>
                <a:gd name="connsiteY194" fmla="*/ 185026 h 614362"/>
                <a:gd name="connsiteX195" fmla="*/ 1378618 w 1533525"/>
                <a:gd name="connsiteY195" fmla="*/ 185738 h 614362"/>
                <a:gd name="connsiteX196" fmla="*/ 1370772 w 1533525"/>
                <a:gd name="connsiteY196" fmla="*/ 185738 h 614362"/>
                <a:gd name="connsiteX197" fmla="*/ 1370059 w 1533525"/>
                <a:gd name="connsiteY197" fmla="*/ 185026 h 614362"/>
                <a:gd name="connsiteX198" fmla="*/ 1208870 w 1533525"/>
                <a:gd name="connsiteY198" fmla="*/ 100341 h 614362"/>
                <a:gd name="connsiteX199" fmla="*/ 1207444 w 1533525"/>
                <a:gd name="connsiteY199" fmla="*/ 99630 h 614362"/>
                <a:gd name="connsiteX200" fmla="*/ 1159658 w 1533525"/>
                <a:gd name="connsiteY200" fmla="*/ 175064 h 614362"/>
                <a:gd name="connsiteX201" fmla="*/ 1152525 w 1533525"/>
                <a:gd name="connsiteY201" fmla="*/ 124537 h 614362"/>
                <a:gd name="connsiteX202" fmla="*/ 1275200 w 1533525"/>
                <a:gd name="connsiteY202" fmla="*/ 0 h 614362"/>
                <a:gd name="connsiteX203" fmla="*/ 763587 w 1533525"/>
                <a:gd name="connsiteY203" fmla="*/ 0 h 614362"/>
                <a:gd name="connsiteX204" fmla="*/ 884237 w 1533525"/>
                <a:gd name="connsiteY204" fmla="*/ 123004 h 614362"/>
                <a:gd name="connsiteX205" fmla="*/ 879953 w 1533525"/>
                <a:gd name="connsiteY205" fmla="*/ 164953 h 614362"/>
                <a:gd name="connsiteX206" fmla="*/ 866389 w 1533525"/>
                <a:gd name="connsiteY206" fmla="*/ 184150 h 614362"/>
                <a:gd name="connsiteX207" fmla="*/ 857108 w 1533525"/>
                <a:gd name="connsiteY207" fmla="*/ 184150 h 614362"/>
                <a:gd name="connsiteX208" fmla="*/ 856394 w 1533525"/>
                <a:gd name="connsiteY208" fmla="*/ 93142 h 614362"/>
                <a:gd name="connsiteX209" fmla="*/ 697194 w 1533525"/>
                <a:gd name="connsiteY209" fmla="*/ 98830 h 614362"/>
                <a:gd name="connsiteX210" fmla="*/ 667923 w 1533525"/>
                <a:gd name="connsiteY210" fmla="*/ 182017 h 614362"/>
                <a:gd name="connsiteX211" fmla="*/ 660070 w 1533525"/>
                <a:gd name="connsiteY211" fmla="*/ 181306 h 614362"/>
                <a:gd name="connsiteX212" fmla="*/ 647934 w 1533525"/>
                <a:gd name="connsiteY212" fmla="*/ 166375 h 614362"/>
                <a:gd name="connsiteX213" fmla="*/ 642937 w 1533525"/>
                <a:gd name="connsiteY213" fmla="*/ 123004 h 614362"/>
                <a:gd name="connsiteX214" fmla="*/ 763587 w 1533525"/>
                <a:gd name="connsiteY214" fmla="*/ 0 h 614362"/>
                <a:gd name="connsiteX215" fmla="*/ 252412 w 1533525"/>
                <a:gd name="connsiteY215" fmla="*/ 0 h 614362"/>
                <a:gd name="connsiteX216" fmla="*/ 373062 w 1533525"/>
                <a:gd name="connsiteY216" fmla="*/ 123004 h 614362"/>
                <a:gd name="connsiteX217" fmla="*/ 368778 w 1533525"/>
                <a:gd name="connsiteY217" fmla="*/ 164953 h 614362"/>
                <a:gd name="connsiteX218" fmla="*/ 368064 w 1533525"/>
                <a:gd name="connsiteY218" fmla="*/ 164953 h 614362"/>
                <a:gd name="connsiteX219" fmla="*/ 354500 w 1533525"/>
                <a:gd name="connsiteY219" fmla="*/ 184150 h 614362"/>
                <a:gd name="connsiteX220" fmla="*/ 345933 w 1533525"/>
                <a:gd name="connsiteY220" fmla="*/ 184150 h 614362"/>
                <a:gd name="connsiteX221" fmla="*/ 344506 w 1533525"/>
                <a:gd name="connsiteY221" fmla="*/ 93142 h 614362"/>
                <a:gd name="connsiteX222" fmla="*/ 186019 w 1533525"/>
                <a:gd name="connsiteY222" fmla="*/ 98830 h 614362"/>
                <a:gd name="connsiteX223" fmla="*/ 156748 w 1533525"/>
                <a:gd name="connsiteY223" fmla="*/ 182017 h 614362"/>
                <a:gd name="connsiteX224" fmla="*/ 148182 w 1533525"/>
                <a:gd name="connsiteY224" fmla="*/ 181306 h 614362"/>
                <a:gd name="connsiteX225" fmla="*/ 136759 w 1533525"/>
                <a:gd name="connsiteY225" fmla="*/ 166375 h 614362"/>
                <a:gd name="connsiteX226" fmla="*/ 131762 w 1533525"/>
                <a:gd name="connsiteY226" fmla="*/ 123004 h 614362"/>
                <a:gd name="connsiteX227" fmla="*/ 252412 w 1533525"/>
                <a:gd name="connsiteY227" fmla="*/ 0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533525" h="614362">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947992" y="452437"/>
                  </a:moveTo>
                  <a:cubicBezTo>
                    <a:pt x="947992" y="452437"/>
                    <a:pt x="958670" y="462424"/>
                    <a:pt x="979312" y="469557"/>
                  </a:cubicBezTo>
                  <a:cubicBezTo>
                    <a:pt x="984295" y="470984"/>
                    <a:pt x="990701" y="472410"/>
                    <a:pt x="997107" y="473837"/>
                  </a:cubicBezTo>
                  <a:cubicBezTo>
                    <a:pt x="1004226" y="474550"/>
                    <a:pt x="1011344" y="475264"/>
                    <a:pt x="1019174" y="475264"/>
                  </a:cubicBezTo>
                  <a:cubicBezTo>
                    <a:pt x="1027004" y="475264"/>
                    <a:pt x="1034834" y="474550"/>
                    <a:pt x="1041240" y="473837"/>
                  </a:cubicBezTo>
                  <a:cubicBezTo>
                    <a:pt x="1047646" y="472410"/>
                    <a:pt x="1054053" y="470984"/>
                    <a:pt x="1059035" y="469557"/>
                  </a:cubicBezTo>
                  <a:cubicBezTo>
                    <a:pt x="1080390" y="462424"/>
                    <a:pt x="1091067" y="452437"/>
                    <a:pt x="1091067" y="452437"/>
                  </a:cubicBezTo>
                  <a:cubicBezTo>
                    <a:pt x="1091067" y="452437"/>
                    <a:pt x="1152283" y="453150"/>
                    <a:pt x="1185738" y="468844"/>
                  </a:cubicBezTo>
                  <a:cubicBezTo>
                    <a:pt x="1189297" y="470270"/>
                    <a:pt x="1192145" y="473837"/>
                    <a:pt x="1195704" y="478117"/>
                  </a:cubicBezTo>
                  <a:cubicBezTo>
                    <a:pt x="1198551" y="482397"/>
                    <a:pt x="1201398" y="487390"/>
                    <a:pt x="1204246" y="493097"/>
                  </a:cubicBezTo>
                  <a:cubicBezTo>
                    <a:pt x="1206381" y="498090"/>
                    <a:pt x="1209228" y="503797"/>
                    <a:pt x="1211364" y="509503"/>
                  </a:cubicBezTo>
                  <a:cubicBezTo>
                    <a:pt x="1211364" y="510217"/>
                    <a:pt x="1211364" y="510930"/>
                    <a:pt x="1211364" y="510930"/>
                  </a:cubicBezTo>
                  <a:cubicBezTo>
                    <a:pt x="1215635" y="520916"/>
                    <a:pt x="1218482" y="531616"/>
                    <a:pt x="1222041" y="542316"/>
                  </a:cubicBezTo>
                  <a:cubicBezTo>
                    <a:pt x="1229871" y="570849"/>
                    <a:pt x="1235565" y="598669"/>
                    <a:pt x="1239124" y="607229"/>
                  </a:cubicBezTo>
                  <a:cubicBezTo>
                    <a:pt x="1239836" y="610796"/>
                    <a:pt x="1237701" y="614362"/>
                    <a:pt x="1233430" y="614362"/>
                  </a:cubicBezTo>
                  <a:cubicBezTo>
                    <a:pt x="1233430" y="614362"/>
                    <a:pt x="1233430" y="614362"/>
                    <a:pt x="804918" y="614362"/>
                  </a:cubicBezTo>
                  <a:cubicBezTo>
                    <a:pt x="801359" y="614362"/>
                    <a:pt x="798511" y="610796"/>
                    <a:pt x="799935" y="607229"/>
                  </a:cubicBezTo>
                  <a:cubicBezTo>
                    <a:pt x="802782" y="598669"/>
                    <a:pt x="808477" y="570849"/>
                    <a:pt x="817018" y="542316"/>
                  </a:cubicBezTo>
                  <a:cubicBezTo>
                    <a:pt x="819866" y="531616"/>
                    <a:pt x="823425" y="520916"/>
                    <a:pt x="826984" y="510930"/>
                  </a:cubicBezTo>
                  <a:cubicBezTo>
                    <a:pt x="826984" y="510930"/>
                    <a:pt x="826984" y="510217"/>
                    <a:pt x="827696" y="509503"/>
                  </a:cubicBezTo>
                  <a:cubicBezTo>
                    <a:pt x="829831" y="503797"/>
                    <a:pt x="831967" y="498090"/>
                    <a:pt x="834102" y="493097"/>
                  </a:cubicBezTo>
                  <a:cubicBezTo>
                    <a:pt x="836949" y="487390"/>
                    <a:pt x="839796" y="482397"/>
                    <a:pt x="842644" y="478117"/>
                  </a:cubicBezTo>
                  <a:cubicBezTo>
                    <a:pt x="846203" y="473837"/>
                    <a:pt x="849762" y="470270"/>
                    <a:pt x="853321" y="468844"/>
                  </a:cubicBezTo>
                  <a:cubicBezTo>
                    <a:pt x="886064" y="453150"/>
                    <a:pt x="947992" y="452437"/>
                    <a:pt x="947992" y="452437"/>
                  </a:cubicBezTo>
                  <a:close/>
                  <a:moveTo>
                    <a:pt x="436105" y="452437"/>
                  </a:moveTo>
                  <a:cubicBezTo>
                    <a:pt x="436105" y="452437"/>
                    <a:pt x="446782" y="462424"/>
                    <a:pt x="466713" y="468844"/>
                  </a:cubicBezTo>
                  <a:cubicBezTo>
                    <a:pt x="472408" y="470984"/>
                    <a:pt x="478814" y="472410"/>
                    <a:pt x="485932" y="473837"/>
                  </a:cubicBezTo>
                  <a:cubicBezTo>
                    <a:pt x="492338" y="474550"/>
                    <a:pt x="500168" y="475264"/>
                    <a:pt x="507998" y="475264"/>
                  </a:cubicBezTo>
                  <a:cubicBezTo>
                    <a:pt x="515828" y="475264"/>
                    <a:pt x="522946" y="474550"/>
                    <a:pt x="530065" y="473837"/>
                  </a:cubicBezTo>
                  <a:cubicBezTo>
                    <a:pt x="536471" y="472410"/>
                    <a:pt x="542877" y="470984"/>
                    <a:pt x="547860" y="469557"/>
                  </a:cubicBezTo>
                  <a:cubicBezTo>
                    <a:pt x="568502" y="462424"/>
                    <a:pt x="579180" y="452437"/>
                    <a:pt x="579180" y="452437"/>
                  </a:cubicBezTo>
                  <a:cubicBezTo>
                    <a:pt x="579180" y="452437"/>
                    <a:pt x="641108" y="453150"/>
                    <a:pt x="673851" y="468844"/>
                  </a:cubicBezTo>
                  <a:cubicBezTo>
                    <a:pt x="677410" y="470270"/>
                    <a:pt x="680969" y="473837"/>
                    <a:pt x="684528" y="478117"/>
                  </a:cubicBezTo>
                  <a:cubicBezTo>
                    <a:pt x="687376" y="482397"/>
                    <a:pt x="690223" y="487390"/>
                    <a:pt x="693070" y="493097"/>
                  </a:cubicBezTo>
                  <a:cubicBezTo>
                    <a:pt x="695205" y="498090"/>
                    <a:pt x="697341" y="503797"/>
                    <a:pt x="699476" y="509503"/>
                  </a:cubicBezTo>
                  <a:cubicBezTo>
                    <a:pt x="700188" y="510217"/>
                    <a:pt x="700188" y="510930"/>
                    <a:pt x="700188" y="510930"/>
                  </a:cubicBezTo>
                  <a:cubicBezTo>
                    <a:pt x="703747" y="520916"/>
                    <a:pt x="707306" y="531616"/>
                    <a:pt x="710154" y="542316"/>
                  </a:cubicBezTo>
                  <a:cubicBezTo>
                    <a:pt x="718695" y="570849"/>
                    <a:pt x="724390" y="598669"/>
                    <a:pt x="727237" y="607229"/>
                  </a:cubicBezTo>
                  <a:cubicBezTo>
                    <a:pt x="728661" y="610796"/>
                    <a:pt x="725814" y="614362"/>
                    <a:pt x="722254" y="614362"/>
                  </a:cubicBezTo>
                  <a:cubicBezTo>
                    <a:pt x="722254" y="614362"/>
                    <a:pt x="722254" y="614362"/>
                    <a:pt x="293742" y="614362"/>
                  </a:cubicBezTo>
                  <a:cubicBezTo>
                    <a:pt x="289471" y="614362"/>
                    <a:pt x="287336" y="610796"/>
                    <a:pt x="288048" y="607229"/>
                  </a:cubicBezTo>
                  <a:cubicBezTo>
                    <a:pt x="291607" y="598669"/>
                    <a:pt x="297301" y="570849"/>
                    <a:pt x="305131" y="542316"/>
                  </a:cubicBezTo>
                  <a:cubicBezTo>
                    <a:pt x="308690" y="531616"/>
                    <a:pt x="311537" y="520916"/>
                    <a:pt x="315808" y="510930"/>
                  </a:cubicBezTo>
                  <a:cubicBezTo>
                    <a:pt x="315808" y="510930"/>
                    <a:pt x="315808" y="510217"/>
                    <a:pt x="315808" y="509503"/>
                  </a:cubicBezTo>
                  <a:cubicBezTo>
                    <a:pt x="317944" y="505223"/>
                    <a:pt x="319367" y="500943"/>
                    <a:pt x="321503" y="496663"/>
                  </a:cubicBezTo>
                  <a:cubicBezTo>
                    <a:pt x="324350" y="489530"/>
                    <a:pt x="327909" y="483110"/>
                    <a:pt x="331468" y="478117"/>
                  </a:cubicBezTo>
                  <a:cubicBezTo>
                    <a:pt x="335027" y="473837"/>
                    <a:pt x="337875" y="470270"/>
                    <a:pt x="341434" y="468844"/>
                  </a:cubicBezTo>
                  <a:cubicBezTo>
                    <a:pt x="374889" y="453150"/>
                    <a:pt x="436105" y="452437"/>
                    <a:pt x="436105" y="452437"/>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019174" y="155575"/>
                  </a:moveTo>
                  <a:cubicBezTo>
                    <a:pt x="1087709" y="155575"/>
                    <a:pt x="1139824" y="211116"/>
                    <a:pt x="1139824" y="278763"/>
                  </a:cubicBezTo>
                  <a:cubicBezTo>
                    <a:pt x="1139824" y="285172"/>
                    <a:pt x="1138396" y="291580"/>
                    <a:pt x="1136969" y="297989"/>
                  </a:cubicBezTo>
                  <a:cubicBezTo>
                    <a:pt x="1136969" y="298701"/>
                    <a:pt x="1136255" y="298701"/>
                    <a:pt x="1136255" y="299413"/>
                  </a:cubicBezTo>
                  <a:cubicBezTo>
                    <a:pt x="1134827" y="305822"/>
                    <a:pt x="1132685" y="311518"/>
                    <a:pt x="1130543" y="317215"/>
                  </a:cubicBezTo>
                  <a:cubicBezTo>
                    <a:pt x="1130543" y="317215"/>
                    <a:pt x="1130543" y="317215"/>
                    <a:pt x="1130543" y="317927"/>
                  </a:cubicBezTo>
                  <a:cubicBezTo>
                    <a:pt x="1130543" y="319351"/>
                    <a:pt x="1129116" y="322912"/>
                    <a:pt x="1126260" y="327184"/>
                  </a:cubicBezTo>
                  <a:cubicBezTo>
                    <a:pt x="1123404" y="333593"/>
                    <a:pt x="1119121" y="341425"/>
                    <a:pt x="1114124" y="348546"/>
                  </a:cubicBezTo>
                  <a:cubicBezTo>
                    <a:pt x="1107699" y="358515"/>
                    <a:pt x="1099846" y="367772"/>
                    <a:pt x="1094134" y="372045"/>
                  </a:cubicBezTo>
                  <a:cubicBezTo>
                    <a:pt x="1086995" y="390558"/>
                    <a:pt x="1091279" y="383438"/>
                    <a:pt x="1084854" y="394119"/>
                  </a:cubicBezTo>
                  <a:cubicBezTo>
                    <a:pt x="1083426" y="396255"/>
                    <a:pt x="1081284" y="398391"/>
                    <a:pt x="1079142" y="400527"/>
                  </a:cubicBezTo>
                  <a:cubicBezTo>
                    <a:pt x="1074145" y="404800"/>
                    <a:pt x="1067006" y="409784"/>
                    <a:pt x="1058439" y="414057"/>
                  </a:cubicBezTo>
                  <a:cubicBezTo>
                    <a:pt x="1045589" y="420465"/>
                    <a:pt x="1030597" y="425450"/>
                    <a:pt x="1019174" y="425450"/>
                  </a:cubicBezTo>
                  <a:cubicBezTo>
                    <a:pt x="1007752" y="425450"/>
                    <a:pt x="992760" y="419753"/>
                    <a:pt x="979909" y="413345"/>
                  </a:cubicBezTo>
                  <a:cubicBezTo>
                    <a:pt x="971343" y="409072"/>
                    <a:pt x="964204" y="404088"/>
                    <a:pt x="959206" y="399815"/>
                  </a:cubicBezTo>
                  <a:cubicBezTo>
                    <a:pt x="957064" y="397679"/>
                    <a:pt x="954923" y="395543"/>
                    <a:pt x="953495" y="394119"/>
                  </a:cubicBezTo>
                  <a:cubicBezTo>
                    <a:pt x="947784" y="385574"/>
                    <a:pt x="951353" y="390558"/>
                    <a:pt x="944214" y="372045"/>
                  </a:cubicBezTo>
                  <a:cubicBezTo>
                    <a:pt x="939931" y="369196"/>
                    <a:pt x="932078" y="359227"/>
                    <a:pt x="924939" y="348546"/>
                  </a:cubicBezTo>
                  <a:cubicBezTo>
                    <a:pt x="919941" y="341425"/>
                    <a:pt x="915658" y="334305"/>
                    <a:pt x="912088" y="327184"/>
                  </a:cubicBezTo>
                  <a:cubicBezTo>
                    <a:pt x="909233" y="322200"/>
                    <a:pt x="907091" y="317927"/>
                    <a:pt x="907091" y="315079"/>
                  </a:cubicBezTo>
                  <a:cubicBezTo>
                    <a:pt x="907091" y="314367"/>
                    <a:pt x="907091" y="314367"/>
                    <a:pt x="907091" y="313655"/>
                  </a:cubicBezTo>
                  <a:cubicBezTo>
                    <a:pt x="904235" y="302974"/>
                    <a:pt x="898524" y="290868"/>
                    <a:pt x="898524" y="278763"/>
                  </a:cubicBezTo>
                  <a:cubicBezTo>
                    <a:pt x="898524" y="211116"/>
                    <a:pt x="951353" y="155575"/>
                    <a:pt x="1019174" y="155575"/>
                  </a:cubicBezTo>
                  <a:close/>
                  <a:moveTo>
                    <a:pt x="507999" y="155575"/>
                  </a:moveTo>
                  <a:cubicBezTo>
                    <a:pt x="575820" y="155575"/>
                    <a:pt x="628649" y="211116"/>
                    <a:pt x="628649" y="278763"/>
                  </a:cubicBezTo>
                  <a:cubicBezTo>
                    <a:pt x="628649" y="292293"/>
                    <a:pt x="622938" y="305110"/>
                    <a:pt x="619368" y="317215"/>
                  </a:cubicBezTo>
                  <a:cubicBezTo>
                    <a:pt x="619368" y="317215"/>
                    <a:pt x="619368" y="317215"/>
                    <a:pt x="619368" y="317927"/>
                  </a:cubicBezTo>
                  <a:cubicBezTo>
                    <a:pt x="619368" y="319351"/>
                    <a:pt x="617940" y="322912"/>
                    <a:pt x="615085" y="327184"/>
                  </a:cubicBezTo>
                  <a:cubicBezTo>
                    <a:pt x="612229" y="333593"/>
                    <a:pt x="607946" y="341425"/>
                    <a:pt x="602948" y="348546"/>
                  </a:cubicBezTo>
                  <a:cubicBezTo>
                    <a:pt x="595809" y="358515"/>
                    <a:pt x="588670" y="367772"/>
                    <a:pt x="582959" y="372045"/>
                  </a:cubicBezTo>
                  <a:cubicBezTo>
                    <a:pt x="575106" y="390558"/>
                    <a:pt x="579389" y="383438"/>
                    <a:pt x="573678" y="394119"/>
                  </a:cubicBezTo>
                  <a:cubicBezTo>
                    <a:pt x="572250" y="396255"/>
                    <a:pt x="570109" y="398391"/>
                    <a:pt x="567253" y="400527"/>
                  </a:cubicBezTo>
                  <a:cubicBezTo>
                    <a:pt x="562256" y="404800"/>
                    <a:pt x="555117" y="409784"/>
                    <a:pt x="547264" y="414057"/>
                  </a:cubicBezTo>
                  <a:cubicBezTo>
                    <a:pt x="534413" y="420465"/>
                    <a:pt x="519421" y="425450"/>
                    <a:pt x="507999" y="425450"/>
                  </a:cubicBezTo>
                  <a:cubicBezTo>
                    <a:pt x="495862" y="425450"/>
                    <a:pt x="480870" y="419753"/>
                    <a:pt x="468020" y="413345"/>
                  </a:cubicBezTo>
                  <a:cubicBezTo>
                    <a:pt x="460167" y="409072"/>
                    <a:pt x="452314" y="404088"/>
                    <a:pt x="447317" y="399815"/>
                  </a:cubicBezTo>
                  <a:cubicBezTo>
                    <a:pt x="445175" y="397679"/>
                    <a:pt x="443747" y="395543"/>
                    <a:pt x="442319" y="394119"/>
                  </a:cubicBezTo>
                  <a:cubicBezTo>
                    <a:pt x="436608" y="385574"/>
                    <a:pt x="440178" y="390558"/>
                    <a:pt x="433039" y="372045"/>
                  </a:cubicBezTo>
                  <a:cubicBezTo>
                    <a:pt x="428755" y="369196"/>
                    <a:pt x="420902" y="359227"/>
                    <a:pt x="413763" y="348546"/>
                  </a:cubicBezTo>
                  <a:cubicBezTo>
                    <a:pt x="408766" y="341425"/>
                    <a:pt x="403769" y="334305"/>
                    <a:pt x="400913" y="327184"/>
                  </a:cubicBezTo>
                  <a:cubicBezTo>
                    <a:pt x="398057" y="322200"/>
                    <a:pt x="395916" y="317927"/>
                    <a:pt x="395916" y="315079"/>
                  </a:cubicBezTo>
                  <a:cubicBezTo>
                    <a:pt x="395202" y="314367"/>
                    <a:pt x="395916" y="314367"/>
                    <a:pt x="395202" y="313655"/>
                  </a:cubicBezTo>
                  <a:cubicBezTo>
                    <a:pt x="393060" y="302974"/>
                    <a:pt x="387349" y="290868"/>
                    <a:pt x="387349" y="278763"/>
                  </a:cubicBezTo>
                  <a:cubicBezTo>
                    <a:pt x="387349" y="211116"/>
                    <a:pt x="439464" y="155575"/>
                    <a:pt x="507999" y="155575"/>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nvGrpSpPr>
          <p:cNvPr id="63" name="Group 62">
            <a:extLst>
              <a:ext uri="{FF2B5EF4-FFF2-40B4-BE49-F238E27FC236}">
                <a16:creationId xmlns:a16="http://schemas.microsoft.com/office/drawing/2014/main" id="{4CDBEE4D-D310-4F52-A8B1-4BAE0733D5D2}"/>
              </a:ext>
            </a:extLst>
          </p:cNvPr>
          <p:cNvGrpSpPr/>
          <p:nvPr/>
        </p:nvGrpSpPr>
        <p:grpSpPr>
          <a:xfrm>
            <a:off x="8877671" y="3076607"/>
            <a:ext cx="940977" cy="1009871"/>
            <a:chOff x="6140583" y="-1159297"/>
            <a:chExt cx="1644650" cy="1644650"/>
          </a:xfrm>
        </p:grpSpPr>
        <p:sp>
          <p:nvSpPr>
            <p:cNvPr id="64" name="AutoShape 3">
              <a:extLst>
                <a:ext uri="{FF2B5EF4-FFF2-40B4-BE49-F238E27FC236}">
                  <a16:creationId xmlns:a16="http://schemas.microsoft.com/office/drawing/2014/main" id="{522EB0B6-9F4E-43B2-BEB8-52C1648DF9F8}"/>
                </a:ext>
              </a:extLst>
            </p:cNvPr>
            <p:cNvSpPr>
              <a:spLocks noChangeAspect="1" noChangeArrowheads="1" noTextEdit="1"/>
            </p:cNvSpPr>
            <p:nvPr/>
          </p:nvSpPr>
          <p:spPr bwMode="auto">
            <a:xfrm>
              <a:off x="6140583" y="-1159297"/>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8">
              <a:extLst>
                <a:ext uri="{FF2B5EF4-FFF2-40B4-BE49-F238E27FC236}">
                  <a16:creationId xmlns:a16="http://schemas.microsoft.com/office/drawing/2014/main" id="{E2F2F3F2-E640-44C6-9A22-4C63A22FB20F}"/>
                </a:ext>
              </a:extLst>
            </p:cNvPr>
            <p:cNvSpPr>
              <a:spLocks/>
            </p:cNvSpPr>
            <p:nvPr/>
          </p:nvSpPr>
          <p:spPr bwMode="auto">
            <a:xfrm>
              <a:off x="6199321" y="-671935"/>
              <a:ext cx="1533525" cy="614362"/>
            </a:xfrm>
            <a:custGeom>
              <a:avLst/>
              <a:gdLst>
                <a:gd name="connsiteX0" fmla="*/ 1246187 w 1533525"/>
                <a:gd name="connsiteY0" fmla="*/ 511175 h 614362"/>
                <a:gd name="connsiteX1" fmla="*/ 1517878 w 1533525"/>
                <a:gd name="connsiteY1" fmla="*/ 511175 h 614362"/>
                <a:gd name="connsiteX2" fmla="*/ 1533525 w 1533525"/>
                <a:gd name="connsiteY2" fmla="*/ 527050 h 614362"/>
                <a:gd name="connsiteX3" fmla="*/ 1517878 w 1533525"/>
                <a:gd name="connsiteY3" fmla="*/ 542925 h 614362"/>
                <a:gd name="connsiteX4" fmla="*/ 1255433 w 1533525"/>
                <a:gd name="connsiteY4" fmla="*/ 542925 h 614362"/>
                <a:gd name="connsiteX5" fmla="*/ 1246187 w 1533525"/>
                <a:gd name="connsiteY5" fmla="*/ 511175 h 614362"/>
                <a:gd name="connsiteX6" fmla="*/ 735012 w 1533525"/>
                <a:gd name="connsiteY6" fmla="*/ 511175 h 614362"/>
                <a:gd name="connsiteX7" fmla="*/ 792162 w 1533525"/>
                <a:gd name="connsiteY7" fmla="*/ 511175 h 614362"/>
                <a:gd name="connsiteX8" fmla="*/ 783101 w 1533525"/>
                <a:gd name="connsiteY8" fmla="*/ 542925 h 614362"/>
                <a:gd name="connsiteX9" fmla="*/ 744072 w 1533525"/>
                <a:gd name="connsiteY9" fmla="*/ 542925 h 614362"/>
                <a:gd name="connsiteX10" fmla="*/ 735012 w 1533525"/>
                <a:gd name="connsiteY10" fmla="*/ 511175 h 614362"/>
                <a:gd name="connsiteX11" fmla="*/ 15650 w 1533525"/>
                <a:gd name="connsiteY11" fmla="*/ 511175 h 614362"/>
                <a:gd name="connsiteX12" fmla="*/ 280988 w 1533525"/>
                <a:gd name="connsiteY12" fmla="*/ 511175 h 614362"/>
                <a:gd name="connsiteX13" fmla="*/ 271740 w 1533525"/>
                <a:gd name="connsiteY13" fmla="*/ 542925 h 614362"/>
                <a:gd name="connsiteX14" fmla="*/ 15650 w 1533525"/>
                <a:gd name="connsiteY14" fmla="*/ 542925 h 614362"/>
                <a:gd name="connsiteX15" fmla="*/ 0 w 1533525"/>
                <a:gd name="connsiteY15" fmla="*/ 527050 h 614362"/>
                <a:gd name="connsiteX16" fmla="*/ 15650 w 1533525"/>
                <a:gd name="connsiteY16" fmla="*/ 511175 h 614362"/>
                <a:gd name="connsiteX17" fmla="*/ 947992 w 1533525"/>
                <a:gd name="connsiteY17" fmla="*/ 452437 h 614362"/>
                <a:gd name="connsiteX18" fmla="*/ 979312 w 1533525"/>
                <a:gd name="connsiteY18" fmla="*/ 469557 h 614362"/>
                <a:gd name="connsiteX19" fmla="*/ 997107 w 1533525"/>
                <a:gd name="connsiteY19" fmla="*/ 473837 h 614362"/>
                <a:gd name="connsiteX20" fmla="*/ 1019174 w 1533525"/>
                <a:gd name="connsiteY20" fmla="*/ 475264 h 614362"/>
                <a:gd name="connsiteX21" fmla="*/ 1041240 w 1533525"/>
                <a:gd name="connsiteY21" fmla="*/ 473837 h 614362"/>
                <a:gd name="connsiteX22" fmla="*/ 1059035 w 1533525"/>
                <a:gd name="connsiteY22" fmla="*/ 469557 h 614362"/>
                <a:gd name="connsiteX23" fmla="*/ 1091067 w 1533525"/>
                <a:gd name="connsiteY23" fmla="*/ 452437 h 614362"/>
                <a:gd name="connsiteX24" fmla="*/ 1185738 w 1533525"/>
                <a:gd name="connsiteY24" fmla="*/ 468844 h 614362"/>
                <a:gd name="connsiteX25" fmla="*/ 1195704 w 1533525"/>
                <a:gd name="connsiteY25" fmla="*/ 478117 h 614362"/>
                <a:gd name="connsiteX26" fmla="*/ 1204246 w 1533525"/>
                <a:gd name="connsiteY26" fmla="*/ 493097 h 614362"/>
                <a:gd name="connsiteX27" fmla="*/ 1211364 w 1533525"/>
                <a:gd name="connsiteY27" fmla="*/ 509503 h 614362"/>
                <a:gd name="connsiteX28" fmla="*/ 1211364 w 1533525"/>
                <a:gd name="connsiteY28" fmla="*/ 510930 h 614362"/>
                <a:gd name="connsiteX29" fmla="*/ 1222041 w 1533525"/>
                <a:gd name="connsiteY29" fmla="*/ 542316 h 614362"/>
                <a:gd name="connsiteX30" fmla="*/ 1239124 w 1533525"/>
                <a:gd name="connsiteY30" fmla="*/ 607229 h 614362"/>
                <a:gd name="connsiteX31" fmla="*/ 1233430 w 1533525"/>
                <a:gd name="connsiteY31" fmla="*/ 614362 h 614362"/>
                <a:gd name="connsiteX32" fmla="*/ 804918 w 1533525"/>
                <a:gd name="connsiteY32" fmla="*/ 614362 h 614362"/>
                <a:gd name="connsiteX33" fmla="*/ 799935 w 1533525"/>
                <a:gd name="connsiteY33" fmla="*/ 607229 h 614362"/>
                <a:gd name="connsiteX34" fmla="*/ 817018 w 1533525"/>
                <a:gd name="connsiteY34" fmla="*/ 542316 h 614362"/>
                <a:gd name="connsiteX35" fmla="*/ 826984 w 1533525"/>
                <a:gd name="connsiteY35" fmla="*/ 510930 h 614362"/>
                <a:gd name="connsiteX36" fmla="*/ 827696 w 1533525"/>
                <a:gd name="connsiteY36" fmla="*/ 509503 h 614362"/>
                <a:gd name="connsiteX37" fmla="*/ 834102 w 1533525"/>
                <a:gd name="connsiteY37" fmla="*/ 493097 h 614362"/>
                <a:gd name="connsiteX38" fmla="*/ 842644 w 1533525"/>
                <a:gd name="connsiteY38" fmla="*/ 478117 h 614362"/>
                <a:gd name="connsiteX39" fmla="*/ 853321 w 1533525"/>
                <a:gd name="connsiteY39" fmla="*/ 468844 h 614362"/>
                <a:gd name="connsiteX40" fmla="*/ 947992 w 1533525"/>
                <a:gd name="connsiteY40" fmla="*/ 452437 h 614362"/>
                <a:gd name="connsiteX41" fmla="*/ 436105 w 1533525"/>
                <a:gd name="connsiteY41" fmla="*/ 452437 h 614362"/>
                <a:gd name="connsiteX42" fmla="*/ 466713 w 1533525"/>
                <a:gd name="connsiteY42" fmla="*/ 468844 h 614362"/>
                <a:gd name="connsiteX43" fmla="*/ 485932 w 1533525"/>
                <a:gd name="connsiteY43" fmla="*/ 473837 h 614362"/>
                <a:gd name="connsiteX44" fmla="*/ 507998 w 1533525"/>
                <a:gd name="connsiteY44" fmla="*/ 475264 h 614362"/>
                <a:gd name="connsiteX45" fmla="*/ 530065 w 1533525"/>
                <a:gd name="connsiteY45" fmla="*/ 473837 h 614362"/>
                <a:gd name="connsiteX46" fmla="*/ 547860 w 1533525"/>
                <a:gd name="connsiteY46" fmla="*/ 469557 h 614362"/>
                <a:gd name="connsiteX47" fmla="*/ 579180 w 1533525"/>
                <a:gd name="connsiteY47" fmla="*/ 452437 h 614362"/>
                <a:gd name="connsiteX48" fmla="*/ 673851 w 1533525"/>
                <a:gd name="connsiteY48" fmla="*/ 468844 h 614362"/>
                <a:gd name="connsiteX49" fmla="*/ 684528 w 1533525"/>
                <a:gd name="connsiteY49" fmla="*/ 478117 h 614362"/>
                <a:gd name="connsiteX50" fmla="*/ 693070 w 1533525"/>
                <a:gd name="connsiteY50" fmla="*/ 493097 h 614362"/>
                <a:gd name="connsiteX51" fmla="*/ 699476 w 1533525"/>
                <a:gd name="connsiteY51" fmla="*/ 509503 h 614362"/>
                <a:gd name="connsiteX52" fmla="*/ 700188 w 1533525"/>
                <a:gd name="connsiteY52" fmla="*/ 510930 h 614362"/>
                <a:gd name="connsiteX53" fmla="*/ 710154 w 1533525"/>
                <a:gd name="connsiteY53" fmla="*/ 542316 h 614362"/>
                <a:gd name="connsiteX54" fmla="*/ 727237 w 1533525"/>
                <a:gd name="connsiteY54" fmla="*/ 607229 h 614362"/>
                <a:gd name="connsiteX55" fmla="*/ 722254 w 1533525"/>
                <a:gd name="connsiteY55" fmla="*/ 614362 h 614362"/>
                <a:gd name="connsiteX56" fmla="*/ 293742 w 1533525"/>
                <a:gd name="connsiteY56" fmla="*/ 614362 h 614362"/>
                <a:gd name="connsiteX57" fmla="*/ 288048 w 1533525"/>
                <a:gd name="connsiteY57" fmla="*/ 607229 h 614362"/>
                <a:gd name="connsiteX58" fmla="*/ 305131 w 1533525"/>
                <a:gd name="connsiteY58" fmla="*/ 542316 h 614362"/>
                <a:gd name="connsiteX59" fmla="*/ 315808 w 1533525"/>
                <a:gd name="connsiteY59" fmla="*/ 510930 h 614362"/>
                <a:gd name="connsiteX60" fmla="*/ 315808 w 1533525"/>
                <a:gd name="connsiteY60" fmla="*/ 509503 h 614362"/>
                <a:gd name="connsiteX61" fmla="*/ 321503 w 1533525"/>
                <a:gd name="connsiteY61" fmla="*/ 496663 h 614362"/>
                <a:gd name="connsiteX62" fmla="*/ 331468 w 1533525"/>
                <a:gd name="connsiteY62" fmla="*/ 478117 h 614362"/>
                <a:gd name="connsiteX63" fmla="*/ 341434 w 1533525"/>
                <a:gd name="connsiteY63" fmla="*/ 468844 h 614362"/>
                <a:gd name="connsiteX64" fmla="*/ 436105 w 1533525"/>
                <a:gd name="connsiteY64" fmla="*/ 452437 h 614362"/>
                <a:gd name="connsiteX65" fmla="*/ 764317 w 1533525"/>
                <a:gd name="connsiteY65" fmla="*/ 349250 h 614362"/>
                <a:gd name="connsiteX66" fmla="*/ 778175 w 1533525"/>
                <a:gd name="connsiteY66" fmla="*/ 350679 h 614362"/>
                <a:gd name="connsiteX67" fmla="*/ 788387 w 1533525"/>
                <a:gd name="connsiteY67" fmla="*/ 352822 h 614362"/>
                <a:gd name="connsiteX68" fmla="*/ 789845 w 1533525"/>
                <a:gd name="connsiteY68" fmla="*/ 355680 h 614362"/>
                <a:gd name="connsiteX69" fmla="*/ 773799 w 1533525"/>
                <a:gd name="connsiteY69" fmla="*/ 380683 h 614362"/>
                <a:gd name="connsiteX70" fmla="*/ 773799 w 1533525"/>
                <a:gd name="connsiteY70" fmla="*/ 382826 h 614362"/>
                <a:gd name="connsiteX71" fmla="*/ 789116 w 1533525"/>
                <a:gd name="connsiteY71" fmla="*/ 477838 h 614362"/>
                <a:gd name="connsiteX72" fmla="*/ 736600 w 1533525"/>
                <a:gd name="connsiteY72" fmla="*/ 477838 h 614362"/>
                <a:gd name="connsiteX73" fmla="*/ 753376 w 1533525"/>
                <a:gd name="connsiteY73" fmla="*/ 382826 h 614362"/>
                <a:gd name="connsiteX74" fmla="*/ 753376 w 1533525"/>
                <a:gd name="connsiteY74" fmla="*/ 380683 h 614362"/>
                <a:gd name="connsiteX75" fmla="*/ 737329 w 1533525"/>
                <a:gd name="connsiteY75" fmla="*/ 355680 h 614362"/>
                <a:gd name="connsiteX76" fmla="*/ 738788 w 1533525"/>
                <a:gd name="connsiteY76" fmla="*/ 352822 h 614362"/>
                <a:gd name="connsiteX77" fmla="*/ 749729 w 1533525"/>
                <a:gd name="connsiteY77" fmla="*/ 350679 h 614362"/>
                <a:gd name="connsiteX78" fmla="*/ 764317 w 1533525"/>
                <a:gd name="connsiteY78" fmla="*/ 349250 h 614362"/>
                <a:gd name="connsiteX79" fmla="*/ 1200963 w 1533525"/>
                <a:gd name="connsiteY79" fmla="*/ 334962 h 614362"/>
                <a:gd name="connsiteX80" fmla="*/ 1203105 w 1533525"/>
                <a:gd name="connsiteY80" fmla="*/ 337095 h 614362"/>
                <a:gd name="connsiteX81" fmla="*/ 1268787 w 1533525"/>
                <a:gd name="connsiteY81" fmla="*/ 409598 h 614362"/>
                <a:gd name="connsiteX82" fmla="*/ 1280210 w 1533525"/>
                <a:gd name="connsiteY82" fmla="*/ 409598 h 614362"/>
                <a:gd name="connsiteX83" fmla="*/ 1345893 w 1533525"/>
                <a:gd name="connsiteY83" fmla="*/ 337095 h 614362"/>
                <a:gd name="connsiteX84" fmla="*/ 1348034 w 1533525"/>
                <a:gd name="connsiteY84" fmla="*/ 334962 h 614362"/>
                <a:gd name="connsiteX85" fmla="*/ 1441561 w 1533525"/>
                <a:gd name="connsiteY85" fmla="*/ 351311 h 614362"/>
                <a:gd name="connsiteX86" fmla="*/ 1492250 w 1533525"/>
                <a:gd name="connsiteY86" fmla="*/ 477837 h 614362"/>
                <a:gd name="connsiteX87" fmla="*/ 1232376 w 1533525"/>
                <a:gd name="connsiteY87" fmla="*/ 477837 h 614362"/>
                <a:gd name="connsiteX88" fmla="*/ 1198821 w 1533525"/>
                <a:gd name="connsiteY88" fmla="*/ 440164 h 614362"/>
                <a:gd name="connsiteX89" fmla="*/ 1101725 w 1533525"/>
                <a:gd name="connsiteY89" fmla="*/ 421682 h 614362"/>
                <a:gd name="connsiteX90" fmla="*/ 1111720 w 1533525"/>
                <a:gd name="connsiteY90" fmla="*/ 409598 h 614362"/>
                <a:gd name="connsiteX91" fmla="*/ 1112434 w 1533525"/>
                <a:gd name="connsiteY91" fmla="*/ 408177 h 614362"/>
                <a:gd name="connsiteX92" fmla="*/ 1118859 w 1533525"/>
                <a:gd name="connsiteY92" fmla="*/ 394671 h 614362"/>
                <a:gd name="connsiteX93" fmla="*/ 1120287 w 1533525"/>
                <a:gd name="connsiteY93" fmla="*/ 390406 h 614362"/>
                <a:gd name="connsiteX94" fmla="*/ 1155271 w 1533525"/>
                <a:gd name="connsiteY94" fmla="*/ 338516 h 614362"/>
                <a:gd name="connsiteX95" fmla="*/ 1200963 w 1533525"/>
                <a:gd name="connsiteY95" fmla="*/ 334962 h 614362"/>
                <a:gd name="connsiteX96" fmla="*/ 837524 w 1533525"/>
                <a:gd name="connsiteY96" fmla="*/ 334962 h 614362"/>
                <a:gd name="connsiteX97" fmla="*/ 883153 w 1533525"/>
                <a:gd name="connsiteY97" fmla="*/ 338545 h 614362"/>
                <a:gd name="connsiteX98" fmla="*/ 917375 w 1533525"/>
                <a:gd name="connsiteY98" fmla="*/ 389427 h 614362"/>
                <a:gd name="connsiteX99" fmla="*/ 919514 w 1533525"/>
                <a:gd name="connsiteY99" fmla="*/ 395160 h 614362"/>
                <a:gd name="connsiteX100" fmla="*/ 928069 w 1533525"/>
                <a:gd name="connsiteY100" fmla="*/ 412360 h 614362"/>
                <a:gd name="connsiteX101" fmla="*/ 936625 w 1533525"/>
                <a:gd name="connsiteY101" fmla="*/ 422393 h 614362"/>
                <a:gd name="connsiteX102" fmla="*/ 839663 w 1533525"/>
                <a:gd name="connsiteY102" fmla="*/ 441026 h 614362"/>
                <a:gd name="connsiteX103" fmla="*/ 817562 w 1533525"/>
                <a:gd name="connsiteY103" fmla="*/ 460375 h 614362"/>
                <a:gd name="connsiteX104" fmla="*/ 835386 w 1533525"/>
                <a:gd name="connsiteY104" fmla="*/ 337112 h 614362"/>
                <a:gd name="connsiteX105" fmla="*/ 837524 w 1533525"/>
                <a:gd name="connsiteY105" fmla="*/ 334962 h 614362"/>
                <a:gd name="connsiteX106" fmla="*/ 689650 w 1533525"/>
                <a:gd name="connsiteY106" fmla="*/ 334962 h 614362"/>
                <a:gd name="connsiteX107" fmla="*/ 691789 w 1533525"/>
                <a:gd name="connsiteY107" fmla="*/ 337112 h 614362"/>
                <a:gd name="connsiteX108" fmla="*/ 709613 w 1533525"/>
                <a:gd name="connsiteY108" fmla="*/ 460375 h 614362"/>
                <a:gd name="connsiteX109" fmla="*/ 687511 w 1533525"/>
                <a:gd name="connsiteY109" fmla="*/ 441026 h 614362"/>
                <a:gd name="connsiteX110" fmla="*/ 590550 w 1533525"/>
                <a:gd name="connsiteY110" fmla="*/ 422393 h 614362"/>
                <a:gd name="connsiteX111" fmla="*/ 600531 w 1533525"/>
                <a:gd name="connsiteY111" fmla="*/ 410210 h 614362"/>
                <a:gd name="connsiteX112" fmla="*/ 601244 w 1533525"/>
                <a:gd name="connsiteY112" fmla="*/ 408777 h 614362"/>
                <a:gd name="connsiteX113" fmla="*/ 607661 w 1533525"/>
                <a:gd name="connsiteY113" fmla="*/ 395160 h 614362"/>
                <a:gd name="connsiteX114" fmla="*/ 609087 w 1533525"/>
                <a:gd name="connsiteY114" fmla="*/ 390860 h 614362"/>
                <a:gd name="connsiteX115" fmla="*/ 644021 w 1533525"/>
                <a:gd name="connsiteY115" fmla="*/ 338545 h 614362"/>
                <a:gd name="connsiteX116" fmla="*/ 689650 w 1533525"/>
                <a:gd name="connsiteY116" fmla="*/ 334962 h 614362"/>
                <a:gd name="connsiteX117" fmla="*/ 180120 w 1533525"/>
                <a:gd name="connsiteY117" fmla="*/ 334962 h 614362"/>
                <a:gd name="connsiteX118" fmla="*/ 252360 w 1533525"/>
                <a:gd name="connsiteY118" fmla="*/ 369082 h 614362"/>
                <a:gd name="connsiteX119" fmla="*/ 323885 w 1533525"/>
                <a:gd name="connsiteY119" fmla="*/ 334962 h 614362"/>
                <a:gd name="connsiteX120" fmla="*/ 371806 w 1533525"/>
                <a:gd name="connsiteY120" fmla="*/ 338516 h 614362"/>
                <a:gd name="connsiteX121" fmla="*/ 406138 w 1533525"/>
                <a:gd name="connsiteY121" fmla="*/ 388985 h 614362"/>
                <a:gd name="connsiteX122" fmla="*/ 408284 w 1533525"/>
                <a:gd name="connsiteY122" fmla="*/ 394671 h 614362"/>
                <a:gd name="connsiteX123" fmla="*/ 416867 w 1533525"/>
                <a:gd name="connsiteY123" fmla="*/ 411731 h 614362"/>
                <a:gd name="connsiteX124" fmla="*/ 425450 w 1533525"/>
                <a:gd name="connsiteY124" fmla="*/ 421682 h 614362"/>
                <a:gd name="connsiteX125" fmla="*/ 328176 w 1533525"/>
                <a:gd name="connsiteY125" fmla="*/ 440164 h 614362"/>
                <a:gd name="connsiteX126" fmla="*/ 294560 w 1533525"/>
                <a:gd name="connsiteY126" fmla="*/ 477837 h 614362"/>
                <a:gd name="connsiteX127" fmla="*/ 34925 w 1533525"/>
                <a:gd name="connsiteY127" fmla="*/ 477837 h 614362"/>
                <a:gd name="connsiteX128" fmla="*/ 84992 w 1533525"/>
                <a:gd name="connsiteY128" fmla="*/ 351311 h 614362"/>
                <a:gd name="connsiteX129" fmla="*/ 180120 w 1533525"/>
                <a:gd name="connsiteY129" fmla="*/ 334962 h 614362"/>
                <a:gd name="connsiteX130" fmla="*/ 1381410 w 1533525"/>
                <a:gd name="connsiteY130" fmla="*/ 215900 h 614362"/>
                <a:gd name="connsiteX131" fmla="*/ 1414463 w 1533525"/>
                <a:gd name="connsiteY131" fmla="*/ 298275 h 614362"/>
                <a:gd name="connsiteX132" fmla="*/ 1376380 w 1533525"/>
                <a:gd name="connsiteY132" fmla="*/ 320675 h 614362"/>
                <a:gd name="connsiteX133" fmla="*/ 1349074 w 1533525"/>
                <a:gd name="connsiteY133" fmla="*/ 319230 h 614362"/>
                <a:gd name="connsiteX134" fmla="*/ 1346200 w 1533525"/>
                <a:gd name="connsiteY134" fmla="*/ 317785 h 614362"/>
                <a:gd name="connsiteX135" fmla="*/ 1346200 w 1533525"/>
                <a:gd name="connsiteY135" fmla="*/ 293939 h 614362"/>
                <a:gd name="connsiteX136" fmla="*/ 1381410 w 1533525"/>
                <a:gd name="connsiteY136" fmla="*/ 215900 h 614362"/>
                <a:gd name="connsiteX137" fmla="*/ 1167890 w 1533525"/>
                <a:gd name="connsiteY137" fmla="*/ 215900 h 614362"/>
                <a:gd name="connsiteX138" fmla="*/ 1203325 w 1533525"/>
                <a:gd name="connsiteY138" fmla="*/ 293939 h 614362"/>
                <a:gd name="connsiteX139" fmla="*/ 1203325 w 1533525"/>
                <a:gd name="connsiteY139" fmla="*/ 317785 h 614362"/>
                <a:gd name="connsiteX140" fmla="*/ 1200490 w 1533525"/>
                <a:gd name="connsiteY140" fmla="*/ 319230 h 614362"/>
                <a:gd name="connsiteX141" fmla="*/ 1173559 w 1533525"/>
                <a:gd name="connsiteY141" fmla="*/ 320675 h 614362"/>
                <a:gd name="connsiteX142" fmla="*/ 1163637 w 1533525"/>
                <a:gd name="connsiteY142" fmla="*/ 317785 h 614362"/>
                <a:gd name="connsiteX143" fmla="*/ 1171433 w 1533525"/>
                <a:gd name="connsiteY143" fmla="*/ 278765 h 614362"/>
                <a:gd name="connsiteX144" fmla="*/ 1165055 w 1533525"/>
                <a:gd name="connsiteY144" fmla="*/ 233242 h 614362"/>
                <a:gd name="connsiteX145" fmla="*/ 1167890 w 1533525"/>
                <a:gd name="connsiteY145" fmla="*/ 215900 h 614362"/>
                <a:gd name="connsiteX146" fmla="*/ 1019174 w 1533525"/>
                <a:gd name="connsiteY146" fmla="*/ 155575 h 614362"/>
                <a:gd name="connsiteX147" fmla="*/ 1139824 w 1533525"/>
                <a:gd name="connsiteY147" fmla="*/ 278763 h 614362"/>
                <a:gd name="connsiteX148" fmla="*/ 1136969 w 1533525"/>
                <a:gd name="connsiteY148" fmla="*/ 297989 h 614362"/>
                <a:gd name="connsiteX149" fmla="*/ 1136255 w 1533525"/>
                <a:gd name="connsiteY149" fmla="*/ 299413 h 614362"/>
                <a:gd name="connsiteX150" fmla="*/ 1130543 w 1533525"/>
                <a:gd name="connsiteY150" fmla="*/ 317215 h 614362"/>
                <a:gd name="connsiteX151" fmla="*/ 1130543 w 1533525"/>
                <a:gd name="connsiteY151" fmla="*/ 317927 h 614362"/>
                <a:gd name="connsiteX152" fmla="*/ 1126260 w 1533525"/>
                <a:gd name="connsiteY152" fmla="*/ 327184 h 614362"/>
                <a:gd name="connsiteX153" fmla="*/ 1114124 w 1533525"/>
                <a:gd name="connsiteY153" fmla="*/ 348546 h 614362"/>
                <a:gd name="connsiteX154" fmla="*/ 1094134 w 1533525"/>
                <a:gd name="connsiteY154" fmla="*/ 372045 h 614362"/>
                <a:gd name="connsiteX155" fmla="*/ 1084854 w 1533525"/>
                <a:gd name="connsiteY155" fmla="*/ 394119 h 614362"/>
                <a:gd name="connsiteX156" fmla="*/ 1079142 w 1533525"/>
                <a:gd name="connsiteY156" fmla="*/ 400527 h 614362"/>
                <a:gd name="connsiteX157" fmla="*/ 1058439 w 1533525"/>
                <a:gd name="connsiteY157" fmla="*/ 414057 h 614362"/>
                <a:gd name="connsiteX158" fmla="*/ 1019174 w 1533525"/>
                <a:gd name="connsiteY158" fmla="*/ 425450 h 614362"/>
                <a:gd name="connsiteX159" fmla="*/ 979909 w 1533525"/>
                <a:gd name="connsiteY159" fmla="*/ 413345 h 614362"/>
                <a:gd name="connsiteX160" fmla="*/ 959206 w 1533525"/>
                <a:gd name="connsiteY160" fmla="*/ 399815 h 614362"/>
                <a:gd name="connsiteX161" fmla="*/ 953495 w 1533525"/>
                <a:gd name="connsiteY161" fmla="*/ 394119 h 614362"/>
                <a:gd name="connsiteX162" fmla="*/ 944214 w 1533525"/>
                <a:gd name="connsiteY162" fmla="*/ 372045 h 614362"/>
                <a:gd name="connsiteX163" fmla="*/ 924939 w 1533525"/>
                <a:gd name="connsiteY163" fmla="*/ 348546 h 614362"/>
                <a:gd name="connsiteX164" fmla="*/ 912088 w 1533525"/>
                <a:gd name="connsiteY164" fmla="*/ 327184 h 614362"/>
                <a:gd name="connsiteX165" fmla="*/ 907091 w 1533525"/>
                <a:gd name="connsiteY165" fmla="*/ 315079 h 614362"/>
                <a:gd name="connsiteX166" fmla="*/ 907091 w 1533525"/>
                <a:gd name="connsiteY166" fmla="*/ 313655 h 614362"/>
                <a:gd name="connsiteX167" fmla="*/ 898524 w 1533525"/>
                <a:gd name="connsiteY167" fmla="*/ 278763 h 614362"/>
                <a:gd name="connsiteX168" fmla="*/ 1019174 w 1533525"/>
                <a:gd name="connsiteY168" fmla="*/ 155575 h 614362"/>
                <a:gd name="connsiteX169" fmla="*/ 507999 w 1533525"/>
                <a:gd name="connsiteY169" fmla="*/ 155575 h 614362"/>
                <a:gd name="connsiteX170" fmla="*/ 628649 w 1533525"/>
                <a:gd name="connsiteY170" fmla="*/ 278763 h 614362"/>
                <a:gd name="connsiteX171" fmla="*/ 619368 w 1533525"/>
                <a:gd name="connsiteY171" fmla="*/ 317215 h 614362"/>
                <a:gd name="connsiteX172" fmla="*/ 619368 w 1533525"/>
                <a:gd name="connsiteY172" fmla="*/ 317927 h 614362"/>
                <a:gd name="connsiteX173" fmla="*/ 615085 w 1533525"/>
                <a:gd name="connsiteY173" fmla="*/ 327184 h 614362"/>
                <a:gd name="connsiteX174" fmla="*/ 602948 w 1533525"/>
                <a:gd name="connsiteY174" fmla="*/ 348546 h 614362"/>
                <a:gd name="connsiteX175" fmla="*/ 582959 w 1533525"/>
                <a:gd name="connsiteY175" fmla="*/ 372045 h 614362"/>
                <a:gd name="connsiteX176" fmla="*/ 573678 w 1533525"/>
                <a:gd name="connsiteY176" fmla="*/ 394119 h 614362"/>
                <a:gd name="connsiteX177" fmla="*/ 567253 w 1533525"/>
                <a:gd name="connsiteY177" fmla="*/ 400527 h 614362"/>
                <a:gd name="connsiteX178" fmla="*/ 547264 w 1533525"/>
                <a:gd name="connsiteY178" fmla="*/ 414057 h 614362"/>
                <a:gd name="connsiteX179" fmla="*/ 507999 w 1533525"/>
                <a:gd name="connsiteY179" fmla="*/ 425450 h 614362"/>
                <a:gd name="connsiteX180" fmla="*/ 468020 w 1533525"/>
                <a:gd name="connsiteY180" fmla="*/ 413345 h 614362"/>
                <a:gd name="connsiteX181" fmla="*/ 447317 w 1533525"/>
                <a:gd name="connsiteY181" fmla="*/ 399815 h 614362"/>
                <a:gd name="connsiteX182" fmla="*/ 442319 w 1533525"/>
                <a:gd name="connsiteY182" fmla="*/ 394119 h 614362"/>
                <a:gd name="connsiteX183" fmla="*/ 433039 w 1533525"/>
                <a:gd name="connsiteY183" fmla="*/ 372045 h 614362"/>
                <a:gd name="connsiteX184" fmla="*/ 413763 w 1533525"/>
                <a:gd name="connsiteY184" fmla="*/ 348546 h 614362"/>
                <a:gd name="connsiteX185" fmla="*/ 400913 w 1533525"/>
                <a:gd name="connsiteY185" fmla="*/ 327184 h 614362"/>
                <a:gd name="connsiteX186" fmla="*/ 395916 w 1533525"/>
                <a:gd name="connsiteY186" fmla="*/ 315079 h 614362"/>
                <a:gd name="connsiteX187" fmla="*/ 395202 w 1533525"/>
                <a:gd name="connsiteY187" fmla="*/ 313655 h 614362"/>
                <a:gd name="connsiteX188" fmla="*/ 387349 w 1533525"/>
                <a:gd name="connsiteY188" fmla="*/ 278763 h 614362"/>
                <a:gd name="connsiteX189" fmla="*/ 507999 w 1533525"/>
                <a:gd name="connsiteY189" fmla="*/ 155575 h 614362"/>
                <a:gd name="connsiteX190" fmla="*/ 1275200 w 1533525"/>
                <a:gd name="connsiteY190" fmla="*/ 0 h 614362"/>
                <a:gd name="connsiteX191" fmla="*/ 1397875 w 1533525"/>
                <a:gd name="connsiteY191" fmla="*/ 124537 h 614362"/>
                <a:gd name="connsiteX192" fmla="*/ 1393596 w 1533525"/>
                <a:gd name="connsiteY192" fmla="*/ 166524 h 614362"/>
                <a:gd name="connsiteX193" fmla="*/ 1393596 w 1533525"/>
                <a:gd name="connsiteY193" fmla="*/ 165812 h 614362"/>
                <a:gd name="connsiteX194" fmla="*/ 1380044 w 1533525"/>
                <a:gd name="connsiteY194" fmla="*/ 185026 h 614362"/>
                <a:gd name="connsiteX195" fmla="*/ 1378618 w 1533525"/>
                <a:gd name="connsiteY195" fmla="*/ 185738 h 614362"/>
                <a:gd name="connsiteX196" fmla="*/ 1370772 w 1533525"/>
                <a:gd name="connsiteY196" fmla="*/ 185738 h 614362"/>
                <a:gd name="connsiteX197" fmla="*/ 1370059 w 1533525"/>
                <a:gd name="connsiteY197" fmla="*/ 185026 h 614362"/>
                <a:gd name="connsiteX198" fmla="*/ 1208870 w 1533525"/>
                <a:gd name="connsiteY198" fmla="*/ 100341 h 614362"/>
                <a:gd name="connsiteX199" fmla="*/ 1207444 w 1533525"/>
                <a:gd name="connsiteY199" fmla="*/ 99630 h 614362"/>
                <a:gd name="connsiteX200" fmla="*/ 1159658 w 1533525"/>
                <a:gd name="connsiteY200" fmla="*/ 175064 h 614362"/>
                <a:gd name="connsiteX201" fmla="*/ 1152525 w 1533525"/>
                <a:gd name="connsiteY201" fmla="*/ 124537 h 614362"/>
                <a:gd name="connsiteX202" fmla="*/ 1275200 w 1533525"/>
                <a:gd name="connsiteY202" fmla="*/ 0 h 614362"/>
                <a:gd name="connsiteX203" fmla="*/ 763587 w 1533525"/>
                <a:gd name="connsiteY203" fmla="*/ 0 h 614362"/>
                <a:gd name="connsiteX204" fmla="*/ 884237 w 1533525"/>
                <a:gd name="connsiteY204" fmla="*/ 123004 h 614362"/>
                <a:gd name="connsiteX205" fmla="*/ 879953 w 1533525"/>
                <a:gd name="connsiteY205" fmla="*/ 164953 h 614362"/>
                <a:gd name="connsiteX206" fmla="*/ 866389 w 1533525"/>
                <a:gd name="connsiteY206" fmla="*/ 184150 h 614362"/>
                <a:gd name="connsiteX207" fmla="*/ 857108 w 1533525"/>
                <a:gd name="connsiteY207" fmla="*/ 184150 h 614362"/>
                <a:gd name="connsiteX208" fmla="*/ 856394 w 1533525"/>
                <a:gd name="connsiteY208" fmla="*/ 93142 h 614362"/>
                <a:gd name="connsiteX209" fmla="*/ 697194 w 1533525"/>
                <a:gd name="connsiteY209" fmla="*/ 98830 h 614362"/>
                <a:gd name="connsiteX210" fmla="*/ 667923 w 1533525"/>
                <a:gd name="connsiteY210" fmla="*/ 182017 h 614362"/>
                <a:gd name="connsiteX211" fmla="*/ 660070 w 1533525"/>
                <a:gd name="connsiteY211" fmla="*/ 181306 h 614362"/>
                <a:gd name="connsiteX212" fmla="*/ 647934 w 1533525"/>
                <a:gd name="connsiteY212" fmla="*/ 166375 h 614362"/>
                <a:gd name="connsiteX213" fmla="*/ 642937 w 1533525"/>
                <a:gd name="connsiteY213" fmla="*/ 123004 h 614362"/>
                <a:gd name="connsiteX214" fmla="*/ 763587 w 1533525"/>
                <a:gd name="connsiteY214" fmla="*/ 0 h 614362"/>
                <a:gd name="connsiteX215" fmla="*/ 252412 w 1533525"/>
                <a:gd name="connsiteY215" fmla="*/ 0 h 614362"/>
                <a:gd name="connsiteX216" fmla="*/ 373062 w 1533525"/>
                <a:gd name="connsiteY216" fmla="*/ 123004 h 614362"/>
                <a:gd name="connsiteX217" fmla="*/ 368778 w 1533525"/>
                <a:gd name="connsiteY217" fmla="*/ 164953 h 614362"/>
                <a:gd name="connsiteX218" fmla="*/ 368064 w 1533525"/>
                <a:gd name="connsiteY218" fmla="*/ 164953 h 614362"/>
                <a:gd name="connsiteX219" fmla="*/ 354500 w 1533525"/>
                <a:gd name="connsiteY219" fmla="*/ 184150 h 614362"/>
                <a:gd name="connsiteX220" fmla="*/ 345933 w 1533525"/>
                <a:gd name="connsiteY220" fmla="*/ 184150 h 614362"/>
                <a:gd name="connsiteX221" fmla="*/ 344506 w 1533525"/>
                <a:gd name="connsiteY221" fmla="*/ 93142 h 614362"/>
                <a:gd name="connsiteX222" fmla="*/ 186019 w 1533525"/>
                <a:gd name="connsiteY222" fmla="*/ 98830 h 614362"/>
                <a:gd name="connsiteX223" fmla="*/ 156748 w 1533525"/>
                <a:gd name="connsiteY223" fmla="*/ 182017 h 614362"/>
                <a:gd name="connsiteX224" fmla="*/ 148182 w 1533525"/>
                <a:gd name="connsiteY224" fmla="*/ 181306 h 614362"/>
                <a:gd name="connsiteX225" fmla="*/ 136759 w 1533525"/>
                <a:gd name="connsiteY225" fmla="*/ 166375 h 614362"/>
                <a:gd name="connsiteX226" fmla="*/ 131762 w 1533525"/>
                <a:gd name="connsiteY226" fmla="*/ 123004 h 614362"/>
                <a:gd name="connsiteX227" fmla="*/ 252412 w 1533525"/>
                <a:gd name="connsiteY227" fmla="*/ 0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533525" h="614362">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947992" y="452437"/>
                  </a:moveTo>
                  <a:cubicBezTo>
                    <a:pt x="947992" y="452437"/>
                    <a:pt x="958670" y="462424"/>
                    <a:pt x="979312" y="469557"/>
                  </a:cubicBezTo>
                  <a:cubicBezTo>
                    <a:pt x="984295" y="470984"/>
                    <a:pt x="990701" y="472410"/>
                    <a:pt x="997107" y="473837"/>
                  </a:cubicBezTo>
                  <a:cubicBezTo>
                    <a:pt x="1004226" y="474550"/>
                    <a:pt x="1011344" y="475264"/>
                    <a:pt x="1019174" y="475264"/>
                  </a:cubicBezTo>
                  <a:cubicBezTo>
                    <a:pt x="1027004" y="475264"/>
                    <a:pt x="1034834" y="474550"/>
                    <a:pt x="1041240" y="473837"/>
                  </a:cubicBezTo>
                  <a:cubicBezTo>
                    <a:pt x="1047646" y="472410"/>
                    <a:pt x="1054053" y="470984"/>
                    <a:pt x="1059035" y="469557"/>
                  </a:cubicBezTo>
                  <a:cubicBezTo>
                    <a:pt x="1080390" y="462424"/>
                    <a:pt x="1091067" y="452437"/>
                    <a:pt x="1091067" y="452437"/>
                  </a:cubicBezTo>
                  <a:cubicBezTo>
                    <a:pt x="1091067" y="452437"/>
                    <a:pt x="1152283" y="453150"/>
                    <a:pt x="1185738" y="468844"/>
                  </a:cubicBezTo>
                  <a:cubicBezTo>
                    <a:pt x="1189297" y="470270"/>
                    <a:pt x="1192145" y="473837"/>
                    <a:pt x="1195704" y="478117"/>
                  </a:cubicBezTo>
                  <a:cubicBezTo>
                    <a:pt x="1198551" y="482397"/>
                    <a:pt x="1201398" y="487390"/>
                    <a:pt x="1204246" y="493097"/>
                  </a:cubicBezTo>
                  <a:cubicBezTo>
                    <a:pt x="1206381" y="498090"/>
                    <a:pt x="1209228" y="503797"/>
                    <a:pt x="1211364" y="509503"/>
                  </a:cubicBezTo>
                  <a:cubicBezTo>
                    <a:pt x="1211364" y="510217"/>
                    <a:pt x="1211364" y="510930"/>
                    <a:pt x="1211364" y="510930"/>
                  </a:cubicBezTo>
                  <a:cubicBezTo>
                    <a:pt x="1215635" y="520916"/>
                    <a:pt x="1218482" y="531616"/>
                    <a:pt x="1222041" y="542316"/>
                  </a:cubicBezTo>
                  <a:cubicBezTo>
                    <a:pt x="1229871" y="570849"/>
                    <a:pt x="1235565" y="598669"/>
                    <a:pt x="1239124" y="607229"/>
                  </a:cubicBezTo>
                  <a:cubicBezTo>
                    <a:pt x="1239836" y="610796"/>
                    <a:pt x="1237701" y="614362"/>
                    <a:pt x="1233430" y="614362"/>
                  </a:cubicBezTo>
                  <a:cubicBezTo>
                    <a:pt x="1233430" y="614362"/>
                    <a:pt x="1233430" y="614362"/>
                    <a:pt x="804918" y="614362"/>
                  </a:cubicBezTo>
                  <a:cubicBezTo>
                    <a:pt x="801359" y="614362"/>
                    <a:pt x="798511" y="610796"/>
                    <a:pt x="799935" y="607229"/>
                  </a:cubicBezTo>
                  <a:cubicBezTo>
                    <a:pt x="802782" y="598669"/>
                    <a:pt x="808477" y="570849"/>
                    <a:pt x="817018" y="542316"/>
                  </a:cubicBezTo>
                  <a:cubicBezTo>
                    <a:pt x="819866" y="531616"/>
                    <a:pt x="823425" y="520916"/>
                    <a:pt x="826984" y="510930"/>
                  </a:cubicBezTo>
                  <a:cubicBezTo>
                    <a:pt x="826984" y="510930"/>
                    <a:pt x="826984" y="510217"/>
                    <a:pt x="827696" y="509503"/>
                  </a:cubicBezTo>
                  <a:cubicBezTo>
                    <a:pt x="829831" y="503797"/>
                    <a:pt x="831967" y="498090"/>
                    <a:pt x="834102" y="493097"/>
                  </a:cubicBezTo>
                  <a:cubicBezTo>
                    <a:pt x="836949" y="487390"/>
                    <a:pt x="839796" y="482397"/>
                    <a:pt x="842644" y="478117"/>
                  </a:cubicBezTo>
                  <a:cubicBezTo>
                    <a:pt x="846203" y="473837"/>
                    <a:pt x="849762" y="470270"/>
                    <a:pt x="853321" y="468844"/>
                  </a:cubicBezTo>
                  <a:cubicBezTo>
                    <a:pt x="886064" y="453150"/>
                    <a:pt x="947992" y="452437"/>
                    <a:pt x="947992" y="452437"/>
                  </a:cubicBezTo>
                  <a:close/>
                  <a:moveTo>
                    <a:pt x="436105" y="452437"/>
                  </a:moveTo>
                  <a:cubicBezTo>
                    <a:pt x="436105" y="452437"/>
                    <a:pt x="446782" y="462424"/>
                    <a:pt x="466713" y="468844"/>
                  </a:cubicBezTo>
                  <a:cubicBezTo>
                    <a:pt x="472408" y="470984"/>
                    <a:pt x="478814" y="472410"/>
                    <a:pt x="485932" y="473837"/>
                  </a:cubicBezTo>
                  <a:cubicBezTo>
                    <a:pt x="492338" y="474550"/>
                    <a:pt x="500168" y="475264"/>
                    <a:pt x="507998" y="475264"/>
                  </a:cubicBezTo>
                  <a:cubicBezTo>
                    <a:pt x="515828" y="475264"/>
                    <a:pt x="522946" y="474550"/>
                    <a:pt x="530065" y="473837"/>
                  </a:cubicBezTo>
                  <a:cubicBezTo>
                    <a:pt x="536471" y="472410"/>
                    <a:pt x="542877" y="470984"/>
                    <a:pt x="547860" y="469557"/>
                  </a:cubicBezTo>
                  <a:cubicBezTo>
                    <a:pt x="568502" y="462424"/>
                    <a:pt x="579180" y="452437"/>
                    <a:pt x="579180" y="452437"/>
                  </a:cubicBezTo>
                  <a:cubicBezTo>
                    <a:pt x="579180" y="452437"/>
                    <a:pt x="641108" y="453150"/>
                    <a:pt x="673851" y="468844"/>
                  </a:cubicBezTo>
                  <a:cubicBezTo>
                    <a:pt x="677410" y="470270"/>
                    <a:pt x="680969" y="473837"/>
                    <a:pt x="684528" y="478117"/>
                  </a:cubicBezTo>
                  <a:cubicBezTo>
                    <a:pt x="687376" y="482397"/>
                    <a:pt x="690223" y="487390"/>
                    <a:pt x="693070" y="493097"/>
                  </a:cubicBezTo>
                  <a:cubicBezTo>
                    <a:pt x="695205" y="498090"/>
                    <a:pt x="697341" y="503797"/>
                    <a:pt x="699476" y="509503"/>
                  </a:cubicBezTo>
                  <a:cubicBezTo>
                    <a:pt x="700188" y="510217"/>
                    <a:pt x="700188" y="510930"/>
                    <a:pt x="700188" y="510930"/>
                  </a:cubicBezTo>
                  <a:cubicBezTo>
                    <a:pt x="703747" y="520916"/>
                    <a:pt x="707306" y="531616"/>
                    <a:pt x="710154" y="542316"/>
                  </a:cubicBezTo>
                  <a:cubicBezTo>
                    <a:pt x="718695" y="570849"/>
                    <a:pt x="724390" y="598669"/>
                    <a:pt x="727237" y="607229"/>
                  </a:cubicBezTo>
                  <a:cubicBezTo>
                    <a:pt x="728661" y="610796"/>
                    <a:pt x="725814" y="614362"/>
                    <a:pt x="722254" y="614362"/>
                  </a:cubicBezTo>
                  <a:cubicBezTo>
                    <a:pt x="722254" y="614362"/>
                    <a:pt x="722254" y="614362"/>
                    <a:pt x="293742" y="614362"/>
                  </a:cubicBezTo>
                  <a:cubicBezTo>
                    <a:pt x="289471" y="614362"/>
                    <a:pt x="287336" y="610796"/>
                    <a:pt x="288048" y="607229"/>
                  </a:cubicBezTo>
                  <a:cubicBezTo>
                    <a:pt x="291607" y="598669"/>
                    <a:pt x="297301" y="570849"/>
                    <a:pt x="305131" y="542316"/>
                  </a:cubicBezTo>
                  <a:cubicBezTo>
                    <a:pt x="308690" y="531616"/>
                    <a:pt x="311537" y="520916"/>
                    <a:pt x="315808" y="510930"/>
                  </a:cubicBezTo>
                  <a:cubicBezTo>
                    <a:pt x="315808" y="510930"/>
                    <a:pt x="315808" y="510217"/>
                    <a:pt x="315808" y="509503"/>
                  </a:cubicBezTo>
                  <a:cubicBezTo>
                    <a:pt x="317944" y="505223"/>
                    <a:pt x="319367" y="500943"/>
                    <a:pt x="321503" y="496663"/>
                  </a:cubicBezTo>
                  <a:cubicBezTo>
                    <a:pt x="324350" y="489530"/>
                    <a:pt x="327909" y="483110"/>
                    <a:pt x="331468" y="478117"/>
                  </a:cubicBezTo>
                  <a:cubicBezTo>
                    <a:pt x="335027" y="473837"/>
                    <a:pt x="337875" y="470270"/>
                    <a:pt x="341434" y="468844"/>
                  </a:cubicBezTo>
                  <a:cubicBezTo>
                    <a:pt x="374889" y="453150"/>
                    <a:pt x="436105" y="452437"/>
                    <a:pt x="436105" y="452437"/>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019174" y="155575"/>
                  </a:moveTo>
                  <a:cubicBezTo>
                    <a:pt x="1087709" y="155575"/>
                    <a:pt x="1139824" y="211116"/>
                    <a:pt x="1139824" y="278763"/>
                  </a:cubicBezTo>
                  <a:cubicBezTo>
                    <a:pt x="1139824" y="285172"/>
                    <a:pt x="1138396" y="291580"/>
                    <a:pt x="1136969" y="297989"/>
                  </a:cubicBezTo>
                  <a:cubicBezTo>
                    <a:pt x="1136969" y="298701"/>
                    <a:pt x="1136255" y="298701"/>
                    <a:pt x="1136255" y="299413"/>
                  </a:cubicBezTo>
                  <a:cubicBezTo>
                    <a:pt x="1134827" y="305822"/>
                    <a:pt x="1132685" y="311518"/>
                    <a:pt x="1130543" y="317215"/>
                  </a:cubicBezTo>
                  <a:cubicBezTo>
                    <a:pt x="1130543" y="317215"/>
                    <a:pt x="1130543" y="317215"/>
                    <a:pt x="1130543" y="317927"/>
                  </a:cubicBezTo>
                  <a:cubicBezTo>
                    <a:pt x="1130543" y="319351"/>
                    <a:pt x="1129116" y="322912"/>
                    <a:pt x="1126260" y="327184"/>
                  </a:cubicBezTo>
                  <a:cubicBezTo>
                    <a:pt x="1123404" y="333593"/>
                    <a:pt x="1119121" y="341425"/>
                    <a:pt x="1114124" y="348546"/>
                  </a:cubicBezTo>
                  <a:cubicBezTo>
                    <a:pt x="1107699" y="358515"/>
                    <a:pt x="1099846" y="367772"/>
                    <a:pt x="1094134" y="372045"/>
                  </a:cubicBezTo>
                  <a:cubicBezTo>
                    <a:pt x="1086995" y="390558"/>
                    <a:pt x="1091279" y="383438"/>
                    <a:pt x="1084854" y="394119"/>
                  </a:cubicBezTo>
                  <a:cubicBezTo>
                    <a:pt x="1083426" y="396255"/>
                    <a:pt x="1081284" y="398391"/>
                    <a:pt x="1079142" y="400527"/>
                  </a:cubicBezTo>
                  <a:cubicBezTo>
                    <a:pt x="1074145" y="404800"/>
                    <a:pt x="1067006" y="409784"/>
                    <a:pt x="1058439" y="414057"/>
                  </a:cubicBezTo>
                  <a:cubicBezTo>
                    <a:pt x="1045589" y="420465"/>
                    <a:pt x="1030597" y="425450"/>
                    <a:pt x="1019174" y="425450"/>
                  </a:cubicBezTo>
                  <a:cubicBezTo>
                    <a:pt x="1007752" y="425450"/>
                    <a:pt x="992760" y="419753"/>
                    <a:pt x="979909" y="413345"/>
                  </a:cubicBezTo>
                  <a:cubicBezTo>
                    <a:pt x="971343" y="409072"/>
                    <a:pt x="964204" y="404088"/>
                    <a:pt x="959206" y="399815"/>
                  </a:cubicBezTo>
                  <a:cubicBezTo>
                    <a:pt x="957064" y="397679"/>
                    <a:pt x="954923" y="395543"/>
                    <a:pt x="953495" y="394119"/>
                  </a:cubicBezTo>
                  <a:cubicBezTo>
                    <a:pt x="947784" y="385574"/>
                    <a:pt x="951353" y="390558"/>
                    <a:pt x="944214" y="372045"/>
                  </a:cubicBezTo>
                  <a:cubicBezTo>
                    <a:pt x="939931" y="369196"/>
                    <a:pt x="932078" y="359227"/>
                    <a:pt x="924939" y="348546"/>
                  </a:cubicBezTo>
                  <a:cubicBezTo>
                    <a:pt x="919941" y="341425"/>
                    <a:pt x="915658" y="334305"/>
                    <a:pt x="912088" y="327184"/>
                  </a:cubicBezTo>
                  <a:cubicBezTo>
                    <a:pt x="909233" y="322200"/>
                    <a:pt x="907091" y="317927"/>
                    <a:pt x="907091" y="315079"/>
                  </a:cubicBezTo>
                  <a:cubicBezTo>
                    <a:pt x="907091" y="314367"/>
                    <a:pt x="907091" y="314367"/>
                    <a:pt x="907091" y="313655"/>
                  </a:cubicBezTo>
                  <a:cubicBezTo>
                    <a:pt x="904235" y="302974"/>
                    <a:pt x="898524" y="290868"/>
                    <a:pt x="898524" y="278763"/>
                  </a:cubicBezTo>
                  <a:cubicBezTo>
                    <a:pt x="898524" y="211116"/>
                    <a:pt x="951353" y="155575"/>
                    <a:pt x="1019174" y="155575"/>
                  </a:cubicBezTo>
                  <a:close/>
                  <a:moveTo>
                    <a:pt x="507999" y="155575"/>
                  </a:moveTo>
                  <a:cubicBezTo>
                    <a:pt x="575820" y="155575"/>
                    <a:pt x="628649" y="211116"/>
                    <a:pt x="628649" y="278763"/>
                  </a:cubicBezTo>
                  <a:cubicBezTo>
                    <a:pt x="628649" y="292293"/>
                    <a:pt x="622938" y="305110"/>
                    <a:pt x="619368" y="317215"/>
                  </a:cubicBezTo>
                  <a:cubicBezTo>
                    <a:pt x="619368" y="317215"/>
                    <a:pt x="619368" y="317215"/>
                    <a:pt x="619368" y="317927"/>
                  </a:cubicBezTo>
                  <a:cubicBezTo>
                    <a:pt x="619368" y="319351"/>
                    <a:pt x="617940" y="322912"/>
                    <a:pt x="615085" y="327184"/>
                  </a:cubicBezTo>
                  <a:cubicBezTo>
                    <a:pt x="612229" y="333593"/>
                    <a:pt x="607946" y="341425"/>
                    <a:pt x="602948" y="348546"/>
                  </a:cubicBezTo>
                  <a:cubicBezTo>
                    <a:pt x="595809" y="358515"/>
                    <a:pt x="588670" y="367772"/>
                    <a:pt x="582959" y="372045"/>
                  </a:cubicBezTo>
                  <a:cubicBezTo>
                    <a:pt x="575106" y="390558"/>
                    <a:pt x="579389" y="383438"/>
                    <a:pt x="573678" y="394119"/>
                  </a:cubicBezTo>
                  <a:cubicBezTo>
                    <a:pt x="572250" y="396255"/>
                    <a:pt x="570109" y="398391"/>
                    <a:pt x="567253" y="400527"/>
                  </a:cubicBezTo>
                  <a:cubicBezTo>
                    <a:pt x="562256" y="404800"/>
                    <a:pt x="555117" y="409784"/>
                    <a:pt x="547264" y="414057"/>
                  </a:cubicBezTo>
                  <a:cubicBezTo>
                    <a:pt x="534413" y="420465"/>
                    <a:pt x="519421" y="425450"/>
                    <a:pt x="507999" y="425450"/>
                  </a:cubicBezTo>
                  <a:cubicBezTo>
                    <a:pt x="495862" y="425450"/>
                    <a:pt x="480870" y="419753"/>
                    <a:pt x="468020" y="413345"/>
                  </a:cubicBezTo>
                  <a:cubicBezTo>
                    <a:pt x="460167" y="409072"/>
                    <a:pt x="452314" y="404088"/>
                    <a:pt x="447317" y="399815"/>
                  </a:cubicBezTo>
                  <a:cubicBezTo>
                    <a:pt x="445175" y="397679"/>
                    <a:pt x="443747" y="395543"/>
                    <a:pt x="442319" y="394119"/>
                  </a:cubicBezTo>
                  <a:cubicBezTo>
                    <a:pt x="436608" y="385574"/>
                    <a:pt x="440178" y="390558"/>
                    <a:pt x="433039" y="372045"/>
                  </a:cubicBezTo>
                  <a:cubicBezTo>
                    <a:pt x="428755" y="369196"/>
                    <a:pt x="420902" y="359227"/>
                    <a:pt x="413763" y="348546"/>
                  </a:cubicBezTo>
                  <a:cubicBezTo>
                    <a:pt x="408766" y="341425"/>
                    <a:pt x="403769" y="334305"/>
                    <a:pt x="400913" y="327184"/>
                  </a:cubicBezTo>
                  <a:cubicBezTo>
                    <a:pt x="398057" y="322200"/>
                    <a:pt x="395916" y="317927"/>
                    <a:pt x="395916" y="315079"/>
                  </a:cubicBezTo>
                  <a:cubicBezTo>
                    <a:pt x="395202" y="314367"/>
                    <a:pt x="395916" y="314367"/>
                    <a:pt x="395202" y="313655"/>
                  </a:cubicBezTo>
                  <a:cubicBezTo>
                    <a:pt x="393060" y="302974"/>
                    <a:pt x="387349" y="290868"/>
                    <a:pt x="387349" y="278763"/>
                  </a:cubicBezTo>
                  <a:cubicBezTo>
                    <a:pt x="387349" y="211116"/>
                    <a:pt x="439464" y="155575"/>
                    <a:pt x="507999" y="155575"/>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sp>
        <p:nvSpPr>
          <p:cNvPr id="8" name="Left Bracket 7">
            <a:extLst>
              <a:ext uri="{FF2B5EF4-FFF2-40B4-BE49-F238E27FC236}">
                <a16:creationId xmlns:a16="http://schemas.microsoft.com/office/drawing/2014/main" id="{14385F3A-DD13-4709-A498-048E8DF9D0C7}"/>
              </a:ext>
            </a:extLst>
          </p:cNvPr>
          <p:cNvSpPr/>
          <p:nvPr/>
        </p:nvSpPr>
        <p:spPr>
          <a:xfrm>
            <a:off x="5506522" y="2542557"/>
            <a:ext cx="72236" cy="209912"/>
          </a:xfrm>
          <a:prstGeom prst="leftBracket">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ectangle 9">
            <a:extLst>
              <a:ext uri="{FF2B5EF4-FFF2-40B4-BE49-F238E27FC236}">
                <a16:creationId xmlns:a16="http://schemas.microsoft.com/office/drawing/2014/main" id="{F2E3F5DB-C650-434E-8365-35AE2C0478A4}"/>
              </a:ext>
            </a:extLst>
          </p:cNvPr>
          <p:cNvSpPr/>
          <p:nvPr/>
        </p:nvSpPr>
        <p:spPr>
          <a:xfrm>
            <a:off x="4798424" y="2530170"/>
            <a:ext cx="671480" cy="22167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MESA</a:t>
            </a:r>
          </a:p>
        </p:txBody>
      </p:sp>
      <p:sp>
        <p:nvSpPr>
          <p:cNvPr id="34" name="Left Bracket 33">
            <a:extLst>
              <a:ext uri="{FF2B5EF4-FFF2-40B4-BE49-F238E27FC236}">
                <a16:creationId xmlns:a16="http://schemas.microsoft.com/office/drawing/2014/main" id="{4339B91B-08D2-479A-96FC-1FBE6574E4E2}"/>
              </a:ext>
            </a:extLst>
          </p:cNvPr>
          <p:cNvSpPr/>
          <p:nvPr/>
        </p:nvSpPr>
        <p:spPr>
          <a:xfrm>
            <a:off x="9451542" y="2554944"/>
            <a:ext cx="72236" cy="209912"/>
          </a:xfrm>
          <a:prstGeom prst="leftBracket">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Rectangle 34">
            <a:extLst>
              <a:ext uri="{FF2B5EF4-FFF2-40B4-BE49-F238E27FC236}">
                <a16:creationId xmlns:a16="http://schemas.microsoft.com/office/drawing/2014/main" id="{DAB30BC8-18E8-400D-8038-3E62919ACDC3}"/>
              </a:ext>
            </a:extLst>
          </p:cNvPr>
          <p:cNvSpPr/>
          <p:nvPr/>
        </p:nvSpPr>
        <p:spPr>
          <a:xfrm>
            <a:off x="8743444" y="2542557"/>
            <a:ext cx="671480" cy="22167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MESA</a:t>
            </a:r>
          </a:p>
        </p:txBody>
      </p:sp>
      <p:sp>
        <p:nvSpPr>
          <p:cNvPr id="36" name="Left Bracket 35">
            <a:extLst>
              <a:ext uri="{FF2B5EF4-FFF2-40B4-BE49-F238E27FC236}">
                <a16:creationId xmlns:a16="http://schemas.microsoft.com/office/drawing/2014/main" id="{C6749A33-DD4D-462E-AEDF-A97321B38D9D}"/>
              </a:ext>
            </a:extLst>
          </p:cNvPr>
          <p:cNvSpPr/>
          <p:nvPr/>
        </p:nvSpPr>
        <p:spPr>
          <a:xfrm>
            <a:off x="5506522" y="5645753"/>
            <a:ext cx="72236" cy="209912"/>
          </a:xfrm>
          <a:prstGeom prst="leftBracket">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Rectangle 36">
            <a:extLst>
              <a:ext uri="{FF2B5EF4-FFF2-40B4-BE49-F238E27FC236}">
                <a16:creationId xmlns:a16="http://schemas.microsoft.com/office/drawing/2014/main" id="{8DCCD305-553E-41CE-954D-21B569E886EA}"/>
              </a:ext>
            </a:extLst>
          </p:cNvPr>
          <p:cNvSpPr/>
          <p:nvPr/>
        </p:nvSpPr>
        <p:spPr>
          <a:xfrm>
            <a:off x="4798424" y="5633366"/>
            <a:ext cx="671480" cy="22167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MESA</a:t>
            </a:r>
          </a:p>
        </p:txBody>
      </p:sp>
      <p:sp>
        <p:nvSpPr>
          <p:cNvPr id="38" name="Left Bracket 37">
            <a:extLst>
              <a:ext uri="{FF2B5EF4-FFF2-40B4-BE49-F238E27FC236}">
                <a16:creationId xmlns:a16="http://schemas.microsoft.com/office/drawing/2014/main" id="{F62A94F3-C11A-47B6-A1A7-FB4855923F4C}"/>
              </a:ext>
            </a:extLst>
          </p:cNvPr>
          <p:cNvSpPr/>
          <p:nvPr/>
        </p:nvSpPr>
        <p:spPr>
          <a:xfrm>
            <a:off x="9361181" y="5645753"/>
            <a:ext cx="72236" cy="209912"/>
          </a:xfrm>
          <a:prstGeom prst="leftBracket">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Rectangle 38">
            <a:extLst>
              <a:ext uri="{FF2B5EF4-FFF2-40B4-BE49-F238E27FC236}">
                <a16:creationId xmlns:a16="http://schemas.microsoft.com/office/drawing/2014/main" id="{888822AC-A657-4BEC-A02C-AD9C63D250C5}"/>
              </a:ext>
            </a:extLst>
          </p:cNvPr>
          <p:cNvSpPr/>
          <p:nvPr/>
        </p:nvSpPr>
        <p:spPr>
          <a:xfrm>
            <a:off x="8653083" y="5633366"/>
            <a:ext cx="671480" cy="22167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MESA</a:t>
            </a:r>
          </a:p>
        </p:txBody>
      </p:sp>
    </p:spTree>
    <p:extLst>
      <p:ext uri="{BB962C8B-B14F-4D97-AF65-F5344CB8AC3E}">
        <p14:creationId xmlns:p14="http://schemas.microsoft.com/office/powerpoint/2010/main" val="2900970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2024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350" name="think-cell Slide" r:id="rId16" imgW="327" imgH="327" progId="TCLayout.ActiveDocument.1">
                  <p:embed/>
                </p:oleObj>
              </mc:Choice>
              <mc:Fallback>
                <p:oleObj name="think-cell Slide" r:id="rId16" imgW="327" imgH="327"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8" name="Picture 37">
            <a:extLst>
              <a:ext uri="{FF2B5EF4-FFF2-40B4-BE49-F238E27FC236}">
                <a16:creationId xmlns:a16="http://schemas.microsoft.com/office/drawing/2014/main" id="{76F5A929-4ADE-4BEB-86FF-7F67A269CF0F}"/>
              </a:ext>
            </a:extLst>
          </p:cNvPr>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a:xfrm>
            <a:off x="7820025" y="0"/>
            <a:ext cx="4371975" cy="6858000"/>
          </a:xfrm>
          <a:prstGeom prst="rect">
            <a:avLst/>
          </a:prstGeom>
        </p:spPr>
      </p:pic>
      <p:sp>
        <p:nvSpPr>
          <p:cNvPr id="39" name="Rectangle 38">
            <a:extLst>
              <a:ext uri="{FF2B5EF4-FFF2-40B4-BE49-F238E27FC236}">
                <a16:creationId xmlns:a16="http://schemas.microsoft.com/office/drawing/2014/main" id="{225A0F01-236A-4F64-A143-120496831970}"/>
              </a:ext>
            </a:extLst>
          </p:cNvPr>
          <p:cNvSpPr/>
          <p:nvPr/>
        </p:nvSpPr>
        <p:spPr>
          <a:xfrm>
            <a:off x="7820024" y="0"/>
            <a:ext cx="4371976"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VPN / CONNECTIVITY</a:t>
            </a:r>
          </a:p>
        </p:txBody>
      </p:sp>
      <p:sp>
        <p:nvSpPr>
          <p:cNvPr id="40" name="Oval 39">
            <a:extLst>
              <a:ext uri="{FF2B5EF4-FFF2-40B4-BE49-F238E27FC236}">
                <a16:creationId xmlns:a16="http://schemas.microsoft.com/office/drawing/2014/main" id="{4051DFB3-A0A6-4FA3-80AA-80B89DBCB6AF}"/>
              </a:ext>
            </a:extLst>
          </p:cNvPr>
          <p:cNvSpPr>
            <a:spLocks noChangeAspect="1"/>
          </p:cNvSpPr>
          <p:nvPr/>
        </p:nvSpPr>
        <p:spPr>
          <a:xfrm>
            <a:off x="8585115" y="1794866"/>
            <a:ext cx="3127248" cy="31272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102</a:t>
            </a:r>
            <a:endParaRPr lang="en-US" sz="5400" kern="0" dirty="0">
              <a:solidFill>
                <a:srgbClr val="295E7E">
                  <a:lumMod val="100000"/>
                </a:srgbClr>
              </a:solidFill>
            </a:endParaRPr>
          </a:p>
          <a:p>
            <a:pPr algn="ctr"/>
            <a:r>
              <a:rPr lang="en-US" sz="1200" kern="0" dirty="0">
                <a:solidFill>
                  <a:schemeClr val="bg1">
                    <a:lumMod val="50000"/>
                  </a:schemeClr>
                </a:solidFill>
              </a:rPr>
              <a:t>Total </a:t>
            </a:r>
          </a:p>
          <a:p>
            <a:pPr algn="ctr"/>
            <a:r>
              <a:rPr lang="en-US" sz="1200" kern="0" dirty="0">
                <a:solidFill>
                  <a:schemeClr val="bg1">
                    <a:lumMod val="50000"/>
                  </a:schemeClr>
                </a:solidFill>
              </a:rPr>
              <a:t># comments</a:t>
            </a:r>
          </a:p>
        </p:txBody>
      </p:sp>
      <p:sp>
        <p:nvSpPr>
          <p:cNvPr id="46" name="Rectangular Callout 43">
            <a:extLst>
              <a:ext uri="{FF2B5EF4-FFF2-40B4-BE49-F238E27FC236}">
                <a16:creationId xmlns:a16="http://schemas.microsoft.com/office/drawing/2014/main" id="{98B6E7CA-757C-4E37-959F-1104028FC00A}"/>
              </a:ext>
            </a:extLst>
          </p:cNvPr>
          <p:cNvSpPr/>
          <p:nvPr/>
        </p:nvSpPr>
        <p:spPr>
          <a:xfrm>
            <a:off x="2192906" y="4071825"/>
            <a:ext cx="1079124" cy="961993"/>
          </a:xfrm>
          <a:prstGeom prst="wedgeRectCallout">
            <a:avLst>
              <a:gd name="adj1" fmla="val -6122"/>
              <a:gd name="adj2" fmla="val 614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Complex to connect via Phone.</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roject Leader</a:t>
            </a:r>
          </a:p>
        </p:txBody>
      </p:sp>
      <p:sp>
        <p:nvSpPr>
          <p:cNvPr id="53" name="Rectangular Callout 52"/>
          <p:cNvSpPr/>
          <p:nvPr/>
        </p:nvSpPr>
        <p:spPr>
          <a:xfrm>
            <a:off x="205760" y="4072011"/>
            <a:ext cx="1860193" cy="961993"/>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rouble accessing e.g., profile pages even when connected to VPN.</a:t>
            </a:r>
            <a:r>
              <a:rPr lang="en-GB" sz="1200" dirty="0">
                <a:cs typeface="Arial" pitchFamily="34" charset="0"/>
              </a:rPr>
              <a:t>” </a:t>
            </a:r>
          </a:p>
          <a:p>
            <a:endParaRPr lang="en-GB" sz="1200" dirty="0">
              <a:cs typeface="Arial" pitchFamily="34" charset="0"/>
            </a:endParaRPr>
          </a:p>
          <a:p>
            <a:pPr algn="r"/>
            <a:r>
              <a:rPr lang="en-GB" sz="1000" i="1" dirty="0">
                <a:cs typeface="Arial" pitchFamily="34" charset="0"/>
              </a:rPr>
              <a:t>Consultant</a:t>
            </a:r>
          </a:p>
        </p:txBody>
      </p:sp>
      <p:sp>
        <p:nvSpPr>
          <p:cNvPr id="28" name="Rectangle 27">
            <a:extLst>
              <a:ext uri="{FF2B5EF4-FFF2-40B4-BE49-F238E27FC236}">
                <a16:creationId xmlns:a16="http://schemas.microsoft.com/office/drawing/2014/main" id="{AE8BA0A3-A22B-4066-9085-3FC79F11C9A0}"/>
              </a:ext>
            </a:extLst>
          </p:cNvPr>
          <p:cNvSpPr/>
          <p:nvPr/>
        </p:nvSpPr>
        <p:spPr>
          <a:xfrm>
            <a:off x="94641" y="3700433"/>
            <a:ext cx="5405286" cy="3048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336490" y="285915"/>
            <a:ext cx="7270872" cy="1397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rgbClr val="FFFFFF"/>
              </a:solidFill>
            </a:endParaRPr>
          </a:p>
        </p:txBody>
      </p:sp>
      <p:graphicFrame>
        <p:nvGraphicFramePr>
          <p:cNvPr id="29" name="Chart 28">
            <a:extLst>
              <a:ext uri="{FF2B5EF4-FFF2-40B4-BE49-F238E27FC236}">
                <a16:creationId xmlns:a16="http://schemas.microsoft.com/office/drawing/2014/main" id="{ACE5C2F2-C274-4272-8FCD-91AD956413AD}"/>
              </a:ext>
            </a:extLst>
          </p:cNvPr>
          <p:cNvGraphicFramePr/>
          <p:nvPr>
            <p:custDataLst>
              <p:tags r:id="rId4"/>
            </p:custDataLst>
            <p:extLst>
              <p:ext uri="{D42A27DB-BD31-4B8C-83A1-F6EECF244321}">
                <p14:modId xmlns:p14="http://schemas.microsoft.com/office/powerpoint/2010/main" val="1664035136"/>
              </p:ext>
            </p:extLst>
          </p:nvPr>
        </p:nvGraphicFramePr>
        <p:xfrm>
          <a:off x="1676400" y="2012950"/>
          <a:ext cx="5934075" cy="1350963"/>
        </p:xfrm>
        <a:graphic>
          <a:graphicData uri="http://schemas.openxmlformats.org/drawingml/2006/chart">
            <c:chart xmlns:c="http://schemas.openxmlformats.org/drawingml/2006/chart" xmlns:r="http://schemas.openxmlformats.org/officeDocument/2006/relationships" r:id="rId19"/>
          </a:graphicData>
        </a:graphic>
      </p:graphicFrame>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5"/>
            </p:custDataLst>
          </p:nvPr>
        </p:nvSpPr>
        <p:spPr bwMode="gray">
          <a:xfrm>
            <a:off x="377825" y="2192338"/>
            <a:ext cx="12795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D2232BF-6E90-4581-8B6C-5C1416300255}" type="datetime'''S''''t''ab''i''''li''''''t''y'''' &amp;'' Cr''ash''''''''''es'''">
              <a:rPr lang="en-US" altLang="en-US" smtClean="0">
                <a:solidFill>
                  <a:schemeClr val="bg1"/>
                </a:solidFill>
              </a:rPr>
              <a:pPr/>
              <a:t>Stability &amp; Crashes</a:t>
            </a:fld>
            <a:endParaRPr lang="en-US" altLang="en-US" dirty="0">
              <a:solidFill>
                <a:schemeClr val="bg1"/>
              </a:solidFill>
            </a:endParaRPr>
          </a:p>
        </p:txBody>
      </p:sp>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6"/>
            </p:custDataLst>
          </p:nvPr>
        </p:nvSpPr>
        <p:spPr bwMode="gray">
          <a:xfrm>
            <a:off x="225425" y="2587625"/>
            <a:ext cx="1431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AD92487-FDDF-4182-B364-EC2EB04C5689}" type="datetime'Co''''n''''''necti''''''''vity'''' Gener''al'''">
              <a:rPr lang="en-US" altLang="en-US" smtClean="0">
                <a:solidFill>
                  <a:schemeClr val="bg1"/>
                </a:solidFill>
              </a:rPr>
              <a:pPr/>
              <a:t>Connectivity General</a:t>
            </a:fld>
            <a:endParaRPr lang="en-US" dirty="0">
              <a:solidFill>
                <a:schemeClr val="bg1"/>
              </a:solidFill>
              <a:sym typeface="+mn-lt"/>
            </a:endParaRPr>
          </a:p>
        </p:txBody>
      </p:sp>
      <p:sp>
        <p:nvSpPr>
          <p:cNvPr id="121" name="Text Placeholder 3">
            <a:extLst>
              <a:ext uri="{FF2B5EF4-FFF2-40B4-BE49-F238E27FC236}">
                <a16:creationId xmlns:a16="http://schemas.microsoft.com/office/drawing/2014/main" id="{8F82E562-8FA8-4707-9A39-2A17BAEA7ED4}"/>
              </a:ext>
            </a:extLst>
          </p:cNvPr>
          <p:cNvSpPr>
            <a:spLocks noGrp="1"/>
          </p:cNvSpPr>
          <p:nvPr>
            <p:custDataLst>
              <p:tags r:id="rId7"/>
            </p:custDataLst>
          </p:nvPr>
        </p:nvSpPr>
        <p:spPr bwMode="gray">
          <a:xfrm>
            <a:off x="792163" y="2982913"/>
            <a:ext cx="8651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64F3343-FF06-43AF-9C81-A15071B34E4B}" type="datetime'''''''''P''e''r''f''or''''''''''''m''a''n''c''''''e'''''''''''">
              <a:rPr lang="en-US" altLang="en-US" smtClean="0">
                <a:solidFill>
                  <a:schemeClr val="bg1"/>
                </a:solidFill>
              </a:rPr>
              <a:pPr/>
              <a:t>Performance</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8"/>
            </p:custDataLst>
          </p:nvPr>
        </p:nvSpPr>
        <p:spPr bwMode="gray">
          <a:xfrm>
            <a:off x="1958975" y="336232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9"/>
            </p:custDataLst>
          </p:nvPr>
        </p:nvSpPr>
        <p:spPr bwMode="gray">
          <a:xfrm>
            <a:off x="3724275" y="33623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10"/>
            </p:custDataLst>
          </p:nvPr>
        </p:nvSpPr>
        <p:spPr bwMode="gray">
          <a:xfrm>
            <a:off x="2852738" y="33623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1"/>
            </p:custDataLst>
          </p:nvPr>
        </p:nvSpPr>
        <p:spPr bwMode="gray">
          <a:xfrm>
            <a:off x="2224088" y="334327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2"/>
            </p:custDataLst>
          </p:nvPr>
        </p:nvSpPr>
        <p:spPr bwMode="gray">
          <a:xfrm>
            <a:off x="3117850" y="33432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3"/>
            </p:custDataLst>
          </p:nvPr>
        </p:nvSpPr>
        <p:spPr bwMode="gray">
          <a:xfrm>
            <a:off x="3989388" y="334327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897991" y="1857375"/>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51" name="Rectangle 50">
            <a:extLst>
              <a:ext uri="{FF2B5EF4-FFF2-40B4-BE49-F238E27FC236}">
                <a16:creationId xmlns:a16="http://schemas.microsoft.com/office/drawing/2014/main" id="{E3B0484B-8A52-44F7-98DF-52D858C1EB25}"/>
              </a:ext>
            </a:extLst>
          </p:cNvPr>
          <p:cNvSpPr/>
          <p:nvPr/>
        </p:nvSpPr>
        <p:spPr>
          <a:xfrm>
            <a:off x="205761" y="347747"/>
            <a:ext cx="7475452" cy="1397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Although VPN works well for most, many employees say VPN makes their laptops &amp; related software slow &amp; unstable. Software mentioned included email, Slack &amp; Knowledge Navigator. Some employees also indicated it was a complex &amp; lengthy process to connect via VPN on their mobile phone. There is some lack of clarity as to which applications require VPN &amp; which do not.   </a:t>
            </a:r>
          </a:p>
        </p:txBody>
      </p:sp>
      <p:sp>
        <p:nvSpPr>
          <p:cNvPr id="56" name="Rectangular Callout 42">
            <a:extLst>
              <a:ext uri="{FF2B5EF4-FFF2-40B4-BE49-F238E27FC236}">
                <a16:creationId xmlns:a16="http://schemas.microsoft.com/office/drawing/2014/main" id="{81D2CF64-0057-4288-A78D-4ED6902A629A}"/>
              </a:ext>
            </a:extLst>
          </p:cNvPr>
          <p:cNvSpPr/>
          <p:nvPr/>
        </p:nvSpPr>
        <p:spPr>
          <a:xfrm>
            <a:off x="205762" y="5342261"/>
            <a:ext cx="3876930" cy="1159317"/>
          </a:xfrm>
          <a:prstGeom prst="wedgeRectCallout">
            <a:avLst>
              <a:gd name="adj1" fmla="val 23222"/>
              <a:gd name="adj2" fmla="val -5857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t's quite unstable and irritating, since the moment of switching to M365 it's mega annoying. For part of services you need VPN for other not. whey we are not using DirectAccess ?? it's seamless experience. with cisco VPN sometimes after connecting to VPN.</a:t>
            </a:r>
            <a:r>
              <a:rPr lang="en-GB" sz="1200" dirty="0">
                <a:cs typeface="Arial" pitchFamily="34" charset="0"/>
              </a:rPr>
              <a:t>”</a:t>
            </a:r>
            <a:endParaRPr lang="en-US" sz="1200" dirty="0">
              <a:cs typeface="Arial" pitchFamily="34" charset="0"/>
            </a:endParaRPr>
          </a:p>
          <a:p>
            <a:pPr algn="r"/>
            <a:r>
              <a:rPr lang="en-GB" sz="1000" i="1" dirty="0">
                <a:cs typeface="Arial" pitchFamily="34" charset="0"/>
              </a:rPr>
              <a:t>Senior ECT</a:t>
            </a:r>
          </a:p>
        </p:txBody>
      </p:sp>
      <p:sp>
        <p:nvSpPr>
          <p:cNvPr id="30" name="Rectangular Callout 43">
            <a:extLst>
              <a:ext uri="{FF2B5EF4-FFF2-40B4-BE49-F238E27FC236}">
                <a16:creationId xmlns:a16="http://schemas.microsoft.com/office/drawing/2014/main" id="{95EA4A17-4AB2-41CE-B92E-51E24A18C10F}"/>
              </a:ext>
            </a:extLst>
          </p:cNvPr>
          <p:cNvSpPr/>
          <p:nvPr/>
        </p:nvSpPr>
        <p:spPr>
          <a:xfrm>
            <a:off x="3398982" y="4071825"/>
            <a:ext cx="2042411" cy="971564"/>
          </a:xfrm>
          <a:prstGeom prst="wedgeRectCallout">
            <a:avLst>
              <a:gd name="adj1" fmla="val -6122"/>
              <a:gd name="adj2" fmla="val 614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Easy to connect via laptop but more cumbersome to connect to VPN on mobile phone!</a:t>
            </a:r>
            <a:r>
              <a:rPr lang="en-GB" sz="1200" dirty="0">
                <a:cs typeface="Arial" pitchFamily="34" charset="0"/>
              </a:rPr>
              <a:t>”</a:t>
            </a:r>
          </a:p>
          <a:p>
            <a:pPr algn="r"/>
            <a:r>
              <a:rPr lang="en-GB" sz="1000" i="1" dirty="0">
                <a:cs typeface="Arial" pitchFamily="34" charset="0"/>
              </a:rPr>
              <a:t>BST</a:t>
            </a:r>
          </a:p>
        </p:txBody>
      </p:sp>
      <p:sp>
        <p:nvSpPr>
          <p:cNvPr id="31" name="Rectangular Callout 43">
            <a:extLst>
              <a:ext uri="{FF2B5EF4-FFF2-40B4-BE49-F238E27FC236}">
                <a16:creationId xmlns:a16="http://schemas.microsoft.com/office/drawing/2014/main" id="{61BE8EAC-2028-4257-A745-11E120525A24}"/>
              </a:ext>
            </a:extLst>
          </p:cNvPr>
          <p:cNvSpPr/>
          <p:nvPr/>
        </p:nvSpPr>
        <p:spPr>
          <a:xfrm>
            <a:off x="5568345" y="4071825"/>
            <a:ext cx="2124729" cy="961993"/>
          </a:xfrm>
          <a:prstGeom prst="wedgeRectCallout">
            <a:avLst>
              <a:gd name="adj1" fmla="val -28575"/>
              <a:gd name="adj2" fmla="val 576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Navigator often requires to be loaded more than once when I WFH and am connected to VPN.</a:t>
            </a:r>
            <a:r>
              <a:rPr lang="en-GB" sz="1200" dirty="0">
                <a:cs typeface="Arial" pitchFamily="34" charset="0"/>
              </a:rPr>
              <a:t>”</a:t>
            </a:r>
          </a:p>
          <a:p>
            <a:pPr algn="r"/>
            <a:r>
              <a:rPr lang="en-GB" sz="1000" i="1" dirty="0">
                <a:cs typeface="Arial" pitchFamily="34" charset="0"/>
              </a:rPr>
              <a:t>Project Leader</a:t>
            </a:r>
          </a:p>
        </p:txBody>
      </p:sp>
      <p:sp>
        <p:nvSpPr>
          <p:cNvPr id="32" name="Rectangular Callout 42">
            <a:extLst>
              <a:ext uri="{FF2B5EF4-FFF2-40B4-BE49-F238E27FC236}">
                <a16:creationId xmlns:a16="http://schemas.microsoft.com/office/drawing/2014/main" id="{CF011265-5F57-413E-8D88-32D5B9918E72}"/>
              </a:ext>
            </a:extLst>
          </p:cNvPr>
          <p:cNvSpPr/>
          <p:nvPr/>
        </p:nvSpPr>
        <p:spPr>
          <a:xfrm>
            <a:off x="5788842" y="5356861"/>
            <a:ext cx="1904232" cy="1131016"/>
          </a:xfrm>
          <a:prstGeom prst="wedgeRectCallout">
            <a:avLst>
              <a:gd name="adj1" fmla="val 17052"/>
              <a:gd name="adj2" fmla="val -605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A bit confusing sometimes when tools do not work with VPN where others only work with VPN.</a:t>
            </a:r>
            <a:r>
              <a:rPr lang="en-GB" sz="1200" dirty="0">
                <a:cs typeface="Arial" pitchFamily="34" charset="0"/>
              </a:rPr>
              <a:t>”</a:t>
            </a:r>
          </a:p>
          <a:p>
            <a:pPr algn="r"/>
            <a:r>
              <a:rPr lang="en-GB" sz="1000" i="1" dirty="0">
                <a:cs typeface="Arial" pitchFamily="34" charset="0"/>
              </a:rPr>
              <a:t>Associate</a:t>
            </a:r>
          </a:p>
        </p:txBody>
      </p:sp>
      <p:sp>
        <p:nvSpPr>
          <p:cNvPr id="57" name="Rectangular Callout 42">
            <a:extLst>
              <a:ext uri="{FF2B5EF4-FFF2-40B4-BE49-F238E27FC236}">
                <a16:creationId xmlns:a16="http://schemas.microsoft.com/office/drawing/2014/main" id="{83C58910-155C-4678-929F-8E3EB49EDCDE}"/>
              </a:ext>
            </a:extLst>
          </p:cNvPr>
          <p:cNvSpPr/>
          <p:nvPr/>
        </p:nvSpPr>
        <p:spPr>
          <a:xfrm>
            <a:off x="4209642" y="5356411"/>
            <a:ext cx="1452249" cy="1131016"/>
          </a:xfrm>
          <a:prstGeom prst="wedgeRectCallout">
            <a:avLst>
              <a:gd name="adj1" fmla="val 17052"/>
              <a:gd name="adj2" fmla="val -605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Using VPN slows down email and slack communications.</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BST</a:t>
            </a:r>
          </a:p>
        </p:txBody>
      </p:sp>
    </p:spTree>
    <p:extLst>
      <p:ext uri="{BB962C8B-B14F-4D97-AF65-F5344CB8AC3E}">
        <p14:creationId xmlns:p14="http://schemas.microsoft.com/office/powerpoint/2010/main" val="982384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8377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717"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Sign-On (OKTA)</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 name="bcgBugs_PadlockUnlocked">
            <a:extLst>
              <a:ext uri="{FF2B5EF4-FFF2-40B4-BE49-F238E27FC236}">
                <a16:creationId xmlns:a16="http://schemas.microsoft.com/office/drawing/2014/main" id="{5AE3BEC0-7D4D-4147-973E-FF9CC9530904}"/>
              </a:ext>
            </a:extLst>
          </p:cNvPr>
          <p:cNvGrpSpPr>
            <a:grpSpLocks noChangeAspect="1"/>
          </p:cNvGrpSpPr>
          <p:nvPr/>
        </p:nvGrpSpPr>
        <p:grpSpPr bwMode="auto">
          <a:xfrm>
            <a:off x="9569833" y="1840280"/>
            <a:ext cx="1643042" cy="1644650"/>
            <a:chOff x="2818" y="1137"/>
            <a:chExt cx="2044" cy="2046"/>
          </a:xfrm>
        </p:grpSpPr>
        <p:sp>
          <p:nvSpPr>
            <p:cNvPr id="15" name="AutoShape 24">
              <a:extLst>
                <a:ext uri="{FF2B5EF4-FFF2-40B4-BE49-F238E27FC236}">
                  <a16:creationId xmlns:a16="http://schemas.microsoft.com/office/drawing/2014/main" id="{97637EF8-8620-44FC-A728-028DF1B3C78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6">
              <a:extLst>
                <a:ext uri="{FF2B5EF4-FFF2-40B4-BE49-F238E27FC236}">
                  <a16:creationId xmlns:a16="http://schemas.microsoft.com/office/drawing/2014/main" id="{E33A3DBA-B943-4AA1-9725-D871E6595FC5}"/>
                </a:ext>
              </a:extLst>
            </p:cNvPr>
            <p:cNvSpPr>
              <a:spLocks noEditPoints="1"/>
            </p:cNvSpPr>
            <p:nvPr/>
          </p:nvSpPr>
          <p:spPr bwMode="auto">
            <a:xfrm>
              <a:off x="3199" y="1256"/>
              <a:ext cx="1285" cy="1802"/>
            </a:xfrm>
            <a:custGeom>
              <a:avLst/>
              <a:gdLst>
                <a:gd name="T0" fmla="*/ 606 w 628"/>
                <a:gd name="T1" fmla="*/ 360 h 880"/>
                <a:gd name="T2" fmla="*/ 169 w 628"/>
                <a:gd name="T3" fmla="*/ 360 h 880"/>
                <a:gd name="T4" fmla="*/ 169 w 628"/>
                <a:gd name="T5" fmla="*/ 242 h 880"/>
                <a:gd name="T6" fmla="*/ 236 w 628"/>
                <a:gd name="T7" fmla="*/ 121 h 880"/>
                <a:gd name="T8" fmla="*/ 314 w 628"/>
                <a:gd name="T9" fmla="*/ 100 h 880"/>
                <a:gd name="T10" fmla="*/ 390 w 628"/>
                <a:gd name="T11" fmla="*/ 119 h 880"/>
                <a:gd name="T12" fmla="*/ 459 w 628"/>
                <a:gd name="T13" fmla="*/ 242 h 880"/>
                <a:gd name="T14" fmla="*/ 509 w 628"/>
                <a:gd name="T15" fmla="*/ 292 h 880"/>
                <a:gd name="T16" fmla="*/ 559 w 628"/>
                <a:gd name="T17" fmla="*/ 242 h 880"/>
                <a:gd name="T18" fmla="*/ 434 w 628"/>
                <a:gd name="T19" fmla="*/ 30 h 880"/>
                <a:gd name="T20" fmla="*/ 314 w 628"/>
                <a:gd name="T21" fmla="*/ 0 h 880"/>
                <a:gd name="T22" fmla="*/ 314 w 628"/>
                <a:gd name="T23" fmla="*/ 0 h 880"/>
                <a:gd name="T24" fmla="*/ 314 w 628"/>
                <a:gd name="T25" fmla="*/ 0 h 880"/>
                <a:gd name="T26" fmla="*/ 194 w 628"/>
                <a:gd name="T27" fmla="*/ 30 h 880"/>
                <a:gd name="T28" fmla="*/ 69 w 628"/>
                <a:gd name="T29" fmla="*/ 242 h 880"/>
                <a:gd name="T30" fmla="*/ 69 w 628"/>
                <a:gd name="T31" fmla="*/ 360 h 880"/>
                <a:gd name="T32" fmla="*/ 22 w 628"/>
                <a:gd name="T33" fmla="*/ 360 h 880"/>
                <a:gd name="T34" fmla="*/ 0 w 628"/>
                <a:gd name="T35" fmla="*/ 382 h 880"/>
                <a:gd name="T36" fmla="*/ 0 w 628"/>
                <a:gd name="T37" fmla="*/ 858 h 880"/>
                <a:gd name="T38" fmla="*/ 22 w 628"/>
                <a:gd name="T39" fmla="*/ 880 h 880"/>
                <a:gd name="T40" fmla="*/ 606 w 628"/>
                <a:gd name="T41" fmla="*/ 880 h 880"/>
                <a:gd name="T42" fmla="*/ 628 w 628"/>
                <a:gd name="T43" fmla="*/ 858 h 880"/>
                <a:gd name="T44" fmla="*/ 628 w 628"/>
                <a:gd name="T45" fmla="*/ 382 h 880"/>
                <a:gd name="T46" fmla="*/ 606 w 628"/>
                <a:gd name="T47" fmla="*/ 360 h 880"/>
                <a:gd name="T48" fmla="*/ 345 w 628"/>
                <a:gd name="T49" fmla="*/ 597 h 880"/>
                <a:gd name="T50" fmla="*/ 345 w 628"/>
                <a:gd name="T51" fmla="*/ 776 h 880"/>
                <a:gd name="T52" fmla="*/ 335 w 628"/>
                <a:gd name="T53" fmla="*/ 786 h 880"/>
                <a:gd name="T54" fmla="*/ 293 w 628"/>
                <a:gd name="T55" fmla="*/ 786 h 880"/>
                <a:gd name="T56" fmla="*/ 283 w 628"/>
                <a:gd name="T57" fmla="*/ 776 h 880"/>
                <a:gd name="T58" fmla="*/ 283 w 628"/>
                <a:gd name="T59" fmla="*/ 597 h 880"/>
                <a:gd name="T60" fmla="*/ 239 w 628"/>
                <a:gd name="T61" fmla="*/ 529 h 880"/>
                <a:gd name="T62" fmla="*/ 314 w 628"/>
                <a:gd name="T63" fmla="*/ 453 h 880"/>
                <a:gd name="T64" fmla="*/ 389 w 628"/>
                <a:gd name="T65" fmla="*/ 529 h 880"/>
                <a:gd name="T66" fmla="*/ 345 w 628"/>
                <a:gd name="T67" fmla="*/ 597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8" h="880">
                  <a:moveTo>
                    <a:pt x="606" y="360"/>
                  </a:moveTo>
                  <a:cubicBezTo>
                    <a:pt x="169" y="360"/>
                    <a:pt x="169" y="360"/>
                    <a:pt x="169" y="360"/>
                  </a:cubicBezTo>
                  <a:cubicBezTo>
                    <a:pt x="169" y="242"/>
                    <a:pt x="169" y="242"/>
                    <a:pt x="169" y="242"/>
                  </a:cubicBezTo>
                  <a:cubicBezTo>
                    <a:pt x="169" y="184"/>
                    <a:pt x="191" y="144"/>
                    <a:pt x="236" y="121"/>
                  </a:cubicBezTo>
                  <a:cubicBezTo>
                    <a:pt x="272" y="102"/>
                    <a:pt x="309" y="100"/>
                    <a:pt x="314" y="100"/>
                  </a:cubicBezTo>
                  <a:cubicBezTo>
                    <a:pt x="318" y="100"/>
                    <a:pt x="355" y="102"/>
                    <a:pt x="390" y="119"/>
                  </a:cubicBezTo>
                  <a:cubicBezTo>
                    <a:pt x="437" y="143"/>
                    <a:pt x="459" y="183"/>
                    <a:pt x="459" y="242"/>
                  </a:cubicBezTo>
                  <a:cubicBezTo>
                    <a:pt x="459" y="270"/>
                    <a:pt x="482" y="292"/>
                    <a:pt x="509" y="292"/>
                  </a:cubicBezTo>
                  <a:cubicBezTo>
                    <a:pt x="537" y="292"/>
                    <a:pt x="559" y="270"/>
                    <a:pt x="559" y="242"/>
                  </a:cubicBezTo>
                  <a:cubicBezTo>
                    <a:pt x="559" y="146"/>
                    <a:pt x="515" y="70"/>
                    <a:pt x="434" y="30"/>
                  </a:cubicBezTo>
                  <a:cubicBezTo>
                    <a:pt x="376" y="1"/>
                    <a:pt x="321" y="0"/>
                    <a:pt x="314" y="0"/>
                  </a:cubicBezTo>
                  <a:cubicBezTo>
                    <a:pt x="314" y="0"/>
                    <a:pt x="314" y="0"/>
                    <a:pt x="314" y="0"/>
                  </a:cubicBezTo>
                  <a:cubicBezTo>
                    <a:pt x="314" y="0"/>
                    <a:pt x="314" y="0"/>
                    <a:pt x="314" y="0"/>
                  </a:cubicBezTo>
                  <a:cubicBezTo>
                    <a:pt x="307" y="0"/>
                    <a:pt x="252" y="1"/>
                    <a:pt x="194" y="30"/>
                  </a:cubicBezTo>
                  <a:cubicBezTo>
                    <a:pt x="113" y="70"/>
                    <a:pt x="69" y="146"/>
                    <a:pt x="69" y="242"/>
                  </a:cubicBezTo>
                  <a:cubicBezTo>
                    <a:pt x="69" y="360"/>
                    <a:pt x="69" y="360"/>
                    <a:pt x="69" y="360"/>
                  </a:cubicBezTo>
                  <a:cubicBezTo>
                    <a:pt x="22" y="360"/>
                    <a:pt x="22" y="360"/>
                    <a:pt x="22" y="360"/>
                  </a:cubicBezTo>
                  <a:cubicBezTo>
                    <a:pt x="10" y="360"/>
                    <a:pt x="0" y="370"/>
                    <a:pt x="0" y="382"/>
                  </a:cubicBezTo>
                  <a:cubicBezTo>
                    <a:pt x="0" y="858"/>
                    <a:pt x="0" y="858"/>
                    <a:pt x="0" y="858"/>
                  </a:cubicBezTo>
                  <a:cubicBezTo>
                    <a:pt x="0" y="870"/>
                    <a:pt x="10" y="880"/>
                    <a:pt x="22" y="880"/>
                  </a:cubicBezTo>
                  <a:cubicBezTo>
                    <a:pt x="606" y="880"/>
                    <a:pt x="606" y="880"/>
                    <a:pt x="606" y="880"/>
                  </a:cubicBezTo>
                  <a:cubicBezTo>
                    <a:pt x="618" y="880"/>
                    <a:pt x="628" y="870"/>
                    <a:pt x="628" y="858"/>
                  </a:cubicBezTo>
                  <a:cubicBezTo>
                    <a:pt x="628" y="382"/>
                    <a:pt x="628" y="382"/>
                    <a:pt x="628" y="382"/>
                  </a:cubicBezTo>
                  <a:cubicBezTo>
                    <a:pt x="628" y="370"/>
                    <a:pt x="618" y="360"/>
                    <a:pt x="606" y="360"/>
                  </a:cubicBezTo>
                  <a:close/>
                  <a:moveTo>
                    <a:pt x="345" y="597"/>
                  </a:moveTo>
                  <a:cubicBezTo>
                    <a:pt x="345" y="776"/>
                    <a:pt x="345" y="776"/>
                    <a:pt x="345" y="776"/>
                  </a:cubicBezTo>
                  <a:cubicBezTo>
                    <a:pt x="345" y="782"/>
                    <a:pt x="341" y="786"/>
                    <a:pt x="335" y="786"/>
                  </a:cubicBezTo>
                  <a:cubicBezTo>
                    <a:pt x="293" y="786"/>
                    <a:pt x="293" y="786"/>
                    <a:pt x="293" y="786"/>
                  </a:cubicBezTo>
                  <a:cubicBezTo>
                    <a:pt x="287" y="786"/>
                    <a:pt x="283" y="782"/>
                    <a:pt x="283" y="776"/>
                  </a:cubicBezTo>
                  <a:cubicBezTo>
                    <a:pt x="283" y="597"/>
                    <a:pt x="283" y="597"/>
                    <a:pt x="283" y="597"/>
                  </a:cubicBezTo>
                  <a:cubicBezTo>
                    <a:pt x="257" y="586"/>
                    <a:pt x="239" y="559"/>
                    <a:pt x="239" y="529"/>
                  </a:cubicBezTo>
                  <a:cubicBezTo>
                    <a:pt x="239" y="487"/>
                    <a:pt x="272" y="453"/>
                    <a:pt x="314" y="453"/>
                  </a:cubicBezTo>
                  <a:cubicBezTo>
                    <a:pt x="356" y="453"/>
                    <a:pt x="389" y="487"/>
                    <a:pt x="389" y="529"/>
                  </a:cubicBezTo>
                  <a:cubicBezTo>
                    <a:pt x="389" y="559"/>
                    <a:pt x="371" y="586"/>
                    <a:pt x="345" y="5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 name="Title 1">
            <a:extLst>
              <a:ext uri="{FF2B5EF4-FFF2-40B4-BE49-F238E27FC236}">
                <a16:creationId xmlns:a16="http://schemas.microsoft.com/office/drawing/2014/main" id="{4E01BD50-F732-4ED7-91B4-908EC9CC6F27}"/>
              </a:ext>
            </a:extLst>
          </p:cNvPr>
          <p:cNvSpPr txBox="1">
            <a:spLocks/>
          </p:cNvSpPr>
          <p:nvPr/>
        </p:nvSpPr>
        <p:spPr bwMode="blackWhite">
          <a:xfrm>
            <a:off x="625200" y="1935937"/>
            <a:ext cx="7670580" cy="2041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sym typeface="Trebuchet MS" panose="020B0603020202020204" pitchFamily="34" charset="0"/>
              </a:defRPr>
            </a:lvl1pPr>
          </a:lstStyle>
          <a:p>
            <a:r>
              <a:rPr lang="en-GB" dirty="0"/>
              <a:t>Identity &amp; Access Management</a:t>
            </a:r>
          </a:p>
        </p:txBody>
      </p:sp>
    </p:spTree>
    <p:extLst>
      <p:ext uri="{BB962C8B-B14F-4D97-AF65-F5344CB8AC3E}">
        <p14:creationId xmlns:p14="http://schemas.microsoft.com/office/powerpoint/2010/main" val="387941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799545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906"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3" name="Title 2"/>
          <p:cNvSpPr>
            <a:spLocks noGrp="1"/>
          </p:cNvSpPr>
          <p:nvPr>
            <p:ph type="title"/>
          </p:nvPr>
        </p:nvSpPr>
        <p:spPr/>
        <p:txBody>
          <a:bodyPr vert="horz"/>
          <a:lstStyle/>
          <a:p>
            <a:r>
              <a:rPr lang="en-US">
                <a:solidFill>
                  <a:srgbClr val="295E7E"/>
                </a:solidFill>
              </a:rPr>
              <a:t>Okta – Satisfaction</a:t>
            </a:r>
            <a:endParaRPr lang="en-US" dirty="0">
              <a:solidFill>
                <a:srgbClr val="295E7E"/>
              </a:solidFill>
            </a:endParaRPr>
          </a:p>
        </p:txBody>
      </p:sp>
      <p:graphicFrame>
        <p:nvGraphicFramePr>
          <p:cNvPr id="73" name="Chart 72">
            <a:extLst>
              <a:ext uri="{FF2B5EF4-FFF2-40B4-BE49-F238E27FC236}">
                <a16:creationId xmlns:a16="http://schemas.microsoft.com/office/drawing/2014/main" id="{D2DA8D7B-E955-4BBE-ABA4-40845DC68B7C}"/>
              </a:ext>
            </a:extLst>
          </p:cNvPr>
          <p:cNvGraphicFramePr/>
          <p:nvPr>
            <p:custDataLst>
              <p:tags r:id="rId5"/>
            </p:custDataLst>
            <p:extLst>
              <p:ext uri="{D42A27DB-BD31-4B8C-83A1-F6EECF244321}">
                <p14:modId xmlns:p14="http://schemas.microsoft.com/office/powerpoint/2010/main" val="2242114387"/>
              </p:ext>
            </p:extLst>
          </p:nvPr>
        </p:nvGraphicFramePr>
        <p:xfrm>
          <a:off x="2497138" y="1646238"/>
          <a:ext cx="7666037" cy="1436687"/>
        </p:xfrm>
        <a:graphic>
          <a:graphicData uri="http://schemas.openxmlformats.org/drawingml/2006/chart">
            <c:chart xmlns:c="http://schemas.openxmlformats.org/drawingml/2006/chart" xmlns:r="http://schemas.openxmlformats.org/officeDocument/2006/relationships" r:id="rId25"/>
          </a:graphicData>
        </a:graphic>
      </p:graphicFrame>
      <p:cxnSp>
        <p:nvCxnSpPr>
          <p:cNvPr id="297" name="Straight Connector 296">
            <a:extLst>
              <a:ext uri="{FF2B5EF4-FFF2-40B4-BE49-F238E27FC236}">
                <a16:creationId xmlns:a16="http://schemas.microsoft.com/office/drawing/2014/main" id="{DE1F1433-EDFA-45CA-9DA3-C8B956AE39FF}"/>
              </a:ext>
            </a:extLst>
          </p:cNvPr>
          <p:cNvCxnSpPr>
            <a:cxnSpLocks/>
          </p:cNvCxnSpPr>
          <p:nvPr>
            <p:custDataLst>
              <p:tags r:id="rId6"/>
            </p:custDataLst>
          </p:nvPr>
        </p:nvCxnSpPr>
        <p:spPr bwMode="gray">
          <a:xfrm>
            <a:off x="9837738" y="1855788"/>
            <a:ext cx="9525" cy="5715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08428DAA-33AD-4B51-BE09-B06E86F516C7}"/>
              </a:ext>
            </a:extLst>
          </p:cNvPr>
          <p:cNvCxnSpPr/>
          <p:nvPr>
            <p:custDataLst>
              <p:tags r:id="rId7"/>
            </p:custDataLst>
          </p:nvPr>
        </p:nvCxnSpPr>
        <p:spPr bwMode="gray">
          <a:xfrm>
            <a:off x="9785350" y="2341563"/>
            <a:ext cx="0" cy="555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7" name="Text Placeholder 3">
            <a:extLst>
              <a:ext uri="{FF2B5EF4-FFF2-40B4-BE49-F238E27FC236}">
                <a16:creationId xmlns:a16="http://schemas.microsoft.com/office/drawing/2014/main" id="{B984F4D0-8810-4D2C-AA01-BA4EF4F54A91}"/>
              </a:ext>
            </a:extLst>
          </p:cNvPr>
          <p:cNvSpPr>
            <a:spLocks noGrp="1"/>
          </p:cNvSpPr>
          <p:nvPr>
            <p:custDataLst>
              <p:tags r:id="rId8"/>
            </p:custDataLst>
          </p:nvPr>
        </p:nvSpPr>
        <p:spPr bwMode="gray">
          <a:xfrm>
            <a:off x="1508125" y="2411413"/>
            <a:ext cx="11541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CE0C0E6-AEAC-4F02-8FF3-9ECF0B00DD20}" type="datetime'''Ok''ta'''' ''''''''''- v''''''ia ''''''''''''Mo''''''bile'">
              <a:rPr lang="en-US" altLang="en-US" smtClean="0"/>
              <a:pPr/>
              <a:t>Okta - via Mobile</a:t>
            </a:fld>
            <a:endParaRPr lang="en-US" dirty="0">
              <a:sym typeface="+mn-lt"/>
            </a:endParaRPr>
          </a:p>
        </p:txBody>
      </p:sp>
      <p:sp>
        <p:nvSpPr>
          <p:cNvPr id="200" name="Text Placeholder 3">
            <a:extLst>
              <a:ext uri="{FF2B5EF4-FFF2-40B4-BE49-F238E27FC236}">
                <a16:creationId xmlns:a16="http://schemas.microsoft.com/office/drawing/2014/main" id="{12A9AB21-ECCB-4CDA-AC17-47D37333079D}"/>
              </a:ext>
            </a:extLst>
          </p:cNvPr>
          <p:cNvSpPr>
            <a:spLocks noGrp="1"/>
          </p:cNvSpPr>
          <p:nvPr>
            <p:custDataLst>
              <p:tags r:id="rId9"/>
            </p:custDataLst>
          </p:nvPr>
        </p:nvSpPr>
        <p:spPr bwMode="gray">
          <a:xfrm>
            <a:off x="1484313" y="1927225"/>
            <a:ext cx="1177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3E75402-D7E6-4D4D-AA65-12F5D13EC8CD}" type="datetime'Ok''''t''a ''-'''''''''''''' v''ia'''''''' La''pt''''''''op'''">
              <a:rPr lang="en-US" altLang="en-US" smtClean="0"/>
              <a:pPr/>
              <a:t>Okta - via Laptop</a:t>
            </a:fld>
            <a:endParaRPr lang="en-US" dirty="0">
              <a:sym typeface="+mn-lt"/>
            </a:endParaRPr>
          </a:p>
        </p:txBody>
      </p:sp>
      <p:sp useBgFill="1">
        <p:nvSpPr>
          <p:cNvPr id="80" name="Text Placeholder 3">
            <a:extLst>
              <a:ext uri="{FF2B5EF4-FFF2-40B4-BE49-F238E27FC236}">
                <a16:creationId xmlns:a16="http://schemas.microsoft.com/office/drawing/2014/main" id="{5F47771D-0E93-470C-BA74-26E7FF6857BC}"/>
              </a:ext>
            </a:extLst>
          </p:cNvPr>
          <p:cNvSpPr>
            <a:spLocks noGrp="1"/>
          </p:cNvSpPr>
          <p:nvPr>
            <p:custDataLst>
              <p:tags r:id="rId10"/>
            </p:custDataLst>
          </p:nvPr>
        </p:nvSpPr>
        <p:spPr bwMode="gray">
          <a:xfrm>
            <a:off x="9726613" y="2139951"/>
            <a:ext cx="117475" cy="201613"/>
          </a:xfrm>
          <a:prstGeom prst="rect">
            <a:avLst/>
          </a:prstGeom>
          <a:ln>
            <a:noFill/>
          </a:ln>
          <a:effectLst/>
        </p:spPr>
        <p:txBody>
          <a:bodyPr vert="horz" wrap="none" lIns="19050" tIns="0" rIns="1905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AFC6E35-F31F-4B4B-A826-8A7725D81ADD}" type="datetime'''3'''''''''''''''''''''''''''''''">
              <a:rPr lang="en-US" altLang="en-US" smtClean="0">
                <a:effectLst/>
              </a:rPr>
              <a:pPr/>
              <a:t>3</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30000" y="1338263"/>
            <a:ext cx="6721059" cy="3587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2" name="Rectangle 31"/>
          <p:cNvSpPr/>
          <p:nvPr/>
        </p:nvSpPr>
        <p:spPr>
          <a:xfrm>
            <a:off x="9978066" y="1855788"/>
            <a:ext cx="543551" cy="254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1%</a:t>
            </a:r>
          </a:p>
        </p:txBody>
      </p:sp>
      <p:sp>
        <p:nvSpPr>
          <p:cNvPr id="33" name="Rectangle 32"/>
          <p:cNvSpPr/>
          <p:nvPr/>
        </p:nvSpPr>
        <p:spPr>
          <a:xfrm>
            <a:off x="9968621" y="1520825"/>
            <a:ext cx="562440" cy="2476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34" name="Rectangle 33"/>
          <p:cNvSpPr/>
          <p:nvPr/>
        </p:nvSpPr>
        <p:spPr>
          <a:xfrm>
            <a:off x="10658011" y="1531938"/>
            <a:ext cx="893049" cy="2047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35" name="Rectangle 34"/>
          <p:cNvSpPr/>
          <p:nvPr/>
        </p:nvSpPr>
        <p:spPr>
          <a:xfrm>
            <a:off x="10657908" y="1844675"/>
            <a:ext cx="904092" cy="211138"/>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57" name="Rectangle 56"/>
          <p:cNvSpPr/>
          <p:nvPr/>
        </p:nvSpPr>
        <p:spPr>
          <a:xfrm>
            <a:off x="9978066" y="2365375"/>
            <a:ext cx="543551"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9%</a:t>
            </a:r>
          </a:p>
        </p:txBody>
      </p:sp>
      <p:sp>
        <p:nvSpPr>
          <p:cNvPr id="323" name="Rectangle 322"/>
          <p:cNvSpPr/>
          <p:nvPr>
            <p:custDataLst>
              <p:tags r:id="rId11"/>
            </p:custDataLst>
          </p:nvPr>
        </p:nvSpPr>
        <p:spPr bwMode="gray">
          <a:xfrm>
            <a:off x="6480175" y="31051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0" name="Rectangle 319"/>
          <p:cNvSpPr/>
          <p:nvPr>
            <p:custDataLst>
              <p:tags r:id="rId12"/>
            </p:custDataLst>
          </p:nvPr>
        </p:nvSpPr>
        <p:spPr bwMode="gray">
          <a:xfrm>
            <a:off x="3368675" y="31051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1" name="Rectangle 320"/>
          <p:cNvSpPr/>
          <p:nvPr>
            <p:custDataLst>
              <p:tags r:id="rId13"/>
            </p:custDataLst>
          </p:nvPr>
        </p:nvSpPr>
        <p:spPr bwMode="gray">
          <a:xfrm>
            <a:off x="4659313" y="31051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2" name="Rectangle 321"/>
          <p:cNvSpPr/>
          <p:nvPr>
            <p:custDataLst>
              <p:tags r:id="rId14"/>
            </p:custDataLst>
          </p:nvPr>
        </p:nvSpPr>
        <p:spPr bwMode="gray">
          <a:xfrm>
            <a:off x="5608638" y="31051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4" name="Rectangle 323"/>
          <p:cNvSpPr/>
          <p:nvPr>
            <p:custDataLst>
              <p:tags r:id="rId15"/>
            </p:custDataLst>
          </p:nvPr>
        </p:nvSpPr>
        <p:spPr bwMode="gray">
          <a:xfrm>
            <a:off x="7616825" y="31051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17" name="Text Placeholder 3"/>
          <p:cNvSpPr>
            <a:spLocks noGrp="1"/>
          </p:cNvSpPr>
          <p:nvPr>
            <p:custDataLst>
              <p:tags r:id="rId16"/>
            </p:custDataLst>
          </p:nvPr>
        </p:nvSpPr>
        <p:spPr bwMode="gray">
          <a:xfrm>
            <a:off x="3633788" y="30861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7F8B983-CDE4-47FB-BB5E-4FBC64BCD754}" type="datetime'''V''e''''r''y'' ''''''Sa''''''t''''i''''''''sfi''e''''''''d'">
              <a:rPr lang="en-US" altLang="en-US" smtClean="0">
                <a:sym typeface="+mn-lt"/>
              </a:rPr>
              <a:pPr>
                <a:spcBef>
                  <a:spcPct val="0"/>
                </a:spcBef>
                <a:spcAft>
                  <a:spcPct val="0"/>
                </a:spcAft>
              </a:pPr>
              <a:t>Very Satisfied</a:t>
            </a:fld>
            <a:endParaRPr lang="en-US" dirty="0">
              <a:sym typeface="+mn-lt"/>
            </a:endParaRPr>
          </a:p>
        </p:txBody>
      </p:sp>
      <p:sp>
        <p:nvSpPr>
          <p:cNvPr id="314" name="Text Placeholder 3"/>
          <p:cNvSpPr>
            <a:spLocks noGrp="1"/>
          </p:cNvSpPr>
          <p:nvPr>
            <p:custDataLst>
              <p:tags r:id="rId17"/>
            </p:custDataLst>
          </p:nvPr>
        </p:nvSpPr>
        <p:spPr bwMode="gray">
          <a:xfrm>
            <a:off x="7881938" y="30861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0964463-7572-422A-BC5D-E68900BCC74D}" type="datetime'V''er''y'''''' Diss''''''''a''''''t''i''si''''f''''''''e''d'">
              <a:rPr lang="en-US" altLang="en-US" smtClean="0">
                <a:sym typeface="+mn-lt"/>
              </a:rPr>
              <a:pPr>
                <a:spcBef>
                  <a:spcPct val="0"/>
                </a:spcBef>
                <a:spcAft>
                  <a:spcPct val="0"/>
                </a:spcAft>
              </a:pPr>
              <a:t>Very Dissatisifed</a:t>
            </a:fld>
            <a:endParaRPr lang="en-US" dirty="0">
              <a:sym typeface="+mn-lt"/>
            </a:endParaRPr>
          </a:p>
        </p:txBody>
      </p:sp>
      <p:sp>
        <p:nvSpPr>
          <p:cNvPr id="318" name="Text Placeholder 3"/>
          <p:cNvSpPr>
            <a:spLocks noGrp="1"/>
          </p:cNvSpPr>
          <p:nvPr>
            <p:custDataLst>
              <p:tags r:id="rId18"/>
            </p:custDataLst>
          </p:nvPr>
        </p:nvSpPr>
        <p:spPr bwMode="gray">
          <a:xfrm>
            <a:off x="4924425" y="30861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B7D7749-E547-4D31-9CC6-3EEEC0239BD1}" type="datetime'''''''''S''a''''''''''''t''''is''''''''f''''''''''ie''''''''d'">
              <a:rPr lang="en-US" altLang="en-US" smtClean="0">
                <a:sym typeface="+mn-lt"/>
              </a:rPr>
              <a:pPr>
                <a:spcBef>
                  <a:spcPct val="0"/>
                </a:spcBef>
                <a:spcAft>
                  <a:spcPct val="0"/>
                </a:spcAft>
              </a:pPr>
              <a:t>Satisfied</a:t>
            </a:fld>
            <a:endParaRPr lang="en-US" dirty="0">
              <a:sym typeface="+mn-lt"/>
            </a:endParaRPr>
          </a:p>
        </p:txBody>
      </p:sp>
      <p:sp>
        <p:nvSpPr>
          <p:cNvPr id="315" name="Text Placeholder 3"/>
          <p:cNvSpPr>
            <a:spLocks noGrp="1"/>
          </p:cNvSpPr>
          <p:nvPr>
            <p:custDataLst>
              <p:tags r:id="rId19"/>
            </p:custDataLst>
          </p:nvPr>
        </p:nvSpPr>
        <p:spPr bwMode="gray">
          <a:xfrm>
            <a:off x="6745288" y="30861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722F4F2-8AD1-405F-9A7E-5BCA30FE76E2}" type="datetime'D''''''''''''''i''''''''ss''a''t''''''is''f''''i''''ed'">
              <a:rPr lang="en-US" altLang="en-US" smtClean="0">
                <a:sym typeface="+mn-lt"/>
              </a:rPr>
              <a:pPr>
                <a:spcBef>
                  <a:spcPct val="0"/>
                </a:spcBef>
                <a:spcAft>
                  <a:spcPct val="0"/>
                </a:spcAft>
              </a:pPr>
              <a:t>Dissatisfied</a:t>
            </a:fld>
            <a:endParaRPr lang="en-US" dirty="0">
              <a:sym typeface="+mn-lt"/>
            </a:endParaRPr>
          </a:p>
        </p:txBody>
      </p:sp>
      <p:sp>
        <p:nvSpPr>
          <p:cNvPr id="316" name="Text Placeholder 3"/>
          <p:cNvSpPr>
            <a:spLocks noGrp="1"/>
          </p:cNvSpPr>
          <p:nvPr>
            <p:custDataLst>
              <p:tags r:id="rId20"/>
            </p:custDataLst>
          </p:nvPr>
        </p:nvSpPr>
        <p:spPr bwMode="gray">
          <a:xfrm>
            <a:off x="5873750" y="30861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E7F819-2851-4AA6-9B4E-3ABD580425B5}" type="datetime'N''''''''''''''''''''''''''''e''''''''''''u''t''''r''a''l'''">
              <a:rPr lang="en-US" altLang="en-US" smtClean="0">
                <a:sym typeface="+mn-lt"/>
              </a:rPr>
              <a:pPr>
                <a:spcBef>
                  <a:spcPct val="0"/>
                </a:spcBef>
                <a:spcAft>
                  <a:spcPct val="0"/>
                </a:spcAft>
              </a:pPr>
              <a:t>Neutral</a:t>
            </a:fld>
            <a:endParaRPr lang="en-US" dirty="0">
              <a:sym typeface="+mn-lt"/>
            </a:endParaRPr>
          </a:p>
        </p:txBody>
      </p:sp>
      <p:sp>
        <p:nvSpPr>
          <p:cNvPr id="68" name="Rectangle 6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pSp>
        <p:nvGrpSpPr>
          <p:cNvPr id="48" name="Group 47">
            <a:extLst>
              <a:ext uri="{FF2B5EF4-FFF2-40B4-BE49-F238E27FC236}">
                <a16:creationId xmlns:a16="http://schemas.microsoft.com/office/drawing/2014/main" id="{596EEA0F-53C4-4637-B43A-3904C9380473}"/>
              </a:ext>
            </a:extLst>
          </p:cNvPr>
          <p:cNvGrpSpPr>
            <a:grpSpLocks noChangeAspect="1"/>
          </p:cNvGrpSpPr>
          <p:nvPr/>
        </p:nvGrpSpPr>
        <p:grpSpPr>
          <a:xfrm>
            <a:off x="537447" y="879793"/>
            <a:ext cx="457200" cy="457200"/>
            <a:chOff x="5867400" y="3200400"/>
            <a:chExt cx="457200" cy="457200"/>
          </a:xfrm>
        </p:grpSpPr>
        <p:sp>
          <p:nvSpPr>
            <p:cNvPr id="49" name="AutoShape 43">
              <a:extLst>
                <a:ext uri="{FF2B5EF4-FFF2-40B4-BE49-F238E27FC236}">
                  <a16:creationId xmlns:a16="http://schemas.microsoft.com/office/drawing/2014/main" id="{D9B0A139-BE48-4C05-9F9C-2929AF07320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7">
              <a:extLst>
                <a:ext uri="{FF2B5EF4-FFF2-40B4-BE49-F238E27FC236}">
                  <a16:creationId xmlns:a16="http://schemas.microsoft.com/office/drawing/2014/main" id="{6844176C-2A93-4FEA-8B5C-5B20555F200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64" name="Rectangle 263">
            <a:extLst>
              <a:ext uri="{FF2B5EF4-FFF2-40B4-BE49-F238E27FC236}">
                <a16:creationId xmlns:a16="http://schemas.microsoft.com/office/drawing/2014/main" id="{922CEECA-F915-4A77-9F21-1F8CF99CACCC}"/>
              </a:ext>
            </a:extLst>
          </p:cNvPr>
          <p:cNvSpPr/>
          <p:nvPr/>
        </p:nvSpPr>
        <p:spPr>
          <a:xfrm>
            <a:off x="10657908" y="2378075"/>
            <a:ext cx="904092" cy="211138"/>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graphicFrame>
        <p:nvGraphicFramePr>
          <p:cNvPr id="105" name="table_type_name">
            <a:extLst>
              <a:ext uri="{FF2B5EF4-FFF2-40B4-BE49-F238E27FC236}">
                <a16:creationId xmlns:a16="http://schemas.microsoft.com/office/drawing/2014/main" id="{A1704604-C182-492D-B90A-0DBD0DC21548}"/>
              </a:ext>
            </a:extLst>
          </p:cNvPr>
          <p:cNvGraphicFramePr>
            <a:graphicFrameLocks noGrp="1"/>
          </p:cNvGraphicFramePr>
          <p:nvPr>
            <p:extLst>
              <p:ext uri="{D42A27DB-BD31-4B8C-83A1-F6EECF244321}">
                <p14:modId xmlns:p14="http://schemas.microsoft.com/office/powerpoint/2010/main" val="3014436483"/>
              </p:ext>
            </p:extLst>
          </p:nvPr>
        </p:nvGraphicFramePr>
        <p:xfrm>
          <a:off x="457206" y="3694117"/>
          <a:ext cx="11104796" cy="1669892"/>
        </p:xfrm>
        <a:graphic>
          <a:graphicData uri="http://schemas.openxmlformats.org/drawingml/2006/table">
            <a:tbl>
              <a:tblPr/>
              <a:tblGrid>
                <a:gridCol w="1195751">
                  <a:extLst>
                    <a:ext uri="{9D8B030D-6E8A-4147-A177-3AD203B41FA5}">
                      <a16:colId xmlns:a16="http://schemas.microsoft.com/office/drawing/2014/main" val="20001"/>
                    </a:ext>
                  </a:extLst>
                </a:gridCol>
                <a:gridCol w="1101005">
                  <a:extLst>
                    <a:ext uri="{9D8B030D-6E8A-4147-A177-3AD203B41FA5}">
                      <a16:colId xmlns:a16="http://schemas.microsoft.com/office/drawing/2014/main" val="20002"/>
                    </a:ext>
                  </a:extLst>
                </a:gridCol>
                <a:gridCol w="1101005">
                  <a:extLst>
                    <a:ext uri="{9D8B030D-6E8A-4147-A177-3AD203B41FA5}">
                      <a16:colId xmlns:a16="http://schemas.microsoft.com/office/drawing/2014/main" val="3319684832"/>
                    </a:ext>
                  </a:extLst>
                </a:gridCol>
                <a:gridCol w="1101005">
                  <a:extLst>
                    <a:ext uri="{9D8B030D-6E8A-4147-A177-3AD203B41FA5}">
                      <a16:colId xmlns:a16="http://schemas.microsoft.com/office/drawing/2014/main" val="20010"/>
                    </a:ext>
                  </a:extLst>
                </a:gridCol>
                <a:gridCol w="1101005">
                  <a:extLst>
                    <a:ext uri="{9D8B030D-6E8A-4147-A177-3AD203B41FA5}">
                      <a16:colId xmlns:a16="http://schemas.microsoft.com/office/drawing/2014/main" val="636330658"/>
                    </a:ext>
                  </a:extLst>
                </a:gridCol>
                <a:gridCol w="1101005">
                  <a:extLst>
                    <a:ext uri="{9D8B030D-6E8A-4147-A177-3AD203B41FA5}">
                      <a16:colId xmlns:a16="http://schemas.microsoft.com/office/drawing/2014/main" val="333694880"/>
                    </a:ext>
                  </a:extLst>
                </a:gridCol>
                <a:gridCol w="1101005">
                  <a:extLst>
                    <a:ext uri="{9D8B030D-6E8A-4147-A177-3AD203B41FA5}">
                      <a16:colId xmlns:a16="http://schemas.microsoft.com/office/drawing/2014/main" val="20011"/>
                    </a:ext>
                  </a:extLst>
                </a:gridCol>
                <a:gridCol w="1101005">
                  <a:extLst>
                    <a:ext uri="{9D8B030D-6E8A-4147-A177-3AD203B41FA5}">
                      <a16:colId xmlns:a16="http://schemas.microsoft.com/office/drawing/2014/main" val="3971245875"/>
                    </a:ext>
                  </a:extLst>
                </a:gridCol>
                <a:gridCol w="1101005">
                  <a:extLst>
                    <a:ext uri="{9D8B030D-6E8A-4147-A177-3AD203B41FA5}">
                      <a16:colId xmlns:a16="http://schemas.microsoft.com/office/drawing/2014/main" val="2039183088"/>
                    </a:ext>
                  </a:extLst>
                </a:gridCol>
                <a:gridCol w="1101005">
                  <a:extLst>
                    <a:ext uri="{9D8B030D-6E8A-4147-A177-3AD203B41FA5}">
                      <a16:colId xmlns:a16="http://schemas.microsoft.com/office/drawing/2014/main" val="1093385398"/>
                    </a:ext>
                  </a:extLst>
                </a:gridCol>
              </a:tblGrid>
              <a:tr h="638144">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 2020 Average</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7901">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7901">
                <a:tc>
                  <a:txBody>
                    <a:bodyPr/>
                    <a:lstStyle/>
                    <a:p>
                      <a:pPr algn="l" fontAlgn="b"/>
                      <a:r>
                        <a:rPr lang="en-GB" sz="1200" b="0" i="0" u="none" strike="noStrike" dirty="0">
                          <a:effectLst/>
                          <a:latin typeface="+mj-lt"/>
                        </a:rPr>
                        <a:t>Okta – via Laptop</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0</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ew in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202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q </a:t>
                      </a:r>
                      <a:r>
                        <a:rPr kumimoji="0" lang="en-US" sz="1200" b="0" i="0" u="none" strike="noStrike" kern="1200" cap="none" spc="0" normalizeH="0" baseline="0" noProof="0" dirty="0">
                          <a:ln>
                            <a:noFill/>
                          </a:ln>
                          <a:solidFill>
                            <a:srgbClr val="575757"/>
                          </a:solidFill>
                          <a:effectLst/>
                          <a:uLnTx/>
                          <a:uFillTx/>
                          <a:latin typeface="+mj-lt"/>
                          <a:ea typeface="+mn-ea"/>
                          <a:cs typeface="+mn-cs"/>
                        </a:rPr>
                        <a:t>3</a:t>
                      </a:r>
                      <a:r>
                        <a:rPr lang="en-US" sz="1200" dirty="0">
                          <a:solidFill>
                            <a:srgbClr val="575757"/>
                          </a:solidFill>
                        </a:rPr>
                        <a:t>% </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15212">
                <a:tc>
                  <a:txBody>
                    <a:bodyPr/>
                    <a:lstStyle/>
                    <a:p>
                      <a:pPr algn="l" fontAlgn="b"/>
                      <a:r>
                        <a:rPr lang="en-GB" sz="1200" b="0" i="0" u="none" strike="noStrike" kern="1200" dirty="0">
                          <a:solidFill>
                            <a:schemeClr val="tx1"/>
                          </a:solidFill>
                          <a:effectLst/>
                          <a:latin typeface="+mn-lt"/>
                          <a:ea typeface="+mn-ea"/>
                          <a:cs typeface="+mn-cs"/>
                        </a:rPr>
                        <a:t>Okta - via Mobile</a:t>
                      </a:r>
                      <a:r>
                        <a:rPr lang="en-GB" sz="1200" b="0" i="0" u="none" strike="noStrike" kern="1200" baseline="30000" dirty="0">
                          <a:solidFill>
                            <a:schemeClr val="tx1"/>
                          </a:solidFill>
                          <a:effectLst/>
                          <a:latin typeface="+mn-lt"/>
                          <a:ea typeface="+mn-ea"/>
                          <a:cs typeface="+mn-cs"/>
                        </a:rPr>
                        <a:t>1</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3</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lang="en-US" sz="1200" dirty="0">
                          <a:solidFill>
                            <a:srgbClr val="575757"/>
                          </a:solidFill>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00357089"/>
                  </a:ext>
                </a:extLst>
              </a:tr>
            </a:tbl>
          </a:graphicData>
        </a:graphic>
      </p:graphicFrame>
      <p:sp>
        <p:nvSpPr>
          <p:cNvPr id="108" name="Rectangle 107">
            <a:extLst>
              <a:ext uri="{FF2B5EF4-FFF2-40B4-BE49-F238E27FC236}">
                <a16:creationId xmlns:a16="http://schemas.microsoft.com/office/drawing/2014/main" id="{974B4391-94D2-4373-AC2D-0B772EFD3D70}"/>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700" dirty="0">
                <a:solidFill>
                  <a:srgbClr val="575757"/>
                </a:solidFill>
              </a:rPr>
              <a:t>Comparing annual averages (against 2020), Okta via both Laptop &amp; mobile is trending up.</a:t>
            </a:r>
            <a:endParaRPr lang="en-US" sz="1700" dirty="0">
              <a:solidFill>
                <a:srgbClr val="FFFFFF"/>
              </a:solidFill>
            </a:endParaRPr>
          </a:p>
        </p:txBody>
      </p:sp>
      <p:grpSp>
        <p:nvGrpSpPr>
          <p:cNvPr id="109" name="Group 108">
            <a:extLst>
              <a:ext uri="{FF2B5EF4-FFF2-40B4-BE49-F238E27FC236}">
                <a16:creationId xmlns:a16="http://schemas.microsoft.com/office/drawing/2014/main" id="{6F3B5A47-A44B-4E2C-BB3E-06E1D7DE3970}"/>
              </a:ext>
            </a:extLst>
          </p:cNvPr>
          <p:cNvGrpSpPr/>
          <p:nvPr/>
        </p:nvGrpSpPr>
        <p:grpSpPr>
          <a:xfrm>
            <a:off x="422240" y="5491112"/>
            <a:ext cx="6155997" cy="444350"/>
            <a:chOff x="753111" y="3331233"/>
            <a:chExt cx="6155997" cy="444350"/>
          </a:xfrm>
        </p:grpSpPr>
        <p:grpSp>
          <p:nvGrpSpPr>
            <p:cNvPr id="111" name="Group 110">
              <a:extLst>
                <a:ext uri="{FF2B5EF4-FFF2-40B4-BE49-F238E27FC236}">
                  <a16:creationId xmlns:a16="http://schemas.microsoft.com/office/drawing/2014/main" id="{B9EF981C-5A10-41F7-8D4D-61CE32262C0C}"/>
                </a:ext>
              </a:extLst>
            </p:cNvPr>
            <p:cNvGrpSpPr/>
            <p:nvPr/>
          </p:nvGrpSpPr>
          <p:grpSpPr>
            <a:xfrm>
              <a:off x="753111" y="3331233"/>
              <a:ext cx="6155997" cy="220957"/>
              <a:chOff x="753111" y="3331233"/>
              <a:chExt cx="6155997" cy="220957"/>
            </a:xfrm>
          </p:grpSpPr>
          <p:sp>
            <p:nvSpPr>
              <p:cNvPr id="118" name="Rectangle 117">
                <a:extLst>
                  <a:ext uri="{FF2B5EF4-FFF2-40B4-BE49-F238E27FC236}">
                    <a16:creationId xmlns:a16="http://schemas.microsoft.com/office/drawing/2014/main" id="{B5346F80-C7C0-4350-A32F-5AA9DF45378D}"/>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119" name="Rectangle 118">
                <a:extLst>
                  <a:ext uri="{FF2B5EF4-FFF2-40B4-BE49-F238E27FC236}">
                    <a16:creationId xmlns:a16="http://schemas.microsoft.com/office/drawing/2014/main" id="{F2802221-F60D-46DB-A7B4-3B5BF76DE3EE}"/>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120" name="Rectangle 119">
                <a:extLst>
                  <a:ext uri="{FF2B5EF4-FFF2-40B4-BE49-F238E27FC236}">
                    <a16:creationId xmlns:a16="http://schemas.microsoft.com/office/drawing/2014/main" id="{C3E8B5CB-B7AD-4FF5-B827-DE8570250BB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121" name="Rectangle 120">
                <a:extLst>
                  <a:ext uri="{FF2B5EF4-FFF2-40B4-BE49-F238E27FC236}">
                    <a16:creationId xmlns:a16="http://schemas.microsoft.com/office/drawing/2014/main" id="{662037B2-6FA6-48B4-B2DB-AF6A632739D3}"/>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122" name="Rectangle 121">
                <a:extLst>
                  <a:ext uri="{FF2B5EF4-FFF2-40B4-BE49-F238E27FC236}">
                    <a16:creationId xmlns:a16="http://schemas.microsoft.com/office/drawing/2014/main" id="{753A10B6-3E98-4CFD-993E-5DFB471B413C}"/>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123" name="Rectangle 122">
                <a:extLst>
                  <a:ext uri="{FF2B5EF4-FFF2-40B4-BE49-F238E27FC236}">
                    <a16:creationId xmlns:a16="http://schemas.microsoft.com/office/drawing/2014/main" id="{FD2B9238-342E-42E8-B31E-583D7EB54665}"/>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112" name="Rectangle 111">
              <a:extLst>
                <a:ext uri="{FF2B5EF4-FFF2-40B4-BE49-F238E27FC236}">
                  <a16:creationId xmlns:a16="http://schemas.microsoft.com/office/drawing/2014/main" id="{65F1CAB2-ACB2-496C-8A5E-7416FFF6AD3E}"/>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113" name="Rectangle 112">
              <a:extLst>
                <a:ext uri="{FF2B5EF4-FFF2-40B4-BE49-F238E27FC236}">
                  <a16:creationId xmlns:a16="http://schemas.microsoft.com/office/drawing/2014/main" id="{39E126FA-2B3C-4420-8A8B-9A99D5C87153}"/>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114" name="Rectangle 113">
              <a:extLst>
                <a:ext uri="{FF2B5EF4-FFF2-40B4-BE49-F238E27FC236}">
                  <a16:creationId xmlns:a16="http://schemas.microsoft.com/office/drawing/2014/main" id="{27806D07-EB8E-4EDB-88E8-9E84729DA483}"/>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115" name="Rectangle 114">
              <a:extLst>
                <a:ext uri="{FF2B5EF4-FFF2-40B4-BE49-F238E27FC236}">
                  <a16:creationId xmlns:a16="http://schemas.microsoft.com/office/drawing/2014/main" id="{7B62EE7D-3268-472F-B888-491A5ECBE82C}"/>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116" name="Rectangle 115">
              <a:extLst>
                <a:ext uri="{FF2B5EF4-FFF2-40B4-BE49-F238E27FC236}">
                  <a16:creationId xmlns:a16="http://schemas.microsoft.com/office/drawing/2014/main" id="{388D415E-4B9F-4895-BA84-7178627D1A68}"/>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117" name="Rectangle 116">
              <a:extLst>
                <a:ext uri="{FF2B5EF4-FFF2-40B4-BE49-F238E27FC236}">
                  <a16:creationId xmlns:a16="http://schemas.microsoft.com/office/drawing/2014/main" id="{2F62E489-DFE1-4436-ACB7-6BB5C41D9150}"/>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127" name="Oval 20">
            <a:extLst>
              <a:ext uri="{FF2B5EF4-FFF2-40B4-BE49-F238E27FC236}">
                <a16:creationId xmlns:a16="http://schemas.microsoft.com/office/drawing/2014/main" id="{C5CFE111-8038-4227-9C7D-46398CD8E53C}"/>
              </a:ext>
            </a:extLst>
          </p:cNvPr>
          <p:cNvSpPr>
            <a:spLocks noChangeAspect="1" noChangeArrowheads="1"/>
          </p:cNvSpPr>
          <p:nvPr/>
        </p:nvSpPr>
        <p:spPr bwMode="auto">
          <a:xfrm>
            <a:off x="10706245" y="4761122"/>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0" name="Rectangle 49">
            <a:extLst>
              <a:ext uri="{FF2B5EF4-FFF2-40B4-BE49-F238E27FC236}">
                <a16:creationId xmlns:a16="http://schemas.microsoft.com/office/drawing/2014/main" id="{1C03DB8E-C886-4400-953A-0DE14EE93CEF}"/>
              </a:ext>
            </a:extLst>
          </p:cNvPr>
          <p:cNvSpPr/>
          <p:nvPr/>
        </p:nvSpPr>
        <p:spPr>
          <a:xfrm>
            <a:off x="9985818" y="2817813"/>
            <a:ext cx="271463"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54" name="Rectangle 53">
            <a:extLst>
              <a:ext uri="{FF2B5EF4-FFF2-40B4-BE49-F238E27FC236}">
                <a16:creationId xmlns:a16="http://schemas.microsoft.com/office/drawing/2014/main" id="{8D25433B-E8A4-49F3-96EB-7C19B8330FA1}"/>
              </a:ext>
            </a:extLst>
          </p:cNvPr>
          <p:cNvSpPr/>
          <p:nvPr/>
        </p:nvSpPr>
        <p:spPr>
          <a:xfrm flipH="1">
            <a:off x="8264750" y="3701949"/>
            <a:ext cx="1081859" cy="1662060"/>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Rectangle 65">
            <a:extLst>
              <a:ext uri="{FF2B5EF4-FFF2-40B4-BE49-F238E27FC236}">
                <a16:creationId xmlns:a16="http://schemas.microsoft.com/office/drawing/2014/main" id="{C2AE2996-B5E4-4814-B8EB-816D8F98A2A1}"/>
              </a:ext>
            </a:extLst>
          </p:cNvPr>
          <p:cNvSpPr/>
          <p:nvPr/>
        </p:nvSpPr>
        <p:spPr>
          <a:xfrm>
            <a:off x="7107693" y="5457502"/>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63" name="Group 62">
            <a:extLst>
              <a:ext uri="{FF2B5EF4-FFF2-40B4-BE49-F238E27FC236}">
                <a16:creationId xmlns:a16="http://schemas.microsoft.com/office/drawing/2014/main" id="{30AD60BB-C64F-4EAC-8CAB-34D24B4C171E}"/>
              </a:ext>
            </a:extLst>
          </p:cNvPr>
          <p:cNvGrpSpPr/>
          <p:nvPr/>
        </p:nvGrpSpPr>
        <p:grpSpPr>
          <a:xfrm>
            <a:off x="9769475" y="5471262"/>
            <a:ext cx="2116895" cy="591304"/>
            <a:chOff x="9751525" y="5356845"/>
            <a:chExt cx="2116895" cy="591304"/>
          </a:xfrm>
        </p:grpSpPr>
        <p:sp>
          <p:nvSpPr>
            <p:cNvPr id="64" name="Oval 20">
              <a:extLst>
                <a:ext uri="{FF2B5EF4-FFF2-40B4-BE49-F238E27FC236}">
                  <a16:creationId xmlns:a16="http://schemas.microsoft.com/office/drawing/2014/main" id="{E6949035-1DB7-4510-928E-9903273DCD95}"/>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5" name="Rectangle 64">
              <a:extLst>
                <a:ext uri="{FF2B5EF4-FFF2-40B4-BE49-F238E27FC236}">
                  <a16:creationId xmlns:a16="http://schemas.microsoft.com/office/drawing/2014/main" id="{C6E422F7-E917-426C-B474-77D8045DC0D7}"/>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7" name="Oval 20">
              <a:extLst>
                <a:ext uri="{FF2B5EF4-FFF2-40B4-BE49-F238E27FC236}">
                  <a16:creationId xmlns:a16="http://schemas.microsoft.com/office/drawing/2014/main" id="{4F25F31A-2516-4BC1-A35C-0A7D3C483D87}"/>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0" name="Oval 20">
              <a:extLst>
                <a:ext uri="{FF2B5EF4-FFF2-40B4-BE49-F238E27FC236}">
                  <a16:creationId xmlns:a16="http://schemas.microsoft.com/office/drawing/2014/main" id="{AD142BEC-8FB7-4CAE-A117-1EEB11B037C7}"/>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1" name="Rectangle 70">
              <a:extLst>
                <a:ext uri="{FF2B5EF4-FFF2-40B4-BE49-F238E27FC236}">
                  <a16:creationId xmlns:a16="http://schemas.microsoft.com/office/drawing/2014/main" id="{1E07A8B6-F8D6-408D-A388-F3D66B39E63A}"/>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72" name="Rectangle 71">
              <a:extLst>
                <a:ext uri="{FF2B5EF4-FFF2-40B4-BE49-F238E27FC236}">
                  <a16:creationId xmlns:a16="http://schemas.microsoft.com/office/drawing/2014/main" id="{D5FA7B4A-3729-43C5-B144-2197A54C254D}"/>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62" name="Left Bracket 61">
            <a:extLst>
              <a:ext uri="{FF2B5EF4-FFF2-40B4-BE49-F238E27FC236}">
                <a16:creationId xmlns:a16="http://schemas.microsoft.com/office/drawing/2014/main" id="{C0B3A561-CA64-4915-9830-83A1AB04B900}"/>
              </a:ext>
            </a:extLst>
          </p:cNvPr>
          <p:cNvSpPr/>
          <p:nvPr/>
        </p:nvSpPr>
        <p:spPr>
          <a:xfrm rot="5400000">
            <a:off x="8688799" y="2501663"/>
            <a:ext cx="160338" cy="2304287"/>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3506875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8551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378"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95" name="Picture 94">
            <a:extLst>
              <a:ext uri="{FF2B5EF4-FFF2-40B4-BE49-F238E27FC236}">
                <a16:creationId xmlns:a16="http://schemas.microsoft.com/office/drawing/2014/main" id="{C6495DBE-877C-4DC3-9AEF-E42B4679BEBA}"/>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05608" y="0"/>
            <a:ext cx="4386392" cy="6846888"/>
          </a:xfrm>
          <a:prstGeom prst="rect">
            <a:avLst/>
          </a:prstGeom>
        </p:spPr>
      </p:pic>
      <p:sp>
        <p:nvSpPr>
          <p:cNvPr id="33" name="Rectangle 32">
            <a:extLst>
              <a:ext uri="{FF2B5EF4-FFF2-40B4-BE49-F238E27FC236}">
                <a16:creationId xmlns:a16="http://schemas.microsoft.com/office/drawing/2014/main" id="{B9C49ADE-C130-4408-9EF7-CD07A84DBDB6}"/>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OKTA</a:t>
            </a:r>
          </a:p>
        </p:txBody>
      </p:sp>
      <p:sp>
        <p:nvSpPr>
          <p:cNvPr id="34" name="Oval 33">
            <a:extLst>
              <a:ext uri="{FF2B5EF4-FFF2-40B4-BE49-F238E27FC236}">
                <a16:creationId xmlns:a16="http://schemas.microsoft.com/office/drawing/2014/main" id="{43C2FE25-D765-46AF-9C43-ACE73B9DB9DE}"/>
              </a:ext>
            </a:extLst>
          </p:cNvPr>
          <p:cNvSpPr>
            <a:spLocks noChangeAspect="1"/>
          </p:cNvSpPr>
          <p:nvPr/>
        </p:nvSpPr>
        <p:spPr>
          <a:xfrm>
            <a:off x="8539033" y="1995488"/>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213</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3" name="Rectangular Callout 42"/>
          <p:cNvSpPr/>
          <p:nvPr/>
        </p:nvSpPr>
        <p:spPr>
          <a:xfrm>
            <a:off x="254701" y="4087217"/>
            <a:ext cx="1536666" cy="1058966"/>
          </a:xfrm>
          <a:prstGeom prst="wedgeRectCallout">
            <a:avLst>
              <a:gd name="adj1" fmla="val 37417"/>
              <a:gd name="adj2" fmla="val 600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Constantly</a:t>
            </a:r>
            <a:r>
              <a:rPr lang="en-US" sz="1200" dirty="0">
                <a:cs typeface="Arial" pitchFamily="34" charset="0"/>
              </a:rPr>
              <a:t> have to re-enter my credentials and get a text sent to me.</a:t>
            </a:r>
            <a:r>
              <a:rPr lang="en-GB" sz="1200" dirty="0">
                <a:cs typeface="Arial" pitchFamily="34" charset="0"/>
              </a:rPr>
              <a:t>”</a:t>
            </a:r>
          </a:p>
          <a:p>
            <a:pPr algn="r"/>
            <a:r>
              <a:rPr lang="en-GB" sz="1000" i="1" dirty="0" err="1">
                <a:cs typeface="Arial" pitchFamily="34" charset="0"/>
              </a:rPr>
              <a:t>MDP</a:t>
            </a:r>
            <a:endParaRPr lang="en-GB" sz="1000" i="1" dirty="0">
              <a:cs typeface="Arial" pitchFamily="34" charset="0"/>
            </a:endParaRPr>
          </a:p>
        </p:txBody>
      </p:sp>
      <p:sp>
        <p:nvSpPr>
          <p:cNvPr id="53" name="Rectangular Callout 52"/>
          <p:cNvSpPr/>
          <p:nvPr/>
        </p:nvSpPr>
        <p:spPr>
          <a:xfrm>
            <a:off x="1858824" y="4102513"/>
            <a:ext cx="2547665" cy="1029585"/>
          </a:xfrm>
          <a:prstGeom prst="wedgeRectCallout">
            <a:avLst>
              <a:gd name="adj1" fmla="val 21184"/>
              <a:gd name="adj2" fmla="val 5862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Always logging in with password and SMS verification is very tiring. Maybe an alternative is possible such as a 4 digit pin for the two factor authentication</a:t>
            </a:r>
            <a:r>
              <a:rPr lang="en-GB" sz="1200" dirty="0">
                <a:cs typeface="Arial" pitchFamily="34" charset="0"/>
              </a:rPr>
              <a:t>.”</a:t>
            </a:r>
          </a:p>
          <a:p>
            <a:pPr algn="r"/>
            <a:r>
              <a:rPr lang="en-GB" sz="1000" i="1" dirty="0">
                <a:cs typeface="Arial" pitchFamily="34" charset="0"/>
              </a:rPr>
              <a:t>Consultant</a:t>
            </a:r>
          </a:p>
        </p:txBody>
      </p:sp>
      <p:sp>
        <p:nvSpPr>
          <p:cNvPr id="54" name="Rectangular Callout 53"/>
          <p:cNvSpPr/>
          <p:nvPr/>
        </p:nvSpPr>
        <p:spPr>
          <a:xfrm>
            <a:off x="4505854" y="4092031"/>
            <a:ext cx="1759776" cy="1049338"/>
          </a:xfrm>
          <a:prstGeom prst="wedgeRectCallout">
            <a:avLst>
              <a:gd name="adj1" fmla="val -16915"/>
              <a:gd name="adj2" fmla="val 5839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Annoying to have to do it very often, once every 24 </a:t>
            </a:r>
            <a:r>
              <a:rPr lang="en-US" sz="1200" dirty="0" err="1">
                <a:cs typeface="Arial" pitchFamily="34" charset="0"/>
              </a:rPr>
              <a:t>hrs</a:t>
            </a:r>
            <a:r>
              <a:rPr lang="en-US" sz="1200" dirty="0">
                <a:cs typeface="Arial" pitchFamily="34" charset="0"/>
              </a:rPr>
              <a:t> should be enough for all apps.</a:t>
            </a:r>
            <a:r>
              <a:rPr lang="en-GB" sz="1000" dirty="0">
                <a:cs typeface="Arial" pitchFamily="34" charset="0"/>
              </a:rPr>
              <a:t>”</a:t>
            </a:r>
          </a:p>
          <a:p>
            <a:pPr algn="r"/>
            <a:r>
              <a:rPr lang="en-GB" sz="1000" i="1" dirty="0">
                <a:cs typeface="Arial" pitchFamily="34" charset="0"/>
              </a:rPr>
              <a:t>Project Leader</a:t>
            </a:r>
          </a:p>
        </p:txBody>
      </p:sp>
      <p:sp>
        <p:nvSpPr>
          <p:cNvPr id="41" name="Rectangular Callout 40"/>
          <p:cNvSpPr/>
          <p:nvPr/>
        </p:nvSpPr>
        <p:spPr>
          <a:xfrm>
            <a:off x="3057708" y="5427396"/>
            <a:ext cx="1946371" cy="1049338"/>
          </a:xfrm>
          <a:prstGeom prst="wedgeRectCallout">
            <a:avLst>
              <a:gd name="adj1" fmla="val -33608"/>
              <a:gd name="adj2" fmla="val -6363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wish it used automatic certificate authentication on my device instead of password.</a:t>
            </a:r>
            <a:r>
              <a:rPr lang="en-GB" sz="1200" dirty="0">
                <a:cs typeface="Arial" pitchFamily="34" charset="0"/>
              </a:rPr>
              <a:t>”</a:t>
            </a:r>
            <a:r>
              <a:rPr lang="en-US" sz="1200" i="1" dirty="0">
                <a:cs typeface="Arial" pitchFamily="34" charset="0"/>
              </a:rPr>
              <a:t>	</a:t>
            </a:r>
          </a:p>
          <a:p>
            <a:pPr algn="r"/>
            <a:r>
              <a:rPr lang="en-GB" sz="1000" i="1" dirty="0">
                <a:cs typeface="Arial" pitchFamily="34" charset="0"/>
              </a:rPr>
              <a:t>Partner</a:t>
            </a:r>
          </a:p>
        </p:txBody>
      </p:sp>
      <p:sp>
        <p:nvSpPr>
          <p:cNvPr id="28" name="Rectangle 27">
            <a:extLst>
              <a:ext uri="{FF2B5EF4-FFF2-40B4-BE49-F238E27FC236}">
                <a16:creationId xmlns:a16="http://schemas.microsoft.com/office/drawing/2014/main" id="{AE8BA0A3-A22B-4066-9085-3FC79F11C9A0}"/>
              </a:ext>
            </a:extLst>
          </p:cNvPr>
          <p:cNvSpPr/>
          <p:nvPr/>
        </p:nvSpPr>
        <p:spPr>
          <a:xfrm>
            <a:off x="182037" y="3560758"/>
            <a:ext cx="5405286"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66455" y="327977"/>
            <a:ext cx="7452495" cy="155347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Like past quarters, employees are concerned they are asked to authenticate via Okta multiple times a day. It is not only time consuming, but also frustrating to enter credentials so frequently, though some find features like </a:t>
            </a:r>
            <a:r>
              <a:rPr lang="en-US" sz="1600" dirty="0" err="1">
                <a:solidFill>
                  <a:srgbClr val="FFFFFF"/>
                </a:solidFill>
              </a:rPr>
              <a:t>FaceID</a:t>
            </a:r>
            <a:r>
              <a:rPr lang="en-US" sz="1600" dirty="0">
                <a:solidFill>
                  <a:srgbClr val="FFFFFF"/>
                </a:solidFill>
              </a:rPr>
              <a:t> can ease the process. At 80% E-SAT (Q4) for Okta sign-on via laptop, employees find it less complex than mobile (73%). Recommendations are provided for automatic certificate authentication, 4-digit pin, etc. </a:t>
            </a:r>
          </a:p>
        </p:txBody>
      </p:sp>
      <p:graphicFrame>
        <p:nvGraphicFramePr>
          <p:cNvPr id="44" name="Chart 43">
            <a:extLst>
              <a:ext uri="{FF2B5EF4-FFF2-40B4-BE49-F238E27FC236}">
                <a16:creationId xmlns:a16="http://schemas.microsoft.com/office/drawing/2014/main" id="{1EDA8FD4-2EE7-4D62-AD17-2B8D0B85398B}"/>
              </a:ext>
            </a:extLst>
          </p:cNvPr>
          <p:cNvGraphicFramePr/>
          <p:nvPr>
            <p:custDataLst>
              <p:tags r:id="rId4"/>
            </p:custDataLst>
            <p:extLst>
              <p:ext uri="{D42A27DB-BD31-4B8C-83A1-F6EECF244321}">
                <p14:modId xmlns:p14="http://schemas.microsoft.com/office/powerpoint/2010/main" val="2956856472"/>
              </p:ext>
            </p:extLst>
          </p:nvPr>
        </p:nvGraphicFramePr>
        <p:xfrm>
          <a:off x="174625" y="2270125"/>
          <a:ext cx="7526338" cy="903288"/>
        </p:xfrm>
        <a:graphic>
          <a:graphicData uri="http://schemas.openxmlformats.org/drawingml/2006/chart">
            <c:chart xmlns:c="http://schemas.openxmlformats.org/drawingml/2006/chart" xmlns:r="http://schemas.openxmlformats.org/officeDocument/2006/relationships" r:id="rId16"/>
          </a:graphicData>
        </a:graphic>
      </p:graphicFrame>
      <p:sp>
        <p:nvSpPr>
          <p:cNvPr id="133" name="Rectangle 132">
            <a:extLst>
              <a:ext uri="{FF2B5EF4-FFF2-40B4-BE49-F238E27FC236}">
                <a16:creationId xmlns:a16="http://schemas.microsoft.com/office/drawing/2014/main" id="{5390B23A-7A1E-4293-A1B7-085E520F7B24}"/>
              </a:ext>
            </a:extLst>
          </p:cNvPr>
          <p:cNvSpPr/>
          <p:nvPr>
            <p:custDataLst>
              <p:tags r:id="rId5"/>
            </p:custDataLst>
          </p:nvPr>
        </p:nvSpPr>
        <p:spPr bwMode="gray">
          <a:xfrm>
            <a:off x="1208088" y="317023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6"/>
            </p:custDataLst>
          </p:nvPr>
        </p:nvSpPr>
        <p:spPr bwMode="gray">
          <a:xfrm>
            <a:off x="314325" y="3170238"/>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2079625" y="317023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8"/>
            </p:custDataLst>
          </p:nvPr>
        </p:nvSpPr>
        <p:spPr bwMode="gray">
          <a:xfrm>
            <a:off x="579438" y="31511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9"/>
            </p:custDataLst>
          </p:nvPr>
        </p:nvSpPr>
        <p:spPr bwMode="gray">
          <a:xfrm>
            <a:off x="1473200" y="31511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2344738" y="31511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67664" y="2146300"/>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36" name="Rectangular Callout 42">
            <a:extLst>
              <a:ext uri="{FF2B5EF4-FFF2-40B4-BE49-F238E27FC236}">
                <a16:creationId xmlns:a16="http://schemas.microsoft.com/office/drawing/2014/main" id="{CAB3E17E-C689-41EF-A2E5-0D8DDABD96CB}"/>
              </a:ext>
            </a:extLst>
          </p:cNvPr>
          <p:cNvSpPr/>
          <p:nvPr/>
        </p:nvSpPr>
        <p:spPr>
          <a:xfrm>
            <a:off x="257720" y="5417768"/>
            <a:ext cx="2661998" cy="1058966"/>
          </a:xfrm>
          <a:prstGeom prst="wedgeRectCallout">
            <a:avLst>
              <a:gd name="adj1" fmla="val 4019"/>
              <a:gd name="adj2" fmla="val -6091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re was a QR required to set up Okta on my phone but I've never been able to find details about it on the BCG internal pages so I can't use my phone for much.</a:t>
            </a:r>
            <a:r>
              <a:rPr lang="en-GB" sz="1200" dirty="0">
                <a:cs typeface="Arial" pitchFamily="34" charset="0"/>
              </a:rPr>
              <a:t>”</a:t>
            </a:r>
          </a:p>
          <a:p>
            <a:pPr algn="r"/>
            <a:r>
              <a:rPr lang="en-GB" sz="1000" i="1" dirty="0">
                <a:cs typeface="Arial" pitchFamily="34" charset="0"/>
              </a:rPr>
              <a:t>BST</a:t>
            </a:r>
          </a:p>
        </p:txBody>
      </p:sp>
      <p:sp>
        <p:nvSpPr>
          <p:cNvPr id="30" name="Rectangular Callout 40">
            <a:extLst>
              <a:ext uri="{FF2B5EF4-FFF2-40B4-BE49-F238E27FC236}">
                <a16:creationId xmlns:a16="http://schemas.microsoft.com/office/drawing/2014/main" id="{CA2DEDFF-0105-4312-8B7D-FAF9925D6217}"/>
              </a:ext>
            </a:extLst>
          </p:cNvPr>
          <p:cNvSpPr/>
          <p:nvPr/>
        </p:nvSpPr>
        <p:spPr>
          <a:xfrm>
            <a:off x="5119849" y="5442706"/>
            <a:ext cx="884191" cy="1034028"/>
          </a:xfrm>
          <a:prstGeom prst="wedgeRectCallout">
            <a:avLst>
              <a:gd name="adj1" fmla="val -44552"/>
              <a:gd name="adj2" fmla="val -6359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err="1">
                <a:cs typeface="Arial" pitchFamily="34" charset="0"/>
              </a:rPr>
              <a:t>FaceID</a:t>
            </a:r>
            <a:r>
              <a:rPr lang="en-US" sz="1200" dirty="0">
                <a:cs typeface="Arial" pitchFamily="34" charset="0"/>
              </a:rPr>
              <a:t> is good.</a:t>
            </a:r>
            <a:r>
              <a:rPr lang="en-GB" sz="1200" dirty="0">
                <a:cs typeface="Arial" pitchFamily="34" charset="0"/>
              </a:rPr>
              <a:t>”</a:t>
            </a:r>
            <a:endParaRPr lang="en-US" sz="1200" dirty="0">
              <a:cs typeface="Arial" pitchFamily="34" charset="0"/>
            </a:endParaRPr>
          </a:p>
          <a:p>
            <a:pPr algn="r"/>
            <a:r>
              <a:rPr lang="en-US" sz="1200" i="1" dirty="0">
                <a:cs typeface="Arial" pitchFamily="34" charset="0"/>
              </a:rPr>
              <a:t>	</a:t>
            </a:r>
          </a:p>
          <a:p>
            <a:pPr algn="r"/>
            <a:endParaRPr lang="en-US" sz="1200" i="1" dirty="0">
              <a:cs typeface="Arial" pitchFamily="34" charset="0"/>
            </a:endParaRPr>
          </a:p>
          <a:p>
            <a:pPr algn="r"/>
            <a:r>
              <a:rPr lang="en-GB" sz="1000" i="1" dirty="0">
                <a:cs typeface="Arial" pitchFamily="34" charset="0"/>
              </a:rPr>
              <a:t>Associate</a:t>
            </a:r>
          </a:p>
        </p:txBody>
      </p:sp>
      <p:sp>
        <p:nvSpPr>
          <p:cNvPr id="32" name="Rectangular Callout 40">
            <a:extLst>
              <a:ext uri="{FF2B5EF4-FFF2-40B4-BE49-F238E27FC236}">
                <a16:creationId xmlns:a16="http://schemas.microsoft.com/office/drawing/2014/main" id="{C4D20920-C4AD-4ADC-92F3-5994FD30A235}"/>
              </a:ext>
            </a:extLst>
          </p:cNvPr>
          <p:cNvSpPr/>
          <p:nvPr/>
        </p:nvSpPr>
        <p:spPr>
          <a:xfrm>
            <a:off x="6366949" y="4092540"/>
            <a:ext cx="1252001" cy="1048319"/>
          </a:xfrm>
          <a:prstGeom prst="wedgeRectCallout">
            <a:avLst>
              <a:gd name="adj1" fmla="val -44517"/>
              <a:gd name="adj2" fmla="val 637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Somehow more complexity than logon from laptop.</a:t>
            </a:r>
            <a:r>
              <a:rPr lang="en-GB" sz="1200" dirty="0">
                <a:cs typeface="Arial" pitchFamily="34" charset="0"/>
              </a:rPr>
              <a:t>”</a:t>
            </a:r>
          </a:p>
          <a:p>
            <a:pPr algn="r"/>
            <a:r>
              <a:rPr lang="en-GB" sz="1000" i="1" dirty="0">
                <a:cs typeface="Arial" pitchFamily="34" charset="0"/>
              </a:rPr>
              <a:t>BST</a:t>
            </a:r>
          </a:p>
        </p:txBody>
      </p:sp>
      <p:sp>
        <p:nvSpPr>
          <p:cNvPr id="27" name="Rectangular Callout 40">
            <a:extLst>
              <a:ext uri="{FF2B5EF4-FFF2-40B4-BE49-F238E27FC236}">
                <a16:creationId xmlns:a16="http://schemas.microsoft.com/office/drawing/2014/main" id="{C921478E-5DB1-4871-BCBC-4081EBAEE7D9}"/>
              </a:ext>
            </a:extLst>
          </p:cNvPr>
          <p:cNvSpPr/>
          <p:nvPr/>
        </p:nvSpPr>
        <p:spPr>
          <a:xfrm>
            <a:off x="6096001" y="5442142"/>
            <a:ext cx="1522950" cy="1034028"/>
          </a:xfrm>
          <a:prstGeom prst="wedgeRectCallout">
            <a:avLst>
              <a:gd name="adj1" fmla="val 1980"/>
              <a:gd name="adj2" fmla="val -6747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Mobile version is very clunky and takes far too much verification.</a:t>
            </a:r>
            <a:r>
              <a:rPr lang="en-GB" sz="1200" dirty="0">
                <a:cs typeface="Arial" pitchFamily="34" charset="0"/>
              </a:rPr>
              <a:t>”</a:t>
            </a:r>
            <a:endParaRPr lang="en-US" sz="1200"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2460892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789"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GB" dirty="0"/>
              <a:t>Information Security</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7ED79E02-E78F-4D74-A1DB-CB7C44D77428}"/>
              </a:ext>
            </a:extLst>
          </p:cNvPr>
          <p:cNvGrpSpPr>
            <a:grpSpLocks noChangeAspect="1"/>
          </p:cNvGrpSpPr>
          <p:nvPr/>
        </p:nvGrpSpPr>
        <p:grpSpPr>
          <a:xfrm>
            <a:off x="9702800" y="1784350"/>
            <a:ext cx="1646238" cy="1644650"/>
            <a:chOff x="5273675" y="2606675"/>
            <a:chExt cx="1646238" cy="1644650"/>
          </a:xfrm>
        </p:grpSpPr>
        <p:sp>
          <p:nvSpPr>
            <p:cNvPr id="12" name="AutoShape 3">
              <a:extLst>
                <a:ext uri="{FF2B5EF4-FFF2-40B4-BE49-F238E27FC236}">
                  <a16:creationId xmlns:a16="http://schemas.microsoft.com/office/drawing/2014/main" id="{AE8BF087-76B4-4310-A1EB-E95D429B2C11}"/>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6">
              <a:extLst>
                <a:ext uri="{FF2B5EF4-FFF2-40B4-BE49-F238E27FC236}">
                  <a16:creationId xmlns:a16="http://schemas.microsoft.com/office/drawing/2014/main" id="{240396D1-5AFD-496A-9203-849469346C48}"/>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4" name="Title 1">
            <a:extLst>
              <a:ext uri="{FF2B5EF4-FFF2-40B4-BE49-F238E27FC236}">
                <a16:creationId xmlns:a16="http://schemas.microsoft.com/office/drawing/2014/main" id="{6356177A-2B26-4289-A4C1-2CDF86E7F91B}"/>
              </a:ext>
            </a:extLst>
          </p:cNvPr>
          <p:cNvSpPr txBox="1">
            <a:spLocks/>
          </p:cNvSpPr>
          <p:nvPr/>
        </p:nvSpPr>
        <p:spPr bwMode="blackWhite">
          <a:xfrm>
            <a:off x="625200" y="2806200"/>
            <a:ext cx="10936800" cy="838038"/>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sym typeface="Trebuchet MS" panose="020B0603020202020204" pitchFamily="34" charset="0"/>
              </a:defRPr>
            </a:lvl1pPr>
          </a:lstStyle>
          <a:p>
            <a:r>
              <a:rPr lang="en-GB" dirty="0"/>
              <a:t>Security</a:t>
            </a:r>
          </a:p>
        </p:txBody>
      </p:sp>
    </p:spTree>
    <p:extLst>
      <p:ext uri="{BB962C8B-B14F-4D97-AF65-F5344CB8AC3E}">
        <p14:creationId xmlns:p14="http://schemas.microsoft.com/office/powerpoint/2010/main" val="77961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28065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857"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61454" y="0"/>
            <a:ext cx="2816181"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79% of employees are satisfied with what Information Security is doing to keep BCG &amp; clients secure </a:t>
            </a:r>
          </a:p>
          <a:p>
            <a:endParaRPr lang="en-GB" dirty="0">
              <a:solidFill>
                <a:srgbClr val="FFFFFF"/>
              </a:solidFill>
              <a:cs typeface="Arial" pitchFamily="34" charset="0"/>
            </a:endParaRPr>
          </a:p>
          <a:p>
            <a:r>
              <a:rPr lang="en-GB" dirty="0">
                <a:solidFill>
                  <a:srgbClr val="FFFFFF"/>
                </a:solidFill>
                <a:cs typeface="Arial" pitchFamily="34" charset="0"/>
              </a:rPr>
              <a:t>This is -3% vs Q4 2020</a:t>
            </a:r>
          </a:p>
          <a:p>
            <a:endParaRPr lang="en-GB" dirty="0">
              <a:solidFill>
                <a:srgbClr val="FFFFFF"/>
              </a:solidFill>
              <a:cs typeface="Arial" pitchFamily="34" charset="0"/>
            </a:endParaRPr>
          </a:p>
          <a:p>
            <a:r>
              <a:rPr lang="en-GB" dirty="0">
                <a:solidFill>
                  <a:srgbClr val="FFFFFF"/>
                </a:solidFill>
                <a:cs typeface="Arial" pitchFamily="34" charset="0"/>
              </a:rPr>
              <a:t>The annual average in 2021 is 81%, +2% better than the 2020 average of 79%</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nformation Security – Satisfaction Overall</a:t>
            </a:r>
          </a:p>
        </p:txBody>
      </p:sp>
      <p:graphicFrame>
        <p:nvGraphicFramePr>
          <p:cNvPr id="54" name="Chart 53">
            <a:extLst>
              <a:ext uri="{FF2B5EF4-FFF2-40B4-BE49-F238E27FC236}">
                <a16:creationId xmlns:a16="http://schemas.microsoft.com/office/drawing/2014/main" id="{A146C335-DE6E-4622-A1F4-E8A11BB3EB45}"/>
              </a:ext>
            </a:extLst>
          </p:cNvPr>
          <p:cNvGraphicFramePr/>
          <p:nvPr>
            <p:custDataLst>
              <p:tags r:id="rId5"/>
            </p:custDataLst>
          </p:nvPr>
        </p:nvGraphicFramePr>
        <p:xfrm>
          <a:off x="2744788" y="2481263"/>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41" name="Text Placeholder 3"/>
          <p:cNvSpPr>
            <a:spLocks noGrp="1"/>
          </p:cNvSpPr>
          <p:nvPr>
            <p:custDataLst>
              <p:tags r:id="rId6"/>
            </p:custDataLst>
          </p:nvPr>
        </p:nvSpPr>
        <p:spPr bwMode="gray">
          <a:xfrm>
            <a:off x="4311650" y="279082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34DCDEC-4EB8-4876-9BD4-A89CB4D9E038}"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7"/>
            </p:custDataLst>
          </p:nvPr>
        </p:nvSpPr>
        <p:spPr bwMode="gray">
          <a:xfrm>
            <a:off x="4221163" y="2589213"/>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FECD855-F785-4B6C-B2F6-6F07DD21C44B}"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8"/>
            </p:custDataLst>
          </p:nvPr>
        </p:nvSpPr>
        <p:spPr bwMode="gray">
          <a:xfrm>
            <a:off x="3344863" y="299561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8693F78-F626-4424-855C-D958074385F8}" type="datetime'''''''''''''''1''''''''''''''''''''''''''''''''9'''">
              <a:rPr lang="en-US" altLang="en-US" smtClean="0"/>
              <a:pPr/>
              <a:t>19</a:t>
            </a:fld>
            <a:r>
              <a:rPr lang="en-US" altLang="en-US">
                <a:sym typeface="+mn-lt"/>
              </a:rPr>
              <a:t>%</a:t>
            </a:r>
            <a:endParaRPr lang="en-US" dirty="0">
              <a:sym typeface="+mn-lt"/>
            </a:endParaRPr>
          </a:p>
        </p:txBody>
      </p:sp>
      <p:sp>
        <p:nvSpPr>
          <p:cNvPr id="55" name="Text Placeholder 3"/>
          <p:cNvSpPr>
            <a:spLocks noGrp="1"/>
          </p:cNvSpPr>
          <p:nvPr>
            <p:custDataLst>
              <p:tags r:id="rId9"/>
            </p:custDataLst>
          </p:nvPr>
        </p:nvSpPr>
        <p:spPr bwMode="gray">
          <a:xfrm>
            <a:off x="3876675" y="5487988"/>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B382C76-C1A1-41CF-ABFB-7D556A836AC8}" type="datetime'''''''''''''''''4''''''''''''8'''''''''''''">
              <a:rPr lang="en-US" altLang="en-US" smtClean="0">
                <a:solidFill>
                  <a:schemeClr val="bg1"/>
                </a:solidFill>
              </a:rPr>
              <a:pPr/>
              <a:t>48</a:t>
            </a:fld>
            <a:r>
              <a:rPr lang="en-US" altLang="en-US">
                <a:solidFill>
                  <a:schemeClr val="bg1"/>
                </a:solidFill>
                <a:sym typeface="+mn-lt"/>
              </a:rPr>
              <a:t>%</a:t>
            </a:r>
            <a:endParaRPr lang="en-US" dirty="0">
              <a:solidFill>
                <a:schemeClr val="bg1"/>
              </a:solidFill>
              <a:sym typeface="+mn-lt"/>
            </a:endParaRPr>
          </a:p>
        </p:txBody>
      </p:sp>
      <p:sp>
        <p:nvSpPr>
          <p:cNvPr id="73" name="Text Placeholder 3"/>
          <p:cNvSpPr>
            <a:spLocks noGrp="1"/>
          </p:cNvSpPr>
          <p:nvPr>
            <p:custDataLst>
              <p:tags r:id="rId10"/>
            </p:custDataLst>
          </p:nvPr>
        </p:nvSpPr>
        <p:spPr bwMode="gray">
          <a:xfrm>
            <a:off x="5483225" y="325120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B1CADDF-35A9-4C04-AB73-6834E82232D6}" type="datetime'''''''3''1'''''''''''''''">
              <a:rPr lang="en-US" altLang="en-US" smtClean="0">
                <a:solidFill>
                  <a:schemeClr val="bg1"/>
                </a:solidFill>
              </a:rPr>
              <a:pPr/>
              <a:t>31</a:t>
            </a:fld>
            <a:r>
              <a:rPr lang="en-US" altLang="en-US">
                <a:solidFill>
                  <a:schemeClr val="bg1"/>
                </a:solidFill>
                <a:sym typeface="+mn-lt"/>
              </a:rPr>
              <a:t>%</a:t>
            </a:r>
            <a:endParaRPr lang="en-US" dirty="0">
              <a:solidFill>
                <a:schemeClr val="bg1"/>
              </a:solidFill>
              <a:sym typeface="+mn-lt"/>
            </a:endParaRPr>
          </a:p>
        </p:txBody>
      </p:sp>
      <p:sp>
        <p:nvSpPr>
          <p:cNvPr id="47" name="Rectangle 46"/>
          <p:cNvSpPr/>
          <p:nvPr>
            <p:custDataLst>
              <p:tags r:id="rId11"/>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3"/>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4"/>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0" name="Text Placeholder 3"/>
          <p:cNvSpPr>
            <a:spLocks noGrp="1"/>
          </p:cNvSpPr>
          <p:nvPr>
            <p:custDataLst>
              <p:tags r:id="rId17"/>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8" name="Text Placeholder 3"/>
          <p:cNvSpPr>
            <a:spLocks noGrp="1"/>
          </p:cNvSpPr>
          <p:nvPr>
            <p:custDataLst>
              <p:tags r:id="rId18"/>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9"/>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20"/>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96" name="Rectangle 95"/>
          <p:cNvSpPr/>
          <p:nvPr/>
        </p:nvSpPr>
        <p:spPr>
          <a:xfrm>
            <a:off x="3068512" y="1392248"/>
            <a:ext cx="5268664" cy="6602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9% </a:t>
            </a:r>
            <a:r>
              <a:rPr lang="en-US" dirty="0">
                <a:solidFill>
                  <a:srgbClr val="575757"/>
                </a:solidFill>
              </a:rPr>
              <a:t>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 vs Q3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3% vs Q4 '20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 vs BIC Target</a:t>
            </a:r>
          </a:p>
        </p:txBody>
      </p:sp>
      <p:sp>
        <p:nvSpPr>
          <p:cNvPr id="43" name="Rectangle 42"/>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2" name="Rectangle 31"/>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89527500-EF0C-4311-89E2-7AE011BDCCD5}"/>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37" name="Group 36">
            <a:extLst>
              <a:ext uri="{FF2B5EF4-FFF2-40B4-BE49-F238E27FC236}">
                <a16:creationId xmlns:a16="http://schemas.microsoft.com/office/drawing/2014/main" id="{1CD1AEBD-B853-4CBC-A493-1A72FFE23A50}"/>
              </a:ext>
            </a:extLst>
          </p:cNvPr>
          <p:cNvGrpSpPr>
            <a:grpSpLocks noChangeAspect="1"/>
          </p:cNvGrpSpPr>
          <p:nvPr/>
        </p:nvGrpSpPr>
        <p:grpSpPr>
          <a:xfrm>
            <a:off x="537447" y="879793"/>
            <a:ext cx="457200" cy="457200"/>
            <a:chOff x="5867400" y="3200400"/>
            <a:chExt cx="457200" cy="457200"/>
          </a:xfrm>
        </p:grpSpPr>
        <p:sp>
          <p:nvSpPr>
            <p:cNvPr id="44" name="AutoShape 43">
              <a:extLst>
                <a:ext uri="{FF2B5EF4-FFF2-40B4-BE49-F238E27FC236}">
                  <a16:creationId xmlns:a16="http://schemas.microsoft.com/office/drawing/2014/main" id="{6736297A-C07D-4C7A-B504-F7AF186325DD}"/>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B494E08C-DD7A-4283-84A3-C3A980F7449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1282726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928"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61454" y="0"/>
            <a:ext cx="2832072"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For CT, the annual average in 2021 is 77%, +2% better than the 2020 average of 75%</a:t>
            </a:r>
          </a:p>
          <a:p>
            <a:endParaRPr lang="en-GB" dirty="0">
              <a:solidFill>
                <a:srgbClr val="FFFFFF"/>
              </a:solidFill>
              <a:cs typeface="Arial" pitchFamily="34" charset="0"/>
            </a:endParaRP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nformation Security – Satisfaction Overall</a:t>
            </a:r>
          </a:p>
        </p:txBody>
      </p:sp>
      <p:graphicFrame>
        <p:nvGraphicFramePr>
          <p:cNvPr id="56" name="Chart 55">
            <a:extLst>
              <a:ext uri="{FF2B5EF4-FFF2-40B4-BE49-F238E27FC236}">
                <a16:creationId xmlns:a16="http://schemas.microsoft.com/office/drawing/2014/main" id="{131B6614-A6B6-4EF3-885E-D2BCE6555E93}"/>
              </a:ext>
            </a:extLst>
          </p:cNvPr>
          <p:cNvGraphicFramePr/>
          <p:nvPr>
            <p:custDataLst>
              <p:tags r:id="rId5"/>
            </p:custDataLst>
          </p:nvPr>
        </p:nvGraphicFramePr>
        <p:xfrm>
          <a:off x="5522913" y="300990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55" name="Text Placeholder 3"/>
          <p:cNvSpPr>
            <a:spLocks noGrp="1"/>
          </p:cNvSpPr>
          <p:nvPr>
            <p:custDataLst>
              <p:tags r:id="rId6"/>
            </p:custDataLst>
          </p:nvPr>
        </p:nvSpPr>
        <p:spPr bwMode="gray">
          <a:xfrm>
            <a:off x="6167438" y="5102225"/>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7526A59-68CC-482B-9F8E-1186CCF110D3}" type="datetime'''''5''''2'''''''''''''''''''''''''''''''''''''''">
              <a:rPr lang="en-US" altLang="en-US" smtClean="0">
                <a:solidFill>
                  <a:schemeClr val="bg1"/>
                </a:solidFill>
              </a:rPr>
              <a:pPr/>
              <a:t>52</a:t>
            </a:fld>
            <a:r>
              <a:rPr lang="en-US" altLang="en-US">
                <a:solidFill>
                  <a:schemeClr val="bg1"/>
                </a:solidFill>
                <a:sym typeface="+mn-lt"/>
              </a:rPr>
              <a:t>%</a:t>
            </a:r>
            <a:endParaRPr lang="en-US" dirty="0">
              <a:solidFill>
                <a:schemeClr val="bg1"/>
              </a:solidFill>
              <a:sym typeface="+mn-lt"/>
            </a:endParaRPr>
          </a:p>
        </p:txBody>
      </p:sp>
      <p:sp>
        <p:nvSpPr>
          <p:cNvPr id="73" name="Text Placeholder 3"/>
          <p:cNvSpPr>
            <a:spLocks noGrp="1"/>
          </p:cNvSpPr>
          <p:nvPr>
            <p:custDataLst>
              <p:tags r:id="rId7"/>
            </p:custDataLst>
          </p:nvPr>
        </p:nvSpPr>
        <p:spPr bwMode="gray">
          <a:xfrm>
            <a:off x="7523163" y="3636963"/>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779895A-E78D-4E8A-997A-41A818415F5A}" type="datetime'''''''''''''''''''3''''2'">
              <a:rPr lang="en-US" altLang="en-US" smtClean="0">
                <a:solidFill>
                  <a:schemeClr val="bg1"/>
                </a:solidFill>
              </a:rPr>
              <a:pPr/>
              <a:t>32</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8"/>
            </p:custDataLst>
          </p:nvPr>
        </p:nvSpPr>
        <p:spPr bwMode="gray">
          <a:xfrm>
            <a:off x="6637338" y="3114675"/>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chemeClr val="bg1"/>
                </a:solidFill>
                <a:sym typeface="+mn-lt"/>
              </a:rPr>
              <a:t>0%</a:t>
            </a:r>
            <a:endParaRPr lang="en-US" dirty="0">
              <a:solidFill>
                <a:schemeClr val="bg1"/>
              </a:solidFill>
              <a:sym typeface="+mn-lt"/>
            </a:endParaRPr>
          </a:p>
        </p:txBody>
      </p:sp>
      <p:sp>
        <p:nvSpPr>
          <p:cNvPr id="53" name="Text Placeholder 3"/>
          <p:cNvSpPr>
            <a:spLocks noGrp="1"/>
          </p:cNvSpPr>
          <p:nvPr>
            <p:custDataLst>
              <p:tags r:id="rId9"/>
            </p:custDataLst>
          </p:nvPr>
        </p:nvSpPr>
        <p:spPr bwMode="gray">
          <a:xfrm>
            <a:off x="6126163" y="330517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085D07D-0510-4F66-966B-D9B8401ABE0A}" type="datetime'''''''''''''''''''''''''1''''''''''''''''''''''5'''''''''''''">
              <a:rPr lang="en-US" altLang="en-US" smtClean="0"/>
              <a:pPr/>
              <a:t>15</a:t>
            </a:fld>
            <a:r>
              <a:rPr lang="en-US" altLang="en-US">
                <a:sym typeface="+mn-lt"/>
              </a:rPr>
              <a:t>%</a:t>
            </a:r>
            <a:endParaRPr lang="en-US" dirty="0">
              <a:sym typeface="+mn-lt"/>
            </a:endParaRPr>
          </a:p>
        </p:txBody>
      </p:sp>
      <p:sp>
        <p:nvSpPr>
          <p:cNvPr id="41" name="Text Placeholder 3"/>
          <p:cNvSpPr>
            <a:spLocks noGrp="1"/>
          </p:cNvSpPr>
          <p:nvPr>
            <p:custDataLst>
              <p:tags r:id="rId10"/>
            </p:custDataLst>
          </p:nvPr>
        </p:nvSpPr>
        <p:spPr bwMode="gray">
          <a:xfrm>
            <a:off x="6681788" y="331628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09DC8A8-FF13-49CB-A401-16B78DB2DCA5}"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47" name="Rectangle 46"/>
          <p:cNvSpPr/>
          <p:nvPr>
            <p:custDataLst>
              <p:tags r:id="rId11"/>
            </p:custDataLst>
          </p:nvPr>
        </p:nvSpPr>
        <p:spPr bwMode="gray">
          <a:xfrm>
            <a:off x="4149725" y="60642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909763" y="60642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3200400" y="60642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4"/>
            </p:custDataLst>
          </p:nvPr>
        </p:nvSpPr>
        <p:spPr bwMode="gray">
          <a:xfrm>
            <a:off x="5021263" y="60642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6157913" y="60642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2174875" y="60452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0" name="Text Placeholder 3"/>
          <p:cNvSpPr>
            <a:spLocks noGrp="1"/>
          </p:cNvSpPr>
          <p:nvPr>
            <p:custDataLst>
              <p:tags r:id="rId17"/>
            </p:custDataLst>
          </p:nvPr>
        </p:nvSpPr>
        <p:spPr bwMode="gray">
          <a:xfrm>
            <a:off x="5286375" y="60452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8" name="Text Placeholder 3"/>
          <p:cNvSpPr>
            <a:spLocks noGrp="1"/>
          </p:cNvSpPr>
          <p:nvPr>
            <p:custDataLst>
              <p:tags r:id="rId18"/>
            </p:custDataLst>
          </p:nvPr>
        </p:nvSpPr>
        <p:spPr bwMode="gray">
          <a:xfrm>
            <a:off x="3465513" y="60452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9"/>
            </p:custDataLst>
          </p:nvPr>
        </p:nvSpPr>
        <p:spPr bwMode="gray">
          <a:xfrm>
            <a:off x="4414838" y="60452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20"/>
            </p:custDataLst>
          </p:nvPr>
        </p:nvSpPr>
        <p:spPr bwMode="gray">
          <a:xfrm>
            <a:off x="6423025" y="60452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62" name="Chart 61">
            <a:extLst>
              <a:ext uri="{FF2B5EF4-FFF2-40B4-BE49-F238E27FC236}">
                <a16:creationId xmlns:a16="http://schemas.microsoft.com/office/drawing/2014/main" id="{B5D7E127-324A-4727-A49F-F62C744A5D94}"/>
              </a:ext>
            </a:extLst>
          </p:cNvPr>
          <p:cNvGraphicFramePr/>
          <p:nvPr>
            <p:custDataLst>
              <p:tags r:id="rId21"/>
            </p:custDataLst>
          </p:nvPr>
        </p:nvGraphicFramePr>
        <p:xfrm>
          <a:off x="1162050" y="3009900"/>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32" name="Text Placeholder 3"/>
          <p:cNvSpPr>
            <a:spLocks noGrp="1"/>
          </p:cNvSpPr>
          <p:nvPr>
            <p:custDataLst>
              <p:tags r:id="rId22"/>
            </p:custDataLst>
          </p:nvPr>
        </p:nvSpPr>
        <p:spPr bwMode="gray">
          <a:xfrm>
            <a:off x="1473200" y="358140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ADD5122-2BC9-465E-BFB8-E30B01998766}" type="datetime'''2''''''''''''''5'''''''''''''''''">
              <a:rPr lang="en-US" altLang="en-US" smtClean="0"/>
              <a:pPr/>
              <a:t>25</a:t>
            </a:fld>
            <a:r>
              <a:rPr lang="en-US" altLang="en-US">
                <a:sym typeface="+mn-lt"/>
              </a:rPr>
              <a:t>%</a:t>
            </a:r>
            <a:endParaRPr lang="en-US" dirty="0">
              <a:sym typeface="+mn-lt"/>
            </a:endParaRPr>
          </a:p>
        </p:txBody>
      </p:sp>
      <p:sp>
        <p:nvSpPr>
          <p:cNvPr id="29" name="Text Placeholder 3"/>
          <p:cNvSpPr>
            <a:spLocks noGrp="1"/>
          </p:cNvSpPr>
          <p:nvPr>
            <p:custDataLst>
              <p:tags r:id="rId23"/>
            </p:custDataLst>
          </p:nvPr>
        </p:nvSpPr>
        <p:spPr bwMode="gray">
          <a:xfrm>
            <a:off x="3108325" y="3560763"/>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464E56F-8A20-4406-9E01-22F13FC3977F}" type="datetime'''''''''''''''''''2''''''''''''''''''''''9'''''''''''">
              <a:rPr lang="en-US" altLang="en-US" smtClean="0">
                <a:solidFill>
                  <a:schemeClr val="bg1"/>
                </a:solidFill>
              </a:rPr>
              <a:pPr/>
              <a:t>29</a:t>
            </a:fld>
            <a:r>
              <a:rPr lang="en-US" altLang="en-US">
                <a:solidFill>
                  <a:schemeClr val="bg1"/>
                </a:solidFill>
                <a:sym typeface="+mn-lt"/>
              </a:rPr>
              <a:t>%</a:t>
            </a:r>
            <a:endParaRPr lang="en-US" dirty="0">
              <a:solidFill>
                <a:schemeClr val="bg1"/>
              </a:solidFill>
              <a:sym typeface="+mn-lt"/>
            </a:endParaRPr>
          </a:p>
        </p:txBody>
      </p:sp>
      <p:sp>
        <p:nvSpPr>
          <p:cNvPr id="31" name="Text Placeholder 3"/>
          <p:cNvSpPr>
            <a:spLocks noGrp="1"/>
          </p:cNvSpPr>
          <p:nvPr>
            <p:custDataLst>
              <p:tags r:id="rId24"/>
            </p:custDataLst>
          </p:nvPr>
        </p:nvSpPr>
        <p:spPr bwMode="gray">
          <a:xfrm>
            <a:off x="2239963" y="5260975"/>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AA061D8-94FF-4DFB-BDB5-09844BD3A116}"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33" name="Text Placeholder 3"/>
          <p:cNvSpPr>
            <a:spLocks noGrp="1"/>
          </p:cNvSpPr>
          <p:nvPr>
            <p:custDataLst>
              <p:tags r:id="rId25"/>
            </p:custDataLst>
          </p:nvPr>
        </p:nvSpPr>
        <p:spPr bwMode="gray">
          <a:xfrm>
            <a:off x="2225675" y="3121025"/>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8700761-9923-4A2F-9F98-35A969969D9C}"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30" name="Text Placeholder 3"/>
          <p:cNvSpPr>
            <a:spLocks noGrp="1"/>
          </p:cNvSpPr>
          <p:nvPr>
            <p:custDataLst>
              <p:tags r:id="rId26"/>
            </p:custDataLst>
          </p:nvPr>
        </p:nvSpPr>
        <p:spPr bwMode="gray">
          <a:xfrm>
            <a:off x="2317750" y="332263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65D70AB-3890-459B-9595-657CC9050A9F}"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641349" y="1352073"/>
            <a:ext cx="3910774" cy="89582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3% </a:t>
            </a:r>
            <a:r>
              <a:rPr lang="en-US" dirty="0">
                <a:solidFill>
                  <a:srgbClr val="575757"/>
                </a:solidFill>
              </a:rPr>
              <a:t>C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 vs  Q3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6% vs Q4 '20</a:t>
            </a: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7% vs BIC Target</a:t>
            </a:r>
          </a:p>
        </p:txBody>
      </p:sp>
      <p:sp>
        <p:nvSpPr>
          <p:cNvPr id="74" name="Rectangle 73"/>
          <p:cNvSpPr/>
          <p:nvPr/>
        </p:nvSpPr>
        <p:spPr>
          <a:xfrm>
            <a:off x="4757249" y="1261587"/>
            <a:ext cx="4017352" cy="10069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4% </a:t>
            </a:r>
            <a:r>
              <a:rPr lang="en-US" dirty="0">
                <a:solidFill>
                  <a:srgbClr val="575757"/>
                </a:solidFill>
              </a:rPr>
              <a:t>BS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2% vs Q3 '21  | </a:t>
            </a: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4 '20 </a:t>
            </a:r>
          </a:p>
          <a:p>
            <a:pPr algn="ctr"/>
            <a:r>
              <a:rPr lang="en-US" sz="1400" dirty="0">
                <a:solidFill>
                  <a:srgbClr val="29BA74"/>
                </a:solidFill>
                <a:latin typeface="Wingdings 3" panose="05040102010807070707" pitchFamily="18" charset="2"/>
              </a:rPr>
              <a:t>p</a:t>
            </a:r>
            <a:r>
              <a:rPr lang="en-US" sz="1400" dirty="0">
                <a:solidFill>
                  <a:srgbClr val="575757"/>
                </a:solidFill>
              </a:rPr>
              <a:t>4% vs BIC Target</a:t>
            </a:r>
          </a:p>
        </p:txBody>
      </p:sp>
      <p:sp>
        <p:nvSpPr>
          <p:cNvPr id="7" name="Rectangle 6"/>
          <p:cNvSpPr/>
          <p:nvPr/>
        </p:nvSpPr>
        <p:spPr>
          <a:xfrm>
            <a:off x="1614492" y="3919324"/>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44406" y="395446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cxnSp>
        <p:nvCxnSpPr>
          <p:cNvPr id="35" name="Straight Connector 34"/>
          <p:cNvCxnSpPr/>
          <p:nvPr/>
        </p:nvCxnSpPr>
        <p:spPr>
          <a:xfrm flipH="1" flipV="1">
            <a:off x="630238" y="2276475"/>
            <a:ext cx="7707313" cy="0"/>
          </a:xfrm>
          <a:prstGeom prst="line">
            <a:avLst/>
          </a:prstGeom>
          <a:ln w="19050" cap="rnd">
            <a:solidFill>
              <a:schemeClr val="tx1">
                <a:lumMod val="60000"/>
                <a:lumOff val="40000"/>
              </a:schemeClr>
            </a:solidFill>
            <a:prstDash val="sysDot"/>
          </a:ln>
        </p:spPr>
      </p:cxnSp>
      <p:sp>
        <p:nvSpPr>
          <p:cNvPr id="57" name="Rectangle 5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48" name="Rectangle 47">
            <a:extLst>
              <a:ext uri="{FF2B5EF4-FFF2-40B4-BE49-F238E27FC236}">
                <a16:creationId xmlns:a16="http://schemas.microsoft.com/office/drawing/2014/main" id="{472725B8-C7F8-4599-9D8D-4CC520126861}"/>
              </a:ext>
            </a:extLst>
          </p:cNvPr>
          <p:cNvSpPr/>
          <p:nvPr/>
        </p:nvSpPr>
        <p:spPr>
          <a:xfrm>
            <a:off x="1681065" y="2285827"/>
            <a:ext cx="1519238"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54" name="Rectangle 53">
            <a:extLst>
              <a:ext uri="{FF2B5EF4-FFF2-40B4-BE49-F238E27FC236}">
                <a16:creationId xmlns:a16="http://schemas.microsoft.com/office/drawing/2014/main" id="{D8AA7E05-A62E-4580-AE7D-48331014C951}"/>
              </a:ext>
            </a:extLst>
          </p:cNvPr>
          <p:cNvSpPr/>
          <p:nvPr/>
        </p:nvSpPr>
        <p:spPr>
          <a:xfrm>
            <a:off x="5956711" y="2278477"/>
            <a:ext cx="1517650"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3" name="Group 42">
            <a:extLst>
              <a:ext uri="{FF2B5EF4-FFF2-40B4-BE49-F238E27FC236}">
                <a16:creationId xmlns:a16="http://schemas.microsoft.com/office/drawing/2014/main" id="{4E9AB330-F858-47E4-B8EF-BE897C2BC806}"/>
              </a:ext>
            </a:extLst>
          </p:cNvPr>
          <p:cNvGrpSpPr>
            <a:grpSpLocks noChangeAspect="1"/>
          </p:cNvGrpSpPr>
          <p:nvPr/>
        </p:nvGrpSpPr>
        <p:grpSpPr>
          <a:xfrm>
            <a:off x="537447" y="885971"/>
            <a:ext cx="457200" cy="457200"/>
            <a:chOff x="5867400" y="3200400"/>
            <a:chExt cx="457200" cy="457200"/>
          </a:xfrm>
        </p:grpSpPr>
        <p:sp>
          <p:nvSpPr>
            <p:cNvPr id="44" name="AutoShape 43">
              <a:extLst>
                <a:ext uri="{FF2B5EF4-FFF2-40B4-BE49-F238E27FC236}">
                  <a16:creationId xmlns:a16="http://schemas.microsoft.com/office/drawing/2014/main" id="{AB439357-B9AC-4FF2-BE1D-C96B6DC9260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7">
              <a:extLst>
                <a:ext uri="{FF2B5EF4-FFF2-40B4-BE49-F238E27FC236}">
                  <a16:creationId xmlns:a16="http://schemas.microsoft.com/office/drawing/2014/main" id="{B05C7CEC-F77A-4C3C-A811-B68FFCBCC617}"/>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1638528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952"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61454" y="0"/>
            <a:ext cx="286726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73% employees are satisfied they can find the security resources they need, this is +3% Q4 year-over-year</a:t>
            </a:r>
          </a:p>
          <a:p>
            <a:endParaRPr lang="en-GB" dirty="0">
              <a:solidFill>
                <a:srgbClr val="FFFFFF"/>
              </a:solidFill>
              <a:cs typeface="Arial" pitchFamily="34" charset="0"/>
            </a:endParaRPr>
          </a:p>
          <a:p>
            <a:r>
              <a:rPr lang="en-GB" dirty="0">
                <a:solidFill>
                  <a:srgbClr val="FFFFFF"/>
                </a:solidFill>
                <a:cs typeface="Arial" pitchFamily="34" charset="0"/>
              </a:rPr>
              <a:t>The annual average in 2020 was 69% &amp; the average in 2021 is 76%, +7% better</a:t>
            </a:r>
          </a:p>
        </p:txBody>
      </p:sp>
      <p:sp>
        <p:nvSpPr>
          <p:cNvPr id="3" name="Title 2"/>
          <p:cNvSpPr>
            <a:spLocks noGrp="1"/>
          </p:cNvSpPr>
          <p:nvPr>
            <p:ph type="title"/>
          </p:nvPr>
        </p:nvSpPr>
        <p:spPr>
          <a:xfrm>
            <a:off x="630000" y="622800"/>
            <a:ext cx="8504124" cy="318549"/>
          </a:xfrm>
        </p:spPr>
        <p:txBody>
          <a:bodyPr vert="horz"/>
          <a:lstStyle/>
          <a:p>
            <a:r>
              <a:rPr lang="en-US" sz="2300" dirty="0">
                <a:solidFill>
                  <a:srgbClr val="295E7E"/>
                </a:solidFill>
              </a:rPr>
              <a:t>Information Security – Satisfaction Finding Security Resources</a:t>
            </a:r>
          </a:p>
        </p:txBody>
      </p:sp>
      <p:graphicFrame>
        <p:nvGraphicFramePr>
          <p:cNvPr id="52" name="Chart 51">
            <a:extLst>
              <a:ext uri="{FF2B5EF4-FFF2-40B4-BE49-F238E27FC236}">
                <a16:creationId xmlns:a16="http://schemas.microsoft.com/office/drawing/2014/main" id="{10B95184-C65B-49E3-A9AC-8618B843BEC9}"/>
              </a:ext>
            </a:extLst>
          </p:cNvPr>
          <p:cNvGraphicFramePr/>
          <p:nvPr>
            <p:custDataLst>
              <p:tags r:id="rId5"/>
            </p:custDataLst>
          </p:nvPr>
        </p:nvGraphicFramePr>
        <p:xfrm>
          <a:off x="2973388" y="2471738"/>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55" name="Text Placeholder 3"/>
          <p:cNvSpPr>
            <a:spLocks noGrp="1"/>
          </p:cNvSpPr>
          <p:nvPr>
            <p:custDataLst>
              <p:tags r:id="rId6"/>
            </p:custDataLst>
          </p:nvPr>
        </p:nvSpPr>
        <p:spPr bwMode="gray">
          <a:xfrm>
            <a:off x="4408488" y="55562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8512434-C619-4C5A-A9F5-D35E1B269CE3}"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73" name="Text Placeholder 3"/>
          <p:cNvSpPr>
            <a:spLocks noGrp="1"/>
          </p:cNvSpPr>
          <p:nvPr>
            <p:custDataLst>
              <p:tags r:id="rId7"/>
            </p:custDataLst>
          </p:nvPr>
        </p:nvSpPr>
        <p:spPr bwMode="gray">
          <a:xfrm>
            <a:off x="5673725" y="319087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8AF637F-E313-4C08-9328-72F64F72D8AE}" type="datetime'''''''''''2''''''''''''''9'''''''''''''''">
              <a:rPr lang="en-US" altLang="en-US" smtClean="0">
                <a:solidFill>
                  <a:schemeClr val="bg1"/>
                </a:solidFill>
              </a:rPr>
              <a:pPr/>
              <a:t>29</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8"/>
            </p:custDataLst>
          </p:nvPr>
        </p:nvSpPr>
        <p:spPr bwMode="gray">
          <a:xfrm>
            <a:off x="4559300" y="278447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9AF1149-B172-4788-B4B9-DDC522CB5E09}" type="datetime'''''''''''''''''''''''''0'''''''''''''''''''''">
              <a:rPr lang="en-US" altLang="en-US" smtClean="0">
                <a:solidFill>
                  <a:schemeClr val="bg1"/>
                </a:solidFill>
                <a:effectLst/>
              </a:rPr>
              <a:pPr/>
              <a:t>0</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9"/>
            </p:custDataLst>
          </p:nvPr>
        </p:nvSpPr>
        <p:spPr bwMode="gray">
          <a:xfrm>
            <a:off x="4432300" y="2582863"/>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DD834C5-221B-49AC-84A5-DE7CCE9A46DD}"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10"/>
            </p:custDataLst>
          </p:nvPr>
        </p:nvSpPr>
        <p:spPr bwMode="gray">
          <a:xfrm>
            <a:off x="3381375" y="3195638"/>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794B4F6-2754-4904-A706-88C10CA9ACA9}" type="datetime'''''''''''''''''''''''''''2''''''''''''''''''4'">
              <a:rPr lang="en-US" altLang="en-US" smtClean="0"/>
              <a:pPr/>
              <a:t>24</a:t>
            </a:fld>
            <a:r>
              <a:rPr lang="en-US" altLang="en-US">
                <a:sym typeface="+mn-lt"/>
              </a:rPr>
              <a:t>%</a:t>
            </a:r>
            <a:endParaRPr lang="en-US" dirty="0">
              <a:sym typeface="+mn-lt"/>
            </a:endParaRPr>
          </a:p>
        </p:txBody>
      </p:sp>
      <p:sp>
        <p:nvSpPr>
          <p:cNvPr id="51" name="Rectangle 50"/>
          <p:cNvSpPr/>
          <p:nvPr>
            <p:custDataLst>
              <p:tags r:id="rId11"/>
            </p:custDataLst>
          </p:nvPr>
        </p:nvSpPr>
        <p:spPr bwMode="gray">
          <a:xfrm>
            <a:off x="4932363" y="604361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820863" y="604361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3111500" y="604361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4"/>
            </p:custDataLst>
          </p:nvPr>
        </p:nvSpPr>
        <p:spPr bwMode="gray">
          <a:xfrm>
            <a:off x="4060825" y="60436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6069013" y="60436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 Placeholder 3"/>
          <p:cNvSpPr>
            <a:spLocks noGrp="1"/>
          </p:cNvSpPr>
          <p:nvPr>
            <p:custDataLst>
              <p:tags r:id="rId16"/>
            </p:custDataLst>
          </p:nvPr>
        </p:nvSpPr>
        <p:spPr bwMode="gray">
          <a:xfrm>
            <a:off x="5197475" y="602456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4" name="Text Placeholder 3"/>
          <p:cNvSpPr>
            <a:spLocks noGrp="1"/>
          </p:cNvSpPr>
          <p:nvPr>
            <p:custDataLst>
              <p:tags r:id="rId17"/>
            </p:custDataLst>
          </p:nvPr>
        </p:nvSpPr>
        <p:spPr bwMode="gray">
          <a:xfrm>
            <a:off x="2085975" y="602456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8"/>
            </p:custDataLst>
          </p:nvPr>
        </p:nvSpPr>
        <p:spPr bwMode="gray">
          <a:xfrm>
            <a:off x="4325938" y="60245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9"/>
            </p:custDataLst>
          </p:nvPr>
        </p:nvSpPr>
        <p:spPr bwMode="gray">
          <a:xfrm>
            <a:off x="3376613" y="602456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20"/>
            </p:custDataLst>
          </p:nvPr>
        </p:nvSpPr>
        <p:spPr bwMode="gray">
          <a:xfrm>
            <a:off x="6334125" y="602456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96" name="Rectangle 95"/>
          <p:cNvSpPr/>
          <p:nvPr/>
        </p:nvSpPr>
        <p:spPr>
          <a:xfrm>
            <a:off x="3068512" y="1382236"/>
            <a:ext cx="5268664" cy="67029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3% </a:t>
            </a:r>
            <a:r>
              <a:rPr lang="en-US" dirty="0">
                <a:solidFill>
                  <a:srgbClr val="575757"/>
                </a:solidFill>
              </a:rPr>
              <a:t>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4% vs  Q3 '21  | </a:t>
            </a:r>
            <a:r>
              <a:rPr lang="en-US" sz="1400" dirty="0">
                <a:solidFill>
                  <a:srgbClr val="29BA74"/>
                </a:solidFill>
                <a:latin typeface="Wingdings 3" panose="05040102010807070707" pitchFamily="18" charset="2"/>
              </a:rPr>
              <a:t>p</a:t>
            </a:r>
            <a:r>
              <a:rPr lang="en-US" sz="1400" dirty="0">
                <a:solidFill>
                  <a:srgbClr val="575757"/>
                </a:solidFill>
                <a:latin typeface="+mj-lt"/>
              </a:rPr>
              <a:t>3</a:t>
            </a:r>
            <a:r>
              <a:rPr lang="en-US" sz="1400" dirty="0">
                <a:solidFill>
                  <a:srgbClr val="575757"/>
                </a:solidFill>
              </a:rPr>
              <a:t>% vs Q4 '20</a:t>
            </a:r>
          </a:p>
        </p:txBody>
      </p:sp>
      <p:sp>
        <p:nvSpPr>
          <p:cNvPr id="43" name="Rectangle 42"/>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2" name="Rectangle 31"/>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2CB5830C-D60E-4C8A-B377-C93AB8266F68}"/>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31" name="Group 30">
            <a:extLst>
              <a:ext uri="{FF2B5EF4-FFF2-40B4-BE49-F238E27FC236}">
                <a16:creationId xmlns:a16="http://schemas.microsoft.com/office/drawing/2014/main" id="{A3DCAC47-9368-450F-A27B-28D930F47EA8}"/>
              </a:ext>
            </a:extLst>
          </p:cNvPr>
          <p:cNvGrpSpPr>
            <a:grpSpLocks noChangeAspect="1"/>
          </p:cNvGrpSpPr>
          <p:nvPr/>
        </p:nvGrpSpPr>
        <p:grpSpPr>
          <a:xfrm>
            <a:off x="537447" y="879793"/>
            <a:ext cx="457200" cy="457200"/>
            <a:chOff x="5867400" y="3200400"/>
            <a:chExt cx="457200" cy="457200"/>
          </a:xfrm>
        </p:grpSpPr>
        <p:sp>
          <p:nvSpPr>
            <p:cNvPr id="37" name="AutoShape 43">
              <a:extLst>
                <a:ext uri="{FF2B5EF4-FFF2-40B4-BE49-F238E27FC236}">
                  <a16:creationId xmlns:a16="http://schemas.microsoft.com/office/drawing/2014/main" id="{A2F789DF-ABA9-4A81-AD83-EF0EFBC38C5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ECB04FF5-8C22-4C22-8D60-1C79D02A01D9}"/>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3183910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976"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67813" y="0"/>
            <a:ext cx="2692968"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Both CT &amp; BST have increased E-SAT Q4 year-over-year by +2% &amp; +5% respectively</a:t>
            </a:r>
          </a:p>
          <a:p>
            <a:endParaRPr lang="en-GB" dirty="0">
              <a:solidFill>
                <a:srgbClr val="FFFFFF"/>
              </a:solidFill>
              <a:cs typeface="Arial" pitchFamily="34" charset="0"/>
            </a:endParaRPr>
          </a:p>
          <a:p>
            <a:r>
              <a:rPr lang="en-GB" dirty="0">
                <a:solidFill>
                  <a:srgbClr val="FFFFFF"/>
                </a:solidFill>
                <a:cs typeface="Arial" pitchFamily="34" charset="0"/>
              </a:rPr>
              <a:t>For CT the annual average in 2021 is 73%, +6% better than the 2020 average of 67%</a:t>
            </a:r>
          </a:p>
        </p:txBody>
      </p:sp>
      <p:sp>
        <p:nvSpPr>
          <p:cNvPr id="3" name="Title 2"/>
          <p:cNvSpPr>
            <a:spLocks noGrp="1"/>
          </p:cNvSpPr>
          <p:nvPr>
            <p:ph type="title"/>
          </p:nvPr>
        </p:nvSpPr>
        <p:spPr>
          <a:xfrm>
            <a:off x="629999" y="622800"/>
            <a:ext cx="8510483" cy="318549"/>
          </a:xfrm>
        </p:spPr>
        <p:txBody>
          <a:bodyPr vert="horz"/>
          <a:lstStyle/>
          <a:p>
            <a:r>
              <a:rPr lang="en-US" sz="2300" dirty="0">
                <a:solidFill>
                  <a:srgbClr val="295E7E"/>
                </a:solidFill>
              </a:rPr>
              <a:t>Information Security – Satisfaction Finding Security Resources</a:t>
            </a:r>
          </a:p>
        </p:txBody>
      </p:sp>
      <p:graphicFrame>
        <p:nvGraphicFramePr>
          <p:cNvPr id="68" name="Chart 67">
            <a:extLst>
              <a:ext uri="{FF2B5EF4-FFF2-40B4-BE49-F238E27FC236}">
                <a16:creationId xmlns:a16="http://schemas.microsoft.com/office/drawing/2014/main" id="{D9612537-232A-473A-BF1E-F6E1CE7B220A}"/>
              </a:ext>
            </a:extLst>
          </p:cNvPr>
          <p:cNvGraphicFramePr/>
          <p:nvPr>
            <p:custDataLst>
              <p:tags r:id="rId5"/>
            </p:custDataLst>
          </p:nvPr>
        </p:nvGraphicFramePr>
        <p:xfrm>
          <a:off x="5454650" y="3154363"/>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73" name="Text Placeholder 3"/>
          <p:cNvSpPr>
            <a:spLocks noGrp="1"/>
          </p:cNvSpPr>
          <p:nvPr>
            <p:custDataLst>
              <p:tags r:id="rId6"/>
            </p:custDataLst>
          </p:nvPr>
        </p:nvSpPr>
        <p:spPr bwMode="gray">
          <a:xfrm>
            <a:off x="7456488" y="3783013"/>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F1662A5-1B57-4A55-B020-56A4ECEF5D8A}" type="datetime'''''''''''''''''''''''''''''3''''''''''''''2'">
              <a:rPr lang="en-US" altLang="en-US" smtClean="0">
                <a:solidFill>
                  <a:schemeClr val="bg1"/>
                </a:solidFill>
              </a:rPr>
              <a:pPr/>
              <a:t>32</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7"/>
            </p:custDataLst>
          </p:nvPr>
        </p:nvSpPr>
        <p:spPr bwMode="gray">
          <a:xfrm>
            <a:off x="6340475" y="535940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AB3254F-BDC6-44D0-B046-0962B2528996}"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8"/>
            </p:custDataLst>
          </p:nvPr>
        </p:nvSpPr>
        <p:spPr bwMode="gray">
          <a:xfrm>
            <a:off x="6626225" y="346710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8CAE5EA-05AC-41EE-A0AD-D1F3E8D62E67}" type="datetime'''''''''''''''''0'''''">
              <a:rPr lang="en-US" altLang="en-US" smtClean="0">
                <a:solidFill>
                  <a:schemeClr val="bg1"/>
                </a:solidFill>
                <a:effectLst/>
              </a:rPr>
              <a:pPr/>
              <a:t>0</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9"/>
            </p:custDataLst>
          </p:nvPr>
        </p:nvSpPr>
        <p:spPr bwMode="gray">
          <a:xfrm>
            <a:off x="6523038" y="3265488"/>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9E968FC-58D9-4543-BC49-E165F5A17CA4}" type="datetime'3'''''''''''''''">
              <a:rPr lang="en-US" altLang="en-US" smtClean="0">
                <a:solidFill>
                  <a:schemeClr val="bg1"/>
                </a:solidFill>
                <a:effectLst/>
              </a:rPr>
              <a:pPr/>
              <a:t>3</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10"/>
            </p:custDataLst>
          </p:nvPr>
        </p:nvSpPr>
        <p:spPr bwMode="gray">
          <a:xfrm>
            <a:off x="5815013" y="366395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760E446-1E3A-440C-9DDD-1B189CF666F4}" type="datetime'''''''''''''''2''''''''''''''''''''1'''''''''''''''''''''''''">
              <a:rPr lang="en-US" altLang="en-US" smtClean="0"/>
              <a:pPr/>
              <a:t>21</a:t>
            </a:fld>
            <a:r>
              <a:rPr lang="en-US" altLang="en-US">
                <a:sym typeface="+mn-lt"/>
              </a:rPr>
              <a:t>%</a:t>
            </a:r>
            <a:endParaRPr lang="en-US" dirty="0">
              <a:sym typeface="+mn-lt"/>
            </a:endParaRPr>
          </a:p>
        </p:txBody>
      </p:sp>
      <p:sp>
        <p:nvSpPr>
          <p:cNvPr id="51" name="Rectangle 50"/>
          <p:cNvSpPr/>
          <p:nvPr>
            <p:custDataLst>
              <p:tags r:id="rId11"/>
            </p:custDataLst>
          </p:nvPr>
        </p:nvSpPr>
        <p:spPr bwMode="gray">
          <a:xfrm>
            <a:off x="4713288" y="58737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601788" y="58737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2892425" y="58737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4"/>
            </p:custDataLst>
          </p:nvPr>
        </p:nvSpPr>
        <p:spPr bwMode="gray">
          <a:xfrm>
            <a:off x="3841750" y="58737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849938" y="58737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 Placeholder 3"/>
          <p:cNvSpPr>
            <a:spLocks noGrp="1"/>
          </p:cNvSpPr>
          <p:nvPr>
            <p:custDataLst>
              <p:tags r:id="rId16"/>
            </p:custDataLst>
          </p:nvPr>
        </p:nvSpPr>
        <p:spPr bwMode="gray">
          <a:xfrm>
            <a:off x="4978400" y="58547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9" name="Text Placeholder 3"/>
          <p:cNvSpPr>
            <a:spLocks noGrp="1"/>
          </p:cNvSpPr>
          <p:nvPr>
            <p:custDataLst>
              <p:tags r:id="rId17"/>
            </p:custDataLst>
          </p:nvPr>
        </p:nvSpPr>
        <p:spPr bwMode="gray">
          <a:xfrm>
            <a:off x="4106863" y="58547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4" name="Text Placeholder 3"/>
          <p:cNvSpPr>
            <a:spLocks noGrp="1"/>
          </p:cNvSpPr>
          <p:nvPr>
            <p:custDataLst>
              <p:tags r:id="rId18"/>
            </p:custDataLst>
          </p:nvPr>
        </p:nvSpPr>
        <p:spPr bwMode="gray">
          <a:xfrm>
            <a:off x="1866900" y="58547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9"/>
            </p:custDataLst>
          </p:nvPr>
        </p:nvSpPr>
        <p:spPr bwMode="gray">
          <a:xfrm>
            <a:off x="3157538" y="58547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20"/>
            </p:custDataLst>
          </p:nvPr>
        </p:nvSpPr>
        <p:spPr bwMode="gray">
          <a:xfrm>
            <a:off x="6115050" y="58547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61" name="Chart 60">
            <a:extLst>
              <a:ext uri="{FF2B5EF4-FFF2-40B4-BE49-F238E27FC236}">
                <a16:creationId xmlns:a16="http://schemas.microsoft.com/office/drawing/2014/main" id="{03C7AD36-E099-408F-AE16-688CE21BFF8E}"/>
              </a:ext>
            </a:extLst>
          </p:cNvPr>
          <p:cNvGraphicFramePr/>
          <p:nvPr>
            <p:custDataLst>
              <p:tags r:id="rId21"/>
            </p:custDataLst>
          </p:nvPr>
        </p:nvGraphicFramePr>
        <p:xfrm>
          <a:off x="1052513" y="3154363"/>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29" name="Text Placeholder 3"/>
          <p:cNvSpPr>
            <a:spLocks noGrp="1"/>
          </p:cNvSpPr>
          <p:nvPr>
            <p:custDataLst>
              <p:tags r:id="rId22"/>
            </p:custDataLst>
          </p:nvPr>
        </p:nvSpPr>
        <p:spPr bwMode="gray">
          <a:xfrm>
            <a:off x="2927350" y="3622675"/>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BF52B4C-325C-4065-9828-65FF4056A5F0}" type="datetime'''''''''''''''''''''2''''''''''''''''''6'''''''">
              <a:rPr lang="en-US" altLang="en-US" smtClean="0">
                <a:solidFill>
                  <a:schemeClr val="bg1"/>
                </a:solidFill>
              </a:rPr>
              <a:pPr/>
              <a:t>26</a:t>
            </a:fld>
            <a:r>
              <a:rPr lang="en-US" altLang="en-US">
                <a:solidFill>
                  <a:schemeClr val="bg1"/>
                </a:solidFill>
                <a:sym typeface="+mn-lt"/>
              </a:rPr>
              <a:t>%</a:t>
            </a:r>
            <a:endParaRPr lang="en-US" dirty="0">
              <a:solidFill>
                <a:schemeClr val="bg1"/>
              </a:solidFill>
              <a:sym typeface="+mn-lt"/>
            </a:endParaRPr>
          </a:p>
        </p:txBody>
      </p:sp>
      <p:sp>
        <p:nvSpPr>
          <p:cNvPr id="31" name="Text Placeholder 3"/>
          <p:cNvSpPr>
            <a:spLocks noGrp="1"/>
          </p:cNvSpPr>
          <p:nvPr>
            <p:custDataLst>
              <p:tags r:id="rId23"/>
            </p:custDataLst>
          </p:nvPr>
        </p:nvSpPr>
        <p:spPr bwMode="gray">
          <a:xfrm>
            <a:off x="2317750" y="539273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7F8985B-5C93-4E7B-A354-4E1955430F80}" type="datetime'''4''''''''''''5'''''''''''''''''''''''''''''">
              <a:rPr lang="en-US" altLang="en-US" smtClean="0">
                <a:solidFill>
                  <a:schemeClr val="bg1"/>
                </a:solidFill>
              </a:rPr>
              <a:pPr/>
              <a:t>45</a:t>
            </a:fld>
            <a:r>
              <a:rPr lang="en-US" altLang="en-US">
                <a:solidFill>
                  <a:schemeClr val="bg1"/>
                </a:solidFill>
                <a:sym typeface="+mn-lt"/>
              </a:rPr>
              <a:t>%</a:t>
            </a:r>
            <a:endParaRPr lang="en-US" dirty="0">
              <a:solidFill>
                <a:schemeClr val="bg1"/>
              </a:solidFill>
              <a:sym typeface="+mn-lt"/>
            </a:endParaRPr>
          </a:p>
        </p:txBody>
      </p:sp>
      <p:sp>
        <p:nvSpPr>
          <p:cNvPr id="32" name="Text Placeholder 3"/>
          <p:cNvSpPr>
            <a:spLocks noGrp="1"/>
          </p:cNvSpPr>
          <p:nvPr>
            <p:custDataLst>
              <p:tags r:id="rId24"/>
            </p:custDataLst>
          </p:nvPr>
        </p:nvSpPr>
        <p:spPr bwMode="gray">
          <a:xfrm>
            <a:off x="1327150" y="377825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FE44B7D-63CF-4B40-A1C6-AC9138FEBC83}" type="datetime'''''''''''''''''''2''''''''''''7'''''''''''''">
              <a:rPr lang="en-US" altLang="en-US" smtClean="0"/>
              <a:pPr/>
              <a:t>27</a:t>
            </a:fld>
            <a:r>
              <a:rPr lang="en-US" altLang="en-US">
                <a:sym typeface="+mn-lt"/>
              </a:rPr>
              <a:t>%</a:t>
            </a:r>
            <a:endParaRPr lang="en-US" dirty="0">
              <a:sym typeface="+mn-lt"/>
            </a:endParaRPr>
          </a:p>
        </p:txBody>
      </p:sp>
      <p:sp>
        <p:nvSpPr>
          <p:cNvPr id="33" name="Text Placeholder 3"/>
          <p:cNvSpPr>
            <a:spLocks noGrp="1"/>
          </p:cNvSpPr>
          <p:nvPr>
            <p:custDataLst>
              <p:tags r:id="rId25"/>
            </p:custDataLst>
          </p:nvPr>
        </p:nvSpPr>
        <p:spPr bwMode="gray">
          <a:xfrm>
            <a:off x="2141538" y="3262313"/>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FD302E9-A649-4C96-A7C7-FD2E9DBF66D1}"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30" name="Text Placeholder 3"/>
          <p:cNvSpPr>
            <a:spLocks noGrp="1"/>
          </p:cNvSpPr>
          <p:nvPr>
            <p:custDataLst>
              <p:tags r:id="rId26"/>
            </p:custDataLst>
          </p:nvPr>
        </p:nvSpPr>
        <p:spPr bwMode="gray">
          <a:xfrm>
            <a:off x="2222500" y="346392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797DD9C-0BDD-4526-BCB9-506B83EE24C2}" type="datetime'''''''''''''''''''''''''''''''''''''0'''''''">
              <a:rPr lang="en-US" altLang="en-US" smtClean="0">
                <a:solidFill>
                  <a:schemeClr val="bg1"/>
                </a:solidFill>
                <a:effectLst/>
              </a:rPr>
              <a:pPr/>
              <a:t>0</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450056" y="1725517"/>
            <a:ext cx="4022298" cy="7552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1% </a:t>
            </a:r>
            <a:r>
              <a:rPr lang="en-US" dirty="0">
                <a:solidFill>
                  <a:srgbClr val="575757"/>
                </a:solidFill>
              </a:rPr>
              <a:t>C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2% vs  Q3 '21  | </a:t>
            </a:r>
            <a:r>
              <a:rPr lang="en-US" sz="1400" dirty="0">
                <a:solidFill>
                  <a:srgbClr val="29BA74"/>
                </a:solidFill>
                <a:latin typeface="Wingdings 3" panose="05040102010807070707" pitchFamily="18" charset="2"/>
              </a:rPr>
              <a:t>p</a:t>
            </a:r>
            <a:r>
              <a:rPr lang="en-US" sz="1400" dirty="0">
                <a:solidFill>
                  <a:srgbClr val="575757"/>
                </a:solidFill>
              </a:rPr>
              <a:t>2% vs Q4 '20</a:t>
            </a:r>
          </a:p>
        </p:txBody>
      </p:sp>
      <p:sp>
        <p:nvSpPr>
          <p:cNvPr id="74" name="Rectangle 73"/>
          <p:cNvSpPr/>
          <p:nvPr/>
        </p:nvSpPr>
        <p:spPr>
          <a:xfrm>
            <a:off x="4632060" y="1725517"/>
            <a:ext cx="4022298" cy="781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6% </a:t>
            </a:r>
            <a:r>
              <a:rPr lang="en-US" dirty="0">
                <a:solidFill>
                  <a:srgbClr val="575757"/>
                </a:solidFill>
              </a:rPr>
              <a:t>BS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5% vs Q3 '21 | </a:t>
            </a:r>
            <a:r>
              <a:rPr lang="en-US" sz="1400" dirty="0">
                <a:solidFill>
                  <a:srgbClr val="29BA74"/>
                </a:solidFill>
                <a:latin typeface="Wingdings 3" panose="05040102010807070707" pitchFamily="18" charset="2"/>
              </a:rPr>
              <a:t>p</a:t>
            </a:r>
            <a:r>
              <a:rPr lang="en-US" sz="1400" dirty="0">
                <a:solidFill>
                  <a:srgbClr val="575757"/>
                </a:solidFill>
              </a:rPr>
              <a:t>5% vs Q4 '20</a:t>
            </a:r>
          </a:p>
        </p:txBody>
      </p:sp>
      <p:sp>
        <p:nvSpPr>
          <p:cNvPr id="7" name="Rectangle 6"/>
          <p:cNvSpPr/>
          <p:nvPr/>
        </p:nvSpPr>
        <p:spPr>
          <a:xfrm>
            <a:off x="1544509" y="4109448"/>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977860" y="4082226"/>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cxnSp>
        <p:nvCxnSpPr>
          <p:cNvPr id="35" name="Straight Connector 34"/>
          <p:cNvCxnSpPr/>
          <p:nvPr/>
        </p:nvCxnSpPr>
        <p:spPr>
          <a:xfrm flipH="1" flipV="1">
            <a:off x="681605" y="2509592"/>
            <a:ext cx="7707176" cy="494"/>
          </a:xfrm>
          <a:prstGeom prst="line">
            <a:avLst/>
          </a:prstGeom>
          <a:ln w="19050" cap="rnd">
            <a:solidFill>
              <a:schemeClr val="tx1">
                <a:lumMod val="60000"/>
                <a:lumOff val="40000"/>
              </a:schemeClr>
            </a:solidFill>
            <a:prstDash val="sysDot"/>
          </a:ln>
        </p:spPr>
      </p:cxnSp>
      <p:sp>
        <p:nvSpPr>
          <p:cNvPr id="57" name="Rectangle 5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44" name="Rectangle 43">
            <a:extLst>
              <a:ext uri="{FF2B5EF4-FFF2-40B4-BE49-F238E27FC236}">
                <a16:creationId xmlns:a16="http://schemas.microsoft.com/office/drawing/2014/main" id="{AC8924E4-1A2C-4808-87AE-6651A730177B}"/>
              </a:ext>
            </a:extLst>
          </p:cNvPr>
          <p:cNvSpPr/>
          <p:nvPr/>
        </p:nvSpPr>
        <p:spPr>
          <a:xfrm>
            <a:off x="1638300" y="2524373"/>
            <a:ext cx="1519238"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64" name="Rectangle 63">
            <a:extLst>
              <a:ext uri="{FF2B5EF4-FFF2-40B4-BE49-F238E27FC236}">
                <a16:creationId xmlns:a16="http://schemas.microsoft.com/office/drawing/2014/main" id="{82C92B36-BE7F-4BB8-B9A3-C499A52694B9}"/>
              </a:ext>
            </a:extLst>
          </p:cNvPr>
          <p:cNvSpPr/>
          <p:nvPr/>
        </p:nvSpPr>
        <p:spPr>
          <a:xfrm>
            <a:off x="6003174" y="2512347"/>
            <a:ext cx="1519238"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43" name="Group 42">
            <a:extLst>
              <a:ext uri="{FF2B5EF4-FFF2-40B4-BE49-F238E27FC236}">
                <a16:creationId xmlns:a16="http://schemas.microsoft.com/office/drawing/2014/main" id="{D0078F23-4901-4F54-964E-6965C262281D}"/>
              </a:ext>
            </a:extLst>
          </p:cNvPr>
          <p:cNvGrpSpPr>
            <a:grpSpLocks noChangeAspect="1"/>
          </p:cNvGrpSpPr>
          <p:nvPr/>
        </p:nvGrpSpPr>
        <p:grpSpPr>
          <a:xfrm>
            <a:off x="537447" y="879793"/>
            <a:ext cx="457200" cy="457200"/>
            <a:chOff x="5867400" y="3200400"/>
            <a:chExt cx="457200" cy="457200"/>
          </a:xfrm>
        </p:grpSpPr>
        <p:sp>
          <p:nvSpPr>
            <p:cNvPr id="48" name="AutoShape 43">
              <a:extLst>
                <a:ext uri="{FF2B5EF4-FFF2-40B4-BE49-F238E27FC236}">
                  <a16:creationId xmlns:a16="http://schemas.microsoft.com/office/drawing/2014/main" id="{0CE8DE4A-F8AB-4F0A-AFE8-958B4985FB4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7">
              <a:extLst>
                <a:ext uri="{FF2B5EF4-FFF2-40B4-BE49-F238E27FC236}">
                  <a16:creationId xmlns:a16="http://schemas.microsoft.com/office/drawing/2014/main" id="{DAECA820-C482-41FC-9E8A-6610BAE676E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1751674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400" name="think-cell Slide" r:id="rId16" imgW="327" imgH="327" progId="TCLayout.ActiveDocument.1">
                  <p:embed/>
                </p:oleObj>
              </mc:Choice>
              <mc:Fallback>
                <p:oleObj name="think-cell Slide" r:id="rId16" imgW="327" imgH="327"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95" name="Picture 94">
            <a:extLst>
              <a:ext uri="{FF2B5EF4-FFF2-40B4-BE49-F238E27FC236}">
                <a16:creationId xmlns:a16="http://schemas.microsoft.com/office/drawing/2014/main" id="{C6495DBE-877C-4DC3-9AEF-E42B4679BEBA}"/>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7805608" y="0"/>
            <a:ext cx="4399472" cy="6858000"/>
          </a:xfrm>
          <a:prstGeom prst="rect">
            <a:avLst/>
          </a:prstGeom>
        </p:spPr>
      </p:pic>
      <p:sp>
        <p:nvSpPr>
          <p:cNvPr id="33" name="Rectangle 32">
            <a:extLst>
              <a:ext uri="{FF2B5EF4-FFF2-40B4-BE49-F238E27FC236}">
                <a16:creationId xmlns:a16="http://schemas.microsoft.com/office/drawing/2014/main" id="{B9C49ADE-C130-4408-9EF7-CD07A84DBDB6}"/>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INFORMATION SECURITY</a:t>
            </a:r>
          </a:p>
        </p:txBody>
      </p:sp>
      <p:sp>
        <p:nvSpPr>
          <p:cNvPr id="34" name="Oval 33">
            <a:extLst>
              <a:ext uri="{FF2B5EF4-FFF2-40B4-BE49-F238E27FC236}">
                <a16:creationId xmlns:a16="http://schemas.microsoft.com/office/drawing/2014/main" id="{43C2FE25-D765-46AF-9C43-ACE73B9DB9DE}"/>
              </a:ext>
            </a:extLst>
          </p:cNvPr>
          <p:cNvSpPr>
            <a:spLocks noChangeAspect="1"/>
          </p:cNvSpPr>
          <p:nvPr/>
        </p:nvSpPr>
        <p:spPr>
          <a:xfrm>
            <a:off x="8539033" y="1995488"/>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46</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4" name="Rectangular Callout 43"/>
          <p:cNvSpPr/>
          <p:nvPr/>
        </p:nvSpPr>
        <p:spPr>
          <a:xfrm>
            <a:off x="5317964" y="4081393"/>
            <a:ext cx="2318114" cy="1132391"/>
          </a:xfrm>
          <a:prstGeom prst="wedgeRectCallout">
            <a:avLst>
              <a:gd name="adj1" fmla="val 14687"/>
              <a:gd name="adj2" fmla="val 6441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ve found it very difficult to find what I need. (e.g., when I had a client IT survey to fill out, it took a week just to find the right department).</a:t>
            </a:r>
            <a:r>
              <a:rPr lang="en-GB" sz="1200" dirty="0">
                <a:cs typeface="Arial" pitchFamily="34" charset="0"/>
              </a:rPr>
              <a:t>”</a:t>
            </a:r>
          </a:p>
          <a:p>
            <a:pPr algn="r"/>
            <a:r>
              <a:rPr lang="en-GB" sz="1000" i="1" dirty="0">
                <a:cs typeface="Arial" pitchFamily="34" charset="0"/>
              </a:rPr>
              <a:t>Partner</a:t>
            </a:r>
          </a:p>
        </p:txBody>
      </p:sp>
      <p:sp>
        <p:nvSpPr>
          <p:cNvPr id="53" name="Rectangular Callout 52"/>
          <p:cNvSpPr/>
          <p:nvPr/>
        </p:nvSpPr>
        <p:spPr>
          <a:xfrm>
            <a:off x="202699" y="4081394"/>
            <a:ext cx="3805739" cy="1132390"/>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Overly protect without considering basic business need, </a:t>
            </a:r>
            <a:r>
              <a:rPr lang="en-US" sz="1200" dirty="0" err="1">
                <a:cs typeface="Arial" pitchFamily="34" charset="0"/>
              </a:rPr>
              <a:t>ie</a:t>
            </a:r>
            <a:r>
              <a:rPr lang="en-US" sz="1200" dirty="0">
                <a:cs typeface="Arial" pitchFamily="34" charset="0"/>
              </a:rPr>
              <a:t>: sending work to interns - always trigger email alert from central teams. Either BCG grant all interns with BCG emails, if not, I can't be sending these email approvals to </a:t>
            </a:r>
            <a:r>
              <a:rPr lang="en-US" sz="1200" dirty="0" err="1">
                <a:cs typeface="Arial" pitchFamily="34" charset="0"/>
              </a:rPr>
              <a:t>MDPs</a:t>
            </a:r>
            <a:r>
              <a:rPr lang="en-US" sz="1200" dirty="0">
                <a:cs typeface="Arial" pitchFamily="34" charset="0"/>
              </a:rPr>
              <a:t> every single day.</a:t>
            </a:r>
            <a:r>
              <a:rPr lang="en-GB" sz="1200" dirty="0">
                <a:cs typeface="Arial" pitchFamily="34" charset="0"/>
              </a:rPr>
              <a:t>”</a:t>
            </a:r>
          </a:p>
          <a:p>
            <a:pPr algn="r"/>
            <a:r>
              <a:rPr lang="en-GB" sz="1000" i="1" dirty="0">
                <a:cs typeface="Arial" pitchFamily="34" charset="0"/>
              </a:rPr>
              <a:t>Consultant</a:t>
            </a:r>
          </a:p>
        </p:txBody>
      </p:sp>
      <p:sp>
        <p:nvSpPr>
          <p:cNvPr id="54" name="Rectangular Callout 53"/>
          <p:cNvSpPr/>
          <p:nvPr/>
        </p:nvSpPr>
        <p:spPr>
          <a:xfrm>
            <a:off x="4137026" y="4081393"/>
            <a:ext cx="1064333" cy="1132390"/>
          </a:xfrm>
          <a:prstGeom prst="wedgeRectCallout">
            <a:avLst>
              <a:gd name="adj1" fmla="val -13762"/>
              <a:gd name="adj2" fmla="val 6999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oo aggressive security.</a:t>
            </a:r>
            <a:r>
              <a:rPr lang="en-GB" sz="1200" dirty="0">
                <a:cs typeface="Arial" pitchFamily="34" charset="0"/>
              </a:rPr>
              <a:t>”</a:t>
            </a:r>
          </a:p>
          <a:p>
            <a:endParaRPr lang="en-US" sz="1200" dirty="0">
              <a:cs typeface="Arial" pitchFamily="34" charset="0"/>
            </a:endParaRPr>
          </a:p>
          <a:p>
            <a:pPr algn="r"/>
            <a:r>
              <a:rPr lang="en-GB" sz="1000" i="1" dirty="0">
                <a:cs typeface="Arial" pitchFamily="34" charset="0"/>
              </a:rPr>
              <a:t>Associate</a:t>
            </a:r>
          </a:p>
        </p:txBody>
      </p:sp>
      <p:sp>
        <p:nvSpPr>
          <p:cNvPr id="41" name="Rectangular Callout 40"/>
          <p:cNvSpPr/>
          <p:nvPr/>
        </p:nvSpPr>
        <p:spPr>
          <a:xfrm>
            <a:off x="202695" y="5466592"/>
            <a:ext cx="2328069" cy="1052513"/>
          </a:xfrm>
          <a:prstGeom prst="wedgeRectCallout">
            <a:avLst>
              <a:gd name="adj1" fmla="val -170"/>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nfoSec resources are stored in multiple places (IT Connect and Navigator). It can be difficult to find the exact resources you need.</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BST</a:t>
            </a:r>
          </a:p>
        </p:txBody>
      </p:sp>
      <p:sp>
        <p:nvSpPr>
          <p:cNvPr id="28" name="Rectangle 27">
            <a:extLst>
              <a:ext uri="{FF2B5EF4-FFF2-40B4-BE49-F238E27FC236}">
                <a16:creationId xmlns:a16="http://schemas.microsoft.com/office/drawing/2014/main" id="{AE8BA0A3-A22B-4066-9085-3FC79F11C9A0}"/>
              </a:ext>
            </a:extLst>
          </p:cNvPr>
          <p:cNvSpPr/>
          <p:nvPr/>
        </p:nvSpPr>
        <p:spPr>
          <a:xfrm>
            <a:off x="164926" y="3598793"/>
            <a:ext cx="5405286"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39623" y="286880"/>
            <a:ext cx="7523315" cy="151414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With relatively few comments in this section, whilst some employees understand &amp; appreciate the need for information security, many find it restrictive with required processes impacting work productivity. Whilst E-SAT shows overall improvements, employees still say information security resources are scattered across multiple sites such as IT Connect or Knowledge Navigator, making it difficult to easily &amp; quickly locate what is needed. </a:t>
            </a:r>
          </a:p>
        </p:txBody>
      </p:sp>
      <p:graphicFrame>
        <p:nvGraphicFramePr>
          <p:cNvPr id="46" name="Chart 45">
            <a:extLst>
              <a:ext uri="{FF2B5EF4-FFF2-40B4-BE49-F238E27FC236}">
                <a16:creationId xmlns:a16="http://schemas.microsoft.com/office/drawing/2014/main" id="{2E822512-2D1C-4C03-A383-655362B27746}"/>
              </a:ext>
            </a:extLst>
          </p:cNvPr>
          <p:cNvGraphicFramePr/>
          <p:nvPr>
            <p:custDataLst>
              <p:tags r:id="rId4"/>
            </p:custDataLst>
          </p:nvPr>
        </p:nvGraphicFramePr>
        <p:xfrm>
          <a:off x="1885950" y="2108200"/>
          <a:ext cx="5745163" cy="1279525"/>
        </p:xfrm>
        <a:graphic>
          <a:graphicData uri="http://schemas.openxmlformats.org/drawingml/2006/chart">
            <c:chart xmlns:c="http://schemas.openxmlformats.org/drawingml/2006/chart" xmlns:r="http://schemas.openxmlformats.org/officeDocument/2006/relationships" r:id="rId19"/>
          </a:graphicData>
        </a:graphic>
      </p:graphicFrame>
      <p:sp>
        <p:nvSpPr>
          <p:cNvPr id="65" name="Text Placeholder 3">
            <a:extLst>
              <a:ext uri="{FF2B5EF4-FFF2-40B4-BE49-F238E27FC236}">
                <a16:creationId xmlns:a16="http://schemas.microsoft.com/office/drawing/2014/main" id="{7528C60D-CF1D-4E96-B52D-45595B5C8B66}"/>
              </a:ext>
            </a:extLst>
          </p:cNvPr>
          <p:cNvSpPr>
            <a:spLocks noGrp="1"/>
          </p:cNvSpPr>
          <p:nvPr>
            <p:custDataLst>
              <p:tags r:id="rId5"/>
            </p:custDataLst>
          </p:nvPr>
        </p:nvSpPr>
        <p:spPr bwMode="gray">
          <a:xfrm>
            <a:off x="201613" y="2824163"/>
            <a:ext cx="1541463"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36B57AB-FB87-4DED-9010-D1A99C0CACB5}" type="datetime'I''''nfor''m''ation ''S''''''''ecurity'' - &#10;R''esour''''ces'''">
              <a:rPr lang="en-US" altLang="en-US" smtClean="0">
                <a:solidFill>
                  <a:schemeClr val="bg1"/>
                </a:solidFill>
              </a:rPr>
              <a:pPr/>
              <a:t>Information Security - 
Resources</a:t>
            </a:fld>
            <a:endParaRPr lang="en-US" altLang="en-US" dirty="0">
              <a:solidFill>
                <a:schemeClr val="bg1"/>
              </a:solidFill>
            </a:endParaRPr>
          </a:p>
        </p:txBody>
      </p:sp>
      <p:sp>
        <p:nvSpPr>
          <p:cNvPr id="69" name="Text Placeholder 3">
            <a:extLst>
              <a:ext uri="{FF2B5EF4-FFF2-40B4-BE49-F238E27FC236}">
                <a16:creationId xmlns:a16="http://schemas.microsoft.com/office/drawing/2014/main" id="{48B0825E-FAC0-4786-955F-9115F2A23358}"/>
              </a:ext>
            </a:extLst>
          </p:cNvPr>
          <p:cNvSpPr>
            <a:spLocks noGrp="1"/>
          </p:cNvSpPr>
          <p:nvPr>
            <p:custDataLst>
              <p:tags r:id="rId6"/>
            </p:custDataLst>
          </p:nvPr>
        </p:nvSpPr>
        <p:spPr bwMode="gray">
          <a:xfrm>
            <a:off x="201613" y="2266950"/>
            <a:ext cx="1541463"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625F05D-F8A5-436E-92B3-D19903AA3017}" type="datetime'In''for''''mati''o''n Se''''c''u''''''r''ity - &#10;G''en''era''l'">
              <a:rPr lang="en-US" altLang="en-US" smtClean="0">
                <a:solidFill>
                  <a:schemeClr val="bg1"/>
                </a:solidFill>
              </a:rPr>
              <a:pPr/>
              <a:t>Information Security - 
General</a:t>
            </a:fld>
            <a:endParaRPr lang="en-US" altLang="en-US" dirty="0">
              <a:solidFill>
                <a:schemeClr val="bg1"/>
              </a:solidFill>
            </a:endParaRPr>
          </a:p>
        </p:txBody>
      </p:sp>
      <p:sp>
        <p:nvSpPr>
          <p:cNvPr id="42" name="Text Placeholder 3">
            <a:extLst>
              <a:ext uri="{FF2B5EF4-FFF2-40B4-BE49-F238E27FC236}">
                <a16:creationId xmlns:a16="http://schemas.microsoft.com/office/drawing/2014/main" id="{5B0AD8D8-0C15-4F56-8D3C-B0DA37C1D0DE}"/>
              </a:ext>
            </a:extLst>
          </p:cNvPr>
          <p:cNvSpPr>
            <a:spLocks noGrp="1"/>
          </p:cNvSpPr>
          <p:nvPr>
            <p:custDataLst>
              <p:tags r:id="rId7"/>
            </p:custDataLst>
          </p:nvPr>
        </p:nvSpPr>
        <p:spPr bwMode="gray">
          <a:xfrm>
            <a:off x="1863725" y="2925764"/>
            <a:ext cx="209550" cy="201613"/>
          </a:xfrm>
          <a:prstGeom prst="rect">
            <a:avLst/>
          </a:prstGeom>
          <a:solidFill>
            <a:srgbClr val="A1E26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8825B1C-5C68-49A2-BBAA-00EBCA6A76A4}" type="datetime'''''''''''''''0''''''''''''''''''''''''''%'''''''''''''''''''">
              <a:rPr lang="en-US" altLang="en-US" smtClean="0">
                <a:effectLst/>
                <a:sym typeface="+mn-lt"/>
              </a:rPr>
              <a:pPr algn="ctr">
                <a:spcBef>
                  <a:spcPct val="0"/>
                </a:spcBef>
                <a:spcAft>
                  <a:spcPct val="0"/>
                </a:spcAft>
              </a:pPr>
              <a:t>0%</a:t>
            </a:fld>
            <a:endParaRPr lang="en-US" dirty="0">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8"/>
            </p:custDataLst>
          </p:nvPr>
        </p:nvSpPr>
        <p:spPr bwMode="gray">
          <a:xfrm>
            <a:off x="2028825" y="33845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9"/>
            </p:custDataLst>
          </p:nvPr>
        </p:nvSpPr>
        <p:spPr bwMode="gray">
          <a:xfrm>
            <a:off x="2922588" y="3384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10"/>
            </p:custDataLst>
          </p:nvPr>
        </p:nvSpPr>
        <p:spPr bwMode="gray">
          <a:xfrm>
            <a:off x="3794125" y="3384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1"/>
            </p:custDataLst>
          </p:nvPr>
        </p:nvSpPr>
        <p:spPr bwMode="gray">
          <a:xfrm>
            <a:off x="2293938" y="3365500"/>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2"/>
            </p:custDataLst>
          </p:nvPr>
        </p:nvSpPr>
        <p:spPr bwMode="gray">
          <a:xfrm>
            <a:off x="3187700" y="33655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3"/>
            </p:custDataLst>
          </p:nvPr>
        </p:nvSpPr>
        <p:spPr bwMode="gray">
          <a:xfrm>
            <a:off x="4059238" y="3365500"/>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968570" y="205143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27" name="Rectangular Callout 53">
            <a:extLst>
              <a:ext uri="{FF2B5EF4-FFF2-40B4-BE49-F238E27FC236}">
                <a16:creationId xmlns:a16="http://schemas.microsoft.com/office/drawing/2014/main" id="{5B3F0AC2-C7ED-4AF9-83F5-36641BF8D091}"/>
              </a:ext>
            </a:extLst>
          </p:cNvPr>
          <p:cNvSpPr/>
          <p:nvPr/>
        </p:nvSpPr>
        <p:spPr>
          <a:xfrm>
            <a:off x="5775062" y="5479223"/>
            <a:ext cx="1901958" cy="1039881"/>
          </a:xfrm>
          <a:prstGeom prst="wedgeRectCallout">
            <a:avLst>
              <a:gd name="adj1" fmla="val -18925"/>
              <a:gd name="adj2" fmla="val -6515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 password policy (every 6 months, only 1 hour for mobile) is still annoying and useless.</a:t>
            </a:r>
            <a:r>
              <a:rPr lang="en-GB" sz="1200" dirty="0">
                <a:cs typeface="Arial" pitchFamily="34" charset="0"/>
              </a:rPr>
              <a:t>”</a:t>
            </a:r>
          </a:p>
          <a:p>
            <a:endParaRPr lang="en-US" sz="1200" dirty="0">
              <a:cs typeface="Arial" pitchFamily="34" charset="0"/>
            </a:endParaRPr>
          </a:p>
          <a:p>
            <a:pPr algn="r"/>
            <a:r>
              <a:rPr lang="en-GB" sz="1000" i="1" dirty="0">
                <a:cs typeface="Arial" pitchFamily="34" charset="0"/>
              </a:rPr>
              <a:t>Senior ECT</a:t>
            </a:r>
          </a:p>
        </p:txBody>
      </p:sp>
      <p:sp>
        <p:nvSpPr>
          <p:cNvPr id="26" name="Rectangular Callout 53">
            <a:extLst>
              <a:ext uri="{FF2B5EF4-FFF2-40B4-BE49-F238E27FC236}">
                <a16:creationId xmlns:a16="http://schemas.microsoft.com/office/drawing/2014/main" id="{4345545F-1447-49D8-BF79-561E31B662A3}"/>
              </a:ext>
            </a:extLst>
          </p:cNvPr>
          <p:cNvSpPr/>
          <p:nvPr/>
        </p:nvSpPr>
        <p:spPr>
          <a:xfrm>
            <a:off x="4061657" y="5466590"/>
            <a:ext cx="1621761" cy="1052513"/>
          </a:xfrm>
          <a:prstGeom prst="wedgeRectCallout">
            <a:avLst>
              <a:gd name="adj1" fmla="val 11386"/>
              <a:gd name="adj2" fmla="val -6515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Very secured but with significant trade-off with performance. This must be addressed!</a:t>
            </a:r>
            <a:r>
              <a:rPr lang="en-GB" sz="1200" dirty="0">
                <a:cs typeface="Arial" pitchFamily="34" charset="0"/>
              </a:rPr>
              <a:t>”</a:t>
            </a:r>
            <a:endParaRPr lang="en-US" sz="1200" dirty="0">
              <a:cs typeface="Arial" pitchFamily="34" charset="0"/>
            </a:endParaRPr>
          </a:p>
          <a:p>
            <a:pPr algn="r"/>
            <a:r>
              <a:rPr lang="en-GB" sz="1000" i="1" dirty="0">
                <a:cs typeface="Arial" pitchFamily="34" charset="0"/>
              </a:rPr>
              <a:t>Principal</a:t>
            </a:r>
          </a:p>
        </p:txBody>
      </p:sp>
      <p:sp>
        <p:nvSpPr>
          <p:cNvPr id="29" name="Rectangular Callout 53">
            <a:extLst>
              <a:ext uri="{FF2B5EF4-FFF2-40B4-BE49-F238E27FC236}">
                <a16:creationId xmlns:a16="http://schemas.microsoft.com/office/drawing/2014/main" id="{E9AED036-1D5A-492B-8275-B22FFC986914}"/>
              </a:ext>
            </a:extLst>
          </p:cNvPr>
          <p:cNvSpPr/>
          <p:nvPr/>
        </p:nvSpPr>
        <p:spPr>
          <a:xfrm>
            <a:off x="2617790" y="5479223"/>
            <a:ext cx="1352223" cy="1039880"/>
          </a:xfrm>
          <a:prstGeom prst="wedgeRectCallout">
            <a:avLst>
              <a:gd name="adj1" fmla="val 32170"/>
              <a:gd name="adj2" fmla="val -6669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nfoSec awareness communications are great.</a:t>
            </a:r>
            <a:r>
              <a:rPr lang="en-GB" sz="1200" dirty="0">
                <a:cs typeface="Arial" pitchFamily="34" charset="0"/>
              </a:rPr>
              <a:t>”</a:t>
            </a:r>
            <a:endParaRPr lang="en-US" sz="1200" dirty="0">
              <a:cs typeface="Arial" pitchFamily="34" charset="0"/>
            </a:endParaRPr>
          </a:p>
          <a:p>
            <a:pPr algn="r"/>
            <a:r>
              <a:rPr lang="en-GB" sz="1000" i="1" dirty="0">
                <a:cs typeface="Arial" pitchFamily="34" charset="0"/>
              </a:rPr>
              <a:t>BST</a:t>
            </a:r>
          </a:p>
        </p:txBody>
      </p:sp>
    </p:spTree>
    <p:extLst>
      <p:ext uri="{BB962C8B-B14F-4D97-AF65-F5344CB8AC3E}">
        <p14:creationId xmlns:p14="http://schemas.microsoft.com/office/powerpoint/2010/main" val="658765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7142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15"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Oval 5"/>
          <p:cNvSpPr>
            <a:spLocks noChangeAspect="1"/>
          </p:cNvSpPr>
          <p:nvPr/>
        </p:nvSpPr>
        <p:spPr>
          <a:xfrm>
            <a:off x="1516968" y="1245478"/>
            <a:ext cx="2877088" cy="2877088"/>
          </a:xfrm>
          <a:prstGeom prst="ellipse">
            <a:avLst/>
          </a:prstGeom>
          <a:solidFill>
            <a:srgbClr val="FFFFFF"/>
          </a:solidFill>
          <a:ln w="76200">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a:solidFill>
                  <a:schemeClr val="bg1">
                    <a:lumMod val="50000"/>
                  </a:schemeClr>
                </a:solidFill>
              </a:rPr>
              <a:t> </a:t>
            </a:r>
            <a:r>
              <a:rPr lang="en-US" sz="4800" b="1" kern="0" dirty="0">
                <a:solidFill>
                  <a:srgbClr val="295E7E"/>
                </a:solidFill>
              </a:rPr>
              <a:t>1,327</a:t>
            </a:r>
          </a:p>
          <a:p>
            <a:pPr algn="ctr">
              <a:lnSpc>
                <a:spcPct val="95000"/>
              </a:lnSpc>
            </a:pPr>
            <a:endParaRPr lang="en-US" kern="0" dirty="0">
              <a:solidFill>
                <a:schemeClr val="bg1">
                  <a:lumMod val="50000"/>
                </a:schemeClr>
              </a:solidFill>
            </a:endParaRPr>
          </a:p>
          <a:p>
            <a:pPr algn="ctr">
              <a:lnSpc>
                <a:spcPct val="95000"/>
              </a:lnSpc>
            </a:pPr>
            <a:r>
              <a:rPr lang="en-US" sz="2000" kern="0" dirty="0">
                <a:solidFill>
                  <a:srgbClr val="575757"/>
                </a:solidFill>
              </a:rPr>
              <a:t>Respondents</a:t>
            </a:r>
          </a:p>
          <a:p>
            <a:pPr algn="ctr">
              <a:lnSpc>
                <a:spcPct val="95000"/>
              </a:lnSpc>
            </a:pPr>
            <a:r>
              <a:rPr lang="en-US" sz="2000" kern="0" dirty="0">
                <a:solidFill>
                  <a:srgbClr val="575757"/>
                </a:solidFill>
              </a:rPr>
              <a:t>(of 5,272)</a:t>
            </a:r>
          </a:p>
        </p:txBody>
      </p:sp>
      <p:sp>
        <p:nvSpPr>
          <p:cNvPr id="5" name="Rectangle 4"/>
          <p:cNvSpPr/>
          <p:nvPr/>
        </p:nvSpPr>
        <p:spPr>
          <a:xfrm>
            <a:off x="1029929" y="175491"/>
            <a:ext cx="4333875" cy="6858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3400" dirty="0">
                <a:solidFill>
                  <a:srgbClr val="FFFFFF"/>
                </a:solidFill>
              </a:rPr>
              <a:t>Q4 Response Rates</a:t>
            </a:r>
          </a:p>
        </p:txBody>
      </p:sp>
      <p:pic>
        <p:nvPicPr>
          <p:cNvPr id="7" name="Picture Placeholder 6"/>
          <p:cNvPicPr>
            <a:picLocks noGrp="1" noChangeAspect="1"/>
          </p:cNvPicPr>
          <p:nvPr>
            <p:ph type="pic" sz="quarter" idx="14"/>
          </p:nvPr>
        </p:nvPicPr>
        <p:blipFill>
          <a:blip r:embed="rId7" cstate="screen">
            <a:extLst>
              <a:ext uri="{28A0092B-C50C-407E-A947-70E740481C1C}">
                <a14:useLocalDpi xmlns:a14="http://schemas.microsoft.com/office/drawing/2010/main"/>
              </a:ext>
            </a:extLst>
          </a:blip>
          <a:srcRect/>
          <a:stretch>
            <a:fillRect/>
          </a:stretch>
        </p:blipFill>
        <p:spPr/>
      </p:pic>
      <p:sp>
        <p:nvSpPr>
          <p:cNvPr id="8" name="Oval 7"/>
          <p:cNvSpPr>
            <a:spLocks noChangeAspect="1"/>
          </p:cNvSpPr>
          <p:nvPr/>
        </p:nvSpPr>
        <p:spPr>
          <a:xfrm>
            <a:off x="1791308" y="3906388"/>
            <a:ext cx="2328408" cy="2305945"/>
          </a:xfrm>
          <a:prstGeom prst="ellipse">
            <a:avLst/>
          </a:prstGeom>
          <a:solidFill>
            <a:srgbClr val="FFFFFF"/>
          </a:solidFill>
          <a:ln w="57150">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5000"/>
              </a:lnSpc>
            </a:pPr>
            <a:r>
              <a:rPr lang="en-US" sz="4800" kern="0" dirty="0">
                <a:solidFill>
                  <a:srgbClr val="295E7E"/>
                </a:solidFill>
              </a:rPr>
              <a:t>25%</a:t>
            </a:r>
            <a:br>
              <a:rPr lang="en-US" sz="1620" kern="0" dirty="0">
                <a:solidFill>
                  <a:schemeClr val="bg1">
                    <a:lumMod val="50000"/>
                  </a:schemeClr>
                </a:solidFill>
              </a:rPr>
            </a:br>
            <a:endParaRPr lang="en-US" sz="1620" kern="0" dirty="0">
              <a:solidFill>
                <a:schemeClr val="bg1">
                  <a:lumMod val="50000"/>
                </a:schemeClr>
              </a:solidFill>
            </a:endParaRPr>
          </a:p>
          <a:p>
            <a:pPr algn="ctr">
              <a:lnSpc>
                <a:spcPct val="95000"/>
              </a:lnSpc>
            </a:pPr>
            <a:r>
              <a:rPr lang="en-US" sz="2000" kern="0" dirty="0">
                <a:solidFill>
                  <a:srgbClr val="575757"/>
                </a:solidFill>
              </a:rPr>
              <a:t>Response Rate (</a:t>
            </a:r>
            <a:r>
              <a:rPr lang="en-US" sz="2000" b="1" kern="0" dirty="0">
                <a:solidFill>
                  <a:srgbClr val="29BA74"/>
                </a:solidFill>
              </a:rPr>
              <a:t>+1% </a:t>
            </a:r>
            <a:r>
              <a:rPr lang="en-US" sz="2000" kern="0" dirty="0">
                <a:solidFill>
                  <a:srgbClr val="575757"/>
                </a:solidFill>
              </a:rPr>
              <a:t>target)</a:t>
            </a:r>
          </a:p>
        </p:txBody>
      </p:sp>
    </p:spTree>
    <p:extLst>
      <p:ext uri="{BB962C8B-B14F-4D97-AF65-F5344CB8AC3E}">
        <p14:creationId xmlns:p14="http://schemas.microsoft.com/office/powerpoint/2010/main" val="2555183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934" name="think-cell Slide" r:id="rId6" imgW="473" imgH="473" progId="TCLayout.ActiveDocument.1">
                  <p:embed/>
                </p:oleObj>
              </mc:Choice>
              <mc:Fallback>
                <p:oleObj name="think-cell Slide" r:id="rId6"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descr="A person holding a book&#10;&#10;Description automatically generated with medium confidence">
            <a:extLst>
              <a:ext uri="{FF2B5EF4-FFF2-40B4-BE49-F238E27FC236}">
                <a16:creationId xmlns:a16="http://schemas.microsoft.com/office/drawing/2014/main" id="{FBE31286-5EED-45B5-8C9D-644DCA482CD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144"/>
          <a:stretch/>
        </p:blipFill>
        <p:spPr>
          <a:xfrm>
            <a:off x="1" y="-42868"/>
            <a:ext cx="12191999" cy="3835831"/>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LAB</a:t>
            </a:r>
          </a:p>
          <a:p>
            <a:pPr>
              <a:defRPr/>
            </a:pPr>
            <a:r>
              <a:rPr lang="en-US" sz="1400" dirty="0">
                <a:solidFill>
                  <a:srgbClr val="575757"/>
                </a:solidFill>
                <a:latin typeface="+mn-ea"/>
                <a:cs typeface="Arial" pitchFamily="34" charset="0"/>
                <a:sym typeface="Trebuchet MS" panose="020B0603020202020204" pitchFamily="34" charset="0"/>
              </a:rPr>
              <a:t>Digital Learning Experience Overall</a:t>
            </a:r>
            <a:r>
              <a:rPr lang="en-US" sz="1400" baseline="30000" dirty="0">
                <a:solidFill>
                  <a:srgbClr val="575757"/>
                </a:solidFill>
                <a:latin typeface="+mn-ea"/>
                <a:cs typeface="Arial" pitchFamily="34" charset="0"/>
                <a:sym typeface="Trebuchet MS" panose="020B0603020202020204" pitchFamily="34" charset="0"/>
              </a:rPr>
              <a:t>1</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72469"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Learner Experience</a:t>
            </a:r>
            <a:endParaRPr lang="en-US" sz="1400" dirty="0">
              <a:solidFill>
                <a:srgbClr val="575757"/>
              </a:solidFill>
              <a:latin typeface="+mn-ea"/>
              <a:cs typeface="Arial" pitchFamily="34" charset="0"/>
              <a:sym typeface="Trebuchet MS" panose="020B0603020202020204" pitchFamily="34" charset="0"/>
            </a:endParaRPr>
          </a:p>
        </p:txBody>
      </p:sp>
      <p:sp>
        <p:nvSpPr>
          <p:cNvPr id="16" name="Rectangle 15">
            <a:extLst>
              <a:ext uri="{FF2B5EF4-FFF2-40B4-BE49-F238E27FC236}">
                <a16:creationId xmlns:a16="http://schemas.microsoft.com/office/drawing/2014/main" id="{21F673E0-8148-4399-8A5B-227E2B01DF29}"/>
              </a:ext>
            </a:extLst>
          </p:cNvPr>
          <p:cNvSpPr/>
          <p:nvPr/>
        </p:nvSpPr>
        <p:spPr>
          <a:xfrm>
            <a:off x="-2760" y="-42868"/>
            <a:ext cx="12192000" cy="372312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altLang="ko-KR" sz="4400" dirty="0">
                <a:solidFill>
                  <a:srgbClr val="FFFFFF"/>
                </a:solidFill>
              </a:rPr>
              <a:t>HR</a:t>
            </a:r>
            <a:endParaRPr lang="en-US" sz="4400" dirty="0">
              <a:solidFill>
                <a:srgbClr val="FFFFFF"/>
              </a:solidFill>
            </a:endParaRPr>
          </a:p>
        </p:txBody>
      </p:sp>
      <p:sp>
        <p:nvSpPr>
          <p:cNvPr id="18" name="TextBox 17">
            <a:extLst>
              <a:ext uri="{FF2B5EF4-FFF2-40B4-BE49-F238E27FC236}">
                <a16:creationId xmlns:a16="http://schemas.microsoft.com/office/drawing/2014/main" id="{FF98BC97-0A91-428C-9A9A-757BA19787EA}"/>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3803046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9088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967"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4121" y="0"/>
            <a:ext cx="2880897"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Employees are 65% satisfied with digital learning overall, decreasing -5% Q4 year-over-year</a:t>
            </a:r>
          </a:p>
          <a:p>
            <a:endParaRPr lang="en-GB" dirty="0">
              <a:solidFill>
                <a:srgbClr val="FFFFFF"/>
              </a:solidFill>
              <a:cs typeface="Arial" pitchFamily="34" charset="0"/>
            </a:endParaRPr>
          </a:p>
          <a:p>
            <a:r>
              <a:rPr lang="en-GB" dirty="0">
                <a:solidFill>
                  <a:srgbClr val="FFFFFF"/>
                </a:solidFill>
                <a:cs typeface="Arial" pitchFamily="34" charset="0"/>
              </a:rPr>
              <a:t>The 2021 annual average is also 65%, which is -1% lower than 2020</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Learning Satisfaction – Overall</a:t>
            </a:r>
          </a:p>
        </p:txBody>
      </p:sp>
      <p:graphicFrame>
        <p:nvGraphicFramePr>
          <p:cNvPr id="48" name="Chart 47">
            <a:extLst>
              <a:ext uri="{FF2B5EF4-FFF2-40B4-BE49-F238E27FC236}">
                <a16:creationId xmlns:a16="http://schemas.microsoft.com/office/drawing/2014/main" id="{35FB0A0C-B36F-4DD7-835F-C931105E679F}"/>
              </a:ext>
            </a:extLst>
          </p:cNvPr>
          <p:cNvGraphicFramePr/>
          <p:nvPr>
            <p:custDataLst>
              <p:tags r:id="rId5"/>
            </p:custDataLst>
            <p:extLst>
              <p:ext uri="{D42A27DB-BD31-4B8C-83A1-F6EECF244321}">
                <p14:modId xmlns:p14="http://schemas.microsoft.com/office/powerpoint/2010/main" val="1170548964"/>
              </p:ext>
            </p:extLst>
          </p:nvPr>
        </p:nvGraphicFramePr>
        <p:xfrm>
          <a:off x="2744788" y="2503488"/>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73" name="Text Placeholder 3"/>
          <p:cNvSpPr>
            <a:spLocks noGrp="1"/>
          </p:cNvSpPr>
          <p:nvPr>
            <p:custDataLst>
              <p:tags r:id="rId6"/>
            </p:custDataLst>
          </p:nvPr>
        </p:nvSpPr>
        <p:spPr bwMode="gray">
          <a:xfrm>
            <a:off x="4973638" y="281146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6536963-693C-4D84-BF1F-DDF42D11B1AA}" type="datetime'''''1''''''''''''''''''5'''''''''''''''''''''''''''''''''">
              <a:rPr lang="en-US" altLang="en-US" smtClean="0">
                <a:solidFill>
                  <a:schemeClr val="bg1"/>
                </a:solidFill>
              </a:rPr>
              <a:pPr/>
              <a:t>15</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7"/>
            </p:custDataLst>
          </p:nvPr>
        </p:nvSpPr>
        <p:spPr bwMode="gray">
          <a:xfrm>
            <a:off x="4319588" y="282733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1C2B0A8-B423-4F99-B30C-09D146911D66}"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8"/>
            </p:custDataLst>
          </p:nvPr>
        </p:nvSpPr>
        <p:spPr bwMode="gray">
          <a:xfrm>
            <a:off x="5140325" y="5284788"/>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D35A0C0-0EE2-402F-9B19-9B5CDA581E96}" type="datetime'''''''''''''''''''''''''''''''''''''''''''''''''''''50'''''''">
              <a:rPr lang="en-US" altLang="en-US" smtClean="0">
                <a:solidFill>
                  <a:schemeClr val="bg1"/>
                </a:solidFill>
              </a:rPr>
              <a:pPr/>
              <a:t>50</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9"/>
            </p:custDataLst>
          </p:nvPr>
        </p:nvSpPr>
        <p:spPr bwMode="gray">
          <a:xfrm>
            <a:off x="2936875" y="360521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83D8F6B-527B-4222-AA58-B8BDE5FDFC76}" type="datetime'''''''''''''''''''''''''''''''''''''3''1'''''''''''''''''''''">
              <a:rPr lang="en-US" altLang="en-US" smtClean="0"/>
              <a:pPr/>
              <a:t>31</a:t>
            </a:fld>
            <a:r>
              <a:rPr lang="en-US" altLang="en-US">
                <a:sym typeface="+mn-lt"/>
              </a:rPr>
              <a:t>%</a:t>
            </a:r>
            <a:endParaRPr lang="en-US" dirty="0">
              <a:sym typeface="+mn-lt"/>
            </a:endParaRPr>
          </a:p>
        </p:txBody>
      </p:sp>
      <p:sp>
        <p:nvSpPr>
          <p:cNvPr id="50" name="Text Placeholder 3"/>
          <p:cNvSpPr>
            <a:spLocks noGrp="1"/>
          </p:cNvSpPr>
          <p:nvPr>
            <p:custDataLst>
              <p:tags r:id="rId10"/>
            </p:custDataLst>
          </p:nvPr>
        </p:nvSpPr>
        <p:spPr bwMode="gray">
          <a:xfrm>
            <a:off x="4133850" y="2625725"/>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66617F4-2AB3-4AD6-A515-8812FA212B8E}" type="datetime'''''''''''''''''''''''''''''3'''">
              <a:rPr lang="en-US" altLang="en-US" smtClean="0">
                <a:solidFill>
                  <a:schemeClr val="bg1"/>
                </a:solidFill>
              </a:rPr>
              <a:pPr/>
              <a:t>3</a:t>
            </a:fld>
            <a:r>
              <a:rPr lang="en-US" altLang="en-US">
                <a:solidFill>
                  <a:schemeClr val="bg1"/>
                </a:solidFill>
                <a:sym typeface="+mn-lt"/>
              </a:rPr>
              <a:t>%</a:t>
            </a:r>
            <a:endParaRPr lang="en-US" dirty="0">
              <a:solidFill>
                <a:schemeClr val="bg1"/>
              </a:solidFill>
              <a:sym typeface="+mn-lt"/>
            </a:endParaRPr>
          </a:p>
        </p:txBody>
      </p:sp>
      <p:sp>
        <p:nvSpPr>
          <p:cNvPr id="46" name="Rectangle 45"/>
          <p:cNvSpPr/>
          <p:nvPr>
            <p:custDataLst>
              <p:tags r:id="rId11"/>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4"/>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 name="Text Placeholder 3"/>
          <p:cNvSpPr>
            <a:spLocks noGrp="1"/>
          </p:cNvSpPr>
          <p:nvPr>
            <p:custDataLst>
              <p:tags r:id="rId16"/>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8" name="Text Placeholder 3"/>
          <p:cNvSpPr>
            <a:spLocks noGrp="1"/>
          </p:cNvSpPr>
          <p:nvPr>
            <p:custDataLst>
              <p:tags r:id="rId17"/>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4" name="Text Placeholder 3"/>
          <p:cNvSpPr>
            <a:spLocks noGrp="1"/>
          </p:cNvSpPr>
          <p:nvPr>
            <p:custDataLst>
              <p:tags r:id="rId18"/>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9"/>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0" name="Text Placeholder 3"/>
          <p:cNvSpPr>
            <a:spLocks noGrp="1"/>
          </p:cNvSpPr>
          <p:nvPr>
            <p:custDataLst>
              <p:tags r:id="rId20"/>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29" name="Rectangle 28"/>
          <p:cNvSpPr/>
          <p:nvPr/>
        </p:nvSpPr>
        <p:spPr>
          <a:xfrm>
            <a:off x="552256" y="1422769"/>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61" name="Straight Connector 60"/>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3" name="Rectangle 32"/>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56" name="Rectangle 55">
            <a:extLst>
              <a:ext uri="{FF2B5EF4-FFF2-40B4-BE49-F238E27FC236}">
                <a16:creationId xmlns:a16="http://schemas.microsoft.com/office/drawing/2014/main" id="{24C9BD76-B9D5-40DE-BADB-9A235FD1E949}"/>
              </a:ext>
            </a:extLst>
          </p:cNvPr>
          <p:cNvSpPr/>
          <p:nvPr/>
        </p:nvSpPr>
        <p:spPr>
          <a:xfrm>
            <a:off x="2971801" y="1446038"/>
            <a:ext cx="5365375" cy="5220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5% </a:t>
            </a:r>
            <a:r>
              <a:rPr lang="en-US" dirty="0">
                <a:solidFill>
                  <a:srgbClr val="575757"/>
                </a:solidFill>
              </a:rPr>
              <a:t>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lang="en-US" sz="1400" dirty="0">
                <a:solidFill>
                  <a:srgbClr val="575757"/>
                </a:solidFill>
              </a:rPr>
              <a:t>3% vs Q2 '21  | </a:t>
            </a:r>
            <a:r>
              <a:rPr lang="en-US" sz="1400" dirty="0">
                <a:solidFill>
                  <a:srgbClr val="E71C57"/>
                </a:solidFill>
                <a:latin typeface="Wingdings 3" panose="05040102010807070707" pitchFamily="18" charset="2"/>
              </a:rPr>
              <a:t>q</a:t>
            </a:r>
            <a:r>
              <a:rPr lang="en-US" sz="1400" dirty="0">
                <a:solidFill>
                  <a:srgbClr val="575757"/>
                </a:solidFill>
              </a:rPr>
              <a:t>5% vs Q4 '20 | </a:t>
            </a:r>
            <a:r>
              <a:rPr lang="en-US" sz="1400" dirty="0">
                <a:solidFill>
                  <a:srgbClr val="E71C57"/>
                </a:solidFill>
                <a:latin typeface="Wingdings 3" panose="05040102010807070707" pitchFamily="18" charset="2"/>
              </a:rPr>
              <a:t>q</a:t>
            </a:r>
            <a:r>
              <a:rPr lang="en-US" sz="1400" dirty="0">
                <a:solidFill>
                  <a:srgbClr val="575757"/>
                </a:solidFill>
                <a:latin typeface="+mj-lt"/>
              </a:rPr>
              <a:t>5</a:t>
            </a:r>
            <a:r>
              <a:rPr lang="en-US" sz="1400" dirty="0">
                <a:solidFill>
                  <a:srgbClr val="575757"/>
                </a:solidFill>
              </a:rPr>
              <a:t>% vs BIC Target</a:t>
            </a:r>
          </a:p>
        </p:txBody>
      </p:sp>
      <p:sp>
        <p:nvSpPr>
          <p:cNvPr id="30" name="Rectangle 29">
            <a:extLst>
              <a:ext uri="{FF2B5EF4-FFF2-40B4-BE49-F238E27FC236}">
                <a16:creationId xmlns:a16="http://schemas.microsoft.com/office/drawing/2014/main" id="{446088A8-0B3E-4C9F-9A22-53C8D3213F3F}"/>
              </a:ext>
            </a:extLst>
          </p:cNvPr>
          <p:cNvSpPr/>
          <p:nvPr/>
        </p:nvSpPr>
        <p:spPr>
          <a:xfrm>
            <a:off x="1443131" y="1392248"/>
            <a:ext cx="1301658" cy="60649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grpSp>
        <p:nvGrpSpPr>
          <p:cNvPr id="31" name="Group 30">
            <a:extLst>
              <a:ext uri="{FF2B5EF4-FFF2-40B4-BE49-F238E27FC236}">
                <a16:creationId xmlns:a16="http://schemas.microsoft.com/office/drawing/2014/main" id="{7309D7D0-7B14-48B9-ABC6-6BBB9C35EE53}"/>
              </a:ext>
            </a:extLst>
          </p:cNvPr>
          <p:cNvGrpSpPr>
            <a:grpSpLocks noChangeAspect="1"/>
          </p:cNvGrpSpPr>
          <p:nvPr/>
        </p:nvGrpSpPr>
        <p:grpSpPr>
          <a:xfrm>
            <a:off x="514429" y="864696"/>
            <a:ext cx="457200" cy="457200"/>
            <a:chOff x="5867400" y="3200400"/>
            <a:chExt cx="457200" cy="457200"/>
          </a:xfrm>
        </p:grpSpPr>
        <p:sp>
          <p:nvSpPr>
            <p:cNvPr id="32" name="AutoShape 43">
              <a:extLst>
                <a:ext uri="{FF2B5EF4-FFF2-40B4-BE49-F238E27FC236}">
                  <a16:creationId xmlns:a16="http://schemas.microsoft.com/office/drawing/2014/main" id="{11A72EC5-09F2-456C-9011-B5FAF47794E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7">
              <a:extLst>
                <a:ext uri="{FF2B5EF4-FFF2-40B4-BE49-F238E27FC236}">
                  <a16:creationId xmlns:a16="http://schemas.microsoft.com/office/drawing/2014/main" id="{D8DE3821-E0F5-4FBC-911F-95B53B051CC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1245964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133119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992"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26872" y="0"/>
            <a:ext cx="277046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600" dirty="0">
              <a:solidFill>
                <a:srgbClr val="FFFFFF"/>
              </a:solidFill>
              <a:cs typeface="Arial" pitchFamily="34" charset="0"/>
            </a:endParaRPr>
          </a:p>
        </p:txBody>
      </p:sp>
      <p:graphicFrame>
        <p:nvGraphicFramePr>
          <p:cNvPr id="69" name="Chart 68">
            <a:extLst>
              <a:ext uri="{FF2B5EF4-FFF2-40B4-BE49-F238E27FC236}">
                <a16:creationId xmlns:a16="http://schemas.microsoft.com/office/drawing/2014/main" id="{857CAE9F-A476-4E32-BF4D-ECF1628FF91F}"/>
              </a:ext>
            </a:extLst>
          </p:cNvPr>
          <p:cNvGraphicFramePr/>
          <p:nvPr>
            <p:custDataLst>
              <p:tags r:id="rId5"/>
            </p:custDataLst>
            <p:extLst>
              <p:ext uri="{D42A27DB-BD31-4B8C-83A1-F6EECF244321}">
                <p14:modId xmlns:p14="http://schemas.microsoft.com/office/powerpoint/2010/main" val="3871991288"/>
              </p:ext>
            </p:extLst>
          </p:nvPr>
        </p:nvGraphicFramePr>
        <p:xfrm>
          <a:off x="5338763" y="31686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41" name="Text Placeholder 3"/>
          <p:cNvSpPr>
            <a:spLocks noGrp="1"/>
          </p:cNvSpPr>
          <p:nvPr>
            <p:custDataLst>
              <p:tags r:id="rId6"/>
            </p:custDataLst>
          </p:nvPr>
        </p:nvSpPr>
        <p:spPr bwMode="gray">
          <a:xfrm>
            <a:off x="6469063" y="355123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365B90A-2B97-4E11-9980-64CB4A44D4F5}" type="datetime'''''''''''''''0'''''''''''''">
              <a:rPr lang="en-US" altLang="en-US" sz="1600" smtClean="0">
                <a:solidFill>
                  <a:schemeClr val="bg1"/>
                </a:solidFill>
                <a:effectLst/>
              </a:rPr>
              <a:pPr/>
              <a:t>0</a:t>
            </a:fld>
            <a:r>
              <a:rPr lang="en-US" altLang="en-US" sz="1600">
                <a:solidFill>
                  <a:schemeClr val="bg1"/>
                </a:solidFill>
              </a:rPr>
              <a:t>%</a:t>
            </a:r>
            <a:endParaRPr lang="en-US" sz="1600" dirty="0">
              <a:solidFill>
                <a:schemeClr val="bg1"/>
              </a:solidFill>
              <a:sym typeface="+mn-lt"/>
            </a:endParaRPr>
          </a:p>
        </p:txBody>
      </p:sp>
      <p:sp>
        <p:nvSpPr>
          <p:cNvPr id="73" name="Text Placeholder 3"/>
          <p:cNvSpPr>
            <a:spLocks noGrp="1"/>
          </p:cNvSpPr>
          <p:nvPr>
            <p:custDataLst>
              <p:tags r:id="rId7"/>
            </p:custDataLst>
          </p:nvPr>
        </p:nvSpPr>
        <p:spPr bwMode="gray">
          <a:xfrm>
            <a:off x="6910388" y="3457575"/>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F29623B-E481-4651-B8CC-26CEF0C55CA8}" type="datetime'''''''''''''''''''''''''1''''''''''''6'''">
              <a:rPr lang="en-US" altLang="en-US" sz="1600" smtClean="0">
                <a:solidFill>
                  <a:schemeClr val="bg1"/>
                </a:solidFill>
                <a:effectLst/>
              </a:rPr>
              <a:pPr/>
              <a:t>16</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8"/>
            </p:custDataLst>
          </p:nvPr>
        </p:nvSpPr>
        <p:spPr bwMode="gray">
          <a:xfrm>
            <a:off x="6383338" y="328295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7A658A7-74A5-497F-9713-DA96B70D3A26}"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9"/>
            </p:custDataLst>
          </p:nvPr>
        </p:nvSpPr>
        <p:spPr bwMode="gray">
          <a:xfrm>
            <a:off x="6804025" y="5235575"/>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3E09933-BE2F-44CC-81CB-96E920619461}" type="datetime'''''''''''''''''''''''''5''5'''''''''''''''''''''''''''''''''">
              <a:rPr lang="en-US" altLang="en-US" sz="1600" smtClean="0">
                <a:solidFill>
                  <a:schemeClr val="bg1"/>
                </a:solidFill>
                <a:effectLst/>
              </a:rPr>
              <a:pPr/>
              <a:t>55</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10"/>
            </p:custDataLst>
          </p:nvPr>
        </p:nvSpPr>
        <p:spPr bwMode="gray">
          <a:xfrm>
            <a:off x="5621338" y="3773488"/>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DE7AB6C-A330-43A8-A44C-E90776D3A080}" type="datetime'''2''''''''''''''''''''''''''''6'''''">
              <a:rPr lang="en-US" altLang="en-US" sz="1600" smtClean="0">
                <a:effectLst/>
              </a:rPr>
              <a:pPr/>
              <a:t>26</a:t>
            </a:fld>
            <a:r>
              <a:rPr lang="en-US" altLang="en-US" sz="1600"/>
              <a:t>%</a:t>
            </a:r>
            <a:endParaRPr lang="en-US" sz="1600" dirty="0">
              <a:sym typeface="+mn-lt"/>
            </a:endParaRPr>
          </a:p>
        </p:txBody>
      </p:sp>
      <p:sp>
        <p:nvSpPr>
          <p:cNvPr id="45" name="Rectangle 44"/>
          <p:cNvSpPr/>
          <p:nvPr>
            <p:custDataLst>
              <p:tags r:id="rId11"/>
            </p:custDataLst>
          </p:nvPr>
        </p:nvSpPr>
        <p:spPr bwMode="gray">
          <a:xfrm>
            <a:off x="2046288" y="60642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5157788" y="60642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3336925" y="60642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4"/>
            </p:custDataLst>
          </p:nvPr>
        </p:nvSpPr>
        <p:spPr bwMode="gray">
          <a:xfrm>
            <a:off x="6294438" y="60642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5"/>
            </p:custDataLst>
          </p:nvPr>
        </p:nvSpPr>
        <p:spPr bwMode="gray">
          <a:xfrm>
            <a:off x="4286250" y="60642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2311400" y="60452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0" name="Text Placeholder 3"/>
          <p:cNvSpPr>
            <a:spLocks noGrp="1"/>
          </p:cNvSpPr>
          <p:nvPr>
            <p:custDataLst>
              <p:tags r:id="rId17"/>
            </p:custDataLst>
          </p:nvPr>
        </p:nvSpPr>
        <p:spPr bwMode="gray">
          <a:xfrm>
            <a:off x="5422900" y="60452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9" name="Text Placeholder 3"/>
          <p:cNvSpPr>
            <a:spLocks noGrp="1"/>
          </p:cNvSpPr>
          <p:nvPr>
            <p:custDataLst>
              <p:tags r:id="rId18"/>
            </p:custDataLst>
          </p:nvPr>
        </p:nvSpPr>
        <p:spPr bwMode="gray">
          <a:xfrm>
            <a:off x="4551363" y="60452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9"/>
            </p:custDataLst>
          </p:nvPr>
        </p:nvSpPr>
        <p:spPr bwMode="gray">
          <a:xfrm>
            <a:off x="3602038" y="60452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20"/>
            </p:custDataLst>
          </p:nvPr>
        </p:nvSpPr>
        <p:spPr bwMode="gray">
          <a:xfrm>
            <a:off x="6559550" y="60452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63" name="Chart 62">
            <a:extLst>
              <a:ext uri="{FF2B5EF4-FFF2-40B4-BE49-F238E27FC236}">
                <a16:creationId xmlns:a16="http://schemas.microsoft.com/office/drawing/2014/main" id="{500295C4-6C9A-4C99-B6DE-BF3879D2DE8A}"/>
              </a:ext>
            </a:extLst>
          </p:cNvPr>
          <p:cNvGraphicFramePr/>
          <p:nvPr>
            <p:custDataLst>
              <p:tags r:id="rId21"/>
            </p:custDataLst>
            <p:extLst>
              <p:ext uri="{D42A27DB-BD31-4B8C-83A1-F6EECF244321}">
                <p14:modId xmlns:p14="http://schemas.microsoft.com/office/powerpoint/2010/main" val="291977568"/>
              </p:ext>
            </p:extLst>
          </p:nvPr>
        </p:nvGraphicFramePr>
        <p:xfrm>
          <a:off x="1255713" y="3168650"/>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29" name="Text Placeholder 3"/>
          <p:cNvSpPr>
            <a:spLocks noGrp="1"/>
          </p:cNvSpPr>
          <p:nvPr>
            <p:custDataLst>
              <p:tags r:id="rId22"/>
            </p:custDataLst>
          </p:nvPr>
        </p:nvSpPr>
        <p:spPr bwMode="gray">
          <a:xfrm>
            <a:off x="2768600" y="3422650"/>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EDC769C-6BD7-4BC9-8925-A87DB6A5FB81}" type="datetime'''''''''''''''''''''1''''''''''''''''''''''''''''4'''''''''">
              <a:rPr lang="en-US" altLang="en-US" sz="1600" smtClean="0">
                <a:solidFill>
                  <a:schemeClr val="bg1"/>
                </a:solidFill>
              </a:rPr>
              <a:pPr/>
              <a:t>14</a:t>
            </a:fld>
            <a:r>
              <a:rPr lang="en-US" altLang="en-US" sz="1600">
                <a:solidFill>
                  <a:schemeClr val="bg1"/>
                </a:solidFill>
              </a:rPr>
              <a:t>%</a:t>
            </a:r>
            <a:endParaRPr lang="en-US" sz="1600" dirty="0">
              <a:solidFill>
                <a:schemeClr val="bg1"/>
              </a:solidFill>
              <a:sym typeface="+mn-lt"/>
            </a:endParaRPr>
          </a:p>
        </p:txBody>
      </p:sp>
      <p:sp>
        <p:nvSpPr>
          <p:cNvPr id="33" name="Text Placeholder 3"/>
          <p:cNvSpPr>
            <a:spLocks noGrp="1"/>
          </p:cNvSpPr>
          <p:nvPr>
            <p:custDataLst>
              <p:tags r:id="rId23"/>
            </p:custDataLst>
          </p:nvPr>
        </p:nvSpPr>
        <p:spPr bwMode="gray">
          <a:xfrm>
            <a:off x="2200275" y="3305175"/>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CCF3BE1-E24A-484A-9053-BC771481B471}" type="datetime'5'''''''''''''''''''''''">
              <a:rPr lang="en-US" altLang="en-US" sz="1600" smtClean="0">
                <a:solidFill>
                  <a:schemeClr val="bg1"/>
                </a:solidFill>
                <a:effectLst/>
              </a:rPr>
              <a:pPr/>
              <a:t>5</a:t>
            </a:fld>
            <a:r>
              <a:rPr lang="en-US" altLang="en-US" sz="1600">
                <a:solidFill>
                  <a:schemeClr val="bg1"/>
                </a:solidFill>
              </a:rPr>
              <a:t>%</a:t>
            </a:r>
            <a:endParaRPr lang="en-US" sz="1600" dirty="0">
              <a:solidFill>
                <a:schemeClr val="bg1"/>
              </a:solidFill>
              <a:sym typeface="+mn-lt"/>
            </a:endParaRPr>
          </a:p>
        </p:txBody>
      </p:sp>
      <p:sp>
        <p:nvSpPr>
          <p:cNvPr id="31" name="Text Placeholder 3"/>
          <p:cNvSpPr>
            <a:spLocks noGrp="1"/>
          </p:cNvSpPr>
          <p:nvPr>
            <p:custDataLst>
              <p:tags r:id="rId24"/>
            </p:custDataLst>
          </p:nvPr>
        </p:nvSpPr>
        <p:spPr bwMode="gray">
          <a:xfrm>
            <a:off x="3098800" y="4926013"/>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52E2810-BD7C-4F04-8B24-E70848B92C96}" type="datetime'''''''''''''''''4''''''''''''''''''4'''''''''">
              <a:rPr lang="en-US" altLang="en-US" sz="1600" smtClean="0">
                <a:solidFill>
                  <a:schemeClr val="bg1"/>
                </a:solidFill>
                <a:effectLst/>
              </a:rPr>
              <a:pPr/>
              <a:t>44</a:t>
            </a:fld>
            <a:r>
              <a:rPr lang="en-US" altLang="en-US" sz="1600">
                <a:solidFill>
                  <a:schemeClr val="bg1"/>
                </a:solidFill>
              </a:rPr>
              <a:t>%</a:t>
            </a:r>
            <a:endParaRPr lang="en-US" sz="1600" dirty="0">
              <a:solidFill>
                <a:schemeClr val="bg1"/>
              </a:solidFill>
              <a:sym typeface="+mn-lt"/>
            </a:endParaRPr>
          </a:p>
        </p:txBody>
      </p:sp>
      <p:sp>
        <p:nvSpPr>
          <p:cNvPr id="32" name="Text Placeholder 3"/>
          <p:cNvSpPr>
            <a:spLocks noGrp="1"/>
          </p:cNvSpPr>
          <p:nvPr>
            <p:custDataLst>
              <p:tags r:id="rId25"/>
            </p:custDataLst>
          </p:nvPr>
        </p:nvSpPr>
        <p:spPr bwMode="gray">
          <a:xfrm>
            <a:off x="1341438" y="4252913"/>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7D24E3F-990A-4A4B-A3D1-EA064522166D}" type="datetime'''3''''''''''''''''''''''''''''''''''''''''''7'''''''''''''">
              <a:rPr lang="en-US" altLang="en-US" sz="1600" smtClean="0">
                <a:effectLst/>
              </a:rPr>
              <a:pPr/>
              <a:t>37</a:t>
            </a:fld>
            <a:r>
              <a:rPr lang="en-US" altLang="en-US" sz="1600"/>
              <a:t>%</a:t>
            </a:r>
            <a:endParaRPr lang="en-US" sz="1600" dirty="0">
              <a:sym typeface="+mn-lt"/>
            </a:endParaRPr>
          </a:p>
        </p:txBody>
      </p:sp>
      <p:sp>
        <p:nvSpPr>
          <p:cNvPr id="30" name="Text Placeholder 3"/>
          <p:cNvSpPr>
            <a:spLocks noGrp="1"/>
          </p:cNvSpPr>
          <p:nvPr>
            <p:custDataLst>
              <p:tags r:id="rId26"/>
            </p:custDataLst>
          </p:nvPr>
        </p:nvSpPr>
        <p:spPr bwMode="gray">
          <a:xfrm>
            <a:off x="2384425" y="3573463"/>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3149E8F-1F9B-4858-A4B9-C0F5A133A835}" type="datetime'''''''''''''''''''''''''''''''''1'''''''''''">
              <a:rPr lang="en-US" altLang="en-US" sz="1600" smtClean="0">
                <a:solidFill>
                  <a:schemeClr val="bg1"/>
                </a:solidFill>
              </a:rPr>
              <a:pPr/>
              <a:t>1</a:t>
            </a:fld>
            <a:r>
              <a:rPr lang="en-US" altLang="en-US" sz="1600" dirty="0">
                <a:solidFill>
                  <a:schemeClr val="bg1"/>
                </a:solidFill>
              </a:rPr>
              <a:t>%</a:t>
            </a:r>
            <a:endParaRPr lang="en-US" sz="1600" dirty="0">
              <a:solidFill>
                <a:schemeClr val="bg1"/>
              </a:solidFill>
              <a:sym typeface="+mn-lt"/>
            </a:endParaRPr>
          </a:p>
        </p:txBody>
      </p:sp>
      <p:sp>
        <p:nvSpPr>
          <p:cNvPr id="72" name="Rectangle 71"/>
          <p:cNvSpPr/>
          <p:nvPr/>
        </p:nvSpPr>
        <p:spPr>
          <a:xfrm>
            <a:off x="588962" y="1400094"/>
            <a:ext cx="3911601" cy="9176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58% </a:t>
            </a:r>
            <a:r>
              <a:rPr lang="en-US" dirty="0">
                <a:solidFill>
                  <a:srgbClr val="575757"/>
                </a:solidFill>
              </a:rPr>
              <a:t>C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lang="en-US" sz="1400" dirty="0">
                <a:solidFill>
                  <a:srgbClr val="575757"/>
                </a:solidFill>
                <a:latin typeface="+mj-lt"/>
              </a:rPr>
              <a:t>3</a:t>
            </a:r>
            <a:r>
              <a:rPr lang="en-US" sz="1400" dirty="0">
                <a:solidFill>
                  <a:srgbClr val="575757"/>
                </a:solidFill>
              </a:rPr>
              <a:t>% vs Q3 '21  | </a:t>
            </a:r>
            <a:r>
              <a:rPr lang="en-US" sz="1400" dirty="0">
                <a:solidFill>
                  <a:srgbClr val="E71C57"/>
                </a:solidFill>
                <a:latin typeface="Wingdings 3" panose="05040102010807070707" pitchFamily="18" charset="2"/>
              </a:rPr>
              <a:t>q</a:t>
            </a:r>
            <a:r>
              <a:rPr lang="en-US" sz="1400" dirty="0">
                <a:solidFill>
                  <a:srgbClr val="575757"/>
                </a:solidFill>
                <a:latin typeface="+mj-lt"/>
              </a:rPr>
              <a:t>10</a:t>
            </a:r>
            <a:r>
              <a:rPr lang="en-US" sz="1400" dirty="0">
                <a:solidFill>
                  <a:srgbClr val="575757"/>
                </a:solidFill>
              </a:rPr>
              <a:t>% vs Q4 '20 </a:t>
            </a: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12</a:t>
            </a:r>
            <a:r>
              <a:rPr lang="en-US" sz="1400" dirty="0">
                <a:solidFill>
                  <a:srgbClr val="575757"/>
                </a:solidFill>
              </a:rPr>
              <a:t>% vs BIC target</a:t>
            </a:r>
          </a:p>
        </p:txBody>
      </p:sp>
      <p:sp>
        <p:nvSpPr>
          <p:cNvPr id="74" name="Rectangle 73"/>
          <p:cNvSpPr/>
          <p:nvPr/>
        </p:nvSpPr>
        <p:spPr>
          <a:xfrm>
            <a:off x="4664074" y="1400094"/>
            <a:ext cx="3907171" cy="93511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1% </a:t>
            </a:r>
            <a:r>
              <a:rPr lang="en-US" dirty="0">
                <a:solidFill>
                  <a:srgbClr val="575757"/>
                </a:solidFill>
              </a:rPr>
              <a:t>BST satisfied</a:t>
            </a:r>
          </a:p>
          <a:p>
            <a:pPr algn="ctr"/>
            <a:endParaRPr lang="en-US" sz="1000" dirty="0">
              <a:solidFill>
                <a:srgbClr val="575757"/>
              </a:solidFill>
            </a:endParaRPr>
          </a:p>
          <a:p>
            <a:pPr algn="ctr"/>
            <a:r>
              <a:rPr kumimoji="0" lang="en-US" sz="14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lang="en-US" sz="1400" dirty="0">
                <a:solidFill>
                  <a:srgbClr val="575757"/>
                </a:solidFill>
                <a:latin typeface="+mj-lt"/>
              </a:rPr>
              <a:t>1</a:t>
            </a:r>
            <a:r>
              <a:rPr lang="en-US" sz="1400" dirty="0">
                <a:solidFill>
                  <a:srgbClr val="575757"/>
                </a:solidFill>
              </a:rPr>
              <a:t>% vs Q3 '21| </a:t>
            </a:r>
            <a:r>
              <a:rPr lang="en-US" sz="1400" dirty="0">
                <a:solidFill>
                  <a:srgbClr val="E71C57"/>
                </a:solidFill>
                <a:latin typeface="Wingdings 3" panose="05040102010807070707" pitchFamily="18" charset="2"/>
              </a:rPr>
              <a:t>q</a:t>
            </a:r>
            <a:r>
              <a:rPr lang="en-US" sz="1400" dirty="0">
                <a:solidFill>
                  <a:srgbClr val="575757"/>
                </a:solidFill>
                <a:latin typeface="+mj-lt"/>
              </a:rPr>
              <a:t>2</a:t>
            </a:r>
            <a:r>
              <a:rPr lang="en-US" sz="1400" dirty="0">
                <a:solidFill>
                  <a:srgbClr val="575757"/>
                </a:solidFill>
              </a:rPr>
              <a:t>% vs Q4 '20 </a:t>
            </a:r>
          </a:p>
          <a:p>
            <a:pPr algn="ctr"/>
            <a:r>
              <a:rPr kumimoji="0" lang="en-US" sz="14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lang="en-US" sz="1400" dirty="0">
                <a:solidFill>
                  <a:srgbClr val="575757"/>
                </a:solidFill>
                <a:latin typeface="+mj-lt"/>
              </a:rPr>
              <a:t>1</a:t>
            </a:r>
            <a:r>
              <a:rPr lang="en-US" sz="1400" dirty="0">
                <a:solidFill>
                  <a:srgbClr val="575757"/>
                </a:solidFill>
              </a:rPr>
              <a:t>% vs BIC target</a:t>
            </a:r>
          </a:p>
        </p:txBody>
      </p:sp>
      <p:sp>
        <p:nvSpPr>
          <p:cNvPr id="7" name="Rectangle 6"/>
          <p:cNvSpPr/>
          <p:nvPr/>
        </p:nvSpPr>
        <p:spPr>
          <a:xfrm>
            <a:off x="1740526" y="406876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818961" y="4113213"/>
            <a:ext cx="1509713" cy="7461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84" name="Rectangle 83"/>
          <p:cNvSpPr/>
          <p:nvPr/>
        </p:nvSpPr>
        <p:spPr>
          <a:xfrm>
            <a:off x="1039210" y="938101"/>
            <a:ext cx="2854785"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 Doughnut View</a:t>
            </a:r>
          </a:p>
        </p:txBody>
      </p:sp>
      <p:cxnSp>
        <p:nvCxnSpPr>
          <p:cNvPr id="36" name="Straight Connector 35"/>
          <p:cNvCxnSpPr/>
          <p:nvPr/>
        </p:nvCxnSpPr>
        <p:spPr>
          <a:xfrm flipH="1" flipV="1">
            <a:off x="639763" y="2335213"/>
            <a:ext cx="7707313" cy="0"/>
          </a:xfrm>
          <a:prstGeom prst="line">
            <a:avLst/>
          </a:prstGeom>
          <a:ln w="19050" cap="rnd">
            <a:solidFill>
              <a:schemeClr val="tx1">
                <a:lumMod val="60000"/>
                <a:lumOff val="40000"/>
              </a:schemeClr>
            </a:solidFill>
            <a:prstDash val="sysDot"/>
          </a:ln>
        </p:spPr>
      </p:cxnSp>
      <p:sp>
        <p:nvSpPr>
          <p:cNvPr id="43" name="Rectangle 42"/>
          <p:cNvSpPr/>
          <p:nvPr/>
        </p:nvSpPr>
        <p:spPr>
          <a:xfrm>
            <a:off x="9179858" y="0"/>
            <a:ext cx="2816189"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For both BST &amp; CT, E-SAT has decreased Q4 year-over-year by -2% &amp; -10% respectively</a:t>
            </a:r>
          </a:p>
          <a:p>
            <a:endParaRPr lang="en-GB" dirty="0">
              <a:solidFill>
                <a:srgbClr val="FFFFFF"/>
              </a:solidFill>
              <a:cs typeface="Arial" pitchFamily="34" charset="0"/>
            </a:endParaRPr>
          </a:p>
          <a:p>
            <a:r>
              <a:rPr lang="en-GB" dirty="0">
                <a:solidFill>
                  <a:srgbClr val="FFFFFF"/>
                </a:solidFill>
                <a:cs typeface="Arial" pitchFamily="34" charset="0"/>
              </a:rPr>
              <a:t>The annual average for CT in 2021 is 58%, -2% lower than the 2020 average of 60%</a:t>
            </a:r>
          </a:p>
        </p:txBody>
      </p:sp>
      <p:sp>
        <p:nvSpPr>
          <p:cNvPr id="56" name="Title 2">
            <a:extLst>
              <a:ext uri="{FF2B5EF4-FFF2-40B4-BE49-F238E27FC236}">
                <a16:creationId xmlns:a16="http://schemas.microsoft.com/office/drawing/2014/main" id="{A48A619C-E299-4A8D-A35B-D557DEE9D7CA}"/>
              </a:ext>
            </a:extLst>
          </p:cNvPr>
          <p:cNvSpPr>
            <a:spLocks noGrp="1"/>
          </p:cNvSpPr>
          <p:nvPr>
            <p:ph type="title"/>
          </p:nvPr>
        </p:nvSpPr>
        <p:spPr>
          <a:xfrm>
            <a:off x="630000" y="622800"/>
            <a:ext cx="8101584" cy="332399"/>
          </a:xfrm>
        </p:spPr>
        <p:txBody>
          <a:bodyPr vert="horz"/>
          <a:lstStyle/>
          <a:p>
            <a:r>
              <a:rPr lang="en-US" dirty="0">
                <a:solidFill>
                  <a:srgbClr val="295E7E"/>
                </a:solidFill>
              </a:rPr>
              <a:t>Digital Learning Satisfaction – Overall</a:t>
            </a:r>
          </a:p>
        </p:txBody>
      </p:sp>
      <p:sp>
        <p:nvSpPr>
          <p:cNvPr id="57" name="Rectangle 56">
            <a:extLst>
              <a:ext uri="{FF2B5EF4-FFF2-40B4-BE49-F238E27FC236}">
                <a16:creationId xmlns:a16="http://schemas.microsoft.com/office/drawing/2014/main" id="{62307B37-4F01-4118-B4B0-ECB3F92FB271}"/>
              </a:ext>
            </a:extLst>
          </p:cNvPr>
          <p:cNvSpPr/>
          <p:nvPr/>
        </p:nvSpPr>
        <p:spPr>
          <a:xfrm>
            <a:off x="1714079" y="2335502"/>
            <a:ext cx="1519238" cy="387350"/>
          </a:xfrm>
          <a:prstGeom prst="rect">
            <a:avLst/>
          </a:prstGeom>
          <a:solidFill>
            <a:srgbClr val="EBC5D0"/>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Poor</a:t>
            </a:r>
          </a:p>
        </p:txBody>
      </p:sp>
      <p:sp>
        <p:nvSpPr>
          <p:cNvPr id="60" name="Rectangle 59">
            <a:extLst>
              <a:ext uri="{FF2B5EF4-FFF2-40B4-BE49-F238E27FC236}">
                <a16:creationId xmlns:a16="http://schemas.microsoft.com/office/drawing/2014/main" id="{8C3D4CEF-E4CE-4043-ACB8-63F68873E84C}"/>
              </a:ext>
            </a:extLst>
          </p:cNvPr>
          <p:cNvSpPr/>
          <p:nvPr/>
        </p:nvSpPr>
        <p:spPr>
          <a:xfrm>
            <a:off x="5800725" y="2343439"/>
            <a:ext cx="1517650"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44" name="Group 43">
            <a:extLst>
              <a:ext uri="{FF2B5EF4-FFF2-40B4-BE49-F238E27FC236}">
                <a16:creationId xmlns:a16="http://schemas.microsoft.com/office/drawing/2014/main" id="{96BC7304-9B8D-437B-BF7C-BC09A8D81A63}"/>
              </a:ext>
            </a:extLst>
          </p:cNvPr>
          <p:cNvGrpSpPr>
            <a:grpSpLocks noChangeAspect="1"/>
          </p:cNvGrpSpPr>
          <p:nvPr/>
        </p:nvGrpSpPr>
        <p:grpSpPr>
          <a:xfrm>
            <a:off x="514429" y="864696"/>
            <a:ext cx="457200" cy="457200"/>
            <a:chOff x="5867400" y="3200400"/>
            <a:chExt cx="457200" cy="457200"/>
          </a:xfrm>
        </p:grpSpPr>
        <p:sp>
          <p:nvSpPr>
            <p:cNvPr id="52" name="AutoShape 43">
              <a:extLst>
                <a:ext uri="{FF2B5EF4-FFF2-40B4-BE49-F238E27FC236}">
                  <a16:creationId xmlns:a16="http://schemas.microsoft.com/office/drawing/2014/main" id="{49EDBBB8-2EB1-4655-BCEC-1711BFF4E2A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7">
              <a:extLst>
                <a:ext uri="{FF2B5EF4-FFF2-40B4-BE49-F238E27FC236}">
                  <a16:creationId xmlns:a16="http://schemas.microsoft.com/office/drawing/2014/main" id="{3AC5A21D-2D5B-481A-8F25-CF41CC9C19F8}"/>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835034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60191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019" name="think-cell Slide" r:id="rId18" imgW="473" imgH="473" progId="TCLayout.ActiveDocument.1">
                  <p:embed/>
                </p:oleObj>
              </mc:Choice>
              <mc:Fallback>
                <p:oleObj name="think-cell Slide" r:id="rId18" imgW="473" imgH="473" progId="TCLayout.ActiveDocument.1">
                  <p:embed/>
                  <p:pic>
                    <p:nvPicPr>
                      <p:cNvPr id="5" name="Object 4"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204326" y="0"/>
            <a:ext cx="268059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Ease of finding learning resources persistently remains the bottom of this list</a:t>
            </a:r>
          </a:p>
          <a:p>
            <a:endParaRPr lang="en-GB" dirty="0">
              <a:solidFill>
                <a:srgbClr val="FFFFFF"/>
              </a:solidFill>
              <a:cs typeface="Arial" pitchFamily="34" charset="0"/>
            </a:endParaRPr>
          </a:p>
          <a:p>
            <a:r>
              <a:rPr lang="en-GB" dirty="0">
                <a:solidFill>
                  <a:srgbClr val="FFFFFF"/>
                </a:solidFill>
                <a:cs typeface="Arial" pitchFamily="34" charset="0"/>
              </a:rPr>
              <a:t>Newly measured since Q2 2021, live in-person learning &amp; on-demand learning outside LAB all continue to score low E-SAT &amp; 'Poor' grades</a:t>
            </a:r>
            <a:endParaRPr lang="en-GB" sz="1400" i="1" dirty="0">
              <a:solidFill>
                <a:srgbClr val="FFFFFF"/>
              </a:solidFill>
              <a:cs typeface="Arial" pitchFamily="34" charset="0"/>
            </a:endParaRP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Learning Satisfaction – Detail  </a:t>
            </a:r>
          </a:p>
        </p:txBody>
      </p:sp>
      <p:graphicFrame>
        <p:nvGraphicFramePr>
          <p:cNvPr id="211" name="Chart 210">
            <a:extLst>
              <a:ext uri="{FF2B5EF4-FFF2-40B4-BE49-F238E27FC236}">
                <a16:creationId xmlns:a16="http://schemas.microsoft.com/office/drawing/2014/main" id="{A9F8DDB6-82B2-4B11-AB96-8A8F1C39D2FC}"/>
              </a:ext>
            </a:extLst>
          </p:cNvPr>
          <p:cNvGraphicFramePr/>
          <p:nvPr>
            <p:custDataLst>
              <p:tags r:id="rId5"/>
            </p:custDataLst>
            <p:extLst>
              <p:ext uri="{D42A27DB-BD31-4B8C-83A1-F6EECF244321}">
                <p14:modId xmlns:p14="http://schemas.microsoft.com/office/powerpoint/2010/main" val="541740394"/>
              </p:ext>
            </p:extLst>
          </p:nvPr>
        </p:nvGraphicFramePr>
        <p:xfrm>
          <a:off x="2266950" y="2436813"/>
          <a:ext cx="5135563" cy="3649662"/>
        </p:xfrm>
        <a:graphic>
          <a:graphicData uri="http://schemas.openxmlformats.org/drawingml/2006/chart">
            <c:chart xmlns:c="http://schemas.openxmlformats.org/drawingml/2006/chart" xmlns:r="http://schemas.openxmlformats.org/officeDocument/2006/relationships" r:id="rId20"/>
          </a:graphicData>
        </a:graphic>
      </p:graphicFrame>
      <p:cxnSp>
        <p:nvCxnSpPr>
          <p:cNvPr id="56" name="Straight Connector 55">
            <a:extLst>
              <a:ext uri="{FF2B5EF4-FFF2-40B4-BE49-F238E27FC236}">
                <a16:creationId xmlns:a16="http://schemas.microsoft.com/office/drawing/2014/main" id="{A42C51D0-BA8A-4357-8823-EC8F8D0A42ED}"/>
              </a:ext>
            </a:extLst>
          </p:cNvPr>
          <p:cNvCxnSpPr/>
          <p:nvPr>
            <p:custDataLst>
              <p:tags r:id="rId6"/>
            </p:custDataLst>
          </p:nvPr>
        </p:nvCxnSpPr>
        <p:spPr bwMode="gray">
          <a:xfrm flipH="1">
            <a:off x="7131050" y="3211513"/>
            <a:ext cx="301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B14759D8-3CFA-4254-A3A2-6213DC06EED5}"/>
              </a:ext>
            </a:extLst>
          </p:cNvPr>
          <p:cNvCxnSpPr/>
          <p:nvPr>
            <p:custDataLst>
              <p:tags r:id="rId7"/>
            </p:custDataLst>
          </p:nvPr>
        </p:nvCxnSpPr>
        <p:spPr bwMode="gray">
          <a:xfrm flipH="1">
            <a:off x="7124700" y="3675063"/>
            <a:ext cx="3651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D0B9EE6B-C7CE-4ED5-A37D-B894CB86B806}"/>
              </a:ext>
            </a:extLst>
          </p:cNvPr>
          <p:cNvCxnSpPr/>
          <p:nvPr>
            <p:custDataLst>
              <p:tags r:id="rId8"/>
            </p:custDataLst>
          </p:nvPr>
        </p:nvCxnSpPr>
        <p:spPr bwMode="gray">
          <a:xfrm flipH="1">
            <a:off x="7116763" y="5062538"/>
            <a:ext cx="444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A8EE611A-7428-4D32-A463-0F5B15366E55}"/>
              </a:ext>
            </a:extLst>
          </p:cNvPr>
          <p:cNvCxnSpPr/>
          <p:nvPr>
            <p:custDataLst>
              <p:tags r:id="rId9"/>
            </p:custDataLst>
          </p:nvPr>
        </p:nvCxnSpPr>
        <p:spPr bwMode="gray">
          <a:xfrm flipH="1">
            <a:off x="7110412" y="4600575"/>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0" name="Text Placeholder 3">
            <a:extLst>
              <a:ext uri="{FF2B5EF4-FFF2-40B4-BE49-F238E27FC236}">
                <a16:creationId xmlns:a16="http://schemas.microsoft.com/office/drawing/2014/main" id="{8AFDD5B1-8C20-494D-82BE-F8CC007D6364}"/>
              </a:ext>
            </a:extLst>
          </p:cNvPr>
          <p:cNvSpPr>
            <a:spLocks noGrp="1"/>
          </p:cNvSpPr>
          <p:nvPr>
            <p:custDataLst>
              <p:tags r:id="rId10"/>
            </p:custDataLst>
          </p:nvPr>
        </p:nvSpPr>
        <p:spPr bwMode="gray">
          <a:xfrm>
            <a:off x="1239839" y="2649538"/>
            <a:ext cx="11922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5F41723-0CC4-45A8-8C8A-B26CCCDC8F5D}" type="datetime'T''''''h''''e'''''' ''L''A''''''B'' pl''a''''''tf''o''rm'">
              <a:rPr lang="en-US" altLang="en-US" smtClean="0"/>
              <a:pPr/>
              <a:t>The LAB platform</a:t>
            </a:fld>
            <a:endParaRPr lang="en-US" dirty="0">
              <a:sym typeface="+mn-lt"/>
            </a:endParaRPr>
          </a:p>
        </p:txBody>
      </p:sp>
      <p:sp>
        <p:nvSpPr>
          <p:cNvPr id="181" name="Text Placeholder 3">
            <a:extLst>
              <a:ext uri="{FF2B5EF4-FFF2-40B4-BE49-F238E27FC236}">
                <a16:creationId xmlns:a16="http://schemas.microsoft.com/office/drawing/2014/main" id="{C3BD8F08-2EB6-4A51-87C1-9C8FA3346CFD}"/>
              </a:ext>
            </a:extLst>
          </p:cNvPr>
          <p:cNvSpPr>
            <a:spLocks noGrp="1"/>
          </p:cNvSpPr>
          <p:nvPr>
            <p:custDataLst>
              <p:tags r:id="rId11"/>
            </p:custDataLst>
          </p:nvPr>
        </p:nvSpPr>
        <p:spPr bwMode="gray">
          <a:xfrm>
            <a:off x="1395413" y="3111500"/>
            <a:ext cx="10366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181553D-2197-4545-BD7F-9A21FE449267}" type="datetime'''L''earn''''''''i''''''ng'''''''''' ''t''o''''''''p''''ic''s'">
              <a:rPr lang="en-US" altLang="en-US" smtClean="0"/>
              <a:pPr/>
              <a:t>Learning topics</a:t>
            </a:fld>
            <a:endParaRPr lang="en-US" dirty="0">
              <a:sym typeface="+mn-lt"/>
            </a:endParaRPr>
          </a:p>
        </p:txBody>
      </p:sp>
      <p:sp>
        <p:nvSpPr>
          <p:cNvPr id="182" name="Text Placeholder 3">
            <a:extLst>
              <a:ext uri="{FF2B5EF4-FFF2-40B4-BE49-F238E27FC236}">
                <a16:creationId xmlns:a16="http://schemas.microsoft.com/office/drawing/2014/main" id="{23983F90-B6E2-4AA1-9A8C-42F5ED7B3436}"/>
              </a:ext>
            </a:extLst>
          </p:cNvPr>
          <p:cNvSpPr>
            <a:spLocks noGrp="1"/>
          </p:cNvSpPr>
          <p:nvPr>
            <p:custDataLst>
              <p:tags r:id="rId12"/>
            </p:custDataLst>
          </p:nvPr>
        </p:nvSpPr>
        <p:spPr bwMode="gray">
          <a:xfrm>
            <a:off x="728663" y="3575050"/>
            <a:ext cx="17033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7E83E7C-5CC2-444F-ADDA-D31543DAC1A8}" type="datetime'''Di''''gi''ta''l'' ''''L''e''ar''n''''ing - Overa''''l''''l'">
              <a:rPr lang="en-US" altLang="en-US" smtClean="0"/>
              <a:pPr/>
              <a:t>Digital Learning - Overall</a:t>
            </a:fld>
            <a:endParaRPr lang="en-US" dirty="0">
              <a:sym typeface="+mn-lt"/>
            </a:endParaRPr>
          </a:p>
        </p:txBody>
      </p:sp>
      <p:sp>
        <p:nvSpPr>
          <p:cNvPr id="238" name="Text Placeholder 3">
            <a:extLst>
              <a:ext uri="{FF2B5EF4-FFF2-40B4-BE49-F238E27FC236}">
                <a16:creationId xmlns:a16="http://schemas.microsoft.com/office/drawing/2014/main" id="{8327983C-07C8-4D42-9B22-FA69B1F9A30B}"/>
              </a:ext>
            </a:extLst>
          </p:cNvPr>
          <p:cNvSpPr>
            <a:spLocks noGrp="1"/>
          </p:cNvSpPr>
          <p:nvPr>
            <p:custDataLst>
              <p:tags r:id="rId13"/>
            </p:custDataLst>
          </p:nvPr>
        </p:nvSpPr>
        <p:spPr bwMode="gray">
          <a:xfrm>
            <a:off x="7043738" y="5426075"/>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DBEED86-A29C-4F99-A1CF-EFA6C6B50AAB}" type="datetime'1'''''''''''''''''''''''''''''''''''''''''">
              <a:rPr lang="en-US" altLang="en-US" smtClean="0">
                <a:solidFill>
                  <a:schemeClr val="bg1"/>
                </a:solidFill>
                <a:effectLst/>
              </a:rPr>
              <a:pPr/>
              <a:t>1</a:t>
            </a:fld>
            <a:endParaRPr lang="en-US" dirty="0">
              <a:solidFill>
                <a:schemeClr val="bg1"/>
              </a:solidFill>
              <a:sym typeface="+mn-lt"/>
            </a:endParaRPr>
          </a:p>
        </p:txBody>
      </p:sp>
      <p:sp>
        <p:nvSpPr>
          <p:cNvPr id="167" name="Text Placeholder 3">
            <a:extLst>
              <a:ext uri="{FF2B5EF4-FFF2-40B4-BE49-F238E27FC236}">
                <a16:creationId xmlns:a16="http://schemas.microsoft.com/office/drawing/2014/main" id="{F9939F86-6F91-40B1-931B-185F67CC369D}"/>
              </a:ext>
            </a:extLst>
          </p:cNvPr>
          <p:cNvSpPr>
            <a:spLocks noGrp="1"/>
          </p:cNvSpPr>
          <p:nvPr>
            <p:custDataLst>
              <p:tags r:id="rId14"/>
            </p:custDataLst>
          </p:nvPr>
        </p:nvSpPr>
        <p:spPr bwMode="gray">
          <a:xfrm>
            <a:off x="7046913" y="2649538"/>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5E91CDF-3D93-4E42-B151-284043456EC6}" type="datetime'''''''''''''''''''''''''''''''''''''''1'''''''''''''''''''''">
              <a:rPr lang="en-US" altLang="en-US" smtClean="0">
                <a:solidFill>
                  <a:schemeClr val="bg1"/>
                </a:solidFill>
                <a:effectLst/>
              </a:rPr>
              <a:pPr/>
              <a:t>1</a:t>
            </a:fld>
            <a:endParaRPr lang="en-US" dirty="0">
              <a:solidFill>
                <a:schemeClr val="bg1"/>
              </a:solidFill>
              <a:sym typeface="+mn-lt"/>
            </a:endParaRPr>
          </a:p>
        </p:txBody>
      </p:sp>
      <p:sp>
        <p:nvSpPr>
          <p:cNvPr id="210" name="Text Placeholder 3">
            <a:extLst>
              <a:ext uri="{FF2B5EF4-FFF2-40B4-BE49-F238E27FC236}">
                <a16:creationId xmlns:a16="http://schemas.microsoft.com/office/drawing/2014/main" id="{EA9ADC79-026C-42C6-B209-D59257CB7B52}"/>
              </a:ext>
            </a:extLst>
          </p:cNvPr>
          <p:cNvSpPr>
            <a:spLocks noGrp="1"/>
          </p:cNvSpPr>
          <p:nvPr>
            <p:custDataLst>
              <p:tags r:id="rId15"/>
            </p:custDataLst>
          </p:nvPr>
        </p:nvSpPr>
        <p:spPr bwMode="gray">
          <a:xfrm>
            <a:off x="7050088" y="4037014"/>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3D385E6-50CF-4FF5-A5D1-C3C5508BECE7}" type="datetime'''''''''''1'">
              <a:rPr lang="en-US" altLang="en-US" smtClean="0">
                <a:solidFill>
                  <a:schemeClr val="bg1"/>
                </a:solidFill>
                <a:effectLst/>
                <a:sym typeface="+mn-lt"/>
              </a:rPr>
              <a:pPr algn="ctr">
                <a:spcBef>
                  <a:spcPct val="0"/>
                </a:spcBef>
                <a:spcAft>
                  <a:spcPct val="0"/>
                </a:spcAft>
              </a:pPr>
              <a:t>1</a:t>
            </a:fld>
            <a:endParaRPr lang="en-US" dirty="0">
              <a:solidFill>
                <a:schemeClr val="bg1"/>
              </a:solidFill>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536575" y="1976438"/>
            <a:ext cx="6721475" cy="3587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 the following learning aspects for digital products &amp; services:</a:t>
            </a:r>
          </a:p>
        </p:txBody>
      </p:sp>
      <p:sp>
        <p:nvSpPr>
          <p:cNvPr id="2" name="Rectangle 1"/>
          <p:cNvSpPr/>
          <p:nvPr/>
        </p:nvSpPr>
        <p:spPr>
          <a:xfrm>
            <a:off x="296069" y="4738687"/>
            <a:ext cx="2198688" cy="6000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rPr>
              <a:t>How on-demand learning is delivered (outside LAB)*</a:t>
            </a:r>
            <a:endParaRPr lang="en-US" sz="1200" dirty="0">
              <a:solidFill>
                <a:srgbClr val="575757"/>
              </a:solidFill>
              <a:sym typeface="+mn-lt"/>
            </a:endParaRPr>
          </a:p>
        </p:txBody>
      </p:sp>
      <p:sp>
        <p:nvSpPr>
          <p:cNvPr id="42" name="Rectangle 41"/>
          <p:cNvSpPr/>
          <p:nvPr/>
        </p:nvSpPr>
        <p:spPr>
          <a:xfrm>
            <a:off x="304405" y="3827462"/>
            <a:ext cx="2197100" cy="6000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rPr>
              <a:t>How live virtual learning is delivered*</a:t>
            </a:r>
            <a:endParaRPr lang="en-US" sz="1200" dirty="0">
              <a:solidFill>
                <a:srgbClr val="575757"/>
              </a:solidFill>
              <a:sym typeface="+mn-lt"/>
            </a:endParaRPr>
          </a:p>
        </p:txBody>
      </p:sp>
      <p:sp>
        <p:nvSpPr>
          <p:cNvPr id="45" name="Rectangle 44"/>
          <p:cNvSpPr/>
          <p:nvPr/>
        </p:nvSpPr>
        <p:spPr>
          <a:xfrm>
            <a:off x="289321" y="5216985"/>
            <a:ext cx="2198688" cy="6016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rPr>
              <a:t>How easy it is to find learning resources</a:t>
            </a:r>
            <a:endParaRPr lang="en-US" sz="1200" dirty="0">
              <a:solidFill>
                <a:srgbClr val="575757"/>
              </a:solidFill>
              <a:sym typeface="+mn-lt"/>
            </a:endParaRPr>
          </a:p>
        </p:txBody>
      </p:sp>
      <p:sp>
        <p:nvSpPr>
          <p:cNvPr id="29" name="Rectangle 28"/>
          <p:cNvSpPr/>
          <p:nvPr/>
        </p:nvSpPr>
        <p:spPr>
          <a:xfrm>
            <a:off x="7245554" y="3053733"/>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6%</a:t>
            </a:r>
          </a:p>
        </p:txBody>
      </p:sp>
      <p:sp>
        <p:nvSpPr>
          <p:cNvPr id="32" name="Rectangle 31"/>
          <p:cNvSpPr/>
          <p:nvPr/>
        </p:nvSpPr>
        <p:spPr>
          <a:xfrm>
            <a:off x="7884089" y="3072606"/>
            <a:ext cx="1011238" cy="277813"/>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33" name="Rectangle 32"/>
          <p:cNvSpPr/>
          <p:nvPr/>
        </p:nvSpPr>
        <p:spPr>
          <a:xfrm>
            <a:off x="7236812" y="3511638"/>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5%</a:t>
            </a:r>
          </a:p>
        </p:txBody>
      </p:sp>
      <p:sp>
        <p:nvSpPr>
          <p:cNvPr id="35" name="Rectangle 34"/>
          <p:cNvSpPr/>
          <p:nvPr/>
        </p:nvSpPr>
        <p:spPr>
          <a:xfrm>
            <a:off x="7250134" y="4462462"/>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9%</a:t>
            </a:r>
          </a:p>
        </p:txBody>
      </p:sp>
      <p:sp>
        <p:nvSpPr>
          <p:cNvPr id="39" name="Rectangle 38"/>
          <p:cNvSpPr/>
          <p:nvPr/>
        </p:nvSpPr>
        <p:spPr>
          <a:xfrm>
            <a:off x="7135511" y="5384469"/>
            <a:ext cx="271463"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58" name="Rectangle 57"/>
          <p:cNvSpPr/>
          <p:nvPr/>
        </p:nvSpPr>
        <p:spPr>
          <a:xfrm>
            <a:off x="7875255" y="3998912"/>
            <a:ext cx="1009650" cy="277813"/>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37" name="Rectangle 3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105" name="Rectangle 104"/>
          <p:cNvSpPr/>
          <p:nvPr/>
        </p:nvSpPr>
        <p:spPr>
          <a:xfrm>
            <a:off x="304405" y="4256564"/>
            <a:ext cx="2197100" cy="6000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rPr>
              <a:t>How live in-person training is delivered*</a:t>
            </a:r>
            <a:endParaRPr lang="en-US" sz="1200" dirty="0">
              <a:solidFill>
                <a:srgbClr val="575757"/>
              </a:solidFill>
              <a:sym typeface="+mn-lt"/>
            </a:endParaRPr>
          </a:p>
        </p:txBody>
      </p:sp>
      <p:sp>
        <p:nvSpPr>
          <p:cNvPr id="107" name="Rectangle 106"/>
          <p:cNvSpPr/>
          <p:nvPr/>
        </p:nvSpPr>
        <p:spPr>
          <a:xfrm>
            <a:off x="7876295" y="3543098"/>
            <a:ext cx="1011238" cy="276225"/>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108" name="Rectangle 107"/>
          <p:cNvSpPr/>
          <p:nvPr/>
        </p:nvSpPr>
        <p:spPr>
          <a:xfrm>
            <a:off x="7237916" y="3978751"/>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2%</a:t>
            </a:r>
          </a:p>
        </p:txBody>
      </p:sp>
      <p:sp>
        <p:nvSpPr>
          <p:cNvPr id="158" name="Rectangle 157">
            <a:extLst>
              <a:ext uri="{FF2B5EF4-FFF2-40B4-BE49-F238E27FC236}">
                <a16:creationId xmlns:a16="http://schemas.microsoft.com/office/drawing/2014/main" id="{1646DF20-215A-456F-A523-AE36E62EF674}"/>
              </a:ext>
            </a:extLst>
          </p:cNvPr>
          <p:cNvSpPr/>
          <p:nvPr/>
        </p:nvSpPr>
        <p:spPr>
          <a:xfrm>
            <a:off x="7871422" y="4498468"/>
            <a:ext cx="1003660" cy="24325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161" name="Rectangle 160">
            <a:extLst>
              <a:ext uri="{FF2B5EF4-FFF2-40B4-BE49-F238E27FC236}">
                <a16:creationId xmlns:a16="http://schemas.microsoft.com/office/drawing/2014/main" id="{50E99398-FE65-4867-BEC3-6431B8B32E20}"/>
              </a:ext>
            </a:extLst>
          </p:cNvPr>
          <p:cNvSpPr/>
          <p:nvPr/>
        </p:nvSpPr>
        <p:spPr>
          <a:xfrm>
            <a:off x="7890863" y="2637378"/>
            <a:ext cx="1009650" cy="277813"/>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162" name="Rectangle 161">
            <a:extLst>
              <a:ext uri="{FF2B5EF4-FFF2-40B4-BE49-F238E27FC236}">
                <a16:creationId xmlns:a16="http://schemas.microsoft.com/office/drawing/2014/main" id="{DFD99F21-B2C6-4995-919E-6AF24161DD17}"/>
              </a:ext>
            </a:extLst>
          </p:cNvPr>
          <p:cNvSpPr/>
          <p:nvPr/>
        </p:nvSpPr>
        <p:spPr>
          <a:xfrm>
            <a:off x="7236812" y="2627546"/>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7%</a:t>
            </a:r>
          </a:p>
        </p:txBody>
      </p:sp>
      <p:grpSp>
        <p:nvGrpSpPr>
          <p:cNvPr id="46" name="Group 45">
            <a:extLst>
              <a:ext uri="{FF2B5EF4-FFF2-40B4-BE49-F238E27FC236}">
                <a16:creationId xmlns:a16="http://schemas.microsoft.com/office/drawing/2014/main" id="{D70207B5-F7A2-41B7-B5E1-968EBA164CE7}"/>
              </a:ext>
            </a:extLst>
          </p:cNvPr>
          <p:cNvGrpSpPr>
            <a:grpSpLocks noChangeAspect="1"/>
          </p:cNvGrpSpPr>
          <p:nvPr/>
        </p:nvGrpSpPr>
        <p:grpSpPr>
          <a:xfrm>
            <a:off x="514429" y="864696"/>
            <a:ext cx="457200" cy="457200"/>
            <a:chOff x="5867400" y="3200400"/>
            <a:chExt cx="457200" cy="457200"/>
          </a:xfrm>
        </p:grpSpPr>
        <p:sp>
          <p:nvSpPr>
            <p:cNvPr id="47" name="AutoShape 43">
              <a:extLst>
                <a:ext uri="{FF2B5EF4-FFF2-40B4-BE49-F238E27FC236}">
                  <a16:creationId xmlns:a16="http://schemas.microsoft.com/office/drawing/2014/main" id="{C49B9E6D-E725-483E-B659-0C7C9BACC05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D0E9E1B9-02B4-44BB-A9C5-133557E6C54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01" name="Rectangle 200">
            <a:extLst>
              <a:ext uri="{FF2B5EF4-FFF2-40B4-BE49-F238E27FC236}">
                <a16:creationId xmlns:a16="http://schemas.microsoft.com/office/drawing/2014/main" id="{8EBCDD25-BCD5-4122-83F7-DE268853C118}"/>
              </a:ext>
            </a:extLst>
          </p:cNvPr>
          <p:cNvSpPr/>
          <p:nvPr/>
        </p:nvSpPr>
        <p:spPr>
          <a:xfrm>
            <a:off x="7861777" y="4962525"/>
            <a:ext cx="1003660" cy="24325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202" name="Rectangle 201">
            <a:extLst>
              <a:ext uri="{FF2B5EF4-FFF2-40B4-BE49-F238E27FC236}">
                <a16:creationId xmlns:a16="http://schemas.microsoft.com/office/drawing/2014/main" id="{3A5D8ACA-B82E-4EE1-8565-C01A6B8FE730}"/>
              </a:ext>
            </a:extLst>
          </p:cNvPr>
          <p:cNvSpPr/>
          <p:nvPr/>
        </p:nvSpPr>
        <p:spPr>
          <a:xfrm>
            <a:off x="7863387" y="5384469"/>
            <a:ext cx="1003660" cy="24325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203" name="Rectangle 202">
            <a:extLst>
              <a:ext uri="{FF2B5EF4-FFF2-40B4-BE49-F238E27FC236}">
                <a16:creationId xmlns:a16="http://schemas.microsoft.com/office/drawing/2014/main" id="{7C54A07A-CCE6-462E-A930-9D148013D339}"/>
              </a:ext>
            </a:extLst>
          </p:cNvPr>
          <p:cNvSpPr/>
          <p:nvPr/>
        </p:nvSpPr>
        <p:spPr>
          <a:xfrm>
            <a:off x="7235224" y="4929265"/>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7%</a:t>
            </a:r>
          </a:p>
        </p:txBody>
      </p:sp>
      <p:sp>
        <p:nvSpPr>
          <p:cNvPr id="204" name="Rectangle 203">
            <a:extLst>
              <a:ext uri="{FF2B5EF4-FFF2-40B4-BE49-F238E27FC236}">
                <a16:creationId xmlns:a16="http://schemas.microsoft.com/office/drawing/2014/main" id="{81045FB8-FE9D-4357-8E5E-BE540C5E6097}"/>
              </a:ext>
            </a:extLst>
          </p:cNvPr>
          <p:cNvSpPr/>
          <p:nvPr/>
        </p:nvSpPr>
        <p:spPr>
          <a:xfrm>
            <a:off x="7252161" y="5379705"/>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4%</a:t>
            </a:r>
          </a:p>
        </p:txBody>
      </p:sp>
      <p:sp>
        <p:nvSpPr>
          <p:cNvPr id="262" name="TextBox 261">
            <a:extLst>
              <a:ext uri="{FF2B5EF4-FFF2-40B4-BE49-F238E27FC236}">
                <a16:creationId xmlns:a16="http://schemas.microsoft.com/office/drawing/2014/main" id="{4D044228-C288-42EA-9BC5-3091A6A9ECE2}"/>
              </a:ext>
            </a:extLst>
          </p:cNvPr>
          <p:cNvSpPr txBox="1"/>
          <p:nvPr/>
        </p:nvSpPr>
        <p:spPr>
          <a:xfrm>
            <a:off x="13391" y="6515577"/>
            <a:ext cx="2330582" cy="308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 New since Q2 2021</a:t>
            </a:r>
          </a:p>
        </p:txBody>
      </p:sp>
      <p:sp>
        <p:nvSpPr>
          <p:cNvPr id="44" name="Rectangle 43">
            <a:extLst>
              <a:ext uri="{FF2B5EF4-FFF2-40B4-BE49-F238E27FC236}">
                <a16:creationId xmlns:a16="http://schemas.microsoft.com/office/drawing/2014/main" id="{7138B937-6929-478A-A1CB-6BB1ECFF2AB0}"/>
              </a:ext>
            </a:extLst>
          </p:cNvPr>
          <p:cNvSpPr/>
          <p:nvPr/>
        </p:nvSpPr>
        <p:spPr>
          <a:xfrm>
            <a:off x="6907194" y="4591825"/>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6" name="Rectangle 5" hidden="1">
            <a:extLst>
              <a:ext uri="{FF2B5EF4-FFF2-40B4-BE49-F238E27FC236}">
                <a16:creationId xmlns:a16="http://schemas.microsoft.com/office/drawing/2014/main" id="{273F727C-A667-4E52-88B2-EBD029B1351A}"/>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52" name="Rectangle 51">
            <a:extLst>
              <a:ext uri="{FF2B5EF4-FFF2-40B4-BE49-F238E27FC236}">
                <a16:creationId xmlns:a16="http://schemas.microsoft.com/office/drawing/2014/main" id="{118FFA8A-08B4-4270-9CED-AF838673216E}"/>
              </a:ext>
            </a:extLst>
          </p:cNvPr>
          <p:cNvSpPr/>
          <p:nvPr/>
        </p:nvSpPr>
        <p:spPr>
          <a:xfrm>
            <a:off x="7231689" y="5773958"/>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2"/>
    </p:custDataLst>
    <p:extLst>
      <p:ext uri="{BB962C8B-B14F-4D97-AF65-F5344CB8AC3E}">
        <p14:creationId xmlns:p14="http://schemas.microsoft.com/office/powerpoint/2010/main" val="1443793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510027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040"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TextBox 21">
            <a:extLst>
              <a:ext uri="{FF2B5EF4-FFF2-40B4-BE49-F238E27FC236}">
                <a16:creationId xmlns:a16="http://schemas.microsoft.com/office/drawing/2014/main" id="{19671A42-B7C7-40A3-B34C-D9E41834D75A}"/>
              </a:ext>
            </a:extLst>
          </p:cNvPr>
          <p:cNvSpPr txBox="1"/>
          <p:nvPr/>
        </p:nvSpPr>
        <p:spPr>
          <a:xfrm>
            <a:off x="25200" y="5321462"/>
            <a:ext cx="3529013" cy="2762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000" i="1" dirty="0">
              <a:solidFill>
                <a:srgbClr val="575757"/>
              </a:solidFill>
            </a:endParaRPr>
          </a:p>
        </p:txBody>
      </p:sp>
      <p:graphicFrame>
        <p:nvGraphicFramePr>
          <p:cNvPr id="29" name="table_type_name">
            <a:extLst>
              <a:ext uri="{FF2B5EF4-FFF2-40B4-BE49-F238E27FC236}">
                <a16:creationId xmlns:a16="http://schemas.microsoft.com/office/drawing/2014/main" id="{D6017AB5-66D6-4495-AA7B-CD83601BDD50}"/>
              </a:ext>
            </a:extLst>
          </p:cNvPr>
          <p:cNvGraphicFramePr>
            <a:graphicFrameLocks noGrp="1"/>
          </p:cNvGraphicFramePr>
          <p:nvPr>
            <p:extLst>
              <p:ext uri="{D42A27DB-BD31-4B8C-83A1-F6EECF244321}">
                <p14:modId xmlns:p14="http://schemas.microsoft.com/office/powerpoint/2010/main" val="1207634248"/>
              </p:ext>
            </p:extLst>
          </p:nvPr>
        </p:nvGraphicFramePr>
        <p:xfrm>
          <a:off x="630001" y="1549159"/>
          <a:ext cx="10933354" cy="3730229"/>
        </p:xfrm>
        <a:graphic>
          <a:graphicData uri="http://schemas.openxmlformats.org/drawingml/2006/table">
            <a:tbl>
              <a:tblPr/>
              <a:tblGrid>
                <a:gridCol w="1479394">
                  <a:extLst>
                    <a:ext uri="{9D8B030D-6E8A-4147-A177-3AD203B41FA5}">
                      <a16:colId xmlns:a16="http://schemas.microsoft.com/office/drawing/2014/main" val="20001"/>
                    </a:ext>
                  </a:extLst>
                </a:gridCol>
                <a:gridCol w="945396">
                  <a:extLst>
                    <a:ext uri="{9D8B030D-6E8A-4147-A177-3AD203B41FA5}">
                      <a16:colId xmlns:a16="http://schemas.microsoft.com/office/drawing/2014/main" val="20002"/>
                    </a:ext>
                  </a:extLst>
                </a:gridCol>
                <a:gridCol w="945396">
                  <a:extLst>
                    <a:ext uri="{9D8B030D-6E8A-4147-A177-3AD203B41FA5}">
                      <a16:colId xmlns:a16="http://schemas.microsoft.com/office/drawing/2014/main" val="2000208440"/>
                    </a:ext>
                  </a:extLst>
                </a:gridCol>
                <a:gridCol w="945396">
                  <a:extLst>
                    <a:ext uri="{9D8B030D-6E8A-4147-A177-3AD203B41FA5}">
                      <a16:colId xmlns:a16="http://schemas.microsoft.com/office/drawing/2014/main" val="20010"/>
                    </a:ext>
                  </a:extLst>
                </a:gridCol>
                <a:gridCol w="945396">
                  <a:extLst>
                    <a:ext uri="{9D8B030D-6E8A-4147-A177-3AD203B41FA5}">
                      <a16:colId xmlns:a16="http://schemas.microsoft.com/office/drawing/2014/main" val="2620832676"/>
                    </a:ext>
                  </a:extLst>
                </a:gridCol>
                <a:gridCol w="945396">
                  <a:extLst>
                    <a:ext uri="{9D8B030D-6E8A-4147-A177-3AD203B41FA5}">
                      <a16:colId xmlns:a16="http://schemas.microsoft.com/office/drawing/2014/main" val="16113188"/>
                    </a:ext>
                  </a:extLst>
                </a:gridCol>
                <a:gridCol w="945396">
                  <a:extLst>
                    <a:ext uri="{9D8B030D-6E8A-4147-A177-3AD203B41FA5}">
                      <a16:colId xmlns:a16="http://schemas.microsoft.com/office/drawing/2014/main" val="3408261599"/>
                    </a:ext>
                  </a:extLst>
                </a:gridCol>
                <a:gridCol w="945396">
                  <a:extLst>
                    <a:ext uri="{9D8B030D-6E8A-4147-A177-3AD203B41FA5}">
                      <a16:colId xmlns:a16="http://schemas.microsoft.com/office/drawing/2014/main" val="3671572749"/>
                    </a:ext>
                  </a:extLst>
                </a:gridCol>
                <a:gridCol w="945396">
                  <a:extLst>
                    <a:ext uri="{9D8B030D-6E8A-4147-A177-3AD203B41FA5}">
                      <a16:colId xmlns:a16="http://schemas.microsoft.com/office/drawing/2014/main" val="3904107138"/>
                    </a:ext>
                  </a:extLst>
                </a:gridCol>
                <a:gridCol w="945396">
                  <a:extLst>
                    <a:ext uri="{9D8B030D-6E8A-4147-A177-3AD203B41FA5}">
                      <a16:colId xmlns:a16="http://schemas.microsoft.com/office/drawing/2014/main" val="3196134354"/>
                    </a:ext>
                  </a:extLst>
                </a:gridCol>
                <a:gridCol w="945396">
                  <a:extLst>
                    <a:ext uri="{9D8B030D-6E8A-4147-A177-3AD203B41FA5}">
                      <a16:colId xmlns:a16="http://schemas.microsoft.com/office/drawing/2014/main" val="4112493424"/>
                    </a:ext>
                  </a:extLst>
                </a:gridCol>
              </a:tblGrid>
              <a:tr h="69670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 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vs 2019 Average</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1645">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95058">
                <a:tc>
                  <a:txBody>
                    <a:bodyPr/>
                    <a:lstStyle/>
                    <a:p>
                      <a:pPr algn="l">
                        <a:spcBef>
                          <a:spcPct val="0"/>
                        </a:spcBef>
                        <a:spcAft>
                          <a:spcPct val="0"/>
                        </a:spcAft>
                      </a:pPr>
                      <a:r>
                        <a:rPr lang="en-US" sz="1200" dirty="0">
                          <a:solidFill>
                            <a:srgbClr val="575757"/>
                          </a:solidFill>
                          <a:sym typeface="+mn-lt"/>
                        </a:rPr>
                        <a:t>Digital Learning - Overall</a:t>
                      </a:r>
                    </a:p>
                  </a:txBody>
                  <a:tcPr marL="7620" marR="7620" marT="7620" marB="0" anchor="ctr">
                    <a:lnL cap="flat">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0</a:t>
                      </a:r>
                      <a:r>
                        <a:rPr lang="en-US" sz="1200" kern="1200" dirty="0">
                          <a:solidFill>
                            <a:srgbClr val="575757"/>
                          </a:solidFill>
                          <a:latin typeface="+mn-lt"/>
                          <a:ea typeface="+mn-ea"/>
                          <a:cs typeface="+mn-cs"/>
                        </a:rPr>
                        <a:t>5%</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9</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5</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6%</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0</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5%</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5673019"/>
                  </a:ext>
                </a:extLst>
              </a:tr>
              <a:tr h="295058">
                <a:tc>
                  <a:txBody>
                    <a:bodyPr/>
                    <a:lstStyle/>
                    <a:p>
                      <a:pPr algn="l">
                        <a:spcBef>
                          <a:spcPct val="0"/>
                        </a:spcBef>
                        <a:spcAft>
                          <a:spcPct val="0"/>
                        </a:spcAft>
                      </a:pPr>
                      <a:r>
                        <a:rPr lang="en-US" sz="1200" dirty="0">
                          <a:solidFill>
                            <a:srgbClr val="575757"/>
                          </a:solidFill>
                          <a:sym typeface="+mn-lt"/>
                        </a:rPr>
                        <a:t>The LAB Platform</a:t>
                      </a:r>
                      <a:r>
                        <a:rPr lang="en-US" sz="1200" baseline="30000" dirty="0">
                          <a:solidFill>
                            <a:srgbClr val="575757"/>
                          </a:solidFill>
                          <a:sym typeface="+mn-lt"/>
                        </a:rPr>
                        <a:t> </a:t>
                      </a:r>
                    </a:p>
                  </a:txBody>
                  <a:tcPr marL="7620" marR="7620" marT="7620" marB="0" anchor="ctr">
                    <a:lnL cap="flat">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64</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6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64</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62</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63</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0</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7%</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96774700"/>
                  </a:ext>
                </a:extLst>
              </a:tr>
              <a:tr h="295058">
                <a:tc>
                  <a:txBody>
                    <a:bodyPr/>
                    <a:lstStyle/>
                    <a:p>
                      <a:pPr algn="l" fontAlgn="b"/>
                      <a:r>
                        <a:rPr lang="en-GB" sz="1200" b="0" i="0" u="none" strike="noStrike" dirty="0">
                          <a:effectLst/>
                          <a:latin typeface="+mj-lt"/>
                        </a:rPr>
                        <a:t>Learning topics</a:t>
                      </a:r>
                    </a:p>
                  </a:txBody>
                  <a:tcPr marL="7620" marR="7620" marT="7620" marB="0" anchor="ctr">
                    <a:lnL cap="flat">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3</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3</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7%</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3810246"/>
                  </a:ext>
                </a:extLst>
              </a:tr>
              <a:tr h="329676">
                <a:tc>
                  <a:txBody>
                    <a:bodyPr/>
                    <a:lstStyle/>
                    <a:p>
                      <a:pPr algn="l" fontAlgn="b"/>
                      <a:r>
                        <a:rPr lang="en-US" sz="1200" b="0" i="0" u="none" strike="noStrike" kern="1200" dirty="0">
                          <a:solidFill>
                            <a:schemeClr val="tx1"/>
                          </a:solidFill>
                          <a:effectLst/>
                          <a:latin typeface="+mj-lt"/>
                          <a:ea typeface="+mn-ea"/>
                          <a:cs typeface="+mn-cs"/>
                        </a:rPr>
                        <a:t>How live virtual learning is delivered</a:t>
                      </a:r>
                    </a:p>
                  </a:txBody>
                  <a:tcPr marL="6350" marR="6350" marT="6350" marB="0" anchor="b">
                    <a:lnL cap="flat">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row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New in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Q2 2021</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6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N/A</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rowSpan="3"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New in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Q2 2021</a:t>
                      </a:r>
                    </a:p>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3"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New in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Q2 2021</a:t>
                      </a:r>
                    </a:p>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6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rowSpan="3"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N/A</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3"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N/A</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42019772"/>
                  </a:ext>
                </a:extLst>
              </a:tr>
              <a:tr h="329676">
                <a:tc>
                  <a:txBody>
                    <a:bodyPr/>
                    <a:lstStyle/>
                    <a:p>
                      <a:pPr algn="l" fontAlgn="b"/>
                      <a:r>
                        <a:rPr lang="en-US" sz="1200" b="0" i="0" u="none" strike="noStrike" kern="1200" dirty="0">
                          <a:solidFill>
                            <a:schemeClr val="tx1"/>
                          </a:solidFill>
                          <a:effectLst/>
                          <a:latin typeface="+mj-lt"/>
                          <a:ea typeface="+mn-ea"/>
                          <a:cs typeface="+mn-cs"/>
                        </a:rPr>
                        <a:t>How live in-person learning is delivered</a:t>
                      </a:r>
                    </a:p>
                  </a:txBody>
                  <a:tcPr marL="6350" marR="6350" marT="6350" marB="0" anchor="b">
                    <a:lnL cap="flat">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N/A</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6</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gridSpan="2" vMerge="1">
                  <a:txBody>
                    <a:bodyPr/>
                    <a:lstStyle/>
                    <a:p>
                      <a:endParaRPr lang="en-US"/>
                    </a:p>
                  </a:txBody>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4%</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75034786"/>
                  </a:ext>
                </a:extLst>
              </a:tr>
              <a:tr h="491701">
                <a:tc>
                  <a:txBody>
                    <a:bodyPr/>
                    <a:lstStyle/>
                    <a:p>
                      <a:pPr algn="l" fontAlgn="b"/>
                      <a:r>
                        <a:rPr lang="en-US" sz="1200" b="0" i="0" u="none" strike="noStrike" kern="1200" dirty="0">
                          <a:solidFill>
                            <a:schemeClr val="tx1"/>
                          </a:solidFill>
                          <a:effectLst/>
                          <a:latin typeface="+mj-lt"/>
                          <a:ea typeface="+mn-ea"/>
                          <a:cs typeface="+mn-cs"/>
                        </a:rPr>
                        <a:t>How on-demand learning is delivered (outside LAB)</a:t>
                      </a:r>
                    </a:p>
                  </a:txBody>
                  <a:tcPr marL="6350" marR="6350" marT="6350" marB="0" anchor="b">
                    <a:lnL cap="flat">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N/A</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54</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gridSpan="2" vMerge="1">
                  <a:txBody>
                    <a:bodyPr/>
                    <a:lstStyle/>
                    <a:p>
                      <a:endParaRPr lang="en-US"/>
                    </a:p>
                  </a:txBody>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6%</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57447027"/>
                  </a:ext>
                </a:extLst>
              </a:tr>
              <a:tr h="330801">
                <a:tc>
                  <a:txBody>
                    <a:bodyPr/>
                    <a:lstStyle/>
                    <a:p>
                      <a:pPr algn="l" fontAlgn="b"/>
                      <a:r>
                        <a:rPr lang="en-GB" sz="1200" b="0" i="0" u="none" strike="noStrike" dirty="0">
                          <a:effectLst/>
                          <a:latin typeface="+mj-lt"/>
                        </a:rPr>
                        <a:t>Ease of finding learning</a:t>
                      </a:r>
                    </a:p>
                  </a:txBody>
                  <a:tcPr marL="7620" marR="7620" marT="7620" marB="0" anchor="ctr">
                    <a:lnL cap="flat">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1</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2</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2</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0</a:t>
                      </a: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 </a:t>
                      </a: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8%</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35" name="Title 2">
            <a:extLst>
              <a:ext uri="{FF2B5EF4-FFF2-40B4-BE49-F238E27FC236}">
                <a16:creationId xmlns:a16="http://schemas.microsoft.com/office/drawing/2014/main" id="{58F6F69B-C362-4C2E-B95C-5A9540762AC7}"/>
              </a:ext>
            </a:extLst>
          </p:cNvPr>
          <p:cNvSpPr>
            <a:spLocks noGrp="1"/>
          </p:cNvSpPr>
          <p:nvPr>
            <p:ph type="title"/>
          </p:nvPr>
        </p:nvSpPr>
        <p:spPr>
          <a:xfrm>
            <a:off x="630001" y="619198"/>
            <a:ext cx="10933350" cy="332399"/>
          </a:xfrm>
        </p:spPr>
        <p:txBody>
          <a:bodyPr vert="horz"/>
          <a:lstStyle/>
          <a:p>
            <a:r>
              <a:rPr lang="en-US" dirty="0">
                <a:solidFill>
                  <a:srgbClr val="295E7E"/>
                </a:solidFill>
              </a:rPr>
              <a:t>Digital Learning Satisfaction – Detail</a:t>
            </a:r>
          </a:p>
        </p:txBody>
      </p:sp>
      <p:sp>
        <p:nvSpPr>
          <p:cNvPr id="36" name="Rectangle 35">
            <a:extLst>
              <a:ext uri="{FF2B5EF4-FFF2-40B4-BE49-F238E27FC236}">
                <a16:creationId xmlns:a16="http://schemas.microsoft.com/office/drawing/2014/main" id="{53026C18-1B33-449B-BB40-9F4DDB557637}"/>
              </a:ext>
            </a:extLst>
          </p:cNvPr>
          <p:cNvSpPr/>
          <p:nvPr/>
        </p:nvSpPr>
        <p:spPr>
          <a:xfrm>
            <a:off x="997488" y="925006"/>
            <a:ext cx="6537519" cy="3672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sp>
        <p:nvSpPr>
          <p:cNvPr id="27" name="Rectangle 26">
            <a:extLst>
              <a:ext uri="{FF2B5EF4-FFF2-40B4-BE49-F238E27FC236}">
                <a16:creationId xmlns:a16="http://schemas.microsoft.com/office/drawing/2014/main" id="{3F561F4F-4E55-45EC-9224-0C27EB75F380}"/>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a:extLst>
              <a:ext uri="{FF2B5EF4-FFF2-40B4-BE49-F238E27FC236}">
                <a16:creationId xmlns:a16="http://schemas.microsoft.com/office/drawing/2014/main" id="{718A8DC7-DE0A-487A-A28C-7D72B3F29A11}"/>
              </a:ext>
            </a:extLst>
          </p:cNvPr>
          <p:cNvSpPr/>
          <p:nvPr/>
        </p:nvSpPr>
        <p:spPr>
          <a:xfrm>
            <a:off x="341646" y="5980209"/>
            <a:ext cx="11451286"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mparing annual averages (where available), LAB &amp; Learning topics improved +1% vs 2020. Although ease of finding learning improved +2% vs 2020, at 52%, E-SAT remains low.</a:t>
            </a:r>
          </a:p>
        </p:txBody>
      </p:sp>
      <p:grpSp>
        <p:nvGrpSpPr>
          <p:cNvPr id="25" name="Group 24">
            <a:extLst>
              <a:ext uri="{FF2B5EF4-FFF2-40B4-BE49-F238E27FC236}">
                <a16:creationId xmlns:a16="http://schemas.microsoft.com/office/drawing/2014/main" id="{5CE8AAE9-F73D-4537-8F89-75AFA5EE6FAC}"/>
              </a:ext>
            </a:extLst>
          </p:cNvPr>
          <p:cNvGrpSpPr/>
          <p:nvPr/>
        </p:nvGrpSpPr>
        <p:grpSpPr>
          <a:xfrm>
            <a:off x="614882" y="5402754"/>
            <a:ext cx="6155997" cy="444350"/>
            <a:chOff x="753111" y="3331233"/>
            <a:chExt cx="6155997" cy="444350"/>
          </a:xfrm>
        </p:grpSpPr>
        <p:grpSp>
          <p:nvGrpSpPr>
            <p:cNvPr id="26" name="Group 25">
              <a:extLst>
                <a:ext uri="{FF2B5EF4-FFF2-40B4-BE49-F238E27FC236}">
                  <a16:creationId xmlns:a16="http://schemas.microsoft.com/office/drawing/2014/main" id="{282BD5F1-AABE-46BD-B5DB-10C59BEA758C}"/>
                </a:ext>
              </a:extLst>
            </p:cNvPr>
            <p:cNvGrpSpPr/>
            <p:nvPr/>
          </p:nvGrpSpPr>
          <p:grpSpPr>
            <a:xfrm>
              <a:off x="753111" y="3331233"/>
              <a:ext cx="6155997" cy="220957"/>
              <a:chOff x="753111" y="3331233"/>
              <a:chExt cx="6155997" cy="220957"/>
            </a:xfrm>
          </p:grpSpPr>
          <p:sp>
            <p:nvSpPr>
              <p:cNvPr id="41" name="Rectangle 40">
                <a:extLst>
                  <a:ext uri="{FF2B5EF4-FFF2-40B4-BE49-F238E27FC236}">
                    <a16:creationId xmlns:a16="http://schemas.microsoft.com/office/drawing/2014/main" id="{F3D42B27-89C4-4234-B5B3-906CB8C8FC2F}"/>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51" name="Rectangle 50">
                <a:extLst>
                  <a:ext uri="{FF2B5EF4-FFF2-40B4-BE49-F238E27FC236}">
                    <a16:creationId xmlns:a16="http://schemas.microsoft.com/office/drawing/2014/main" id="{E997711C-02C3-4715-9FFD-ACE33E02FF79}"/>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52" name="Rectangle 51">
                <a:extLst>
                  <a:ext uri="{FF2B5EF4-FFF2-40B4-BE49-F238E27FC236}">
                    <a16:creationId xmlns:a16="http://schemas.microsoft.com/office/drawing/2014/main" id="{5BA88F65-1B07-499A-B5ED-F04153A8F15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53" name="Rectangle 52">
                <a:extLst>
                  <a:ext uri="{FF2B5EF4-FFF2-40B4-BE49-F238E27FC236}">
                    <a16:creationId xmlns:a16="http://schemas.microsoft.com/office/drawing/2014/main" id="{679BFFB3-0BF3-4233-8DBD-8221D560359A}"/>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54" name="Rectangle 53">
                <a:extLst>
                  <a:ext uri="{FF2B5EF4-FFF2-40B4-BE49-F238E27FC236}">
                    <a16:creationId xmlns:a16="http://schemas.microsoft.com/office/drawing/2014/main" id="{8CDE6596-42B4-4F93-A6CC-62754970A449}"/>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55" name="Rectangle 54">
                <a:extLst>
                  <a:ext uri="{FF2B5EF4-FFF2-40B4-BE49-F238E27FC236}">
                    <a16:creationId xmlns:a16="http://schemas.microsoft.com/office/drawing/2014/main" id="{064AF6C8-0E0B-4A37-89E0-46741A803AB2}"/>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8" name="Rectangle 27">
              <a:extLst>
                <a:ext uri="{FF2B5EF4-FFF2-40B4-BE49-F238E27FC236}">
                  <a16:creationId xmlns:a16="http://schemas.microsoft.com/office/drawing/2014/main" id="{5AE5E038-6BF6-425E-A99D-267908A3CB88}"/>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32" name="Rectangle 31">
              <a:extLst>
                <a:ext uri="{FF2B5EF4-FFF2-40B4-BE49-F238E27FC236}">
                  <a16:creationId xmlns:a16="http://schemas.microsoft.com/office/drawing/2014/main" id="{FB5AC5CA-F5C2-4FC7-AE64-A076AC26C65A}"/>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33" name="Rectangle 32">
              <a:extLst>
                <a:ext uri="{FF2B5EF4-FFF2-40B4-BE49-F238E27FC236}">
                  <a16:creationId xmlns:a16="http://schemas.microsoft.com/office/drawing/2014/main" id="{26ECF414-CD2B-421E-9331-512007CE3F2A}"/>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38" name="Rectangle 37">
              <a:extLst>
                <a:ext uri="{FF2B5EF4-FFF2-40B4-BE49-F238E27FC236}">
                  <a16:creationId xmlns:a16="http://schemas.microsoft.com/office/drawing/2014/main" id="{BE4267C7-035E-4B9D-B688-4A6D5CB8B141}"/>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39" name="Rectangle 38">
              <a:extLst>
                <a:ext uri="{FF2B5EF4-FFF2-40B4-BE49-F238E27FC236}">
                  <a16:creationId xmlns:a16="http://schemas.microsoft.com/office/drawing/2014/main" id="{7FCBE259-B998-4B9F-8BEB-2A8BA9F4EAD7}"/>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40" name="Rectangle 39">
              <a:extLst>
                <a:ext uri="{FF2B5EF4-FFF2-40B4-BE49-F238E27FC236}">
                  <a16:creationId xmlns:a16="http://schemas.microsoft.com/office/drawing/2014/main" id="{620EB18E-F45C-4F73-8059-D1A5F340E8B7}"/>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31" name="Group 30">
            <a:extLst>
              <a:ext uri="{FF2B5EF4-FFF2-40B4-BE49-F238E27FC236}">
                <a16:creationId xmlns:a16="http://schemas.microsoft.com/office/drawing/2014/main" id="{EFA218B3-8A30-4C54-B515-AC26DBF02940}"/>
              </a:ext>
            </a:extLst>
          </p:cNvPr>
          <p:cNvGrpSpPr>
            <a:grpSpLocks noChangeAspect="1"/>
          </p:cNvGrpSpPr>
          <p:nvPr/>
        </p:nvGrpSpPr>
        <p:grpSpPr>
          <a:xfrm>
            <a:off x="514429" y="864696"/>
            <a:ext cx="457200" cy="457200"/>
            <a:chOff x="5867400" y="3200400"/>
            <a:chExt cx="457200" cy="457200"/>
          </a:xfrm>
        </p:grpSpPr>
        <p:sp>
          <p:nvSpPr>
            <p:cNvPr id="34" name="AutoShape 43">
              <a:extLst>
                <a:ext uri="{FF2B5EF4-FFF2-40B4-BE49-F238E27FC236}">
                  <a16:creationId xmlns:a16="http://schemas.microsoft.com/office/drawing/2014/main" id="{2B4CC366-AE21-4FE5-99A7-971E40BD67C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7">
              <a:extLst>
                <a:ext uri="{FF2B5EF4-FFF2-40B4-BE49-F238E27FC236}">
                  <a16:creationId xmlns:a16="http://schemas.microsoft.com/office/drawing/2014/main" id="{B746CEE8-3C5A-4FCF-8D48-DDA8BC72E6A5}"/>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7" name="Oval 20">
            <a:extLst>
              <a:ext uri="{FF2B5EF4-FFF2-40B4-BE49-F238E27FC236}">
                <a16:creationId xmlns:a16="http://schemas.microsoft.com/office/drawing/2014/main" id="{3C9CC22C-3F8D-4CF9-B8EF-43731FB75FB5}"/>
              </a:ext>
            </a:extLst>
          </p:cNvPr>
          <p:cNvSpPr>
            <a:spLocks noChangeAspect="1" noChangeArrowheads="1"/>
          </p:cNvSpPr>
          <p:nvPr/>
        </p:nvSpPr>
        <p:spPr bwMode="auto">
          <a:xfrm>
            <a:off x="10653884" y="5028891"/>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012EF450-2839-4FED-AA24-C5D57F4EC787}"/>
              </a:ext>
            </a:extLst>
          </p:cNvPr>
          <p:cNvSpPr>
            <a:spLocks noChangeAspect="1" noChangeArrowheads="1"/>
          </p:cNvSpPr>
          <p:nvPr/>
        </p:nvSpPr>
        <p:spPr bwMode="auto">
          <a:xfrm>
            <a:off x="10658840" y="2690304"/>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9" name="Oval 20">
            <a:extLst>
              <a:ext uri="{FF2B5EF4-FFF2-40B4-BE49-F238E27FC236}">
                <a16:creationId xmlns:a16="http://schemas.microsoft.com/office/drawing/2014/main" id="{6B5091CB-E8C9-4FB1-9FB1-3FB977F253FE}"/>
              </a:ext>
            </a:extLst>
          </p:cNvPr>
          <p:cNvSpPr>
            <a:spLocks noChangeAspect="1" noChangeArrowheads="1"/>
          </p:cNvSpPr>
          <p:nvPr/>
        </p:nvSpPr>
        <p:spPr bwMode="auto">
          <a:xfrm>
            <a:off x="10658840" y="3038181"/>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37" name="Rectangle 36">
            <a:extLst>
              <a:ext uri="{FF2B5EF4-FFF2-40B4-BE49-F238E27FC236}">
                <a16:creationId xmlns:a16="http://schemas.microsoft.com/office/drawing/2014/main" id="{284998D1-A287-4523-826C-3E463CA33544}"/>
              </a:ext>
            </a:extLst>
          </p:cNvPr>
          <p:cNvSpPr/>
          <p:nvPr/>
        </p:nvSpPr>
        <p:spPr>
          <a:xfrm flipH="1">
            <a:off x="7762941" y="1554159"/>
            <a:ext cx="1889112" cy="372522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4" name="Rectangle 63">
            <a:extLst>
              <a:ext uri="{FF2B5EF4-FFF2-40B4-BE49-F238E27FC236}">
                <a16:creationId xmlns:a16="http://schemas.microsoft.com/office/drawing/2014/main" id="{9E8E3570-EC5B-4C6D-BAFE-18BC613C3446}"/>
              </a:ext>
            </a:extLst>
          </p:cNvPr>
          <p:cNvSpPr/>
          <p:nvPr/>
        </p:nvSpPr>
        <p:spPr>
          <a:xfrm>
            <a:off x="6768499" y="5329220"/>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61" name="Group 60">
            <a:extLst>
              <a:ext uri="{FF2B5EF4-FFF2-40B4-BE49-F238E27FC236}">
                <a16:creationId xmlns:a16="http://schemas.microsoft.com/office/drawing/2014/main" id="{A1DBD756-2A3A-4D50-9672-8A10CF930E52}"/>
              </a:ext>
            </a:extLst>
          </p:cNvPr>
          <p:cNvGrpSpPr/>
          <p:nvPr/>
        </p:nvGrpSpPr>
        <p:grpSpPr>
          <a:xfrm>
            <a:off x="9688806" y="5356519"/>
            <a:ext cx="2116895" cy="591304"/>
            <a:chOff x="9751525" y="5356845"/>
            <a:chExt cx="2116895" cy="591304"/>
          </a:xfrm>
        </p:grpSpPr>
        <p:sp>
          <p:nvSpPr>
            <p:cNvPr id="62" name="Oval 20">
              <a:extLst>
                <a:ext uri="{FF2B5EF4-FFF2-40B4-BE49-F238E27FC236}">
                  <a16:creationId xmlns:a16="http://schemas.microsoft.com/office/drawing/2014/main" id="{C3A84BFE-3660-4183-8CF0-2E92E7D43E14}"/>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3" name="Rectangle 62">
              <a:extLst>
                <a:ext uri="{FF2B5EF4-FFF2-40B4-BE49-F238E27FC236}">
                  <a16:creationId xmlns:a16="http://schemas.microsoft.com/office/drawing/2014/main" id="{16494326-28E1-4DF8-8D13-0090C43C4EA6}"/>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5" name="Oval 20">
              <a:extLst>
                <a:ext uri="{FF2B5EF4-FFF2-40B4-BE49-F238E27FC236}">
                  <a16:creationId xmlns:a16="http://schemas.microsoft.com/office/drawing/2014/main" id="{98CE2056-E4C9-4DD4-B6D0-85F20F97BE80}"/>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6" name="Oval 20">
              <a:extLst>
                <a:ext uri="{FF2B5EF4-FFF2-40B4-BE49-F238E27FC236}">
                  <a16:creationId xmlns:a16="http://schemas.microsoft.com/office/drawing/2014/main" id="{FB606ADD-1E5B-4FC3-9BF9-23FE695D9154}"/>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7" name="Rectangle 66">
              <a:extLst>
                <a:ext uri="{FF2B5EF4-FFF2-40B4-BE49-F238E27FC236}">
                  <a16:creationId xmlns:a16="http://schemas.microsoft.com/office/drawing/2014/main" id="{6C7AD028-29B0-4E14-ACC6-E6E109B84AEF}"/>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68" name="Rectangle 67">
              <a:extLst>
                <a:ext uri="{FF2B5EF4-FFF2-40B4-BE49-F238E27FC236}">
                  <a16:creationId xmlns:a16="http://schemas.microsoft.com/office/drawing/2014/main" id="{6EB6EAD3-B745-4D89-AFB1-2F0FF8B366A7}"/>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43" name="Oval 20">
            <a:extLst>
              <a:ext uri="{FF2B5EF4-FFF2-40B4-BE49-F238E27FC236}">
                <a16:creationId xmlns:a16="http://schemas.microsoft.com/office/drawing/2014/main" id="{09709670-26DD-474A-88DB-ECA70E510507}"/>
              </a:ext>
            </a:extLst>
          </p:cNvPr>
          <p:cNvSpPr>
            <a:spLocks noChangeAspect="1" noChangeArrowheads="1"/>
          </p:cNvSpPr>
          <p:nvPr/>
        </p:nvSpPr>
        <p:spPr bwMode="auto">
          <a:xfrm>
            <a:off x="10658840" y="3721371"/>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7" name="Oval 20">
            <a:extLst>
              <a:ext uri="{FF2B5EF4-FFF2-40B4-BE49-F238E27FC236}">
                <a16:creationId xmlns:a16="http://schemas.microsoft.com/office/drawing/2014/main" id="{9F7DBD8E-E41C-4DC8-BD58-5DB0ED53528A}"/>
              </a:ext>
            </a:extLst>
          </p:cNvPr>
          <p:cNvSpPr>
            <a:spLocks noChangeAspect="1" noChangeArrowheads="1"/>
          </p:cNvSpPr>
          <p:nvPr/>
        </p:nvSpPr>
        <p:spPr bwMode="auto">
          <a:xfrm>
            <a:off x="10653884" y="4097724"/>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8" name="Oval 20">
            <a:extLst>
              <a:ext uri="{FF2B5EF4-FFF2-40B4-BE49-F238E27FC236}">
                <a16:creationId xmlns:a16="http://schemas.microsoft.com/office/drawing/2014/main" id="{1BE7B760-AF5B-494A-81EE-69B2EA3C286F}"/>
              </a:ext>
            </a:extLst>
          </p:cNvPr>
          <p:cNvSpPr>
            <a:spLocks noChangeAspect="1" noChangeArrowheads="1"/>
          </p:cNvSpPr>
          <p:nvPr/>
        </p:nvSpPr>
        <p:spPr bwMode="auto">
          <a:xfrm>
            <a:off x="10651982" y="4553282"/>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0" name="Oval 20">
            <a:extLst>
              <a:ext uri="{FF2B5EF4-FFF2-40B4-BE49-F238E27FC236}">
                <a16:creationId xmlns:a16="http://schemas.microsoft.com/office/drawing/2014/main" id="{D98C5A07-EC97-43D1-ADBD-7C1002367A4C}"/>
              </a:ext>
            </a:extLst>
          </p:cNvPr>
          <p:cNvSpPr>
            <a:spLocks noChangeAspect="1" noChangeArrowheads="1"/>
          </p:cNvSpPr>
          <p:nvPr/>
        </p:nvSpPr>
        <p:spPr bwMode="auto">
          <a:xfrm>
            <a:off x="10658840" y="3386058"/>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9" name="Left Bracket 58">
            <a:extLst>
              <a:ext uri="{FF2B5EF4-FFF2-40B4-BE49-F238E27FC236}">
                <a16:creationId xmlns:a16="http://schemas.microsoft.com/office/drawing/2014/main" id="{2CFD0F53-AD9A-44DB-8CC5-4724411B2491}"/>
              </a:ext>
            </a:extLst>
          </p:cNvPr>
          <p:cNvSpPr/>
          <p:nvPr/>
        </p:nvSpPr>
        <p:spPr>
          <a:xfrm rot="5400000">
            <a:off x="8599183" y="3571"/>
            <a:ext cx="187603" cy="2942778"/>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2446769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723" name="think-cell Slide" r:id="rId17" imgW="327" imgH="327" progId="TCLayout.ActiveDocument.1">
                  <p:embed/>
                </p:oleObj>
              </mc:Choice>
              <mc:Fallback>
                <p:oleObj name="think-cell Slide" r:id="rId17" imgW="327" imgH="327" progId="TCLayout.ActiveDocument.1">
                  <p:embed/>
                  <p:pic>
                    <p:nvPicPr>
                      <p:cNvPr id="5" name="Object 4"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7" name="Picture 36">
            <a:extLst>
              <a:ext uri="{FF2B5EF4-FFF2-40B4-BE49-F238E27FC236}">
                <a16:creationId xmlns:a16="http://schemas.microsoft.com/office/drawing/2014/main" id="{9E9F2651-78DF-44CF-9A9A-011CA155BE26}"/>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7812461" y="1668"/>
            <a:ext cx="4379539" cy="6866966"/>
          </a:xfrm>
          <a:prstGeom prst="rect">
            <a:avLst/>
          </a:prstGeom>
        </p:spPr>
      </p:pic>
      <p:sp>
        <p:nvSpPr>
          <p:cNvPr id="33" name="Rectangle 32">
            <a:extLst>
              <a:ext uri="{FF2B5EF4-FFF2-40B4-BE49-F238E27FC236}">
                <a16:creationId xmlns:a16="http://schemas.microsoft.com/office/drawing/2014/main" id="{234EF6B6-A8FE-4B72-BF3B-F860D2E8A6E4}"/>
              </a:ext>
            </a:extLst>
          </p:cNvPr>
          <p:cNvSpPr/>
          <p:nvPr/>
        </p:nvSpPr>
        <p:spPr>
          <a:xfrm>
            <a:off x="7805608" y="-10633"/>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DIGITAL LEARNING</a:t>
            </a:r>
          </a:p>
        </p:txBody>
      </p:sp>
      <p:sp>
        <p:nvSpPr>
          <p:cNvPr id="34" name="Oval 33">
            <a:extLst>
              <a:ext uri="{FF2B5EF4-FFF2-40B4-BE49-F238E27FC236}">
                <a16:creationId xmlns:a16="http://schemas.microsoft.com/office/drawing/2014/main" id="{E390C6B9-29F4-4AF9-AADA-14CEB4DEC90A}"/>
              </a:ext>
            </a:extLst>
          </p:cNvPr>
          <p:cNvSpPr>
            <a:spLocks noChangeAspect="1"/>
          </p:cNvSpPr>
          <p:nvPr/>
        </p:nvSpPr>
        <p:spPr>
          <a:xfrm>
            <a:off x="8494776" y="1860776"/>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368</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5164053" y="5465762"/>
            <a:ext cx="2551196" cy="1156758"/>
          </a:xfrm>
          <a:prstGeom prst="wedgeRectCallout">
            <a:avLst>
              <a:gd name="adj1" fmla="val -23265"/>
              <a:gd name="adj2" fmla="val -5401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Virtual Learning] </a:t>
            </a:r>
            <a:r>
              <a:rPr lang="en-US" sz="1200" dirty="0">
                <a:cs typeface="Arial" pitchFamily="34" charset="0"/>
              </a:rPr>
              <a:t>These have been great- I found them equally effective to previous in-person trainings, and they were less disruptive to my schedule due to lack of travel, etc.</a:t>
            </a:r>
            <a:r>
              <a:rPr lang="en-GB" sz="1200" dirty="0">
                <a:cs typeface="Arial" pitchFamily="34" charset="0"/>
              </a:rPr>
              <a:t>” - </a:t>
            </a:r>
            <a:r>
              <a:rPr lang="en-GB" sz="1000" i="1" dirty="0">
                <a:cs typeface="Arial" pitchFamily="34" charset="0"/>
              </a:rPr>
              <a:t>Project Leader</a:t>
            </a:r>
          </a:p>
        </p:txBody>
      </p:sp>
      <p:sp>
        <p:nvSpPr>
          <p:cNvPr id="54" name="Rectangular Callout 53"/>
          <p:cNvSpPr/>
          <p:nvPr/>
        </p:nvSpPr>
        <p:spPr>
          <a:xfrm>
            <a:off x="2963977" y="4007635"/>
            <a:ext cx="1209361" cy="1263650"/>
          </a:xfrm>
          <a:prstGeom prst="wedgeRectCallout">
            <a:avLst>
              <a:gd name="adj1" fmla="val 17656"/>
              <a:gd name="adj2" fmla="val -590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en-GB" sz="1200" dirty="0">
              <a:cs typeface="Arial" pitchFamily="34" charset="0"/>
            </a:endParaRPr>
          </a:p>
          <a:p>
            <a:r>
              <a:rPr lang="en-GB" sz="1200" dirty="0">
                <a:cs typeface="Arial" pitchFamily="34" charset="0"/>
              </a:rPr>
              <a:t>“</a:t>
            </a:r>
            <a:r>
              <a:rPr lang="en-US" sz="1200" dirty="0">
                <a:cs typeface="Arial" pitchFamily="34" charset="0"/>
              </a:rPr>
              <a:t>LAB improved greatly in the past, keep up the good work.</a:t>
            </a:r>
            <a:r>
              <a:rPr lang="en-GB" sz="1200" dirty="0">
                <a:cs typeface="Arial" pitchFamily="34" charset="0"/>
              </a:rPr>
              <a:t>”</a:t>
            </a:r>
          </a:p>
          <a:p>
            <a:pPr algn="r"/>
            <a:r>
              <a:rPr lang="en-GB" sz="1000" i="1" dirty="0">
                <a:cs typeface="Arial" pitchFamily="34" charset="0"/>
              </a:rPr>
              <a:t>Consultant</a:t>
            </a:r>
          </a:p>
        </p:txBody>
      </p:sp>
      <p:sp>
        <p:nvSpPr>
          <p:cNvPr id="55" name="Rectangular Callout 54"/>
          <p:cNvSpPr/>
          <p:nvPr/>
        </p:nvSpPr>
        <p:spPr>
          <a:xfrm>
            <a:off x="1733436" y="4015818"/>
            <a:ext cx="1133330" cy="1277008"/>
          </a:xfrm>
          <a:prstGeom prst="wedgeRectCallout">
            <a:avLst>
              <a:gd name="adj1" fmla="val -17467"/>
              <a:gd name="adj2" fmla="val 5656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Wide range of topics available for trainings.</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Other CT</a:t>
            </a:r>
            <a:endParaRPr lang="en-GB" sz="1050" i="1" dirty="0">
              <a:cs typeface="Arial" pitchFamily="34" charset="0"/>
            </a:endParaRPr>
          </a:p>
        </p:txBody>
      </p:sp>
      <p:sp>
        <p:nvSpPr>
          <p:cNvPr id="41" name="Rectangular Callout 40"/>
          <p:cNvSpPr/>
          <p:nvPr/>
        </p:nvSpPr>
        <p:spPr>
          <a:xfrm>
            <a:off x="4270549" y="4015817"/>
            <a:ext cx="3444701" cy="1263650"/>
          </a:xfrm>
          <a:prstGeom prst="wedgeRectCallout">
            <a:avLst>
              <a:gd name="adj1" fmla="val -22494"/>
              <a:gd name="adj2" fmla="val 5793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LAB] </a:t>
            </a:r>
            <a:r>
              <a:rPr lang="en-US" sz="1200" dirty="0">
                <a:cs typeface="Arial" pitchFamily="34" charset="0"/>
              </a:rPr>
              <a:t>Quite clumsy and often inconsistent tool which doesn't work equally well on laptop and iPad and requires many unnecessary steps to get to the content one needs; furthermore too much focused put on listening to someone talking instead of just getting to the point.</a:t>
            </a:r>
            <a:r>
              <a:rPr lang="en-GB" sz="1200" dirty="0">
                <a:cs typeface="Arial" pitchFamily="34" charset="0"/>
              </a:rPr>
              <a:t>”</a:t>
            </a:r>
          </a:p>
          <a:p>
            <a:pPr algn="r"/>
            <a:r>
              <a:rPr lang="en-GB" sz="1000" i="1" dirty="0">
                <a:cs typeface="Arial" pitchFamily="34" charset="0"/>
              </a:rPr>
              <a:t>Project Leader</a:t>
            </a:r>
          </a:p>
        </p:txBody>
      </p:sp>
      <p:sp>
        <p:nvSpPr>
          <p:cNvPr id="28" name="Rectangle 27">
            <a:extLst>
              <a:ext uri="{FF2B5EF4-FFF2-40B4-BE49-F238E27FC236}">
                <a16:creationId xmlns:a16="http://schemas.microsoft.com/office/drawing/2014/main" id="{AE8BA0A3-A22B-4066-9085-3FC79F11C9A0}"/>
              </a:ext>
            </a:extLst>
          </p:cNvPr>
          <p:cNvSpPr/>
          <p:nvPr/>
        </p:nvSpPr>
        <p:spPr>
          <a:xfrm>
            <a:off x="194879" y="3686175"/>
            <a:ext cx="5349053" cy="2571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82651" y="203781"/>
            <a:ext cx="7432497" cy="156945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Despite improvements in the LAB interface, many employees still find it clumsy &amp; not user friendly. Many also find it difficult to locate the right learning content, both in LAB &amp; across other websites. Some report they are happy with the variety of topics available, interactive on-demand learning sessions, &amp; virtual learnings. Many employees chose to indicate they do not use LAB or undertake learning. </a:t>
            </a:r>
          </a:p>
        </p:txBody>
      </p:sp>
      <p:graphicFrame>
        <p:nvGraphicFramePr>
          <p:cNvPr id="35" name="Chart 34">
            <a:extLst>
              <a:ext uri="{FF2B5EF4-FFF2-40B4-BE49-F238E27FC236}">
                <a16:creationId xmlns:a16="http://schemas.microsoft.com/office/drawing/2014/main" id="{A942A9B5-E619-4C21-82CA-6D702C5B2901}"/>
              </a:ext>
            </a:extLst>
          </p:cNvPr>
          <p:cNvGraphicFramePr/>
          <p:nvPr>
            <p:custDataLst>
              <p:tags r:id="rId4"/>
            </p:custDataLst>
          </p:nvPr>
        </p:nvGraphicFramePr>
        <p:xfrm>
          <a:off x="1495425" y="2120900"/>
          <a:ext cx="6219825" cy="1263650"/>
        </p:xfrm>
        <a:graphic>
          <a:graphicData uri="http://schemas.openxmlformats.org/drawingml/2006/chart">
            <c:chart xmlns:c="http://schemas.openxmlformats.org/drawingml/2006/chart" xmlns:r="http://schemas.openxmlformats.org/officeDocument/2006/relationships" r:id="rId20"/>
          </a:graphicData>
        </a:graphic>
      </p:graphicFrame>
      <p:sp>
        <p:nvSpPr>
          <p:cNvPr id="64" name="Text Placeholder 3">
            <a:extLst>
              <a:ext uri="{FF2B5EF4-FFF2-40B4-BE49-F238E27FC236}">
                <a16:creationId xmlns:a16="http://schemas.microsoft.com/office/drawing/2014/main" id="{84D95F49-E8B1-457D-B344-D60CAEB67712}"/>
              </a:ext>
            </a:extLst>
          </p:cNvPr>
          <p:cNvSpPr>
            <a:spLocks noGrp="1"/>
          </p:cNvSpPr>
          <p:nvPr>
            <p:custDataLst>
              <p:tags r:id="rId5"/>
            </p:custDataLst>
          </p:nvPr>
        </p:nvSpPr>
        <p:spPr bwMode="gray">
          <a:xfrm>
            <a:off x="698500" y="2239963"/>
            <a:ext cx="7778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FFD6F8F-47E8-4489-9BBE-6DC740F3C904}" type="datetime'''''''Eas''''e'''''''' ''o''''''''''f'' ''U''''''''''s''e'">
              <a:rPr lang="en-US" altLang="en-US" smtClean="0">
                <a:solidFill>
                  <a:schemeClr val="bg1"/>
                </a:solidFill>
              </a:rPr>
              <a:pPr/>
              <a:t>Ease of Use</a:t>
            </a:fld>
            <a:endParaRPr lang="en-US" altLang="en-US" dirty="0">
              <a:solidFill>
                <a:schemeClr val="bg1"/>
              </a:solidFill>
            </a:endParaRPr>
          </a:p>
        </p:txBody>
      </p:sp>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6"/>
            </p:custDataLst>
          </p:nvPr>
        </p:nvSpPr>
        <p:spPr bwMode="gray">
          <a:xfrm>
            <a:off x="725488" y="2514600"/>
            <a:ext cx="7508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490E864-389B-4E2F-870B-18B1C209BD0A}" type="datetime'D''''''''o ''N''''o''t'''''''''''' ''Use'''''''">
              <a:rPr lang="en-US" altLang="en-US" smtClean="0">
                <a:solidFill>
                  <a:schemeClr val="bg1"/>
                </a:solidFill>
              </a:rPr>
              <a:pPr/>
              <a:t>Do Not Use</a:t>
            </a:fld>
            <a:endParaRPr lang="en-US" altLang="en-US" dirty="0">
              <a:solidFill>
                <a:schemeClr val="bg1"/>
              </a:solidFill>
            </a:endParaRPr>
          </a:p>
        </p:txBody>
      </p:sp>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7"/>
            </p:custDataLst>
          </p:nvPr>
        </p:nvSpPr>
        <p:spPr bwMode="gray">
          <a:xfrm>
            <a:off x="268288" y="2789238"/>
            <a:ext cx="12080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F99C7B8-3367-4925-87F2-CB7B10A7023D}" type="datetime'''''''F''''''''''''''ind''in''g'' R''e''s''''''''''ou''rce''s'">
              <a:rPr lang="en-US" altLang="en-US" smtClean="0">
                <a:solidFill>
                  <a:schemeClr val="bg1"/>
                </a:solidFill>
              </a:rPr>
              <a:pPr/>
              <a:t>Finding Resources</a:t>
            </a:fld>
            <a:endParaRPr lang="en-US" dirty="0">
              <a:solidFill>
                <a:schemeClr val="bg1"/>
              </a:solidFill>
              <a:sym typeface="+mn-lt"/>
            </a:endParaRPr>
          </a:p>
        </p:txBody>
      </p:sp>
      <p:sp>
        <p:nvSpPr>
          <p:cNvPr id="127" name="Text Placeholder 3">
            <a:extLst>
              <a:ext uri="{FF2B5EF4-FFF2-40B4-BE49-F238E27FC236}">
                <a16:creationId xmlns:a16="http://schemas.microsoft.com/office/drawing/2014/main" id="{16E416DA-B1A7-45FC-B301-EF3E06ABF9AC}"/>
              </a:ext>
            </a:extLst>
          </p:cNvPr>
          <p:cNvSpPr>
            <a:spLocks noGrp="1"/>
          </p:cNvSpPr>
          <p:nvPr>
            <p:custDataLst>
              <p:tags r:id="rId8"/>
            </p:custDataLst>
          </p:nvPr>
        </p:nvSpPr>
        <p:spPr bwMode="gray">
          <a:xfrm>
            <a:off x="293688" y="3063875"/>
            <a:ext cx="11826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97BA1559-2AC4-438D-B8AF-44A460F67E7C}" type="datetime'L''''ear''''''''''''''n''ing De''''live''r''''''''y'''''">
              <a:rPr lang="en-US" altLang="en-US" smtClean="0">
                <a:solidFill>
                  <a:schemeClr val="bg1"/>
                </a:solidFill>
              </a:rPr>
              <a:pPr/>
              <a:t>Learning Delivery</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9"/>
            </p:custDataLst>
          </p:nvPr>
        </p:nvSpPr>
        <p:spPr bwMode="gray">
          <a:xfrm>
            <a:off x="1868488" y="338137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10"/>
            </p:custDataLst>
          </p:nvPr>
        </p:nvSpPr>
        <p:spPr bwMode="gray">
          <a:xfrm>
            <a:off x="2762250" y="33813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11"/>
            </p:custDataLst>
          </p:nvPr>
        </p:nvSpPr>
        <p:spPr bwMode="gray">
          <a:xfrm>
            <a:off x="3633788" y="33813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2"/>
            </p:custDataLst>
          </p:nvPr>
        </p:nvSpPr>
        <p:spPr bwMode="gray">
          <a:xfrm>
            <a:off x="2133600" y="336232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3"/>
            </p:custDataLst>
          </p:nvPr>
        </p:nvSpPr>
        <p:spPr bwMode="gray">
          <a:xfrm>
            <a:off x="3027363" y="33623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4"/>
            </p:custDataLst>
          </p:nvPr>
        </p:nvSpPr>
        <p:spPr bwMode="gray">
          <a:xfrm>
            <a:off x="3898900" y="336232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25613" y="196373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91" name="Rectangular Callout 53">
            <a:extLst>
              <a:ext uri="{FF2B5EF4-FFF2-40B4-BE49-F238E27FC236}">
                <a16:creationId xmlns:a16="http://schemas.microsoft.com/office/drawing/2014/main" id="{694E5F8D-3195-4C9D-9F1D-CDC53247C44B}"/>
              </a:ext>
            </a:extLst>
          </p:cNvPr>
          <p:cNvSpPr/>
          <p:nvPr/>
        </p:nvSpPr>
        <p:spPr>
          <a:xfrm>
            <a:off x="271076" y="4015818"/>
            <a:ext cx="1346710" cy="1277008"/>
          </a:xfrm>
          <a:prstGeom prst="wedgeRectCallout">
            <a:avLst>
              <a:gd name="adj1" fmla="val 27723"/>
              <a:gd name="adj2" fmla="val 5321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On Demand Learning] </a:t>
            </a:r>
            <a:r>
              <a:rPr lang="en-US" sz="1200" dirty="0">
                <a:cs typeface="Arial" pitchFamily="34" charset="0"/>
              </a:rPr>
              <a:t>Has become a lot more interactive which is good.</a:t>
            </a:r>
            <a:r>
              <a:rPr lang="en-GB" sz="1200" dirty="0">
                <a:cs typeface="Arial" pitchFamily="34" charset="0"/>
              </a:rPr>
              <a:t>”</a:t>
            </a:r>
          </a:p>
          <a:p>
            <a:endParaRPr lang="en-US" sz="1200" dirty="0">
              <a:cs typeface="Arial" pitchFamily="34" charset="0"/>
            </a:endParaRPr>
          </a:p>
          <a:p>
            <a:pPr algn="r"/>
            <a:r>
              <a:rPr lang="en-GB" sz="1000" i="1" dirty="0">
                <a:cs typeface="Arial" pitchFamily="34" charset="0"/>
              </a:rPr>
              <a:t>Partner</a:t>
            </a:r>
          </a:p>
        </p:txBody>
      </p:sp>
      <p:sp>
        <p:nvSpPr>
          <p:cNvPr id="57" name="Rectangular Callout 53">
            <a:extLst>
              <a:ext uri="{FF2B5EF4-FFF2-40B4-BE49-F238E27FC236}">
                <a16:creationId xmlns:a16="http://schemas.microsoft.com/office/drawing/2014/main" id="{461A0AE5-C061-40B7-A6AA-510B9705EF9B}"/>
              </a:ext>
            </a:extLst>
          </p:cNvPr>
          <p:cNvSpPr/>
          <p:nvPr/>
        </p:nvSpPr>
        <p:spPr>
          <a:xfrm>
            <a:off x="269900" y="5465762"/>
            <a:ext cx="2193435" cy="1145645"/>
          </a:xfrm>
          <a:prstGeom prst="wedgeRectCallout">
            <a:avLst>
              <a:gd name="adj1" fmla="val -14412"/>
              <a:gd name="adj2" fmla="val -5936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Not always clear on which website to look for which training. Maybe some introduction to resources at the beginning of the term would be great.</a:t>
            </a:r>
            <a:r>
              <a:rPr lang="en-GB" sz="1200" dirty="0">
                <a:cs typeface="Arial" pitchFamily="34" charset="0"/>
              </a:rPr>
              <a:t>”      </a:t>
            </a:r>
            <a:r>
              <a:rPr lang="en-GB" sz="1000" i="1" dirty="0">
                <a:cs typeface="Arial" pitchFamily="34" charset="0"/>
              </a:rPr>
              <a:t>Associate</a:t>
            </a:r>
          </a:p>
        </p:txBody>
      </p:sp>
      <p:sp>
        <p:nvSpPr>
          <p:cNvPr id="29" name="Rectangular Callout 53">
            <a:extLst>
              <a:ext uri="{FF2B5EF4-FFF2-40B4-BE49-F238E27FC236}">
                <a16:creationId xmlns:a16="http://schemas.microsoft.com/office/drawing/2014/main" id="{1318AAEC-AF32-4346-B271-E315F5AE1727}"/>
              </a:ext>
            </a:extLst>
          </p:cNvPr>
          <p:cNvSpPr/>
          <p:nvPr/>
        </p:nvSpPr>
        <p:spPr>
          <a:xfrm>
            <a:off x="2560546" y="5476875"/>
            <a:ext cx="2551197" cy="1145645"/>
          </a:xfrm>
          <a:prstGeom prst="wedgeRectCallout">
            <a:avLst>
              <a:gd name="adj1" fmla="val -22098"/>
              <a:gd name="adj2" fmla="val -611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a:t>
            </a:r>
            <a:r>
              <a:rPr lang="en-US" sz="1200" dirty="0">
                <a:solidFill>
                  <a:srgbClr val="FFFFFF"/>
                </a:solidFill>
                <a:sym typeface="Trebuchet MS" panose="020B0603020202020204" pitchFamily="34" charset="0"/>
              </a:rPr>
              <a:t>All these different ways of delivery are confusing. I used 3 different platforms recently for mandatory trainings and never know where to find it</a:t>
            </a:r>
            <a:r>
              <a:rPr lang="en-US" sz="1200" dirty="0">
                <a:cs typeface="Arial" pitchFamily="34" charset="0"/>
              </a:rPr>
              <a:t> .</a:t>
            </a:r>
            <a:r>
              <a:rPr lang="en-GB" sz="1200" dirty="0">
                <a:cs typeface="Arial" pitchFamily="34" charset="0"/>
              </a:rPr>
              <a:t>”</a:t>
            </a:r>
            <a:r>
              <a:rPr lang="en-GB" sz="1200" i="1" dirty="0">
                <a:solidFill>
                  <a:srgbClr val="FFFFFF"/>
                </a:solidFill>
                <a:cs typeface="Arial" pitchFamily="34" charset="0"/>
              </a:rPr>
              <a:t> </a:t>
            </a:r>
          </a:p>
          <a:p>
            <a:pPr algn="r"/>
            <a:r>
              <a:rPr lang="en-GB" sz="1000" i="1" dirty="0">
                <a:cs typeface="Arial" pitchFamily="34" charset="0"/>
              </a:rPr>
              <a:t>Partner</a:t>
            </a:r>
          </a:p>
        </p:txBody>
      </p:sp>
    </p:spTree>
    <p:extLst>
      <p:ext uri="{BB962C8B-B14F-4D97-AF65-F5344CB8AC3E}">
        <p14:creationId xmlns:p14="http://schemas.microsoft.com/office/powerpoint/2010/main" val="155940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F37396-C8F3-4714-8BC9-0D85DD47AC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686"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7BF37396-C8F3-4714-8BC9-0D85DD47A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2">
            <a:extLst>
              <a:ext uri="{FF2B5EF4-FFF2-40B4-BE49-F238E27FC236}">
                <a16:creationId xmlns:a16="http://schemas.microsoft.com/office/drawing/2014/main" id="{5915CEDE-91A2-4409-A58D-9F883E14CE5A}"/>
              </a:ext>
            </a:extLst>
          </p:cNvPr>
          <p:cNvSpPr>
            <a:spLocks noGrp="1"/>
          </p:cNvSpPr>
          <p:nvPr>
            <p:ph type="title"/>
          </p:nvPr>
        </p:nvSpPr>
        <p:spPr>
          <a:xfrm>
            <a:off x="630238" y="622300"/>
            <a:ext cx="10933112" cy="304699"/>
          </a:xfrm>
        </p:spPr>
        <p:txBody>
          <a:bodyPr vert="horz"/>
          <a:lstStyle/>
          <a:p>
            <a:r>
              <a:rPr lang="en-US" sz="2200" dirty="0">
                <a:solidFill>
                  <a:srgbClr val="295E7E"/>
                </a:solidFill>
              </a:rPr>
              <a:t>Q – </a:t>
            </a:r>
            <a:r>
              <a:rPr lang="en-GB" sz="2200" dirty="0">
                <a:solidFill>
                  <a:srgbClr val="295E7E"/>
                </a:solidFill>
              </a:rPr>
              <a:t>What IT tools do you most need training on</a:t>
            </a:r>
            <a:r>
              <a:rPr lang="en-US" sz="2200" dirty="0">
                <a:solidFill>
                  <a:srgbClr val="295E7E"/>
                </a:solidFill>
              </a:rPr>
              <a:t>?</a:t>
            </a:r>
          </a:p>
        </p:txBody>
      </p:sp>
      <p:sp>
        <p:nvSpPr>
          <p:cNvPr id="13" name="Rectangle 12">
            <a:extLst>
              <a:ext uri="{FF2B5EF4-FFF2-40B4-BE49-F238E27FC236}">
                <a16:creationId xmlns:a16="http://schemas.microsoft.com/office/drawing/2014/main" id="{1DAC10AE-81D7-411D-B6D4-96B053308BDE}"/>
              </a:ext>
            </a:extLst>
          </p:cNvPr>
          <p:cNvSpPr/>
          <p:nvPr/>
        </p:nvSpPr>
        <p:spPr>
          <a:xfrm>
            <a:off x="0" y="5730949"/>
            <a:ext cx="12192000" cy="1127051"/>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There has been a large increase in the number of people requesting OneDrive &amp; SharePoint training following the switch from Egnyte. Trello, Slack &amp; Microsoft Office products are still commonly requested, &amp; there is similar demand to last quarter for training on whiteboarding tools such as Miro.</a:t>
            </a:r>
          </a:p>
        </p:txBody>
      </p:sp>
      <p:sp>
        <p:nvSpPr>
          <p:cNvPr id="28" name="Rectangle 27">
            <a:extLst>
              <a:ext uri="{FF2B5EF4-FFF2-40B4-BE49-F238E27FC236}">
                <a16:creationId xmlns:a16="http://schemas.microsoft.com/office/drawing/2014/main" id="{EB4B9802-9C19-41A6-8920-8DEE88CB8FAE}"/>
              </a:ext>
            </a:extLst>
          </p:cNvPr>
          <p:cNvSpPr/>
          <p:nvPr/>
        </p:nvSpPr>
        <p:spPr>
          <a:xfrm>
            <a:off x="6747313" y="1629169"/>
            <a:ext cx="5023128" cy="646331"/>
          </a:xfrm>
          <a:prstGeom prst="rect">
            <a:avLst/>
          </a:prstGeom>
          <a:ln w="9525" cap="flat" cmpd="sng" algn="ctr">
            <a:noFill/>
            <a:prstDash val="solid"/>
            <a:round/>
            <a:headEnd type="none" w="med" len="med"/>
            <a:tailEnd type="none" w="med" len="med"/>
          </a:ln>
        </p:spPr>
        <p:txBody>
          <a:bodyPr wrap="square">
            <a:spAutoFit/>
          </a:bodyPr>
          <a:lstStyle/>
          <a:p>
            <a:r>
              <a:rPr lang="en-US" sz="1200" dirty="0"/>
              <a:t>Continued focus on widespread adoption of file-sharing and version control. While I use these features within my teams, we often have to collaborate with other who do not</a:t>
            </a:r>
          </a:p>
        </p:txBody>
      </p:sp>
      <p:sp>
        <p:nvSpPr>
          <p:cNvPr id="33" name="Rectangle 32">
            <a:extLst>
              <a:ext uri="{FF2B5EF4-FFF2-40B4-BE49-F238E27FC236}">
                <a16:creationId xmlns:a16="http://schemas.microsoft.com/office/drawing/2014/main" id="{F918788B-8654-4C9A-A159-3585CC978375}"/>
              </a:ext>
            </a:extLst>
          </p:cNvPr>
          <p:cNvSpPr/>
          <p:nvPr/>
        </p:nvSpPr>
        <p:spPr>
          <a:xfrm>
            <a:off x="6736797" y="2331260"/>
            <a:ext cx="5033628" cy="461665"/>
          </a:xfrm>
          <a:prstGeom prst="rect">
            <a:avLst/>
          </a:prstGeom>
          <a:ln w="9525" cap="flat" cmpd="sng" algn="ctr">
            <a:noFill/>
            <a:prstDash val="solid"/>
            <a:round/>
            <a:headEnd type="none" w="med" len="med"/>
            <a:tailEnd type="none" w="med" len="med"/>
          </a:ln>
        </p:spPr>
        <p:txBody>
          <a:bodyPr wrap="square">
            <a:spAutoFit/>
          </a:bodyPr>
          <a:lstStyle/>
          <a:p>
            <a:r>
              <a:rPr lang="en-US" sz="1200" dirty="0"/>
              <a:t>OneDrive/SharePoint and Trello because certain apps don't work depending on the workspace</a:t>
            </a:r>
          </a:p>
        </p:txBody>
      </p:sp>
      <p:sp>
        <p:nvSpPr>
          <p:cNvPr id="35" name="Rectangle 34">
            <a:extLst>
              <a:ext uri="{FF2B5EF4-FFF2-40B4-BE49-F238E27FC236}">
                <a16:creationId xmlns:a16="http://schemas.microsoft.com/office/drawing/2014/main" id="{4DC0700E-BD3C-41FF-838F-3D17D85870AE}"/>
              </a:ext>
            </a:extLst>
          </p:cNvPr>
          <p:cNvSpPr/>
          <p:nvPr/>
        </p:nvSpPr>
        <p:spPr>
          <a:xfrm>
            <a:off x="6747327" y="2855217"/>
            <a:ext cx="5023098" cy="461665"/>
          </a:xfrm>
          <a:prstGeom prst="rect">
            <a:avLst/>
          </a:prstGeom>
          <a:ln w="9525" cap="flat" cmpd="sng" algn="ctr">
            <a:noFill/>
            <a:prstDash val="solid"/>
            <a:round/>
            <a:headEnd type="none" w="med" len="med"/>
            <a:tailEnd type="none" w="med" len="med"/>
          </a:ln>
        </p:spPr>
        <p:txBody>
          <a:bodyPr wrap="square">
            <a:spAutoFit/>
          </a:bodyPr>
          <a:lstStyle/>
          <a:p>
            <a:r>
              <a:rPr lang="en-US" sz="1200" dirty="0"/>
              <a:t>Trello and Slack – an advanced learning / training on these two would be great</a:t>
            </a:r>
          </a:p>
        </p:txBody>
      </p:sp>
      <p:sp>
        <p:nvSpPr>
          <p:cNvPr id="34" name="Rectangle 33">
            <a:extLst>
              <a:ext uri="{FF2B5EF4-FFF2-40B4-BE49-F238E27FC236}">
                <a16:creationId xmlns:a16="http://schemas.microsoft.com/office/drawing/2014/main" id="{DFF1620B-0BC6-43B1-832E-491A749DC852}"/>
              </a:ext>
            </a:extLst>
          </p:cNvPr>
          <p:cNvSpPr/>
          <p:nvPr/>
        </p:nvSpPr>
        <p:spPr>
          <a:xfrm>
            <a:off x="6736809" y="3335720"/>
            <a:ext cx="5033616" cy="461665"/>
          </a:xfrm>
          <a:prstGeom prst="rect">
            <a:avLst/>
          </a:prstGeom>
          <a:ln w="9525" cap="flat" cmpd="sng" algn="ctr">
            <a:noFill/>
            <a:prstDash val="solid"/>
            <a:round/>
            <a:headEnd type="none" w="med" len="med"/>
            <a:tailEnd type="none" w="med" len="med"/>
          </a:ln>
        </p:spPr>
        <p:txBody>
          <a:bodyPr wrap="square">
            <a:spAutoFit/>
          </a:bodyPr>
          <a:lstStyle/>
          <a:p>
            <a:r>
              <a:rPr lang="en-GB" sz="1200" dirty="0"/>
              <a:t>The new ones – like OneDrive, Travel Tools and all latest updates / features on existing tools like Zoom, Trello, Outlook etc.</a:t>
            </a:r>
            <a:endParaRPr lang="en-US" sz="1200" dirty="0"/>
          </a:p>
        </p:txBody>
      </p:sp>
      <p:sp>
        <p:nvSpPr>
          <p:cNvPr id="2" name="Rectangle 1">
            <a:extLst>
              <a:ext uri="{FF2B5EF4-FFF2-40B4-BE49-F238E27FC236}">
                <a16:creationId xmlns:a16="http://schemas.microsoft.com/office/drawing/2014/main" id="{904C9291-C056-426B-8E93-AB88E374DE4D}"/>
              </a:ext>
            </a:extLst>
          </p:cNvPr>
          <p:cNvSpPr/>
          <p:nvPr/>
        </p:nvSpPr>
        <p:spPr>
          <a:xfrm>
            <a:off x="6747313" y="4892273"/>
            <a:ext cx="5023131" cy="276999"/>
          </a:xfrm>
          <a:prstGeom prst="rect">
            <a:avLst/>
          </a:prstGeom>
          <a:ln w="9525" cap="flat" cmpd="sng" algn="ctr">
            <a:noFill/>
            <a:prstDash val="solid"/>
            <a:round/>
            <a:headEnd type="none" w="med" len="med"/>
            <a:tailEnd type="none" w="med" len="med"/>
          </a:ln>
        </p:spPr>
        <p:txBody>
          <a:bodyPr wrap="square">
            <a:spAutoFit/>
          </a:bodyPr>
          <a:lstStyle/>
          <a:p>
            <a:r>
              <a:rPr lang="en-US" sz="1200" dirty="0"/>
              <a:t>Virtual collaboration and whiteboarding tools</a:t>
            </a:r>
          </a:p>
        </p:txBody>
      </p:sp>
      <p:grpSp>
        <p:nvGrpSpPr>
          <p:cNvPr id="46" name="Group 45">
            <a:extLst>
              <a:ext uri="{FF2B5EF4-FFF2-40B4-BE49-F238E27FC236}">
                <a16:creationId xmlns:a16="http://schemas.microsoft.com/office/drawing/2014/main" id="{20111BCC-D71B-4800-9D4A-276E6BFA966B}"/>
              </a:ext>
            </a:extLst>
          </p:cNvPr>
          <p:cNvGrpSpPr>
            <a:grpSpLocks noChangeAspect="1"/>
          </p:cNvGrpSpPr>
          <p:nvPr/>
        </p:nvGrpSpPr>
        <p:grpSpPr>
          <a:xfrm>
            <a:off x="6429887" y="1580313"/>
            <a:ext cx="306910" cy="306910"/>
            <a:chOff x="5961063" y="3294063"/>
            <a:chExt cx="269875" cy="269875"/>
          </a:xfrm>
        </p:grpSpPr>
        <p:sp>
          <p:nvSpPr>
            <p:cNvPr id="49" name="Oval 46">
              <a:extLst>
                <a:ext uri="{FF2B5EF4-FFF2-40B4-BE49-F238E27FC236}">
                  <a16:creationId xmlns:a16="http://schemas.microsoft.com/office/drawing/2014/main" id="{53BD69F7-C508-4290-B50C-ED6893FA9087}"/>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0" name="Freeform 47">
              <a:extLst>
                <a:ext uri="{FF2B5EF4-FFF2-40B4-BE49-F238E27FC236}">
                  <a16:creationId xmlns:a16="http://schemas.microsoft.com/office/drawing/2014/main" id="{94A17976-877A-4C71-BD65-956EF46EDF00}"/>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51" name="Group 50">
            <a:extLst>
              <a:ext uri="{FF2B5EF4-FFF2-40B4-BE49-F238E27FC236}">
                <a16:creationId xmlns:a16="http://schemas.microsoft.com/office/drawing/2014/main" id="{483A28F2-7240-4752-9506-780B6C8F3098}"/>
              </a:ext>
            </a:extLst>
          </p:cNvPr>
          <p:cNvGrpSpPr>
            <a:grpSpLocks noChangeAspect="1"/>
          </p:cNvGrpSpPr>
          <p:nvPr/>
        </p:nvGrpSpPr>
        <p:grpSpPr>
          <a:xfrm>
            <a:off x="6429886" y="2280721"/>
            <a:ext cx="306910" cy="306910"/>
            <a:chOff x="5961063" y="3294063"/>
            <a:chExt cx="269875" cy="269875"/>
          </a:xfrm>
        </p:grpSpPr>
        <p:sp>
          <p:nvSpPr>
            <p:cNvPr id="52" name="Oval 46">
              <a:extLst>
                <a:ext uri="{FF2B5EF4-FFF2-40B4-BE49-F238E27FC236}">
                  <a16:creationId xmlns:a16="http://schemas.microsoft.com/office/drawing/2014/main" id="{7B2E60A2-706C-480F-A591-722976B772F5}"/>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3" name="Freeform 47">
              <a:extLst>
                <a:ext uri="{FF2B5EF4-FFF2-40B4-BE49-F238E27FC236}">
                  <a16:creationId xmlns:a16="http://schemas.microsoft.com/office/drawing/2014/main" id="{DD168241-6684-4992-87E4-6052628F27D3}"/>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54" name="Rectangle 53">
            <a:extLst>
              <a:ext uri="{FF2B5EF4-FFF2-40B4-BE49-F238E27FC236}">
                <a16:creationId xmlns:a16="http://schemas.microsoft.com/office/drawing/2014/main" id="{1DC31BF3-21E5-4C7C-B809-21C303638A59}"/>
              </a:ext>
            </a:extLst>
          </p:cNvPr>
          <p:cNvSpPr/>
          <p:nvPr/>
        </p:nvSpPr>
        <p:spPr>
          <a:xfrm>
            <a:off x="6747313" y="4205247"/>
            <a:ext cx="5023131" cy="646331"/>
          </a:xfrm>
          <a:prstGeom prst="rect">
            <a:avLst/>
          </a:prstGeom>
          <a:ln w="9525" cap="flat" cmpd="sng" algn="ctr">
            <a:noFill/>
            <a:prstDash val="solid"/>
            <a:round/>
            <a:headEnd type="none" w="med" len="med"/>
            <a:tailEnd type="none" w="med" len="med"/>
          </a:ln>
        </p:spPr>
        <p:txBody>
          <a:bodyPr wrap="square">
            <a:spAutoFit/>
          </a:bodyPr>
          <a:lstStyle/>
          <a:p>
            <a:r>
              <a:rPr lang="en-US" sz="1200" dirty="0"/>
              <a:t>Would be most helpful to have an explanation of tools available and a clear process for how to access / request them – e.g., Slack, Trello, OneDrive/SPO</a:t>
            </a:r>
          </a:p>
        </p:txBody>
      </p:sp>
      <p:sp>
        <p:nvSpPr>
          <p:cNvPr id="5" name="Rectangle 4">
            <a:extLst>
              <a:ext uri="{FF2B5EF4-FFF2-40B4-BE49-F238E27FC236}">
                <a16:creationId xmlns:a16="http://schemas.microsoft.com/office/drawing/2014/main" id="{0C547792-A539-45A5-985B-EC38E324AA33}"/>
              </a:ext>
            </a:extLst>
          </p:cNvPr>
          <p:cNvSpPr/>
          <p:nvPr/>
        </p:nvSpPr>
        <p:spPr>
          <a:xfrm>
            <a:off x="6747304" y="3830574"/>
            <a:ext cx="5023121" cy="276999"/>
          </a:xfrm>
          <a:prstGeom prst="rect">
            <a:avLst/>
          </a:prstGeom>
          <a:ln w="9525" cap="flat" cmpd="sng" algn="ctr">
            <a:noFill/>
            <a:prstDash val="solid"/>
            <a:round/>
            <a:headEnd type="none" w="med" len="med"/>
            <a:tailEnd type="none" w="med" len="med"/>
          </a:ln>
        </p:spPr>
        <p:txBody>
          <a:bodyPr wrap="square">
            <a:spAutoFit/>
          </a:bodyPr>
          <a:lstStyle/>
          <a:p>
            <a:r>
              <a:rPr lang="en-US" sz="1200" dirty="0"/>
              <a:t>The recent switch to OneDrive/SharePoint from Egnyte</a:t>
            </a:r>
          </a:p>
        </p:txBody>
      </p:sp>
      <p:grpSp>
        <p:nvGrpSpPr>
          <p:cNvPr id="55" name="Group 54">
            <a:extLst>
              <a:ext uri="{FF2B5EF4-FFF2-40B4-BE49-F238E27FC236}">
                <a16:creationId xmlns:a16="http://schemas.microsoft.com/office/drawing/2014/main" id="{73143398-3723-4588-92F4-20D33CC52DE9}"/>
              </a:ext>
            </a:extLst>
          </p:cNvPr>
          <p:cNvGrpSpPr>
            <a:grpSpLocks noChangeAspect="1"/>
          </p:cNvGrpSpPr>
          <p:nvPr/>
        </p:nvGrpSpPr>
        <p:grpSpPr>
          <a:xfrm>
            <a:off x="6429885" y="2792028"/>
            <a:ext cx="306910" cy="306910"/>
            <a:chOff x="5961063" y="3294063"/>
            <a:chExt cx="269875" cy="269875"/>
          </a:xfrm>
        </p:grpSpPr>
        <p:sp>
          <p:nvSpPr>
            <p:cNvPr id="56" name="Oval 46">
              <a:extLst>
                <a:ext uri="{FF2B5EF4-FFF2-40B4-BE49-F238E27FC236}">
                  <a16:creationId xmlns:a16="http://schemas.microsoft.com/office/drawing/2014/main" id="{AC8CEA2A-D0E4-4355-A1F9-16629BDDAE98}"/>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7" name="Freeform 47">
              <a:extLst>
                <a:ext uri="{FF2B5EF4-FFF2-40B4-BE49-F238E27FC236}">
                  <a16:creationId xmlns:a16="http://schemas.microsoft.com/office/drawing/2014/main" id="{2517775F-A0C4-4E46-9B29-93B3F9A2064C}"/>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58" name="Group 57">
            <a:extLst>
              <a:ext uri="{FF2B5EF4-FFF2-40B4-BE49-F238E27FC236}">
                <a16:creationId xmlns:a16="http://schemas.microsoft.com/office/drawing/2014/main" id="{ACF364CA-CB13-45E0-BE56-97A14CC14CFE}"/>
              </a:ext>
            </a:extLst>
          </p:cNvPr>
          <p:cNvGrpSpPr>
            <a:grpSpLocks noChangeAspect="1"/>
          </p:cNvGrpSpPr>
          <p:nvPr/>
        </p:nvGrpSpPr>
        <p:grpSpPr>
          <a:xfrm>
            <a:off x="6429885" y="3308811"/>
            <a:ext cx="306910" cy="306910"/>
            <a:chOff x="5961063" y="3294063"/>
            <a:chExt cx="269875" cy="269875"/>
          </a:xfrm>
        </p:grpSpPr>
        <p:sp>
          <p:nvSpPr>
            <p:cNvPr id="59" name="Oval 46">
              <a:extLst>
                <a:ext uri="{FF2B5EF4-FFF2-40B4-BE49-F238E27FC236}">
                  <a16:creationId xmlns:a16="http://schemas.microsoft.com/office/drawing/2014/main" id="{E20E1C1E-7142-419B-AAAD-9CE057B6668F}"/>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0" name="Freeform 47">
              <a:extLst>
                <a:ext uri="{FF2B5EF4-FFF2-40B4-BE49-F238E27FC236}">
                  <a16:creationId xmlns:a16="http://schemas.microsoft.com/office/drawing/2014/main" id="{0862917C-5553-4411-B171-1164AC1CA0E7}"/>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1" name="Group 60">
            <a:extLst>
              <a:ext uri="{FF2B5EF4-FFF2-40B4-BE49-F238E27FC236}">
                <a16:creationId xmlns:a16="http://schemas.microsoft.com/office/drawing/2014/main" id="{0FA24C93-AEC7-4345-82EC-E5D6285AC51C}"/>
              </a:ext>
            </a:extLst>
          </p:cNvPr>
          <p:cNvGrpSpPr>
            <a:grpSpLocks noChangeAspect="1"/>
          </p:cNvGrpSpPr>
          <p:nvPr/>
        </p:nvGrpSpPr>
        <p:grpSpPr>
          <a:xfrm>
            <a:off x="6422775" y="3799946"/>
            <a:ext cx="306910" cy="306910"/>
            <a:chOff x="5961063" y="3294063"/>
            <a:chExt cx="269875" cy="269875"/>
          </a:xfrm>
        </p:grpSpPr>
        <p:sp>
          <p:nvSpPr>
            <p:cNvPr id="62" name="Oval 46">
              <a:extLst>
                <a:ext uri="{FF2B5EF4-FFF2-40B4-BE49-F238E27FC236}">
                  <a16:creationId xmlns:a16="http://schemas.microsoft.com/office/drawing/2014/main" id="{AD995B40-2D23-4118-BE74-A415760CE27D}"/>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3" name="Freeform 47">
              <a:extLst>
                <a:ext uri="{FF2B5EF4-FFF2-40B4-BE49-F238E27FC236}">
                  <a16:creationId xmlns:a16="http://schemas.microsoft.com/office/drawing/2014/main" id="{BAE250B5-71D3-4478-9E4E-117C2409D8DC}"/>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4" name="Group 63">
            <a:extLst>
              <a:ext uri="{FF2B5EF4-FFF2-40B4-BE49-F238E27FC236}">
                <a16:creationId xmlns:a16="http://schemas.microsoft.com/office/drawing/2014/main" id="{4723082F-7313-4B8D-99A7-6149CB46400E}"/>
              </a:ext>
            </a:extLst>
          </p:cNvPr>
          <p:cNvGrpSpPr>
            <a:grpSpLocks noChangeAspect="1"/>
          </p:cNvGrpSpPr>
          <p:nvPr/>
        </p:nvGrpSpPr>
        <p:grpSpPr>
          <a:xfrm>
            <a:off x="6434918" y="4210100"/>
            <a:ext cx="306910" cy="306910"/>
            <a:chOff x="5961063" y="3294063"/>
            <a:chExt cx="269875" cy="269875"/>
          </a:xfrm>
        </p:grpSpPr>
        <p:sp>
          <p:nvSpPr>
            <p:cNvPr id="65" name="Oval 46">
              <a:extLst>
                <a:ext uri="{FF2B5EF4-FFF2-40B4-BE49-F238E27FC236}">
                  <a16:creationId xmlns:a16="http://schemas.microsoft.com/office/drawing/2014/main" id="{C1C9CC9B-BBE7-4714-9D15-18B60F7711AC}"/>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6" name="Freeform 47">
              <a:extLst>
                <a:ext uri="{FF2B5EF4-FFF2-40B4-BE49-F238E27FC236}">
                  <a16:creationId xmlns:a16="http://schemas.microsoft.com/office/drawing/2014/main" id="{6DA4CDED-A909-4198-A5FF-13B9A7B5EDCF}"/>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7" name="Group 66">
            <a:extLst>
              <a:ext uri="{FF2B5EF4-FFF2-40B4-BE49-F238E27FC236}">
                <a16:creationId xmlns:a16="http://schemas.microsoft.com/office/drawing/2014/main" id="{F87E1C98-0E57-4D8F-BD7A-77FAF06E6BE1}"/>
              </a:ext>
            </a:extLst>
          </p:cNvPr>
          <p:cNvGrpSpPr>
            <a:grpSpLocks noChangeAspect="1"/>
          </p:cNvGrpSpPr>
          <p:nvPr/>
        </p:nvGrpSpPr>
        <p:grpSpPr>
          <a:xfrm>
            <a:off x="6421223" y="4847412"/>
            <a:ext cx="306910" cy="306910"/>
            <a:chOff x="5961063" y="3294063"/>
            <a:chExt cx="269875" cy="269875"/>
          </a:xfrm>
        </p:grpSpPr>
        <p:sp>
          <p:nvSpPr>
            <p:cNvPr id="68" name="Oval 46">
              <a:extLst>
                <a:ext uri="{FF2B5EF4-FFF2-40B4-BE49-F238E27FC236}">
                  <a16:creationId xmlns:a16="http://schemas.microsoft.com/office/drawing/2014/main" id="{D1964096-1DF3-4AB2-8CF6-CD5286883C09}"/>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9" name="Freeform 47">
              <a:extLst>
                <a:ext uri="{FF2B5EF4-FFF2-40B4-BE49-F238E27FC236}">
                  <a16:creationId xmlns:a16="http://schemas.microsoft.com/office/drawing/2014/main" id="{20A52079-EAA7-4AFE-8C68-CD73A7E16389}"/>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aphicFrame>
        <p:nvGraphicFramePr>
          <p:cNvPr id="44" name="table_type_name">
            <a:extLst>
              <a:ext uri="{FF2B5EF4-FFF2-40B4-BE49-F238E27FC236}">
                <a16:creationId xmlns:a16="http://schemas.microsoft.com/office/drawing/2014/main" id="{9E4A137C-4F8E-4D42-B461-18021ABF7527}"/>
              </a:ext>
            </a:extLst>
          </p:cNvPr>
          <p:cNvGraphicFramePr>
            <a:graphicFrameLocks noGrp="1"/>
          </p:cNvGraphicFramePr>
          <p:nvPr/>
        </p:nvGraphicFramePr>
        <p:xfrm>
          <a:off x="610903" y="1481392"/>
          <a:ext cx="5709975" cy="4099893"/>
        </p:xfrm>
        <a:graphic>
          <a:graphicData uri="http://schemas.openxmlformats.org/drawingml/2006/table">
            <a:tbl>
              <a:tblPr/>
              <a:tblGrid>
                <a:gridCol w="1903325">
                  <a:extLst>
                    <a:ext uri="{9D8B030D-6E8A-4147-A177-3AD203B41FA5}">
                      <a16:colId xmlns:a16="http://schemas.microsoft.com/office/drawing/2014/main" val="20001"/>
                    </a:ext>
                  </a:extLst>
                </a:gridCol>
                <a:gridCol w="1903325">
                  <a:extLst>
                    <a:ext uri="{9D8B030D-6E8A-4147-A177-3AD203B41FA5}">
                      <a16:colId xmlns:a16="http://schemas.microsoft.com/office/drawing/2014/main" val="20002"/>
                    </a:ext>
                  </a:extLst>
                </a:gridCol>
                <a:gridCol w="1903325">
                  <a:extLst>
                    <a:ext uri="{9D8B030D-6E8A-4147-A177-3AD203B41FA5}">
                      <a16:colId xmlns:a16="http://schemas.microsoft.com/office/drawing/2014/main" val="4043428004"/>
                    </a:ext>
                  </a:extLst>
                </a:gridCol>
              </a:tblGrid>
              <a:tr h="524589">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rgbClr val="295E7E"/>
                          </a:solidFill>
                          <a:effectLst/>
                          <a:latin typeface="+mn-lt"/>
                          <a:cs typeface="Arial" charset="0"/>
                          <a:sym typeface="Trebuchet MS" panose="020B0603020202020204" pitchFamily="34" charset="0"/>
                        </a:rPr>
                        <a:t>Q2 2021</a:t>
                      </a:r>
                    </a:p>
                  </a:txBody>
                  <a:tcPr marL="0" marR="73152" marT="73152" marB="73152"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rgbClr val="295E7E"/>
                          </a:solidFill>
                          <a:effectLst/>
                          <a:latin typeface="+mn-lt"/>
                          <a:cs typeface="Arial" charset="0"/>
                          <a:sym typeface="Trebuchet MS" panose="020B0603020202020204" pitchFamily="34" charset="0"/>
                        </a:rPr>
                        <a:t>Q3 2021</a:t>
                      </a:r>
                    </a:p>
                  </a:txBody>
                  <a:tcPr marL="0" marR="73152" marT="73152" marB="73152"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rgbClr val="295E7E"/>
                          </a:solidFill>
                          <a:effectLst/>
                          <a:latin typeface="+mn-lt"/>
                          <a:cs typeface="Arial" charset="0"/>
                          <a:sym typeface="Trebuchet MS" panose="020B0603020202020204" pitchFamily="34" charset="0"/>
                        </a:rPr>
                        <a:t>Q4 2021</a:t>
                      </a:r>
                    </a:p>
                  </a:txBody>
                  <a:tcPr marL="0" marR="73152" marT="73152" marB="73152"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462477">
                <a:tc>
                  <a:txBody>
                    <a:bodyPr/>
                    <a:lstStyle/>
                    <a:p>
                      <a:pPr marL="285750" indent="-285750">
                        <a:spcAft>
                          <a:spcPts val="600"/>
                        </a:spcAft>
                        <a:buFontTx/>
                        <a:buChar char="-"/>
                      </a:pPr>
                      <a:r>
                        <a:rPr lang="en-US" sz="1800" dirty="0">
                          <a:solidFill>
                            <a:srgbClr val="575757"/>
                          </a:solidFill>
                        </a:rPr>
                        <a:t>Trello</a:t>
                      </a:r>
                    </a:p>
                    <a:p>
                      <a:pPr marL="285750" indent="-285750">
                        <a:spcAft>
                          <a:spcPts val="600"/>
                        </a:spcAft>
                        <a:buFontTx/>
                        <a:buChar char="-"/>
                      </a:pPr>
                      <a:r>
                        <a:rPr lang="en-US" sz="1800" dirty="0">
                          <a:solidFill>
                            <a:srgbClr val="575757"/>
                          </a:solidFill>
                        </a:rPr>
                        <a:t>Slack </a:t>
                      </a:r>
                    </a:p>
                    <a:p>
                      <a:pPr marL="285750" indent="-285750">
                        <a:spcAft>
                          <a:spcPts val="600"/>
                        </a:spcAft>
                        <a:buFontTx/>
                        <a:buChar char="-"/>
                      </a:pPr>
                      <a:r>
                        <a:rPr lang="en-US" sz="1800" dirty="0">
                          <a:solidFill>
                            <a:srgbClr val="575757"/>
                          </a:solidFill>
                        </a:rPr>
                        <a:t>PowerPoint</a:t>
                      </a:r>
                    </a:p>
                    <a:p>
                      <a:pPr marL="285750" indent="-285750">
                        <a:spcAft>
                          <a:spcPts val="600"/>
                        </a:spcAft>
                        <a:buFontTx/>
                        <a:buChar char="-"/>
                      </a:pPr>
                      <a:r>
                        <a:rPr lang="en-US" sz="1800" dirty="0">
                          <a:solidFill>
                            <a:srgbClr val="575757"/>
                          </a:solidFill>
                        </a:rPr>
                        <a:t>Egnyte</a:t>
                      </a:r>
                    </a:p>
                    <a:p>
                      <a:pPr marL="285750" indent="-285750">
                        <a:spcAft>
                          <a:spcPts val="600"/>
                        </a:spcAft>
                        <a:buFontTx/>
                        <a:buChar char="-"/>
                      </a:pPr>
                      <a:r>
                        <a:rPr lang="en-US" sz="1800" dirty="0">
                          <a:solidFill>
                            <a:srgbClr val="575757"/>
                          </a:solidFill>
                        </a:rPr>
                        <a:t>Alteryx</a:t>
                      </a:r>
                    </a:p>
                    <a:p>
                      <a:pPr marL="285750" indent="-285750">
                        <a:spcAft>
                          <a:spcPts val="600"/>
                        </a:spcAft>
                        <a:buFontTx/>
                        <a:buChar char="-"/>
                      </a:pPr>
                      <a:r>
                        <a:rPr lang="en-US" sz="1800" dirty="0">
                          <a:solidFill>
                            <a:srgbClr val="575757"/>
                          </a:solidFill>
                        </a:rPr>
                        <a:t>Excel</a:t>
                      </a:r>
                    </a:p>
                    <a:p>
                      <a:pPr marL="285750" indent="-285750">
                        <a:spcAft>
                          <a:spcPts val="600"/>
                        </a:spcAft>
                        <a:buFontTx/>
                        <a:buChar char="-"/>
                      </a:pPr>
                      <a:r>
                        <a:rPr lang="en-US" sz="1800" dirty="0">
                          <a:solidFill>
                            <a:srgbClr val="575757"/>
                          </a:solidFill>
                        </a:rPr>
                        <a:t>LAB</a:t>
                      </a:r>
                    </a:p>
                    <a:p>
                      <a:pPr marL="285750" indent="-285750">
                        <a:spcAft>
                          <a:spcPts val="600"/>
                        </a:spcAft>
                        <a:buFontTx/>
                        <a:buChar char="-"/>
                      </a:pPr>
                      <a:r>
                        <a:rPr lang="en-US" sz="1800" dirty="0">
                          <a:solidFill>
                            <a:srgbClr val="575757"/>
                          </a:solidFill>
                        </a:rPr>
                        <a:t>Tableau</a:t>
                      </a:r>
                    </a:p>
                    <a:p>
                      <a:pPr marL="285750" indent="-285750">
                        <a:spcAft>
                          <a:spcPts val="600"/>
                        </a:spcAft>
                        <a:buFontTx/>
                        <a:buChar char="-"/>
                      </a:pPr>
                      <a:r>
                        <a:rPr lang="en-US" sz="1800" dirty="0">
                          <a:solidFill>
                            <a:srgbClr val="575757"/>
                          </a:solidFill>
                        </a:rPr>
                        <a:t>Whiteboarding</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F2F2F2"/>
                    </a:solidFill>
                  </a:tcPr>
                </a:tc>
                <a:tc>
                  <a:txBody>
                    <a:bodyPr/>
                    <a:lstStyle/>
                    <a:p>
                      <a:pPr marL="285750" indent="-285750">
                        <a:spcAft>
                          <a:spcPts val="600"/>
                        </a:spcAft>
                        <a:buFontTx/>
                        <a:buChar char="-"/>
                      </a:pPr>
                      <a:r>
                        <a:rPr lang="en-US" sz="1800" dirty="0">
                          <a:solidFill>
                            <a:srgbClr val="575757"/>
                          </a:solidFill>
                        </a:rPr>
                        <a:t>Trello</a:t>
                      </a:r>
                    </a:p>
                    <a:p>
                      <a:pPr marL="285750" indent="-285750">
                        <a:spcAft>
                          <a:spcPts val="600"/>
                        </a:spcAft>
                        <a:buFontTx/>
                        <a:buChar char="-"/>
                      </a:pPr>
                      <a:r>
                        <a:rPr lang="en-US" sz="1800" dirty="0">
                          <a:solidFill>
                            <a:srgbClr val="575757"/>
                          </a:solidFill>
                        </a:rPr>
                        <a:t>Slack</a:t>
                      </a:r>
                    </a:p>
                    <a:p>
                      <a:pPr marL="285750" indent="-285750">
                        <a:spcAft>
                          <a:spcPts val="600"/>
                        </a:spcAft>
                        <a:buFontTx/>
                        <a:buChar char="-"/>
                      </a:pPr>
                      <a:r>
                        <a:rPr lang="en-US" sz="1800" dirty="0">
                          <a:solidFill>
                            <a:srgbClr val="575757"/>
                          </a:solidFill>
                        </a:rPr>
                        <a:t>PowerPoint</a:t>
                      </a:r>
                    </a:p>
                    <a:p>
                      <a:pPr marL="285750" indent="-285750">
                        <a:spcAft>
                          <a:spcPts val="600"/>
                        </a:spcAft>
                        <a:buFontTx/>
                        <a:buChar char="-"/>
                      </a:pPr>
                      <a:r>
                        <a:rPr lang="en-US" sz="1800" dirty="0">
                          <a:solidFill>
                            <a:srgbClr val="575757"/>
                          </a:solidFill>
                        </a:rPr>
                        <a:t>Excel</a:t>
                      </a:r>
                    </a:p>
                    <a:p>
                      <a:pPr marL="285750" indent="-285750">
                        <a:spcAft>
                          <a:spcPts val="600"/>
                        </a:spcAft>
                        <a:buFontTx/>
                        <a:buChar char="-"/>
                      </a:pPr>
                      <a:r>
                        <a:rPr lang="en-US" sz="1800" dirty="0">
                          <a:solidFill>
                            <a:srgbClr val="575757"/>
                          </a:solidFill>
                        </a:rPr>
                        <a:t>Alteryx</a:t>
                      </a:r>
                    </a:p>
                    <a:p>
                      <a:pPr marL="285750" indent="-285750">
                        <a:spcAft>
                          <a:spcPts val="600"/>
                        </a:spcAft>
                        <a:buFontTx/>
                        <a:buChar char="-"/>
                      </a:pPr>
                      <a:r>
                        <a:rPr lang="en-US" sz="1800" dirty="0">
                          <a:solidFill>
                            <a:srgbClr val="575757"/>
                          </a:solidFill>
                        </a:rPr>
                        <a:t>Miro</a:t>
                      </a:r>
                    </a:p>
                    <a:p>
                      <a:pPr marL="285750" indent="-285750">
                        <a:spcAft>
                          <a:spcPts val="600"/>
                        </a:spcAft>
                        <a:buFontTx/>
                        <a:buChar char="-"/>
                      </a:pPr>
                      <a:r>
                        <a:rPr lang="en-US" sz="1800" dirty="0">
                          <a:solidFill>
                            <a:srgbClr val="575757"/>
                          </a:solidFill>
                        </a:rPr>
                        <a:t>Zoom</a:t>
                      </a:r>
                    </a:p>
                    <a:p>
                      <a:pPr marL="285750" indent="-285750">
                        <a:spcAft>
                          <a:spcPts val="600"/>
                        </a:spcAft>
                        <a:buFontTx/>
                        <a:buChar char="-"/>
                      </a:pPr>
                      <a:r>
                        <a:rPr lang="en-US" sz="1800" dirty="0">
                          <a:solidFill>
                            <a:srgbClr val="575757"/>
                          </a:solidFill>
                        </a:rPr>
                        <a:t>Whiteboarding</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lang="en-US" sz="1800" dirty="0">
                          <a:solidFill>
                            <a:srgbClr val="575757"/>
                          </a:solidFill>
                        </a:rPr>
                        <a:t>Outlook</a:t>
                      </a:r>
                    </a:p>
                    <a:p>
                      <a:pPr marL="285750" indent="-285750">
                        <a:spcAft>
                          <a:spcPts val="600"/>
                        </a:spcAft>
                        <a:buFontTx/>
                        <a:buChar char="-"/>
                      </a:pPr>
                      <a:endParaRPr lang="en-US" sz="1800" dirty="0">
                        <a:solidFill>
                          <a:srgbClr val="575757"/>
                        </a:solidFill>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285750" indent="-285750">
                        <a:spcAft>
                          <a:spcPts val="600"/>
                        </a:spcAft>
                        <a:buFontTx/>
                        <a:buChar char="-"/>
                      </a:pPr>
                      <a:r>
                        <a:rPr lang="en-US" sz="1800" dirty="0">
                          <a:solidFill>
                            <a:srgbClr val="575757"/>
                          </a:solidFill>
                        </a:rPr>
                        <a:t>Trello</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lang="en-US" sz="1800" dirty="0">
                          <a:solidFill>
                            <a:srgbClr val="575757"/>
                          </a:solidFill>
                        </a:rPr>
                        <a:t>OneDrive</a:t>
                      </a:r>
                    </a:p>
                    <a:p>
                      <a:pPr marL="285750" indent="-285750">
                        <a:spcAft>
                          <a:spcPts val="600"/>
                        </a:spcAft>
                        <a:buFontTx/>
                        <a:buChar char="-"/>
                      </a:pPr>
                      <a:r>
                        <a:rPr lang="en-US" sz="1800" dirty="0">
                          <a:solidFill>
                            <a:srgbClr val="575757"/>
                          </a:solidFill>
                        </a:rPr>
                        <a:t>SharePoint</a:t>
                      </a:r>
                    </a:p>
                    <a:p>
                      <a:pPr marL="285750" indent="-285750">
                        <a:spcAft>
                          <a:spcPts val="600"/>
                        </a:spcAft>
                        <a:buFontTx/>
                        <a:buChar char="-"/>
                      </a:pPr>
                      <a:r>
                        <a:rPr lang="en-US" sz="1800" dirty="0">
                          <a:solidFill>
                            <a:srgbClr val="575757"/>
                          </a:solidFill>
                        </a:rPr>
                        <a:t>Slack</a:t>
                      </a:r>
                    </a:p>
                    <a:p>
                      <a:pPr marL="285750" indent="-285750">
                        <a:spcAft>
                          <a:spcPts val="600"/>
                        </a:spcAft>
                        <a:buFontTx/>
                        <a:buChar char="-"/>
                      </a:pPr>
                      <a:r>
                        <a:rPr lang="en-US" sz="1800" dirty="0">
                          <a:solidFill>
                            <a:srgbClr val="575757"/>
                          </a:solidFill>
                        </a:rPr>
                        <a:t>Excel</a:t>
                      </a:r>
                    </a:p>
                    <a:p>
                      <a:pPr marL="285750" indent="-285750">
                        <a:spcAft>
                          <a:spcPts val="600"/>
                        </a:spcAft>
                        <a:buFontTx/>
                        <a:buChar char="-"/>
                      </a:pPr>
                      <a:r>
                        <a:rPr lang="en-US" sz="1800" dirty="0">
                          <a:solidFill>
                            <a:srgbClr val="575757"/>
                          </a:solidFill>
                        </a:rPr>
                        <a:t>PowerPoint</a:t>
                      </a:r>
                    </a:p>
                    <a:p>
                      <a:pPr marL="285750" indent="-285750">
                        <a:spcAft>
                          <a:spcPts val="600"/>
                        </a:spcAft>
                        <a:buFontTx/>
                        <a:buChar char="-"/>
                      </a:pPr>
                      <a:r>
                        <a:rPr lang="en-US" sz="1800" dirty="0">
                          <a:solidFill>
                            <a:srgbClr val="575757"/>
                          </a:solidFill>
                        </a:rPr>
                        <a:t>Miro</a:t>
                      </a:r>
                    </a:p>
                    <a:p>
                      <a:pPr marL="285750" indent="-285750">
                        <a:spcAft>
                          <a:spcPts val="600"/>
                        </a:spcAft>
                        <a:buFontTx/>
                        <a:buChar char="-"/>
                      </a:pPr>
                      <a:r>
                        <a:rPr lang="en-US" sz="1800" dirty="0">
                          <a:solidFill>
                            <a:srgbClr val="575757"/>
                          </a:solidFill>
                        </a:rPr>
                        <a:t>Zoom</a:t>
                      </a:r>
                    </a:p>
                    <a:p>
                      <a:pPr marL="285750" indent="-285750">
                        <a:spcAft>
                          <a:spcPts val="600"/>
                        </a:spcAft>
                        <a:buFontTx/>
                        <a:buChar char="-"/>
                      </a:pPr>
                      <a:r>
                        <a:rPr lang="en-US" sz="1800" dirty="0">
                          <a:solidFill>
                            <a:srgbClr val="575757"/>
                          </a:solidFill>
                        </a:rPr>
                        <a:t>Whiteboarding</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8455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101"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descr="A picture containing text, person&#10;&#10;Description automatically generated">
            <a:extLst>
              <a:ext uri="{FF2B5EF4-FFF2-40B4-BE49-F238E27FC236}">
                <a16:creationId xmlns:a16="http://schemas.microsoft.com/office/drawing/2014/main" id="{6E42CF71-7EB7-474D-99BC-B0D118E39FA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226" y="0"/>
            <a:ext cx="12183774" cy="3688080"/>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Timesheet – Infor</a:t>
            </a:r>
          </a:p>
          <a:p>
            <a:pPr>
              <a:defRPr/>
            </a:pPr>
            <a:r>
              <a:rPr lang="en-US" sz="1400" dirty="0">
                <a:solidFill>
                  <a:srgbClr val="575757"/>
                </a:solidFill>
                <a:latin typeface="+mn-ea"/>
                <a:cs typeface="Arial" pitchFamily="34" charset="0"/>
                <a:sym typeface="Trebuchet MS" panose="020B0603020202020204" pitchFamily="34" charset="0"/>
              </a:rPr>
              <a:t>Expense – Chrome River</a:t>
            </a:r>
          </a:p>
          <a:p>
            <a:pPr>
              <a:defRPr/>
            </a:pPr>
            <a:r>
              <a:rPr lang="en-US" sz="1400" dirty="0">
                <a:solidFill>
                  <a:srgbClr val="575757"/>
                </a:solidFill>
                <a:latin typeface="+mn-ea"/>
                <a:cs typeface="Arial" pitchFamily="34" charset="0"/>
                <a:sym typeface="Trebuchet MS" panose="020B0603020202020204" pitchFamily="34" charset="0"/>
              </a:rPr>
              <a:t>Chrome River on Mobile</a:t>
            </a:r>
          </a:p>
          <a:p>
            <a:pPr>
              <a:defRPr/>
            </a:pPr>
            <a:r>
              <a:rPr lang="en-US" sz="1400" dirty="0">
                <a:solidFill>
                  <a:srgbClr val="575757"/>
                </a:solidFill>
                <a:latin typeface="+mn-ea"/>
                <a:cs typeface="Arial" pitchFamily="34" charset="0"/>
                <a:sym typeface="Trebuchet MS" panose="020B0603020202020204" pitchFamily="34" charset="0"/>
              </a:rPr>
              <a:t>Chrome River SNAP on Mobile</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44898"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Expense to Pay</a:t>
            </a:r>
            <a:endParaRPr lang="en-US" sz="1400" dirty="0">
              <a:solidFill>
                <a:srgbClr val="575757"/>
              </a:solidFill>
              <a:latin typeface="+mn-ea"/>
              <a:cs typeface="Arial" pitchFamily="34" charset="0"/>
              <a:sym typeface="Trebuchet MS" panose="020B0603020202020204" pitchFamily="34" charset="0"/>
            </a:endParaRPr>
          </a:p>
        </p:txBody>
      </p:sp>
      <p:sp>
        <p:nvSpPr>
          <p:cNvPr id="16" name="Rectangle 15">
            <a:extLst>
              <a:ext uri="{FF2B5EF4-FFF2-40B4-BE49-F238E27FC236}">
                <a16:creationId xmlns:a16="http://schemas.microsoft.com/office/drawing/2014/main" id="{B8E548D4-B085-4E0E-B00D-2DDA41853CD5}"/>
              </a:ext>
            </a:extLst>
          </p:cNvPr>
          <p:cNvSpPr/>
          <p:nvPr/>
        </p:nvSpPr>
        <p:spPr>
          <a:xfrm>
            <a:off x="8226" y="-46363"/>
            <a:ext cx="12192000" cy="372312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sz="4400" dirty="0">
                <a:solidFill>
                  <a:srgbClr val="FFFFFF"/>
                </a:solidFill>
              </a:rPr>
              <a:t>Finance</a:t>
            </a:r>
          </a:p>
        </p:txBody>
      </p:sp>
      <p:sp>
        <p:nvSpPr>
          <p:cNvPr id="18" name="TextBox 17">
            <a:extLst>
              <a:ext uri="{FF2B5EF4-FFF2-40B4-BE49-F238E27FC236}">
                <a16:creationId xmlns:a16="http://schemas.microsoft.com/office/drawing/2014/main" id="{C93A51CA-B7A0-4958-A2DE-C4C9751D20B1}"/>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2261841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784553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134" name="think-cell Slide" r:id="rId38" imgW="473" imgH="473" progId="TCLayout.ActiveDocument.1">
                  <p:embed/>
                </p:oleObj>
              </mc:Choice>
              <mc:Fallback>
                <p:oleObj name="think-cell Slide" r:id="rId38" imgW="473" imgH="473" progId="TCLayout.ActiveDocument.1">
                  <p:embed/>
                  <p:pic>
                    <p:nvPicPr>
                      <p:cNvPr id="5" name="Object 4"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cxnSp>
        <p:nvCxnSpPr>
          <p:cNvPr id="33" name="Straight Connector 32"/>
          <p:cNvCxnSpPr/>
          <p:nvPr>
            <p:custDataLst>
              <p:tags r:id="rId5"/>
            </p:custDataLst>
          </p:nvPr>
        </p:nvCxnSpPr>
        <p:spPr bwMode="gray">
          <a:xfrm flipH="1">
            <a:off x="6567489" y="2573338"/>
            <a:ext cx="41275" cy="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9177337" y="0"/>
            <a:ext cx="289718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Since Q1 2021, for Timesheets &amp; Expenses, we included the answer option - 'assistant uses on my behalf' – 12% of respondents selected this in Q4 (very similar trend to other quarters)</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Timesheets &amp; Expenses - Reported Level of Use</a:t>
            </a:r>
          </a:p>
        </p:txBody>
      </p:sp>
      <p:graphicFrame>
        <p:nvGraphicFramePr>
          <p:cNvPr id="91" name="Chart 90">
            <a:extLst>
              <a:ext uri="{FF2B5EF4-FFF2-40B4-BE49-F238E27FC236}">
                <a16:creationId xmlns:a16="http://schemas.microsoft.com/office/drawing/2014/main" id="{F29EB685-2D81-4443-B61C-DD1469AB6A57}"/>
              </a:ext>
            </a:extLst>
          </p:cNvPr>
          <p:cNvGraphicFramePr/>
          <p:nvPr>
            <p:custDataLst>
              <p:tags r:id="rId6"/>
            </p:custDataLst>
            <p:extLst>
              <p:ext uri="{D42A27DB-BD31-4B8C-83A1-F6EECF244321}">
                <p14:modId xmlns:p14="http://schemas.microsoft.com/office/powerpoint/2010/main" val="167114662"/>
              </p:ext>
            </p:extLst>
          </p:nvPr>
        </p:nvGraphicFramePr>
        <p:xfrm>
          <a:off x="2093913" y="1835150"/>
          <a:ext cx="6678612" cy="1595438"/>
        </p:xfrm>
        <a:graphic>
          <a:graphicData uri="http://schemas.openxmlformats.org/drawingml/2006/chart">
            <c:chart xmlns:c="http://schemas.openxmlformats.org/drawingml/2006/chart" xmlns:r="http://schemas.openxmlformats.org/officeDocument/2006/relationships" r:id="rId40"/>
          </a:graphicData>
        </a:graphic>
      </p:graphicFrame>
      <p:sp>
        <p:nvSpPr>
          <p:cNvPr id="109" name="Text Placeholder 3">
            <a:extLst>
              <a:ext uri="{FF2B5EF4-FFF2-40B4-BE49-F238E27FC236}">
                <a16:creationId xmlns:a16="http://schemas.microsoft.com/office/drawing/2014/main" id="{A843A01E-0A93-46BB-88D8-513EEED46AF9}"/>
              </a:ext>
            </a:extLst>
          </p:cNvPr>
          <p:cNvSpPr>
            <a:spLocks noGrp="1"/>
          </p:cNvSpPr>
          <p:nvPr>
            <p:custDataLst>
              <p:tags r:id="rId7"/>
            </p:custDataLst>
          </p:nvPr>
        </p:nvSpPr>
        <p:spPr bwMode="gray">
          <a:xfrm>
            <a:off x="8421688" y="2705100"/>
            <a:ext cx="117475" cy="201613"/>
          </a:xfrm>
          <a:prstGeom prst="rect">
            <a:avLst/>
          </a:prstGeom>
          <a:solidFill>
            <a:srgbClr val="565656"/>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8DE31D6-1AD7-4C86-84E6-FB910E685B4E}" type="datetime'''''''''''''''''''''''''''''''''''1'''''">
              <a:rPr lang="en-US" altLang="en-US" smtClean="0">
                <a:solidFill>
                  <a:schemeClr val="bg1"/>
                </a:solidFill>
                <a:effectLst/>
              </a:rPr>
              <a:pPr/>
              <a:t>1</a:t>
            </a:fld>
            <a:endParaRPr lang="en-US" dirty="0">
              <a:solidFill>
                <a:schemeClr val="bg1"/>
              </a:solidFill>
              <a:sym typeface="+mn-lt"/>
            </a:endParaRPr>
          </a:p>
        </p:txBody>
      </p:sp>
      <p:sp>
        <p:nvSpPr>
          <p:cNvPr id="71" name="Text Placeholder 3">
            <a:extLst>
              <a:ext uri="{FF2B5EF4-FFF2-40B4-BE49-F238E27FC236}">
                <a16:creationId xmlns:a16="http://schemas.microsoft.com/office/drawing/2014/main" id="{B23857E7-6EEA-4E5C-9437-7D0B4758A205}"/>
              </a:ext>
            </a:extLst>
          </p:cNvPr>
          <p:cNvSpPr>
            <a:spLocks noGrp="1"/>
          </p:cNvSpPr>
          <p:nvPr>
            <p:custDataLst>
              <p:tags r:id="rId8"/>
            </p:custDataLst>
          </p:nvPr>
        </p:nvSpPr>
        <p:spPr bwMode="gray">
          <a:xfrm>
            <a:off x="8418513" y="2112963"/>
            <a:ext cx="117475" cy="201613"/>
          </a:xfrm>
          <a:prstGeom prst="rect">
            <a:avLst/>
          </a:prstGeom>
          <a:solidFill>
            <a:srgbClr val="565656"/>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6A1F7CD-2DDA-4ADA-B55C-17068E2F15F9}" type="datetime'''1'''''''''''''''''''''''">
              <a:rPr lang="en-US" altLang="en-US" smtClean="0">
                <a:solidFill>
                  <a:schemeClr val="bg1"/>
                </a:solidFill>
                <a:effectLst/>
              </a:rPr>
              <a:pPr/>
              <a:t>1</a:t>
            </a:fld>
            <a:endParaRPr lang="en-US" dirty="0">
              <a:solidFill>
                <a:schemeClr val="bg1"/>
              </a:solidFill>
              <a:sym typeface="+mn-lt"/>
            </a:endParaRPr>
          </a:p>
        </p:txBody>
      </p:sp>
      <p:sp>
        <p:nvSpPr>
          <p:cNvPr id="107" name="Text Placeholder 3">
            <a:extLst>
              <a:ext uri="{FF2B5EF4-FFF2-40B4-BE49-F238E27FC236}">
                <a16:creationId xmlns:a16="http://schemas.microsoft.com/office/drawing/2014/main" id="{C111A163-2FB5-4C90-B75B-882E24A4334E}"/>
              </a:ext>
            </a:extLst>
          </p:cNvPr>
          <p:cNvSpPr>
            <a:spLocks noGrp="1"/>
          </p:cNvSpPr>
          <p:nvPr>
            <p:custDataLst>
              <p:tags r:id="rId9"/>
            </p:custDataLst>
          </p:nvPr>
        </p:nvSpPr>
        <p:spPr bwMode="gray">
          <a:xfrm>
            <a:off x="5156199" y="2705100"/>
            <a:ext cx="196850"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765FAEB-D489-47F1-8CE8-282597691AB1}" type="datetime'8''1'''''''''''''''">
              <a:rPr lang="en-US" altLang="en-US" smtClean="0">
                <a:solidFill>
                  <a:schemeClr val="bg1"/>
                </a:solidFill>
              </a:rPr>
              <a:pPr/>
              <a:t>81</a:t>
            </a:fld>
            <a:endParaRPr lang="en-US" dirty="0">
              <a:solidFill>
                <a:schemeClr val="bg1"/>
              </a:solidFill>
              <a:sym typeface="+mn-lt"/>
            </a:endParaRPr>
          </a:p>
        </p:txBody>
      </p:sp>
      <p:sp>
        <p:nvSpPr>
          <p:cNvPr id="70" name="Text Placeholder 3">
            <a:extLst>
              <a:ext uri="{FF2B5EF4-FFF2-40B4-BE49-F238E27FC236}">
                <a16:creationId xmlns:a16="http://schemas.microsoft.com/office/drawing/2014/main" id="{97453180-E791-41A7-A6F1-3DA223AB1E48}"/>
              </a:ext>
            </a:extLst>
          </p:cNvPr>
          <p:cNvSpPr>
            <a:spLocks noGrp="1"/>
          </p:cNvSpPr>
          <p:nvPr>
            <p:custDataLst>
              <p:tags r:id="rId10"/>
            </p:custDataLst>
          </p:nvPr>
        </p:nvSpPr>
        <p:spPr bwMode="gray">
          <a:xfrm>
            <a:off x="7564438" y="2112963"/>
            <a:ext cx="196850"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AFC547F-91B2-4638-B09E-400500024C42}" type="datetime'''''''2''''''''''''''''6'''''''''''''''''">
              <a:rPr lang="en-US" altLang="en-US" smtClean="0">
                <a:solidFill>
                  <a:schemeClr val="bg1"/>
                </a:solidFill>
              </a:rPr>
              <a:pPr/>
              <a:t>26</a:t>
            </a:fld>
            <a:endParaRPr lang="en-US" dirty="0">
              <a:solidFill>
                <a:schemeClr val="bg1"/>
              </a:solidFill>
              <a:sym typeface="+mn-lt"/>
            </a:endParaRPr>
          </a:p>
        </p:txBody>
      </p:sp>
      <p:sp>
        <p:nvSpPr>
          <p:cNvPr id="61" name="Text Placeholder 3">
            <a:extLst>
              <a:ext uri="{FF2B5EF4-FFF2-40B4-BE49-F238E27FC236}">
                <a16:creationId xmlns:a16="http://schemas.microsoft.com/office/drawing/2014/main" id="{7335EB82-B446-4368-B78E-0DF1DCB5EF7A}"/>
              </a:ext>
            </a:extLst>
          </p:cNvPr>
          <p:cNvSpPr>
            <a:spLocks noGrp="1"/>
          </p:cNvSpPr>
          <p:nvPr>
            <p:custDataLst>
              <p:tags r:id="rId11"/>
            </p:custDataLst>
          </p:nvPr>
        </p:nvSpPr>
        <p:spPr bwMode="gray">
          <a:xfrm>
            <a:off x="2495550" y="2112963"/>
            <a:ext cx="11747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5A4C4AC-2F20-45D8-BF79-7F4925E68D06}" type="datetime'''''''''''''''''''''''6'''''''''''''''''''''''''">
              <a:rPr lang="en-US" altLang="en-US" smtClean="0">
                <a:solidFill>
                  <a:schemeClr val="bg1"/>
                </a:solidFill>
              </a:rPr>
              <a:pPr/>
              <a:t>6</a:t>
            </a:fld>
            <a:endParaRPr lang="en-US" dirty="0">
              <a:solidFill>
                <a:schemeClr val="bg1"/>
              </a:solidFill>
              <a:sym typeface="+mn-lt"/>
            </a:endParaRPr>
          </a:p>
        </p:txBody>
      </p:sp>
      <p:sp>
        <p:nvSpPr>
          <p:cNvPr id="108" name="Text Placeholder 3">
            <a:extLst>
              <a:ext uri="{FF2B5EF4-FFF2-40B4-BE49-F238E27FC236}">
                <a16:creationId xmlns:a16="http://schemas.microsoft.com/office/drawing/2014/main" id="{464360E4-B837-40BA-9923-F945737EB825}"/>
              </a:ext>
            </a:extLst>
          </p:cNvPr>
          <p:cNvSpPr>
            <a:spLocks noGrp="1"/>
          </p:cNvSpPr>
          <p:nvPr>
            <p:custDataLst>
              <p:tags r:id="rId12"/>
            </p:custDataLst>
          </p:nvPr>
        </p:nvSpPr>
        <p:spPr bwMode="gray">
          <a:xfrm>
            <a:off x="7997824" y="2705100"/>
            <a:ext cx="196850"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0881653-AE6A-4E6B-A8CC-6BF3CC117421}" type="datetime'''1''2'''''''''''''">
              <a:rPr lang="en-US" altLang="en-US" smtClean="0">
                <a:solidFill>
                  <a:schemeClr val="bg1"/>
                </a:solidFill>
              </a:rPr>
              <a:pPr/>
              <a:t>12</a:t>
            </a:fld>
            <a:endParaRPr lang="en-US" dirty="0">
              <a:solidFill>
                <a:schemeClr val="bg1"/>
              </a:solidFill>
              <a:sym typeface="+mn-lt"/>
            </a:endParaRPr>
          </a:p>
        </p:txBody>
      </p:sp>
      <p:sp>
        <p:nvSpPr>
          <p:cNvPr id="69" name="Text Placeholder 3">
            <a:extLst>
              <a:ext uri="{FF2B5EF4-FFF2-40B4-BE49-F238E27FC236}">
                <a16:creationId xmlns:a16="http://schemas.microsoft.com/office/drawing/2014/main" id="{1FAD1D4F-91D9-4D8E-A594-A57A85205948}"/>
              </a:ext>
            </a:extLst>
          </p:cNvPr>
          <p:cNvSpPr>
            <a:spLocks noGrp="1"/>
          </p:cNvSpPr>
          <p:nvPr>
            <p:custDataLst>
              <p:tags r:id="rId13"/>
            </p:custDataLst>
          </p:nvPr>
        </p:nvSpPr>
        <p:spPr bwMode="gray">
          <a:xfrm>
            <a:off x="4713288" y="2112963"/>
            <a:ext cx="196850"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E44446C-00E3-43AA-AC26-D4C319AE6596}" type="datetime'''''''''''''''''''6''''''''''''''''''7'''''''''">
              <a:rPr lang="en-US" altLang="en-US" smtClean="0">
                <a:solidFill>
                  <a:schemeClr val="bg1"/>
                </a:solidFill>
              </a:rPr>
              <a:pPr/>
              <a:t>67</a:t>
            </a:fld>
            <a:endParaRPr lang="en-US" dirty="0">
              <a:solidFill>
                <a:schemeClr val="bg1"/>
              </a:solidFill>
              <a:sym typeface="+mn-lt"/>
            </a:endParaRPr>
          </a:p>
        </p:txBody>
      </p:sp>
      <p:sp>
        <p:nvSpPr>
          <p:cNvPr id="68" name="Text Placeholder 3">
            <a:extLst>
              <a:ext uri="{FF2B5EF4-FFF2-40B4-BE49-F238E27FC236}">
                <a16:creationId xmlns:a16="http://schemas.microsoft.com/office/drawing/2014/main" id="{F9D129D1-C51D-41CF-A800-77F3777CC96B}"/>
              </a:ext>
            </a:extLst>
          </p:cNvPr>
          <p:cNvSpPr>
            <a:spLocks noGrp="1"/>
          </p:cNvSpPr>
          <p:nvPr>
            <p:custDataLst>
              <p:tags r:id="rId14"/>
            </p:custDataLst>
          </p:nvPr>
        </p:nvSpPr>
        <p:spPr bwMode="gray">
          <a:xfrm>
            <a:off x="1022350" y="2112963"/>
            <a:ext cx="12366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53D8467-0DE4-4791-A16E-F845BA534F80}" type="datetime'''Ti''''''''''''m''''esh''e''''''ets ''-'' ''I''n''fo''''r'">
              <a:rPr lang="en-US" altLang="en-US" smtClean="0"/>
              <a:pPr/>
              <a:t>Timesheets - Infor</a:t>
            </a:fld>
            <a:endParaRPr lang="en-US" dirty="0">
              <a:sym typeface="+mn-lt"/>
            </a:endParaRPr>
          </a:p>
        </p:txBody>
      </p:sp>
      <p:sp>
        <p:nvSpPr>
          <p:cNvPr id="73" name="Text Placeholder 3">
            <a:extLst>
              <a:ext uri="{FF2B5EF4-FFF2-40B4-BE49-F238E27FC236}">
                <a16:creationId xmlns:a16="http://schemas.microsoft.com/office/drawing/2014/main" id="{8231CDB8-588C-44D0-8522-3DB468563F8D}"/>
              </a:ext>
            </a:extLst>
          </p:cNvPr>
          <p:cNvSpPr>
            <a:spLocks noGrp="1"/>
          </p:cNvSpPr>
          <p:nvPr>
            <p:custDataLst>
              <p:tags r:id="rId15"/>
            </p:custDataLst>
          </p:nvPr>
        </p:nvSpPr>
        <p:spPr bwMode="gray">
          <a:xfrm>
            <a:off x="2508250" y="2705100"/>
            <a:ext cx="11747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F548852-BDF2-4E9B-8CD9-10B0CE2A1E29}" type="datetime'''''''7'''''''''''''''''''''">
              <a:rPr lang="en-US" altLang="en-US" smtClean="0">
                <a:solidFill>
                  <a:schemeClr val="bg1"/>
                </a:solidFill>
              </a:rPr>
              <a:pPr/>
              <a:t>7</a:t>
            </a:fld>
            <a:endParaRPr lang="en-US" dirty="0">
              <a:solidFill>
                <a:schemeClr val="bg1"/>
              </a:solidFill>
              <a:sym typeface="+mn-lt"/>
            </a:endParaRPr>
          </a:p>
        </p:txBody>
      </p:sp>
      <p:sp>
        <p:nvSpPr>
          <p:cNvPr id="106" name="Text Placeholder 3">
            <a:extLst>
              <a:ext uri="{FF2B5EF4-FFF2-40B4-BE49-F238E27FC236}">
                <a16:creationId xmlns:a16="http://schemas.microsoft.com/office/drawing/2014/main" id="{82D74244-A41E-4DA6-BB6A-D5259E5D5D81}"/>
              </a:ext>
            </a:extLst>
          </p:cNvPr>
          <p:cNvSpPr>
            <a:spLocks noGrp="1"/>
          </p:cNvSpPr>
          <p:nvPr>
            <p:custDataLst>
              <p:tags r:id="rId16"/>
            </p:custDataLst>
          </p:nvPr>
        </p:nvSpPr>
        <p:spPr bwMode="gray">
          <a:xfrm>
            <a:off x="581024" y="2705100"/>
            <a:ext cx="1677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F157968-F0E2-4F9B-A0A3-050AFD3C2436}" type="datetime'E''x''p''ens''''e''''s ''- C''''hr''''''o''me ''''Ri''ver'">
              <a:rPr lang="en-US" altLang="en-US" smtClean="0"/>
              <a:pPr/>
              <a:t>Expenses - Chrome River</a:t>
            </a:fld>
            <a:endParaRPr lang="en-US" dirty="0">
              <a:sym typeface="+mn-lt"/>
            </a:endParaRPr>
          </a:p>
        </p:txBody>
      </p:sp>
      <p:sp>
        <p:nvSpPr>
          <p:cNvPr id="14" name="Rectangle 13">
            <a:extLst>
              <a:ext uri="{FF2B5EF4-FFF2-40B4-BE49-F238E27FC236}">
                <a16:creationId xmlns:a16="http://schemas.microsoft.com/office/drawing/2014/main" id="{8133456E-CC47-4AAE-AA2E-AB9375056032}"/>
              </a:ext>
            </a:extLst>
          </p:cNvPr>
          <p:cNvSpPr/>
          <p:nvPr>
            <p:custDataLst>
              <p:tags r:id="rId17"/>
            </p:custDataLst>
          </p:nvPr>
        </p:nvSpPr>
        <p:spPr bwMode="gray">
          <a:xfrm>
            <a:off x="2625725" y="3662363"/>
            <a:ext cx="214313" cy="160338"/>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7" name="Rectangle 246"/>
          <p:cNvSpPr/>
          <p:nvPr>
            <p:custDataLst>
              <p:tags r:id="rId18"/>
            </p:custDataLst>
          </p:nvPr>
        </p:nvSpPr>
        <p:spPr bwMode="gray">
          <a:xfrm>
            <a:off x="2625725" y="391477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8" name="Rectangle 247"/>
          <p:cNvSpPr/>
          <p:nvPr>
            <p:custDataLst>
              <p:tags r:id="rId19"/>
            </p:custDataLst>
          </p:nvPr>
        </p:nvSpPr>
        <p:spPr bwMode="gray">
          <a:xfrm>
            <a:off x="4862513" y="36623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9" name="Rectangle 248"/>
          <p:cNvSpPr/>
          <p:nvPr>
            <p:custDataLst>
              <p:tags r:id="rId20"/>
            </p:custDataLst>
          </p:nvPr>
        </p:nvSpPr>
        <p:spPr bwMode="gray">
          <a:xfrm>
            <a:off x="4862513" y="3914775"/>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5" name="Text Placeholder 3"/>
          <p:cNvSpPr>
            <a:spLocks noGrp="1"/>
          </p:cNvSpPr>
          <p:nvPr>
            <p:custDataLst>
              <p:tags r:id="rId21"/>
            </p:custDataLst>
          </p:nvPr>
        </p:nvSpPr>
        <p:spPr bwMode="gray">
          <a:xfrm>
            <a:off x="2890838" y="3895725"/>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BFCE5E6-4A04-4FDE-8597-64DE55423EB5}" type="datetime'Do'''''''''''''''''''''''''''''' Us''e'''">
              <a:rPr lang="en-US" altLang="en-US" smtClean="0">
                <a:sym typeface="+mn-lt"/>
              </a:rPr>
              <a:pPr>
                <a:spcBef>
                  <a:spcPct val="0"/>
                </a:spcBef>
                <a:spcAft>
                  <a:spcPct val="0"/>
                </a:spcAft>
              </a:pPr>
              <a:t>Do Use</a:t>
            </a:fld>
            <a:endParaRPr lang="en-US" dirty="0">
              <a:sym typeface="+mn-lt"/>
            </a:endParaRPr>
          </a:p>
        </p:txBody>
      </p:sp>
      <p:sp>
        <p:nvSpPr>
          <p:cNvPr id="55" name="Text Placeholder 3">
            <a:extLst>
              <a:ext uri="{FF2B5EF4-FFF2-40B4-BE49-F238E27FC236}">
                <a16:creationId xmlns:a16="http://schemas.microsoft.com/office/drawing/2014/main" id="{32F2DE5F-3D33-44F2-AC6A-9D012815F896}"/>
              </a:ext>
            </a:extLst>
          </p:cNvPr>
          <p:cNvSpPr>
            <a:spLocks noGrp="1"/>
          </p:cNvSpPr>
          <p:nvPr>
            <p:custDataLst>
              <p:tags r:id="rId22"/>
            </p:custDataLst>
          </p:nvPr>
        </p:nvSpPr>
        <p:spPr bwMode="gray">
          <a:xfrm>
            <a:off x="2890838" y="3643313"/>
            <a:ext cx="18700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59C678B-DE6F-48C0-8A14-D16DC5BA8CBA}" type="datetime'''Ass''i''st''an''''''t'''' ''uses'' ''on my'' ''b''''''ehalf'">
              <a:rPr lang="en-US" altLang="en-US" smtClean="0"/>
              <a:pPr/>
              <a:t>Assistant uses on my behalf</a:t>
            </a:fld>
            <a:endParaRPr lang="en-US" dirty="0">
              <a:sym typeface="+mn-lt"/>
            </a:endParaRPr>
          </a:p>
        </p:txBody>
      </p:sp>
      <p:sp>
        <p:nvSpPr>
          <p:cNvPr id="244" name="Text Placeholder 3"/>
          <p:cNvSpPr>
            <a:spLocks noGrp="1"/>
          </p:cNvSpPr>
          <p:nvPr>
            <p:custDataLst>
              <p:tags r:id="rId23"/>
            </p:custDataLst>
          </p:nvPr>
        </p:nvSpPr>
        <p:spPr bwMode="gray">
          <a:xfrm>
            <a:off x="5127625" y="3643313"/>
            <a:ext cx="6635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0B4C5C3-C62A-45B3-ACEA-9EA46A69C94F}" type="datetime'''''D''''o''''''''n’''''''''''''t ''''''''''''''''''''''U''se'">
              <a:rPr lang="en-US" altLang="en-US" smtClean="0">
                <a:sym typeface="+mn-lt"/>
              </a:rPr>
              <a:pPr>
                <a:spcBef>
                  <a:spcPct val="0"/>
                </a:spcBef>
                <a:spcAft>
                  <a:spcPct val="0"/>
                </a:spcAft>
              </a:pPr>
              <a:t>Don’t Use</a:t>
            </a:fld>
            <a:endParaRPr lang="en-US" dirty="0">
              <a:sym typeface="+mn-lt"/>
            </a:endParaRPr>
          </a:p>
        </p:txBody>
      </p:sp>
      <p:sp>
        <p:nvSpPr>
          <p:cNvPr id="243" name="Text Placeholder 3"/>
          <p:cNvSpPr>
            <a:spLocks noGrp="1"/>
          </p:cNvSpPr>
          <p:nvPr>
            <p:custDataLst>
              <p:tags r:id="rId24"/>
            </p:custDataLst>
          </p:nvPr>
        </p:nvSpPr>
        <p:spPr bwMode="gray">
          <a:xfrm>
            <a:off x="5127625" y="3895725"/>
            <a:ext cx="1606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8A3CD81-D9C9-4911-901B-B754591BB5AF}" type="datetime'''D''o''n''''''’t Know ''H''o''''''''''''w ''''T''o U''se'''">
              <a:rPr lang="en-US" altLang="en-US" smtClean="0">
                <a:sym typeface="+mn-lt"/>
              </a:rPr>
              <a:pPr>
                <a:spcBef>
                  <a:spcPct val="0"/>
                </a:spcBef>
                <a:spcAft>
                  <a:spcPct val="0"/>
                </a:spcAft>
              </a:pPr>
              <a:t>Don’t Know How To Use</a:t>
            </a:fld>
            <a:endParaRPr lang="en-US" dirty="0">
              <a:sym typeface="+mn-lt"/>
            </a:endParaRPr>
          </a:p>
        </p:txBody>
      </p:sp>
      <p:sp>
        <p:nvSpPr>
          <p:cNvPr id="37" name="Rectangle 3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aphicFrame>
        <p:nvGraphicFramePr>
          <p:cNvPr id="96" name="Chart 95">
            <a:extLst>
              <a:ext uri="{FF2B5EF4-FFF2-40B4-BE49-F238E27FC236}">
                <a16:creationId xmlns:a16="http://schemas.microsoft.com/office/drawing/2014/main" id="{69FDC865-F7FE-4786-B0F8-23D07C16B3CE}"/>
              </a:ext>
            </a:extLst>
          </p:cNvPr>
          <p:cNvGraphicFramePr/>
          <p:nvPr>
            <p:custDataLst>
              <p:tags r:id="rId25"/>
            </p:custDataLst>
            <p:extLst>
              <p:ext uri="{D42A27DB-BD31-4B8C-83A1-F6EECF244321}">
                <p14:modId xmlns:p14="http://schemas.microsoft.com/office/powerpoint/2010/main" val="760219063"/>
              </p:ext>
            </p:extLst>
          </p:nvPr>
        </p:nvGraphicFramePr>
        <p:xfrm>
          <a:off x="2093913" y="4668838"/>
          <a:ext cx="6678612" cy="1027112"/>
        </p:xfrm>
        <a:graphic>
          <a:graphicData uri="http://schemas.openxmlformats.org/drawingml/2006/chart">
            <c:chart xmlns:c="http://schemas.openxmlformats.org/drawingml/2006/chart" xmlns:r="http://schemas.openxmlformats.org/officeDocument/2006/relationships" r:id="rId41"/>
          </a:graphicData>
        </a:graphic>
      </p:graphicFrame>
      <p:sp>
        <p:nvSpPr>
          <p:cNvPr id="67" name="Text Placeholder 3">
            <a:extLst>
              <a:ext uri="{FF2B5EF4-FFF2-40B4-BE49-F238E27FC236}">
                <a16:creationId xmlns:a16="http://schemas.microsoft.com/office/drawing/2014/main" id="{55D9D33D-19D1-46B6-A127-FF8225F68BAE}"/>
              </a:ext>
            </a:extLst>
          </p:cNvPr>
          <p:cNvSpPr>
            <a:spLocks noGrp="1"/>
          </p:cNvSpPr>
          <p:nvPr>
            <p:custDataLst>
              <p:tags r:id="rId26"/>
            </p:custDataLst>
          </p:nvPr>
        </p:nvSpPr>
        <p:spPr bwMode="gray">
          <a:xfrm>
            <a:off x="8380413" y="4957763"/>
            <a:ext cx="117475"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98C2942-9A88-4FF8-803B-0B6F12CE9F9A}" type="datetime'''''''''''''2'''''''''''''''''''''''''''''''''''''''''''''">
              <a:rPr lang="en-US" altLang="en-US" smtClean="0">
                <a:solidFill>
                  <a:schemeClr val="bg1"/>
                </a:solidFill>
              </a:rPr>
              <a:pPr/>
              <a:t>2</a:t>
            </a:fld>
            <a:endParaRPr lang="en-US" dirty="0">
              <a:solidFill>
                <a:schemeClr val="bg1"/>
              </a:solidFill>
              <a:sym typeface="+mn-lt"/>
            </a:endParaRPr>
          </a:p>
        </p:txBody>
      </p:sp>
      <p:sp>
        <p:nvSpPr>
          <p:cNvPr id="72" name="Text Placeholder 3">
            <a:extLst>
              <a:ext uri="{FF2B5EF4-FFF2-40B4-BE49-F238E27FC236}">
                <a16:creationId xmlns:a16="http://schemas.microsoft.com/office/drawing/2014/main" id="{60B60396-9DD3-44BA-B4B8-5D954C94688F}"/>
              </a:ext>
            </a:extLst>
          </p:cNvPr>
          <p:cNvSpPr>
            <a:spLocks noGrp="1"/>
          </p:cNvSpPr>
          <p:nvPr>
            <p:custDataLst>
              <p:tags r:id="rId27"/>
            </p:custDataLst>
          </p:nvPr>
        </p:nvSpPr>
        <p:spPr bwMode="gray">
          <a:xfrm>
            <a:off x="7096125" y="4957763"/>
            <a:ext cx="196850"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3592DA0-05F0-4AE1-9E37-6ACBE656E2CB}" type="datetime'''3''''8'''''''">
              <a:rPr lang="en-US" altLang="en-US" smtClean="0">
                <a:solidFill>
                  <a:schemeClr val="bg1"/>
                </a:solidFill>
              </a:rPr>
              <a:pPr/>
              <a:t>38</a:t>
            </a:fld>
            <a:endParaRPr lang="en-US" dirty="0">
              <a:solidFill>
                <a:schemeClr val="bg1"/>
              </a:solidFill>
              <a:sym typeface="+mn-lt"/>
            </a:endParaRPr>
          </a:p>
        </p:txBody>
      </p:sp>
      <p:sp>
        <p:nvSpPr>
          <p:cNvPr id="74" name="Text Placeholder 3">
            <a:extLst>
              <a:ext uri="{FF2B5EF4-FFF2-40B4-BE49-F238E27FC236}">
                <a16:creationId xmlns:a16="http://schemas.microsoft.com/office/drawing/2014/main" id="{F0302D2C-0244-4406-87E2-68C376DF8DAA}"/>
              </a:ext>
            </a:extLst>
          </p:cNvPr>
          <p:cNvSpPr>
            <a:spLocks noGrp="1"/>
          </p:cNvSpPr>
          <p:nvPr>
            <p:custDataLst>
              <p:tags r:id="rId28"/>
            </p:custDataLst>
          </p:nvPr>
        </p:nvSpPr>
        <p:spPr bwMode="gray">
          <a:xfrm>
            <a:off x="4089400" y="4957763"/>
            <a:ext cx="196850"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05EB9A2-97E9-4CF7-AC6F-8F6D61A2EF7A}" type="datetime'60'''''''''''''''''''''''''''''''''''''''''''''''''''''">
              <a:rPr lang="en-US" altLang="en-US" smtClean="0">
                <a:solidFill>
                  <a:schemeClr val="bg1"/>
                </a:solidFill>
              </a:rPr>
              <a:pPr/>
              <a:t>60</a:t>
            </a:fld>
            <a:endParaRPr lang="en-US" dirty="0">
              <a:solidFill>
                <a:schemeClr val="bg1"/>
              </a:solidFill>
              <a:sym typeface="+mn-lt"/>
            </a:endParaRPr>
          </a:p>
        </p:txBody>
      </p:sp>
      <p:sp>
        <p:nvSpPr>
          <p:cNvPr id="77" name="Text Placeholder 3">
            <a:extLst>
              <a:ext uri="{FF2B5EF4-FFF2-40B4-BE49-F238E27FC236}">
                <a16:creationId xmlns:a16="http://schemas.microsoft.com/office/drawing/2014/main" id="{D03E64A6-1378-4EDE-A92A-8B247B51F54C}"/>
              </a:ext>
            </a:extLst>
          </p:cNvPr>
          <p:cNvSpPr>
            <a:spLocks noGrp="1"/>
          </p:cNvSpPr>
          <p:nvPr>
            <p:custDataLst>
              <p:tags r:id="rId29"/>
            </p:custDataLst>
          </p:nvPr>
        </p:nvSpPr>
        <p:spPr bwMode="gray">
          <a:xfrm>
            <a:off x="608013" y="4957763"/>
            <a:ext cx="16510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850128D-CAA8-49F9-BA83-5A023AB6E09A}" type="datetime'C''''hr''ome R''''''''''ive''r for Mo''b''i''le'''''''">
              <a:rPr lang="en-US" altLang="en-US" smtClean="0"/>
              <a:pPr/>
              <a:t>Chrome River for Mobile</a:t>
            </a:fld>
            <a:endParaRPr lang="en-US" dirty="0">
              <a:sym typeface="+mn-lt"/>
            </a:endParaRPr>
          </a:p>
        </p:txBody>
      </p:sp>
      <p:sp>
        <p:nvSpPr>
          <p:cNvPr id="83" name="Rectangle 82">
            <a:extLst>
              <a:ext uri="{FF2B5EF4-FFF2-40B4-BE49-F238E27FC236}">
                <a16:creationId xmlns:a16="http://schemas.microsoft.com/office/drawing/2014/main" id="{38841A56-F3E4-4E4B-9A0D-AF6E719FB944}"/>
              </a:ext>
            </a:extLst>
          </p:cNvPr>
          <p:cNvSpPr/>
          <p:nvPr>
            <p:custDataLst>
              <p:tags r:id="rId30"/>
            </p:custDataLst>
          </p:nvPr>
        </p:nvSpPr>
        <p:spPr bwMode="gray">
          <a:xfrm>
            <a:off x="4283075" y="5765800"/>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a:extLst>
              <a:ext uri="{FF2B5EF4-FFF2-40B4-BE49-F238E27FC236}">
                <a16:creationId xmlns:a16="http://schemas.microsoft.com/office/drawing/2014/main" id="{B76E10E4-257D-40E4-AE98-192462ED3E0B}"/>
              </a:ext>
            </a:extLst>
          </p:cNvPr>
          <p:cNvSpPr/>
          <p:nvPr>
            <p:custDataLst>
              <p:tags r:id="rId31"/>
            </p:custDataLst>
          </p:nvPr>
        </p:nvSpPr>
        <p:spPr bwMode="gray">
          <a:xfrm>
            <a:off x="2420938" y="576580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Rectangle 81">
            <a:extLst>
              <a:ext uri="{FF2B5EF4-FFF2-40B4-BE49-F238E27FC236}">
                <a16:creationId xmlns:a16="http://schemas.microsoft.com/office/drawing/2014/main" id="{10D2BFD9-E1BA-4A5A-B9D9-140487992AA0}"/>
              </a:ext>
            </a:extLst>
          </p:cNvPr>
          <p:cNvSpPr/>
          <p:nvPr>
            <p:custDataLst>
              <p:tags r:id="rId32"/>
            </p:custDataLst>
          </p:nvPr>
        </p:nvSpPr>
        <p:spPr bwMode="gray">
          <a:xfrm>
            <a:off x="3252788" y="576580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5" name="Text Placeholder 3">
            <a:extLst>
              <a:ext uri="{FF2B5EF4-FFF2-40B4-BE49-F238E27FC236}">
                <a16:creationId xmlns:a16="http://schemas.microsoft.com/office/drawing/2014/main" id="{CBD95720-5C2A-47E1-8DDB-778C72901669}"/>
              </a:ext>
            </a:extLst>
          </p:cNvPr>
          <p:cNvSpPr>
            <a:spLocks noGrp="1"/>
          </p:cNvSpPr>
          <p:nvPr>
            <p:custDataLst>
              <p:tags r:id="rId33"/>
            </p:custDataLst>
          </p:nvPr>
        </p:nvSpPr>
        <p:spPr bwMode="gray">
          <a:xfrm>
            <a:off x="2686050" y="5746750"/>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16897B4-FDE1-4575-8221-C91371A2B667}" type="datetime'''D''''''o'' ''U''''''''s''''''''''''e'''">
              <a:rPr lang="en-US" altLang="en-US" smtClean="0"/>
              <a:pPr/>
              <a:t>Do Use</a:t>
            </a:fld>
            <a:endParaRPr lang="en-US" dirty="0">
              <a:sym typeface="+mn-lt"/>
            </a:endParaRPr>
          </a:p>
        </p:txBody>
      </p:sp>
      <p:sp>
        <p:nvSpPr>
          <p:cNvPr id="86" name="Text Placeholder 3">
            <a:extLst>
              <a:ext uri="{FF2B5EF4-FFF2-40B4-BE49-F238E27FC236}">
                <a16:creationId xmlns:a16="http://schemas.microsoft.com/office/drawing/2014/main" id="{51B8E5FE-9103-46DD-970A-3ECE9C177D62}"/>
              </a:ext>
            </a:extLst>
          </p:cNvPr>
          <p:cNvSpPr>
            <a:spLocks noGrp="1"/>
          </p:cNvSpPr>
          <p:nvPr>
            <p:custDataLst>
              <p:tags r:id="rId34"/>
            </p:custDataLst>
          </p:nvPr>
        </p:nvSpPr>
        <p:spPr bwMode="gray">
          <a:xfrm>
            <a:off x="3517900" y="5746750"/>
            <a:ext cx="6635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0921A1-41DD-4E7F-85EC-CCECAE2192D8}" type="datetime'''''''D''''''''''on''''''''''’t ''''U''''s''''''''''e'''">
              <a:rPr lang="en-US" altLang="en-US" smtClean="0"/>
              <a:pPr/>
              <a:t>Don’t Use</a:t>
            </a:fld>
            <a:endParaRPr lang="en-US" dirty="0">
              <a:sym typeface="+mn-lt"/>
            </a:endParaRPr>
          </a:p>
        </p:txBody>
      </p:sp>
      <p:sp>
        <p:nvSpPr>
          <p:cNvPr id="87" name="Text Placeholder 3">
            <a:extLst>
              <a:ext uri="{FF2B5EF4-FFF2-40B4-BE49-F238E27FC236}">
                <a16:creationId xmlns:a16="http://schemas.microsoft.com/office/drawing/2014/main" id="{E9A964E8-E743-45BC-8FB1-E3C0B6EF6A3D}"/>
              </a:ext>
            </a:extLst>
          </p:cNvPr>
          <p:cNvSpPr>
            <a:spLocks noGrp="1"/>
          </p:cNvSpPr>
          <p:nvPr>
            <p:custDataLst>
              <p:tags r:id="rId35"/>
            </p:custDataLst>
          </p:nvPr>
        </p:nvSpPr>
        <p:spPr bwMode="gray">
          <a:xfrm>
            <a:off x="4548188" y="5746750"/>
            <a:ext cx="1606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62A42F9-C659-45A6-9C42-43012C5A2F68}" type="datetime'''D''o''''''''n’''''''t Know ''''''How ''''To ''U''''se'''''''">
              <a:rPr lang="en-US" altLang="en-US" smtClean="0"/>
              <a:pPr/>
              <a:t>Don’t Know How To Use</a:t>
            </a:fld>
            <a:endParaRPr lang="en-US" dirty="0">
              <a:sym typeface="+mn-lt"/>
            </a:endParaRPr>
          </a:p>
        </p:txBody>
      </p:sp>
      <p:grpSp>
        <p:nvGrpSpPr>
          <p:cNvPr id="104" name="Group 103">
            <a:extLst>
              <a:ext uri="{FF2B5EF4-FFF2-40B4-BE49-F238E27FC236}">
                <a16:creationId xmlns:a16="http://schemas.microsoft.com/office/drawing/2014/main" id="{3E55A330-6776-4D08-9F62-A73AB46FF77C}"/>
              </a:ext>
            </a:extLst>
          </p:cNvPr>
          <p:cNvGrpSpPr>
            <a:grpSpLocks noChangeAspect="1"/>
          </p:cNvGrpSpPr>
          <p:nvPr/>
        </p:nvGrpSpPr>
        <p:grpSpPr>
          <a:xfrm>
            <a:off x="514429" y="864696"/>
            <a:ext cx="457200" cy="457200"/>
            <a:chOff x="5867400" y="3200400"/>
            <a:chExt cx="457200" cy="457200"/>
          </a:xfrm>
        </p:grpSpPr>
        <p:sp>
          <p:nvSpPr>
            <p:cNvPr id="105" name="AutoShape 43">
              <a:extLst>
                <a:ext uri="{FF2B5EF4-FFF2-40B4-BE49-F238E27FC236}">
                  <a16:creationId xmlns:a16="http://schemas.microsoft.com/office/drawing/2014/main" id="{14A6A61C-2FB6-4221-9C7D-F1F3AD40A05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7">
              <a:extLst>
                <a:ext uri="{FF2B5EF4-FFF2-40B4-BE49-F238E27FC236}">
                  <a16:creationId xmlns:a16="http://schemas.microsoft.com/office/drawing/2014/main" id="{205400A1-49DC-40D3-BC69-929A217D271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5" name="Rectangle 44">
            <a:extLst>
              <a:ext uri="{FF2B5EF4-FFF2-40B4-BE49-F238E27FC236}">
                <a16:creationId xmlns:a16="http://schemas.microsoft.com/office/drawing/2014/main" id="{6DC89E03-1C7E-4BB5-BAC2-A0A0C62058BA}"/>
              </a:ext>
            </a:extLst>
          </p:cNvPr>
          <p:cNvSpPr/>
          <p:nvPr/>
        </p:nvSpPr>
        <p:spPr>
          <a:xfrm>
            <a:off x="8595852" y="3109488"/>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46" name="Rectangle 45">
            <a:extLst>
              <a:ext uri="{FF2B5EF4-FFF2-40B4-BE49-F238E27FC236}">
                <a16:creationId xmlns:a16="http://schemas.microsoft.com/office/drawing/2014/main" id="{038DE328-1E0F-4D31-8164-90A6CD6328BA}"/>
              </a:ext>
            </a:extLst>
          </p:cNvPr>
          <p:cNvSpPr/>
          <p:nvPr/>
        </p:nvSpPr>
        <p:spPr>
          <a:xfrm>
            <a:off x="8573220" y="5918639"/>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2"/>
    </p:custDataLst>
    <p:extLst>
      <p:ext uri="{BB962C8B-B14F-4D97-AF65-F5344CB8AC3E}">
        <p14:creationId xmlns:p14="http://schemas.microsoft.com/office/powerpoint/2010/main" val="937069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087807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160" name="think-cell Slide" r:id="rId21" imgW="473" imgH="473" progId="TCLayout.ActiveDocument.1">
                  <p:embed/>
                </p:oleObj>
              </mc:Choice>
              <mc:Fallback>
                <p:oleObj name="think-cell Slide" r:id="rId21" imgW="473" imgH="473" progId="TCLayout.ActiveDocument.1">
                  <p:embed/>
                  <p:pic>
                    <p:nvPicPr>
                      <p:cNvPr id="5" name="Object 4"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098296" y="0"/>
            <a:ext cx="302837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imesheets continues to remain one of the lowest scoring products in Pulse, although some improvements are noted</a:t>
            </a:r>
          </a:p>
          <a:p>
            <a:r>
              <a:rPr lang="en-GB" sz="1400" i="1" dirty="0">
                <a:solidFill>
                  <a:srgbClr val="FFFFFF"/>
                </a:solidFill>
                <a:cs typeface="Arial" pitchFamily="34" charset="0"/>
              </a:rPr>
              <a:t>(Slide 130 for more trending)</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Timesheets &amp; Expenses – Satisfaction</a:t>
            </a:r>
          </a:p>
        </p:txBody>
      </p:sp>
      <p:graphicFrame>
        <p:nvGraphicFramePr>
          <p:cNvPr id="90" name="Chart 89">
            <a:extLst>
              <a:ext uri="{FF2B5EF4-FFF2-40B4-BE49-F238E27FC236}">
                <a16:creationId xmlns:a16="http://schemas.microsoft.com/office/drawing/2014/main" id="{DB678EFD-AB77-4659-88E2-2C4F2A0C0206}"/>
              </a:ext>
            </a:extLst>
          </p:cNvPr>
          <p:cNvGraphicFramePr/>
          <p:nvPr>
            <p:custDataLst>
              <p:tags r:id="rId5"/>
            </p:custDataLst>
            <p:extLst>
              <p:ext uri="{D42A27DB-BD31-4B8C-83A1-F6EECF244321}">
                <p14:modId xmlns:p14="http://schemas.microsoft.com/office/powerpoint/2010/main" val="1448104504"/>
              </p:ext>
            </p:extLst>
          </p:nvPr>
        </p:nvGraphicFramePr>
        <p:xfrm>
          <a:off x="2082800" y="2498725"/>
          <a:ext cx="5311775" cy="2684463"/>
        </p:xfrm>
        <a:graphic>
          <a:graphicData uri="http://schemas.openxmlformats.org/drawingml/2006/chart">
            <c:chart xmlns:c="http://schemas.openxmlformats.org/drawingml/2006/chart" xmlns:r="http://schemas.openxmlformats.org/officeDocument/2006/relationships" r:id="rId23"/>
          </a:graphicData>
        </a:graphic>
      </p:graphicFrame>
      <p:sp>
        <p:nvSpPr>
          <p:cNvPr id="98" name="Text Placeholder 3"/>
          <p:cNvSpPr>
            <a:spLocks noGrp="1"/>
          </p:cNvSpPr>
          <p:nvPr>
            <p:custDataLst>
              <p:tags r:id="rId6"/>
            </p:custDataLst>
          </p:nvPr>
        </p:nvSpPr>
        <p:spPr bwMode="gray">
          <a:xfrm>
            <a:off x="569913" y="3616325"/>
            <a:ext cx="1677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BCADAD5-388C-400F-B3C7-93A0E1E6E124}" type="datetime'Ex''''p''''''''ens''es'' ''-'' C''h''rom''e ''Riv''''''''er'''">
              <a:rPr lang="en-US" altLang="en-US" smtClean="0"/>
              <a:pPr/>
              <a:t>Expenses - Chrome River</a:t>
            </a:fld>
            <a:endParaRPr lang="en-US" dirty="0">
              <a:sym typeface="+mn-lt"/>
            </a:endParaRPr>
          </a:p>
        </p:txBody>
      </p:sp>
      <p:sp>
        <p:nvSpPr>
          <p:cNvPr id="38" name="Text Placeholder 3">
            <a:extLst>
              <a:ext uri="{FF2B5EF4-FFF2-40B4-BE49-F238E27FC236}">
                <a16:creationId xmlns:a16="http://schemas.microsoft.com/office/drawing/2014/main" id="{5A983635-F64C-4C3C-892C-8ED4C52FAB3C}"/>
              </a:ext>
            </a:extLst>
          </p:cNvPr>
          <p:cNvSpPr>
            <a:spLocks noGrp="1"/>
          </p:cNvSpPr>
          <p:nvPr>
            <p:custDataLst>
              <p:tags r:id="rId7"/>
            </p:custDataLst>
          </p:nvPr>
        </p:nvSpPr>
        <p:spPr bwMode="gray">
          <a:xfrm>
            <a:off x="1011238" y="4375150"/>
            <a:ext cx="12366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6385573-9AE7-4370-A74B-965C84074386}" type="datetime'''Times''h''e''''et''''''s ''''- I''''n''''''fo''''''''''r'''">
              <a:rPr lang="en-US" altLang="en-US" smtClean="0"/>
              <a:pPr/>
              <a:t>Timesheets - Infor</a:t>
            </a:fld>
            <a:endParaRPr lang="en-US" dirty="0">
              <a:sym typeface="+mn-lt"/>
            </a:endParaRPr>
          </a:p>
        </p:txBody>
      </p:sp>
      <p:sp>
        <p:nvSpPr>
          <p:cNvPr id="184" name="Text Placeholder 3">
            <a:extLst>
              <a:ext uri="{FF2B5EF4-FFF2-40B4-BE49-F238E27FC236}">
                <a16:creationId xmlns:a16="http://schemas.microsoft.com/office/drawing/2014/main" id="{0CE9A4C8-DB68-4158-BDD4-F1B40065D201}"/>
              </a:ext>
            </a:extLst>
          </p:cNvPr>
          <p:cNvSpPr>
            <a:spLocks noGrp="1"/>
          </p:cNvSpPr>
          <p:nvPr>
            <p:custDataLst>
              <p:tags r:id="rId8"/>
            </p:custDataLst>
          </p:nvPr>
        </p:nvSpPr>
        <p:spPr bwMode="gray">
          <a:xfrm>
            <a:off x="596900" y="2859088"/>
            <a:ext cx="16510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213A906-DE26-4BF6-AB68-E3B3E44105FD}" type="datetime'C''h''''''''r''ome Ri''''''ve''r f''''or M''''o''bi''l''e'">
              <a:rPr lang="en-US" altLang="en-US" smtClean="0"/>
              <a:pPr/>
              <a:t>Chrome River for Mobile</a:t>
            </a:fld>
            <a:endParaRPr lang="en-US" dirty="0">
              <a:sym typeface="+mn-lt"/>
            </a:endParaRPr>
          </a:p>
        </p:txBody>
      </p:sp>
      <p:sp>
        <p:nvSpPr>
          <p:cNvPr id="80" name="Rectangle 79"/>
          <p:cNvSpPr/>
          <p:nvPr>
            <p:custDataLst>
              <p:tags r:id="rId9"/>
            </p:custDataLst>
          </p:nvPr>
        </p:nvSpPr>
        <p:spPr bwMode="gray">
          <a:xfrm>
            <a:off x="5416550" y="53308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Rectangle 74"/>
          <p:cNvSpPr/>
          <p:nvPr>
            <p:custDataLst>
              <p:tags r:id="rId10"/>
            </p:custDataLst>
          </p:nvPr>
        </p:nvSpPr>
        <p:spPr bwMode="gray">
          <a:xfrm>
            <a:off x="2305050" y="53308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11"/>
            </p:custDataLst>
          </p:nvPr>
        </p:nvSpPr>
        <p:spPr bwMode="gray">
          <a:xfrm>
            <a:off x="3595688" y="53308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9" name="Rectangle 78"/>
          <p:cNvSpPr/>
          <p:nvPr>
            <p:custDataLst>
              <p:tags r:id="rId12"/>
            </p:custDataLst>
          </p:nvPr>
        </p:nvSpPr>
        <p:spPr bwMode="gray">
          <a:xfrm>
            <a:off x="4545013" y="53308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p:cNvSpPr/>
          <p:nvPr>
            <p:custDataLst>
              <p:tags r:id="rId13"/>
            </p:custDataLst>
          </p:nvPr>
        </p:nvSpPr>
        <p:spPr bwMode="gray">
          <a:xfrm>
            <a:off x="6553200" y="53308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8" name="Text Placeholder 3"/>
          <p:cNvSpPr>
            <a:spLocks noGrp="1"/>
          </p:cNvSpPr>
          <p:nvPr>
            <p:custDataLst>
              <p:tags r:id="rId14"/>
            </p:custDataLst>
          </p:nvPr>
        </p:nvSpPr>
        <p:spPr bwMode="gray">
          <a:xfrm>
            <a:off x="4810125" y="53117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622D474-5FF2-4E97-B12D-7DE2A60FD3E7}" type="datetime'''N''e''''u''''''''tr''a''l'''''''''''''''''''''''''">
              <a:rPr lang="en-US" altLang="en-US" smtClean="0">
                <a:sym typeface="+mn-lt"/>
              </a:rPr>
              <a:pPr>
                <a:spcBef>
                  <a:spcPct val="0"/>
                </a:spcBef>
                <a:spcAft>
                  <a:spcPct val="0"/>
                </a:spcAft>
              </a:pPr>
              <a:t>Neutral</a:t>
            </a:fld>
            <a:endParaRPr lang="en-US" dirty="0">
              <a:sym typeface="+mn-lt"/>
            </a:endParaRPr>
          </a:p>
        </p:txBody>
      </p:sp>
      <p:sp>
        <p:nvSpPr>
          <p:cNvPr id="59" name="Text Placeholder 3"/>
          <p:cNvSpPr>
            <a:spLocks noGrp="1"/>
          </p:cNvSpPr>
          <p:nvPr>
            <p:custDataLst>
              <p:tags r:id="rId15"/>
            </p:custDataLst>
          </p:nvPr>
        </p:nvSpPr>
        <p:spPr bwMode="gray">
          <a:xfrm>
            <a:off x="2570163" y="53117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F9A80EC-A51B-4B06-A411-964777703E07}" type="datetime'''''V''e''r''''y'''''''''' S''''a''''''''ti''sf''i''e''d'''">
              <a:rPr lang="en-US" altLang="en-US" smtClean="0">
                <a:sym typeface="+mn-lt"/>
              </a:rPr>
              <a:pPr>
                <a:spcBef>
                  <a:spcPct val="0"/>
                </a:spcBef>
                <a:spcAft>
                  <a:spcPct val="0"/>
                </a:spcAft>
              </a:pPr>
              <a:t>Very Satisfied</a:t>
            </a:fld>
            <a:endParaRPr lang="en-US" dirty="0">
              <a:sym typeface="+mn-lt"/>
            </a:endParaRPr>
          </a:p>
        </p:txBody>
      </p:sp>
      <p:sp>
        <p:nvSpPr>
          <p:cNvPr id="65" name="Text Placeholder 3"/>
          <p:cNvSpPr>
            <a:spLocks noGrp="1"/>
          </p:cNvSpPr>
          <p:nvPr>
            <p:custDataLst>
              <p:tags r:id="rId16"/>
            </p:custDataLst>
          </p:nvPr>
        </p:nvSpPr>
        <p:spPr bwMode="gray">
          <a:xfrm>
            <a:off x="3860800" y="53117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0628767-9A43-4058-A74A-F1920B192CAE}" type="datetime'''''''''S''a''''''tis''''''''''fi''''''''''''''''ed'''">
              <a:rPr lang="en-US" altLang="en-US" smtClean="0">
                <a:sym typeface="+mn-lt"/>
              </a:rPr>
              <a:pPr>
                <a:spcBef>
                  <a:spcPct val="0"/>
                </a:spcBef>
                <a:spcAft>
                  <a:spcPct val="0"/>
                </a:spcAft>
              </a:pPr>
              <a:t>Satisfied</a:t>
            </a:fld>
            <a:endParaRPr lang="en-US" dirty="0">
              <a:sym typeface="+mn-lt"/>
            </a:endParaRPr>
          </a:p>
        </p:txBody>
      </p:sp>
      <p:sp>
        <p:nvSpPr>
          <p:cNvPr id="70" name="Text Placeholder 3"/>
          <p:cNvSpPr>
            <a:spLocks noGrp="1"/>
          </p:cNvSpPr>
          <p:nvPr>
            <p:custDataLst>
              <p:tags r:id="rId17"/>
            </p:custDataLst>
          </p:nvPr>
        </p:nvSpPr>
        <p:spPr bwMode="gray">
          <a:xfrm>
            <a:off x="5681663" y="53117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7D753C-8BF3-45DB-A555-5C186421099D}" type="datetime'''''''D''''''''issa''t''''is''''fi''e''''''''''d'">
              <a:rPr lang="en-US" altLang="en-US" smtClean="0">
                <a:sym typeface="+mn-lt"/>
              </a:rPr>
              <a:pPr>
                <a:spcBef>
                  <a:spcPct val="0"/>
                </a:spcBef>
                <a:spcAft>
                  <a:spcPct val="0"/>
                </a:spcAft>
              </a:pPr>
              <a:t>Dissatisfied</a:t>
            </a:fld>
            <a:endParaRPr lang="en-US" dirty="0">
              <a:sym typeface="+mn-lt"/>
            </a:endParaRPr>
          </a:p>
        </p:txBody>
      </p:sp>
      <p:sp>
        <p:nvSpPr>
          <p:cNvPr id="72" name="Text Placeholder 3"/>
          <p:cNvSpPr>
            <a:spLocks noGrp="1"/>
          </p:cNvSpPr>
          <p:nvPr>
            <p:custDataLst>
              <p:tags r:id="rId18"/>
            </p:custDataLst>
          </p:nvPr>
        </p:nvSpPr>
        <p:spPr bwMode="gray">
          <a:xfrm>
            <a:off x="6818313" y="53117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D9B4F61-C2DA-4116-BF41-4A291F1153E0}" type="datetime'Ver''y ''''D''''''''''''i''''s''''s''at''i''si''''''fed'''">
              <a:rPr lang="en-US" altLang="en-US" smtClean="0">
                <a:sym typeface="+mn-lt"/>
              </a:rPr>
              <a:pPr>
                <a:spcBef>
                  <a:spcPct val="0"/>
                </a:spcBef>
                <a:spcAft>
                  <a:spcPct val="0"/>
                </a:spcAft>
              </a:pPr>
              <a:t>Very Dissatisifed</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490707" y="1971141"/>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128" name="Rectangle 127"/>
          <p:cNvSpPr/>
          <p:nvPr/>
        </p:nvSpPr>
        <p:spPr>
          <a:xfrm>
            <a:off x="7211766" y="2721718"/>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4%</a:t>
            </a:r>
          </a:p>
        </p:txBody>
      </p:sp>
      <p:sp>
        <p:nvSpPr>
          <p:cNvPr id="129" name="Rectangle 128"/>
          <p:cNvSpPr/>
          <p:nvPr/>
        </p:nvSpPr>
        <p:spPr>
          <a:xfrm>
            <a:off x="7193592" y="2393518"/>
            <a:ext cx="581291" cy="2607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130" name="Rectangle 129"/>
          <p:cNvSpPr/>
          <p:nvPr/>
        </p:nvSpPr>
        <p:spPr>
          <a:xfrm>
            <a:off x="7840965" y="2390038"/>
            <a:ext cx="880196" cy="26409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193" name="Rectangle 192"/>
          <p:cNvSpPr/>
          <p:nvPr/>
        </p:nvSpPr>
        <p:spPr>
          <a:xfrm>
            <a:off x="7859038" y="2737786"/>
            <a:ext cx="1036364" cy="26907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1" name="Rectangle 50"/>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pSp>
        <p:nvGrpSpPr>
          <p:cNvPr id="30" name="Group 29">
            <a:extLst>
              <a:ext uri="{FF2B5EF4-FFF2-40B4-BE49-F238E27FC236}">
                <a16:creationId xmlns:a16="http://schemas.microsoft.com/office/drawing/2014/main" id="{3CBBD186-A78E-4692-87F7-BEEFFADDD38F}"/>
              </a:ext>
            </a:extLst>
          </p:cNvPr>
          <p:cNvGrpSpPr>
            <a:grpSpLocks noChangeAspect="1"/>
          </p:cNvGrpSpPr>
          <p:nvPr/>
        </p:nvGrpSpPr>
        <p:grpSpPr>
          <a:xfrm>
            <a:off x="514429" y="864696"/>
            <a:ext cx="457200" cy="457200"/>
            <a:chOff x="5867400" y="3200400"/>
            <a:chExt cx="457200" cy="457200"/>
          </a:xfrm>
        </p:grpSpPr>
        <p:sp>
          <p:nvSpPr>
            <p:cNvPr id="31" name="AutoShape 43">
              <a:extLst>
                <a:ext uri="{FF2B5EF4-FFF2-40B4-BE49-F238E27FC236}">
                  <a16:creationId xmlns:a16="http://schemas.microsoft.com/office/drawing/2014/main" id="{5ADE4384-A1B8-418E-B5D0-1649436768F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7">
              <a:extLst>
                <a:ext uri="{FF2B5EF4-FFF2-40B4-BE49-F238E27FC236}">
                  <a16:creationId xmlns:a16="http://schemas.microsoft.com/office/drawing/2014/main" id="{71E127C4-BA34-49E1-913B-16B0BBC22741}"/>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96" name="Rectangle 195">
            <a:extLst>
              <a:ext uri="{FF2B5EF4-FFF2-40B4-BE49-F238E27FC236}">
                <a16:creationId xmlns:a16="http://schemas.microsoft.com/office/drawing/2014/main" id="{7EFE4988-97CC-4003-8B19-9B27945C3C74}"/>
              </a:ext>
            </a:extLst>
          </p:cNvPr>
          <p:cNvSpPr/>
          <p:nvPr/>
        </p:nvSpPr>
        <p:spPr>
          <a:xfrm>
            <a:off x="7862321" y="3563898"/>
            <a:ext cx="1036364" cy="26907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197" name="Rectangle 196">
            <a:extLst>
              <a:ext uri="{FF2B5EF4-FFF2-40B4-BE49-F238E27FC236}">
                <a16:creationId xmlns:a16="http://schemas.microsoft.com/office/drawing/2014/main" id="{A80D7623-85F6-42F6-BBDD-6E554D49D598}"/>
              </a:ext>
            </a:extLst>
          </p:cNvPr>
          <p:cNvSpPr/>
          <p:nvPr/>
        </p:nvSpPr>
        <p:spPr>
          <a:xfrm>
            <a:off x="7859767" y="4321431"/>
            <a:ext cx="1036364" cy="269078"/>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198" name="Rectangle 197">
            <a:extLst>
              <a:ext uri="{FF2B5EF4-FFF2-40B4-BE49-F238E27FC236}">
                <a16:creationId xmlns:a16="http://schemas.microsoft.com/office/drawing/2014/main" id="{CE9996E5-5073-4A8C-8E66-828CFDD6FE99}"/>
              </a:ext>
            </a:extLst>
          </p:cNvPr>
          <p:cNvSpPr/>
          <p:nvPr/>
        </p:nvSpPr>
        <p:spPr>
          <a:xfrm>
            <a:off x="7240062" y="3563898"/>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0%</a:t>
            </a:r>
          </a:p>
        </p:txBody>
      </p:sp>
      <p:sp>
        <p:nvSpPr>
          <p:cNvPr id="199" name="Rectangle 198">
            <a:extLst>
              <a:ext uri="{FF2B5EF4-FFF2-40B4-BE49-F238E27FC236}">
                <a16:creationId xmlns:a16="http://schemas.microsoft.com/office/drawing/2014/main" id="{897DF0C8-4992-4CE4-B9E7-4DBC2348FCE3}"/>
              </a:ext>
            </a:extLst>
          </p:cNvPr>
          <p:cNvSpPr/>
          <p:nvPr/>
        </p:nvSpPr>
        <p:spPr>
          <a:xfrm>
            <a:off x="7240062" y="4322786"/>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6%</a:t>
            </a:r>
          </a:p>
        </p:txBody>
      </p:sp>
      <p:sp>
        <p:nvSpPr>
          <p:cNvPr id="39" name="Rectangle 38">
            <a:extLst>
              <a:ext uri="{FF2B5EF4-FFF2-40B4-BE49-F238E27FC236}">
                <a16:creationId xmlns:a16="http://schemas.microsoft.com/office/drawing/2014/main" id="{0E9E85B8-2C62-4341-8EF6-85222ED62440}"/>
              </a:ext>
            </a:extLst>
          </p:cNvPr>
          <p:cNvSpPr/>
          <p:nvPr/>
        </p:nvSpPr>
        <p:spPr>
          <a:xfrm>
            <a:off x="7212774" y="4838322"/>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2"/>
    </p:custDataLst>
    <p:extLst>
      <p:ext uri="{BB962C8B-B14F-4D97-AF65-F5344CB8AC3E}">
        <p14:creationId xmlns:p14="http://schemas.microsoft.com/office/powerpoint/2010/main" val="2799485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656253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44" name="think-cell Slide" r:id="rId19" imgW="362" imgH="362" progId="TCLayout.ActiveDocument.1">
                  <p:embed/>
                </p:oleObj>
              </mc:Choice>
              <mc:Fallback>
                <p:oleObj name="think-cell Slide" r:id="rId19" imgW="362" imgH="362" progId="TCLayout.ActiveDocument.1">
                  <p:embed/>
                  <p:pic>
                    <p:nvPicPr>
                      <p:cNvPr id="12" name="Object 11"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a:solidFill>
                <a:srgbClr val="FFFFFF"/>
              </a:solidFill>
              <a:sym typeface="+mn-lt"/>
            </a:endParaRPr>
          </a:p>
        </p:txBody>
      </p:sp>
      <p:sp>
        <p:nvSpPr>
          <p:cNvPr id="2" name="Title 1"/>
          <p:cNvSpPr>
            <a:spLocks noGrp="1"/>
          </p:cNvSpPr>
          <p:nvPr>
            <p:ph type="title"/>
          </p:nvPr>
        </p:nvSpPr>
        <p:spPr/>
        <p:txBody>
          <a:bodyPr vert="horz"/>
          <a:lstStyle/>
          <a:p>
            <a:r>
              <a:rPr lang="en-US" dirty="0">
                <a:solidFill>
                  <a:srgbClr val="295E7E"/>
                </a:solidFill>
              </a:rPr>
              <a:t>Respondents</a:t>
            </a:r>
          </a:p>
        </p:txBody>
      </p:sp>
      <p:graphicFrame>
        <p:nvGraphicFramePr>
          <p:cNvPr id="53" name="Chart 52">
            <a:extLst>
              <a:ext uri="{FF2B5EF4-FFF2-40B4-BE49-F238E27FC236}">
                <a16:creationId xmlns:a16="http://schemas.microsoft.com/office/drawing/2014/main" id="{EDF624C9-7AF3-40DC-9976-D439EDDA72B8}"/>
              </a:ext>
            </a:extLst>
          </p:cNvPr>
          <p:cNvGraphicFramePr/>
          <p:nvPr>
            <p:custDataLst>
              <p:tags r:id="rId4"/>
            </p:custDataLst>
            <p:extLst>
              <p:ext uri="{D42A27DB-BD31-4B8C-83A1-F6EECF244321}">
                <p14:modId xmlns:p14="http://schemas.microsoft.com/office/powerpoint/2010/main" val="3370184907"/>
              </p:ext>
            </p:extLst>
          </p:nvPr>
        </p:nvGraphicFramePr>
        <p:xfrm>
          <a:off x="5049838" y="2832100"/>
          <a:ext cx="2801937" cy="2801938"/>
        </p:xfrm>
        <a:graphic>
          <a:graphicData uri="http://schemas.openxmlformats.org/drawingml/2006/chart">
            <c:chart xmlns:c="http://schemas.openxmlformats.org/drawingml/2006/chart" xmlns:r="http://schemas.openxmlformats.org/officeDocument/2006/relationships" r:id="rId21"/>
          </a:graphicData>
        </a:graphic>
      </p:graphicFrame>
      <p:sp>
        <p:nvSpPr>
          <p:cNvPr id="70" name="Text Placeholder 3"/>
          <p:cNvSpPr>
            <a:spLocks noGrp="1"/>
          </p:cNvSpPr>
          <p:nvPr>
            <p:custDataLst>
              <p:tags r:id="rId5"/>
            </p:custDataLst>
          </p:nvPr>
        </p:nvSpPr>
        <p:spPr bwMode="gray">
          <a:xfrm>
            <a:off x="4810125" y="4425950"/>
            <a:ext cx="287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7DD70F3-2EE4-41E5-BDFD-C94A023B6EAF}" type="datetime'''''''''''''M''''''''''''''''''''''''''''D''P'''''''''''''">
              <a:rPr altLang="en-US" smtClean="0">
                <a:solidFill>
                  <a:srgbClr val="575757"/>
                </a:solidFill>
              </a:rPr>
              <a:pPr algn="r">
                <a:lnSpc>
                  <a:spcPct val="100000"/>
                </a:lnSpc>
                <a:spcBef>
                  <a:spcPct val="0"/>
                </a:spcBef>
                <a:spcAft>
                  <a:spcPct val="0"/>
                </a:spcAft>
              </a:pPr>
              <a:t>MDP</a:t>
            </a:fld>
            <a:endParaRPr dirty="0">
              <a:solidFill>
                <a:srgbClr val="575757"/>
              </a:solidFill>
              <a:sym typeface="+mn-lt"/>
            </a:endParaRPr>
          </a:p>
        </p:txBody>
      </p:sp>
      <p:sp>
        <p:nvSpPr>
          <p:cNvPr id="63" name="Text Placeholder 3"/>
          <p:cNvSpPr>
            <a:spLocks noGrp="1"/>
          </p:cNvSpPr>
          <p:nvPr>
            <p:custDataLst>
              <p:tags r:id="rId6"/>
            </p:custDataLst>
          </p:nvPr>
        </p:nvSpPr>
        <p:spPr bwMode="gray">
          <a:xfrm>
            <a:off x="7246938" y="2965450"/>
            <a:ext cx="6381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5A5A310-627A-42CB-B2D9-A1D7FB22386B}" type="datetime'''''A''s''s''''''''''''''''''''o''''''''cia''''''''''t''''''e'">
              <a:rPr altLang="en-US">
                <a:solidFill>
                  <a:srgbClr val="575757"/>
                </a:solidFill>
              </a:rPr>
              <a:pPr>
                <a:lnSpc>
                  <a:spcPct val="100000"/>
                </a:lnSpc>
                <a:spcBef>
                  <a:spcPct val="0"/>
                </a:spcBef>
                <a:spcAft>
                  <a:spcPct val="0"/>
                </a:spcAft>
              </a:pPr>
              <a:t>Associate</a:t>
            </a:fld>
            <a:endParaRPr dirty="0">
              <a:solidFill>
                <a:srgbClr val="575757"/>
              </a:solidFill>
              <a:sym typeface="+mn-lt"/>
            </a:endParaRPr>
          </a:p>
        </p:txBody>
      </p:sp>
      <p:sp>
        <p:nvSpPr>
          <p:cNvPr id="69" name="Text Placeholder 3"/>
          <p:cNvSpPr>
            <a:spLocks noGrp="1"/>
          </p:cNvSpPr>
          <p:nvPr>
            <p:custDataLst>
              <p:tags r:id="rId7"/>
            </p:custDataLst>
          </p:nvPr>
        </p:nvSpPr>
        <p:spPr bwMode="gray">
          <a:xfrm>
            <a:off x="7618413" y="4930775"/>
            <a:ext cx="727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EEC5F38-ED62-4037-B4A2-1D19E5D665D3}" type="datetime'''C''''''o''n''''''''''''s''''''ul''''''''''t''''a''n''''''t'">
              <a:rPr altLang="en-US">
                <a:solidFill>
                  <a:srgbClr val="575757"/>
                </a:solidFill>
              </a:rPr>
              <a:pPr>
                <a:lnSpc>
                  <a:spcPct val="100000"/>
                </a:lnSpc>
                <a:spcBef>
                  <a:spcPct val="0"/>
                </a:spcBef>
                <a:spcAft>
                  <a:spcPct val="0"/>
                </a:spcAft>
              </a:pPr>
              <a:t>Consultant</a:t>
            </a:fld>
            <a:endParaRPr dirty="0">
              <a:solidFill>
                <a:srgbClr val="575757"/>
              </a:solidFill>
              <a:sym typeface="+mn-lt"/>
            </a:endParaRPr>
          </a:p>
        </p:txBody>
      </p:sp>
      <p:sp>
        <p:nvSpPr>
          <p:cNvPr id="65" name="Text Placeholder 3"/>
          <p:cNvSpPr>
            <a:spLocks noGrp="1"/>
          </p:cNvSpPr>
          <p:nvPr>
            <p:custDataLst>
              <p:tags r:id="rId8"/>
            </p:custDataLst>
          </p:nvPr>
        </p:nvSpPr>
        <p:spPr bwMode="gray">
          <a:xfrm>
            <a:off x="5313363" y="5572125"/>
            <a:ext cx="10064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255C306-DA10-489B-86DA-E2A445C2C409}" type="datetime'''''''Pr''o''j''''''''''''''e''''c''''''''t ''''Le''''ad''er'">
              <a:rPr altLang="en-US">
                <a:solidFill>
                  <a:srgbClr val="575757"/>
                </a:solidFill>
              </a:rPr>
              <a:pPr algn="r">
                <a:lnSpc>
                  <a:spcPct val="100000"/>
                </a:lnSpc>
                <a:spcBef>
                  <a:spcPct val="0"/>
                </a:spcBef>
                <a:spcAft>
                  <a:spcPct val="0"/>
                </a:spcAft>
              </a:pPr>
              <a:t>Project Leader</a:t>
            </a:fld>
            <a:endParaRPr dirty="0">
              <a:solidFill>
                <a:srgbClr val="575757"/>
              </a:solidFill>
              <a:sym typeface="+mn-lt"/>
            </a:endParaRPr>
          </a:p>
        </p:txBody>
      </p:sp>
      <p:sp>
        <p:nvSpPr>
          <p:cNvPr id="35" name="Text Placeholder 3"/>
          <p:cNvSpPr>
            <a:spLocks noGrp="1"/>
          </p:cNvSpPr>
          <p:nvPr>
            <p:custDataLst>
              <p:tags r:id="rId9"/>
            </p:custDataLst>
          </p:nvPr>
        </p:nvSpPr>
        <p:spPr bwMode="gray">
          <a:xfrm>
            <a:off x="4705350" y="4784725"/>
            <a:ext cx="501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6231651-E2F1-43FD-BEB1-163A455E22F2}" type="datetime'P''''''''''''''''''''a''''rt''''''''''''''''''''''n''e''r'''">
              <a:rPr lang="en-US" altLang="en-US" smtClean="0">
                <a:solidFill>
                  <a:srgbClr val="575757"/>
                </a:solidFill>
              </a:rPr>
              <a:pPr/>
              <a:t>Partner</a:t>
            </a:fld>
            <a:endParaRPr dirty="0">
              <a:solidFill>
                <a:srgbClr val="575757"/>
              </a:solidFill>
              <a:sym typeface="+mn-lt"/>
            </a:endParaRPr>
          </a:p>
        </p:txBody>
      </p:sp>
      <p:sp>
        <p:nvSpPr>
          <p:cNvPr id="45" name="Text Placeholder 3"/>
          <p:cNvSpPr>
            <a:spLocks noGrp="1"/>
          </p:cNvSpPr>
          <p:nvPr>
            <p:custDataLst>
              <p:tags r:id="rId10"/>
            </p:custDataLst>
          </p:nvPr>
        </p:nvSpPr>
        <p:spPr bwMode="gray">
          <a:xfrm>
            <a:off x="4670425" y="5073650"/>
            <a:ext cx="728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DC261EC-0467-463A-BB5C-31B6C595F182}" type="datetime'''''''''''''''Se''''''''''''''n''io''''''''r'''''''' EC''''T'">
              <a:rPr lang="en-US" altLang="en-US" smtClean="0">
                <a:solidFill>
                  <a:srgbClr val="575757"/>
                </a:solidFill>
              </a:rPr>
              <a:pPr/>
              <a:t>Senior ECT</a:t>
            </a:fld>
            <a:endParaRPr dirty="0">
              <a:solidFill>
                <a:srgbClr val="575757"/>
              </a:solidFill>
              <a:sym typeface="+mn-lt"/>
            </a:endParaRPr>
          </a:p>
        </p:txBody>
      </p:sp>
      <p:sp>
        <p:nvSpPr>
          <p:cNvPr id="67" name="Text Placeholder 3"/>
          <p:cNvSpPr>
            <a:spLocks noGrp="1"/>
          </p:cNvSpPr>
          <p:nvPr>
            <p:custDataLst>
              <p:tags r:id="rId11"/>
            </p:custDataLst>
          </p:nvPr>
        </p:nvSpPr>
        <p:spPr bwMode="gray">
          <a:xfrm>
            <a:off x="5114925" y="5353050"/>
            <a:ext cx="590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943C46F-AB34-4BDB-A82F-0436D791ED84}" type="datetime'''''''P''''''rin''''''''ci''''''''''''''''p''''''''al'''''''''">
              <a:rPr altLang="en-US">
                <a:solidFill>
                  <a:srgbClr val="575757"/>
                </a:solidFill>
              </a:rPr>
              <a:pPr algn="r">
                <a:lnSpc>
                  <a:spcPct val="100000"/>
                </a:lnSpc>
                <a:spcBef>
                  <a:spcPct val="0"/>
                </a:spcBef>
                <a:spcAft>
                  <a:spcPct val="0"/>
                </a:spcAft>
              </a:pPr>
              <a:t>Principal</a:t>
            </a:fld>
            <a:endParaRPr dirty="0">
              <a:solidFill>
                <a:srgbClr val="575757"/>
              </a:solidFill>
              <a:sym typeface="+mn-lt"/>
            </a:endParaRPr>
          </a:p>
        </p:txBody>
      </p:sp>
      <p:sp>
        <p:nvSpPr>
          <p:cNvPr id="85" name="Text Placeholder 3">
            <a:extLst>
              <a:ext uri="{FF2B5EF4-FFF2-40B4-BE49-F238E27FC236}">
                <a16:creationId xmlns:a16="http://schemas.microsoft.com/office/drawing/2014/main" id="{90587676-DBD4-4695-996E-618420F940AF}"/>
              </a:ext>
            </a:extLst>
          </p:cNvPr>
          <p:cNvSpPr>
            <a:spLocks noGrp="1"/>
          </p:cNvSpPr>
          <p:nvPr>
            <p:custDataLst>
              <p:tags r:id="rId12"/>
            </p:custDataLst>
          </p:nvPr>
        </p:nvSpPr>
        <p:spPr bwMode="gray">
          <a:xfrm>
            <a:off x="4859338" y="3113088"/>
            <a:ext cx="612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AFEEE6D-5DD0-469D-AEEB-75DFF9AA527A}" type="datetime'''O''''''''''''''''t''he''''r'''''''''' C''''T'''''''''">
              <a:rPr altLang="en-US" smtClean="0">
                <a:solidFill>
                  <a:srgbClr val="575757"/>
                </a:solidFill>
              </a:rPr>
              <a:pPr algn="r">
                <a:lnSpc>
                  <a:spcPct val="100000"/>
                </a:lnSpc>
                <a:spcBef>
                  <a:spcPct val="0"/>
                </a:spcBef>
                <a:spcAft>
                  <a:spcPct val="0"/>
                </a:spcAft>
              </a:pPr>
              <a:t>Other CT</a:t>
            </a:fld>
            <a:endParaRPr dirty="0">
              <a:solidFill>
                <a:srgbClr val="575757"/>
              </a:solidFill>
              <a:sym typeface="+mn-lt"/>
            </a:endParaRPr>
          </a:p>
        </p:txBody>
      </p:sp>
      <p:sp>
        <p:nvSpPr>
          <p:cNvPr id="49" name="Text Placeholder 3">
            <a:extLst>
              <a:ext uri="{FF2B5EF4-FFF2-40B4-BE49-F238E27FC236}">
                <a16:creationId xmlns:a16="http://schemas.microsoft.com/office/drawing/2014/main" id="{B01FC27D-55A6-48C9-90B6-073D1D7DD308}"/>
              </a:ext>
            </a:extLst>
          </p:cNvPr>
          <p:cNvSpPr>
            <a:spLocks noGrp="1"/>
          </p:cNvSpPr>
          <p:nvPr>
            <p:custDataLst>
              <p:tags r:id="rId13"/>
            </p:custDataLst>
          </p:nvPr>
        </p:nvSpPr>
        <p:spPr bwMode="gray">
          <a:xfrm>
            <a:off x="5273675" y="4633913"/>
            <a:ext cx="271463" cy="212725"/>
          </a:xfrm>
          <a:prstGeom prst="rect">
            <a:avLst/>
          </a:prstGeom>
          <a:solidFill>
            <a:srgbClr val="30C1D7"/>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F72A25D-57F9-41DC-946E-139D99BA0B10}" type="datetime'''''''3''''''''''''''''''''''''''''''''%'''''''''''''''''">
              <a:rPr lang="en-US" altLang="en-US" sz="1400" b="1" smtClean="0">
                <a:solidFill>
                  <a:schemeClr val="bg1"/>
                </a:solidFill>
                <a:effectLst/>
                <a:sym typeface="+mn-lt"/>
              </a:rPr>
              <a:pPr algn="ctr">
                <a:lnSpc>
                  <a:spcPct val="100000"/>
                </a:lnSpc>
                <a:spcBef>
                  <a:spcPct val="0"/>
                </a:spcBef>
                <a:spcAft>
                  <a:spcPct val="0"/>
                </a:spcAft>
              </a:pPr>
              <a:t>3%</a:t>
            </a:fld>
            <a:endParaRPr lang="en-US" sz="1400" b="1" dirty="0">
              <a:solidFill>
                <a:schemeClr val="bg1"/>
              </a:solidFill>
              <a:sym typeface="+mn-lt"/>
            </a:endParaRPr>
          </a:p>
        </p:txBody>
      </p:sp>
      <p:graphicFrame>
        <p:nvGraphicFramePr>
          <p:cNvPr id="38" name="Chart 37">
            <a:extLst>
              <a:ext uri="{FF2B5EF4-FFF2-40B4-BE49-F238E27FC236}">
                <a16:creationId xmlns:a16="http://schemas.microsoft.com/office/drawing/2014/main" id="{75F64EA4-0565-4F37-B6C6-BD0FD78644CD}"/>
              </a:ext>
            </a:extLst>
          </p:cNvPr>
          <p:cNvGraphicFramePr/>
          <p:nvPr>
            <p:custDataLst>
              <p:tags r:id="rId14"/>
            </p:custDataLst>
            <p:extLst>
              <p:ext uri="{D42A27DB-BD31-4B8C-83A1-F6EECF244321}">
                <p14:modId xmlns:p14="http://schemas.microsoft.com/office/powerpoint/2010/main" val="1927981726"/>
              </p:ext>
            </p:extLst>
          </p:nvPr>
        </p:nvGraphicFramePr>
        <p:xfrm>
          <a:off x="982663" y="2832100"/>
          <a:ext cx="2814637" cy="2801938"/>
        </p:xfrm>
        <a:graphic>
          <a:graphicData uri="http://schemas.openxmlformats.org/drawingml/2006/chart">
            <c:chart xmlns:c="http://schemas.openxmlformats.org/drawingml/2006/chart" xmlns:r="http://schemas.openxmlformats.org/officeDocument/2006/relationships" r:id="rId22"/>
          </a:graphicData>
        </a:graphic>
      </p:graphicFrame>
      <p:sp>
        <p:nvSpPr>
          <p:cNvPr id="28" name="Text Placeholder 3"/>
          <p:cNvSpPr>
            <a:spLocks noGrp="1"/>
          </p:cNvSpPr>
          <p:nvPr>
            <p:custDataLst>
              <p:tags r:id="rId15"/>
            </p:custDataLst>
          </p:nvPr>
        </p:nvSpPr>
        <p:spPr bwMode="gray">
          <a:xfrm>
            <a:off x="3340100" y="3886200"/>
            <a:ext cx="3381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4B43C27-C5FE-4609-AEE9-D2FC82BDAF27}" type="datetime'''''''''''''''''''''''''''''''4''6''''''''''''''''''%'''''''">
              <a:rPr lang="en-US" altLang="en-US" sz="1400" smtClean="0">
                <a:solidFill>
                  <a:srgbClr val="FFFFFF"/>
                </a:solidFill>
              </a:rPr>
              <a:pPr/>
              <a:t>46%</a:t>
            </a:fld>
            <a:br>
              <a:rPr altLang="en-US" sz="1400" dirty="0">
                <a:solidFill>
                  <a:prstClr val="white"/>
                </a:solidFill>
              </a:rPr>
            </a:br>
            <a:endParaRPr sz="1400" dirty="0">
              <a:solidFill>
                <a:prstClr val="white"/>
              </a:solidFill>
              <a:sym typeface="+mn-lt"/>
            </a:endParaRPr>
          </a:p>
        </p:txBody>
      </p:sp>
      <p:sp>
        <p:nvSpPr>
          <p:cNvPr id="39" name="TextBox 38"/>
          <p:cNvSpPr txBox="1"/>
          <p:nvPr/>
        </p:nvSpPr>
        <p:spPr>
          <a:xfrm>
            <a:off x="1212264" y="1652587"/>
            <a:ext cx="3422650" cy="4079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2000" dirty="0">
                <a:solidFill>
                  <a:srgbClr val="575757"/>
                </a:solidFill>
              </a:rPr>
              <a:t>Cohort (% responses)</a:t>
            </a:r>
          </a:p>
        </p:txBody>
      </p:sp>
      <p:sp>
        <p:nvSpPr>
          <p:cNvPr id="40" name="Oval 39"/>
          <p:cNvSpPr/>
          <p:nvPr/>
        </p:nvSpPr>
        <p:spPr>
          <a:xfrm>
            <a:off x="1444625" y="3281363"/>
            <a:ext cx="1900238" cy="1901825"/>
          </a:xfrm>
          <a:prstGeom prst="ellipse">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rgbClr val="FFFFFF"/>
              </a:solidFill>
            </a:endParaRPr>
          </a:p>
        </p:txBody>
      </p:sp>
      <p:sp>
        <p:nvSpPr>
          <p:cNvPr id="46" name="ee4pContent2"/>
          <p:cNvSpPr txBox="1"/>
          <p:nvPr>
            <p:custDataLst>
              <p:tags r:id="rId16"/>
            </p:custDataLst>
          </p:nvPr>
        </p:nvSpPr>
        <p:spPr>
          <a:xfrm>
            <a:off x="9190591" y="0"/>
            <a:ext cx="2795236" cy="6857999"/>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1800" dirty="0">
                <a:solidFill>
                  <a:prstClr val="white"/>
                </a:solidFill>
                <a:latin typeface="Trebuchet MS"/>
              </a:rPr>
              <a:t>The average response rate split for these cohorts is 52% BST &amp; 48% CT, so whilst slightly more BST &amp; slightly less CT chose to respond in Q4, it's not far off the average trend</a:t>
            </a:r>
          </a:p>
          <a:p>
            <a:endParaRPr lang="en-US" sz="1800" dirty="0">
              <a:solidFill>
                <a:prstClr val="white"/>
              </a:solidFill>
              <a:latin typeface="Trebuchet MS"/>
            </a:endParaRPr>
          </a:p>
          <a:p>
            <a:endParaRPr lang="en-US" sz="1800" dirty="0">
              <a:solidFill>
                <a:prstClr val="white"/>
              </a:solidFill>
              <a:latin typeface="Trebuchet MS"/>
            </a:endParaRPr>
          </a:p>
          <a:p>
            <a:r>
              <a:rPr lang="en-US" sz="1800" dirty="0">
                <a:solidFill>
                  <a:prstClr val="white"/>
                </a:solidFill>
                <a:latin typeface="Trebuchet MS"/>
              </a:rPr>
              <a:t>Response rates for CT roles remain similar to previous quarters, although slightly less Consultants &amp; MDP's responded</a:t>
            </a:r>
          </a:p>
        </p:txBody>
      </p:sp>
      <p:sp>
        <p:nvSpPr>
          <p:cNvPr id="47" name="Oval 46"/>
          <p:cNvSpPr/>
          <p:nvPr/>
        </p:nvSpPr>
        <p:spPr>
          <a:xfrm>
            <a:off x="5513388" y="3273425"/>
            <a:ext cx="1900238" cy="1900238"/>
          </a:xfrm>
          <a:prstGeom prst="ellipse">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rgbClr val="FFFFFF"/>
              </a:solidFill>
            </a:endParaRPr>
          </a:p>
        </p:txBody>
      </p:sp>
      <p:sp>
        <p:nvSpPr>
          <p:cNvPr id="55" name="TextBox 54"/>
          <p:cNvSpPr txBox="1"/>
          <p:nvPr/>
        </p:nvSpPr>
        <p:spPr>
          <a:xfrm>
            <a:off x="5238163" y="1657350"/>
            <a:ext cx="3422650" cy="4079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2000" dirty="0">
                <a:solidFill>
                  <a:srgbClr val="575757"/>
                </a:solidFill>
              </a:rPr>
              <a:t>CT Roles (% responses)</a:t>
            </a:r>
          </a:p>
        </p:txBody>
      </p:sp>
      <p:sp>
        <p:nvSpPr>
          <p:cNvPr id="26" name="Text Placeholder 3"/>
          <p:cNvSpPr>
            <a:spLocks noGrp="1"/>
          </p:cNvSpPr>
          <p:nvPr/>
        </p:nvSpPr>
        <p:spPr bwMode="gray">
          <a:xfrm>
            <a:off x="3041650" y="5432425"/>
            <a:ext cx="247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dirty="0">
                <a:solidFill>
                  <a:srgbClr val="575757"/>
                </a:solidFill>
                <a:sym typeface="+mn-lt"/>
              </a:rPr>
              <a:t>CT</a:t>
            </a:r>
          </a:p>
        </p:txBody>
      </p:sp>
      <p:sp>
        <p:nvSpPr>
          <p:cNvPr id="36" name="Rectangle 35"/>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amp; CT Role</a:t>
            </a:r>
          </a:p>
        </p:txBody>
      </p:sp>
      <p:grpSp>
        <p:nvGrpSpPr>
          <p:cNvPr id="29" name="Group 28">
            <a:extLst>
              <a:ext uri="{FF2B5EF4-FFF2-40B4-BE49-F238E27FC236}">
                <a16:creationId xmlns:a16="http://schemas.microsoft.com/office/drawing/2014/main" id="{6821308D-28AF-4EEA-917F-FF0FEC272F24}"/>
              </a:ext>
            </a:extLst>
          </p:cNvPr>
          <p:cNvGrpSpPr>
            <a:grpSpLocks noChangeAspect="1"/>
          </p:cNvGrpSpPr>
          <p:nvPr/>
        </p:nvGrpSpPr>
        <p:grpSpPr>
          <a:xfrm>
            <a:off x="599640" y="864696"/>
            <a:ext cx="457200" cy="457200"/>
            <a:chOff x="5867400" y="3200400"/>
            <a:chExt cx="457200" cy="457200"/>
          </a:xfrm>
        </p:grpSpPr>
        <p:sp>
          <p:nvSpPr>
            <p:cNvPr id="30" name="AutoShape 43">
              <a:extLst>
                <a:ext uri="{FF2B5EF4-FFF2-40B4-BE49-F238E27FC236}">
                  <a16:creationId xmlns:a16="http://schemas.microsoft.com/office/drawing/2014/main" id="{F9BDA68D-D532-4CE2-A791-7E81D073284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7">
              <a:extLst>
                <a:ext uri="{FF2B5EF4-FFF2-40B4-BE49-F238E27FC236}">
                  <a16:creationId xmlns:a16="http://schemas.microsoft.com/office/drawing/2014/main" id="{B25F178F-355D-4EEE-9256-EE1475A02B4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3" name="Text Placeholder 3">
            <a:extLst>
              <a:ext uri="{FF2B5EF4-FFF2-40B4-BE49-F238E27FC236}">
                <a16:creationId xmlns:a16="http://schemas.microsoft.com/office/drawing/2014/main" id="{32A2C7D2-DE30-4F32-AE1F-D555BA96357B}"/>
              </a:ext>
            </a:extLst>
          </p:cNvPr>
          <p:cNvSpPr>
            <a:spLocks noGrp="1"/>
          </p:cNvSpPr>
          <p:nvPr/>
        </p:nvSpPr>
        <p:spPr bwMode="gray">
          <a:xfrm>
            <a:off x="1258888" y="5317331"/>
            <a:ext cx="247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A1CC3B"/>
              </a:buClr>
              <a:buFont typeface="Arial" panose="020B0604020202020204" pitchFamily="34" charset="0"/>
              <a:buChar char="•"/>
              <a:defRPr lang="en-US" sz="1200" kern="1200">
                <a:solidFill>
                  <a:srgbClr val="6F7072"/>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A1CC3B"/>
              </a:buClr>
              <a:buFont typeface="Trebuchet MS" panose="020B0603020202020204" pitchFamily="34" charset="0"/>
              <a:buChar char="–"/>
              <a:defRPr lang="en-US" sz="1200" kern="1200">
                <a:solidFill>
                  <a:srgbClr val="6F7072"/>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68BD5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6F7072"/>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A1CC3B"/>
              </a:buClr>
              <a:buFont typeface="Arial" panose="020B0604020202020204" pitchFamily="34" charset="0"/>
              <a:buChar char="•"/>
              <a:defRPr lang="en-US" sz="1600" kern="1200" smtClean="0">
                <a:solidFill>
                  <a:srgbClr val="6F7072"/>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6F7072"/>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68BD5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68BD5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dirty="0">
                <a:solidFill>
                  <a:srgbClr val="575757"/>
                </a:solidFill>
                <a:sym typeface="+mn-lt"/>
              </a:rPr>
              <a:t>BST</a:t>
            </a:r>
          </a:p>
        </p:txBody>
      </p:sp>
    </p:spTree>
    <p:extLst>
      <p:ext uri="{BB962C8B-B14F-4D97-AF65-F5344CB8AC3E}">
        <p14:creationId xmlns:p14="http://schemas.microsoft.com/office/powerpoint/2010/main" val="4054653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53891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183" name="think-cell Slide" r:id="rId27" imgW="473" imgH="473" progId="TCLayout.ActiveDocument.1">
                  <p:embed/>
                </p:oleObj>
              </mc:Choice>
              <mc:Fallback>
                <p:oleObj name="think-cell Slide" r:id="rId27" imgW="473" imgH="473" progId="TCLayout.ActiveDocument.1">
                  <p:embed/>
                  <p:pic>
                    <p:nvPicPr>
                      <p:cNvPr id="5" name="Object 4"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141159" y="0"/>
            <a:ext cx="275618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BST are more satisfied than CT for all tools </a:t>
            </a:r>
          </a:p>
          <a:p>
            <a:endParaRPr lang="en-GB" dirty="0">
              <a:solidFill>
                <a:srgbClr val="FFFFFF"/>
              </a:solidFill>
              <a:cs typeface="Arial" pitchFamily="34" charset="0"/>
            </a:endParaRPr>
          </a:p>
          <a:p>
            <a:r>
              <a:rPr lang="en-GB" dirty="0">
                <a:solidFill>
                  <a:srgbClr val="FFFFFF"/>
                </a:solidFill>
                <a:cs typeface="Arial" pitchFamily="34" charset="0"/>
              </a:rPr>
              <a:t>With the exception of Timesheets 2020 &gt; 2021 for BST, all products are improving year-over-year for both cohorts</a:t>
            </a:r>
          </a:p>
          <a:p>
            <a:endParaRPr lang="en-GB" dirty="0">
              <a:solidFill>
                <a:srgbClr val="FFFFFF"/>
              </a:solidFill>
              <a:cs typeface="Arial" pitchFamily="34" charset="0"/>
            </a:endParaRPr>
          </a:p>
          <a:p>
            <a:r>
              <a:rPr lang="en-GB" sz="1200" i="1" dirty="0">
                <a:solidFill>
                  <a:srgbClr val="FFFFFF"/>
                </a:solidFill>
                <a:cs typeface="Arial" pitchFamily="34" charset="0"/>
              </a:rPr>
              <a:t>(Reminder – the strongest trends are shown by annual averages, slide 130)</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Timesheets &amp; Expenses –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592138" y="134361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respondents satisfied with:</a:t>
            </a:r>
          </a:p>
        </p:txBody>
      </p:sp>
      <p:graphicFrame>
        <p:nvGraphicFramePr>
          <p:cNvPr id="94" name="Chart 93">
            <a:extLst>
              <a:ext uri="{FF2B5EF4-FFF2-40B4-BE49-F238E27FC236}">
                <a16:creationId xmlns:a16="http://schemas.microsoft.com/office/drawing/2014/main" id="{E7126992-A394-4D71-BA38-56AABB469723}"/>
              </a:ext>
            </a:extLst>
          </p:cNvPr>
          <p:cNvGraphicFramePr/>
          <p:nvPr>
            <p:custDataLst>
              <p:tags r:id="rId5"/>
            </p:custDataLst>
            <p:extLst>
              <p:ext uri="{D42A27DB-BD31-4B8C-83A1-F6EECF244321}">
                <p14:modId xmlns:p14="http://schemas.microsoft.com/office/powerpoint/2010/main" val="1391562861"/>
              </p:ext>
            </p:extLst>
          </p:nvPr>
        </p:nvGraphicFramePr>
        <p:xfrm>
          <a:off x="452438" y="1838325"/>
          <a:ext cx="7254875" cy="2055813"/>
        </p:xfrm>
        <a:graphic>
          <a:graphicData uri="http://schemas.openxmlformats.org/drawingml/2006/chart">
            <c:chart xmlns:c="http://schemas.openxmlformats.org/drawingml/2006/chart" xmlns:r="http://schemas.openxmlformats.org/officeDocument/2006/relationships" r:id="rId29"/>
          </a:graphicData>
        </a:graphic>
      </p:graphicFrame>
      <p:sp>
        <p:nvSpPr>
          <p:cNvPr id="57" name="Text Placeholder 3"/>
          <p:cNvSpPr>
            <a:spLocks noGrp="1"/>
          </p:cNvSpPr>
          <p:nvPr>
            <p:custDataLst>
              <p:tags r:id="rId6"/>
            </p:custDataLst>
          </p:nvPr>
        </p:nvSpPr>
        <p:spPr bwMode="gray">
          <a:xfrm>
            <a:off x="1524000" y="3822701"/>
            <a:ext cx="10509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DE780AA-A957-4B8A-8D03-FEF1A50D3406}" type="datetime'Time''''''s''''he''''''''e''''''ts'''''' ''''''''''- ''Infor'">
              <a:rPr lang="en-US" altLang="en-US" sz="1000" smtClean="0"/>
              <a:pPr algn="ctr">
                <a:spcBef>
                  <a:spcPct val="0"/>
                </a:spcBef>
                <a:spcAft>
                  <a:spcPct val="0"/>
                </a:spcAft>
              </a:pPr>
              <a:t>Timesheets - Infor</a:t>
            </a:fld>
            <a:endParaRPr lang="en-US" sz="1000" dirty="0">
              <a:sym typeface="+mn-lt"/>
            </a:endParaRPr>
          </a:p>
        </p:txBody>
      </p:sp>
      <p:sp>
        <p:nvSpPr>
          <p:cNvPr id="61" name="Text Placeholder 3"/>
          <p:cNvSpPr>
            <a:spLocks noGrp="1"/>
          </p:cNvSpPr>
          <p:nvPr>
            <p:custDataLst>
              <p:tags r:id="rId7"/>
            </p:custDataLst>
          </p:nvPr>
        </p:nvSpPr>
        <p:spPr bwMode="gray">
          <a:xfrm>
            <a:off x="3571875" y="3822700"/>
            <a:ext cx="14176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278001D-C204-402C-B953-2FFDD9320ABC}" type="datetime'''E''''''xpen''s''es'''' - Ch''ro''''me'' ''''R''i''''ver'''''">
              <a:rPr lang="en-US" altLang="en-US" sz="1000" smtClean="0"/>
              <a:pPr algn="ctr">
                <a:spcBef>
                  <a:spcPct val="0"/>
                </a:spcBef>
                <a:spcAft>
                  <a:spcPct val="0"/>
                </a:spcAft>
              </a:pPr>
              <a:t>Expenses - Chrome River</a:t>
            </a:fld>
            <a:endParaRPr lang="en-US" sz="1000" dirty="0">
              <a:sym typeface="+mn-lt"/>
            </a:endParaRPr>
          </a:p>
        </p:txBody>
      </p:sp>
      <p:sp>
        <p:nvSpPr>
          <p:cNvPr id="59" name="Text Placeholder 3">
            <a:extLst>
              <a:ext uri="{FF2B5EF4-FFF2-40B4-BE49-F238E27FC236}">
                <a16:creationId xmlns:a16="http://schemas.microsoft.com/office/drawing/2014/main" id="{1C135492-659C-4789-965D-447D6ECFC9F6}"/>
              </a:ext>
            </a:extLst>
          </p:cNvPr>
          <p:cNvSpPr>
            <a:spLocks noGrp="1"/>
          </p:cNvSpPr>
          <p:nvPr>
            <p:custDataLst>
              <p:tags r:id="rId8"/>
            </p:custDataLst>
          </p:nvPr>
        </p:nvSpPr>
        <p:spPr bwMode="gray">
          <a:xfrm>
            <a:off x="5810250" y="3822700"/>
            <a:ext cx="13970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1953463-04D6-4533-B850-376FD014116B}" type="datetime'''C''''hro''''''m''e'' ''Ri''v''er for M''o''b''''''''i''''le'">
              <a:rPr lang="en-US" altLang="en-US" sz="1000" smtClean="0"/>
              <a:pPr/>
              <a:t>Chrome River for Mobile</a:t>
            </a:fld>
            <a:endParaRPr lang="en-US" sz="1000" dirty="0">
              <a:sym typeface="+mn-lt"/>
            </a:endParaRPr>
          </a:p>
        </p:txBody>
      </p:sp>
      <p:sp>
        <p:nvSpPr>
          <p:cNvPr id="2" name="Rectangle 1"/>
          <p:cNvSpPr/>
          <p:nvPr>
            <p:custDataLst>
              <p:tags r:id="rId9"/>
            </p:custDataLst>
          </p:nvPr>
        </p:nvSpPr>
        <p:spPr bwMode="gray">
          <a:xfrm>
            <a:off x="8001000" y="3074988"/>
            <a:ext cx="214313" cy="160338"/>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Rectangle 9">
            <a:extLst>
              <a:ext uri="{FF2B5EF4-FFF2-40B4-BE49-F238E27FC236}">
                <a16:creationId xmlns:a16="http://schemas.microsoft.com/office/drawing/2014/main" id="{77D3AC20-2C9C-4505-A58F-96A1A5201B97}"/>
              </a:ext>
            </a:extLst>
          </p:cNvPr>
          <p:cNvSpPr/>
          <p:nvPr>
            <p:custDataLst>
              <p:tags r:id="rId10"/>
            </p:custDataLst>
          </p:nvPr>
        </p:nvSpPr>
        <p:spPr bwMode="gray">
          <a:xfrm>
            <a:off x="8001000" y="3579813"/>
            <a:ext cx="214313" cy="160338"/>
          </a:xfrm>
          <a:prstGeom prst="rect">
            <a:avLst/>
          </a:prstGeom>
          <a:solidFill>
            <a:srgbClr val="2BD5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1AF1167C-66F9-45FD-A89E-AD28FB1EB845}"/>
              </a:ext>
            </a:extLst>
          </p:cNvPr>
          <p:cNvSpPr/>
          <p:nvPr>
            <p:custDataLst>
              <p:tags r:id="rId11"/>
            </p:custDataLst>
          </p:nvPr>
        </p:nvSpPr>
        <p:spPr bwMode="gray">
          <a:xfrm>
            <a:off x="8001000" y="3327400"/>
            <a:ext cx="214313" cy="160338"/>
          </a:xfrm>
          <a:prstGeom prst="rect">
            <a:avLst/>
          </a:prstGeom>
          <a:solidFill>
            <a:srgbClr val="008A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Text Placeholder 3"/>
          <p:cNvSpPr>
            <a:spLocks noGrp="1"/>
          </p:cNvSpPr>
          <p:nvPr>
            <p:custDataLst>
              <p:tags r:id="rId12"/>
            </p:custDataLst>
          </p:nvPr>
        </p:nvSpPr>
        <p:spPr bwMode="gray">
          <a:xfrm>
            <a:off x="8266114" y="305593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603EFE6-506B-4680-B605-A2C8D7A38985}" type="datetime'Q''''4'''''''''''''' ''''''''''''’''''''1''9'">
              <a:rPr lang="en-US" altLang="en-US" smtClean="0"/>
              <a:pPr/>
              <a:t>Q4 ’19</a:t>
            </a:fld>
            <a:endParaRPr lang="en-US" dirty="0">
              <a:sym typeface="+mn-lt"/>
            </a:endParaRPr>
          </a:p>
        </p:txBody>
      </p:sp>
      <p:sp>
        <p:nvSpPr>
          <p:cNvPr id="56" name="Text Placeholder 3">
            <a:extLst>
              <a:ext uri="{FF2B5EF4-FFF2-40B4-BE49-F238E27FC236}">
                <a16:creationId xmlns:a16="http://schemas.microsoft.com/office/drawing/2014/main" id="{3F1D5B54-8334-4234-B227-3D09744B4D4E}"/>
              </a:ext>
            </a:extLst>
          </p:cNvPr>
          <p:cNvSpPr>
            <a:spLocks noGrp="1"/>
          </p:cNvSpPr>
          <p:nvPr>
            <p:custDataLst>
              <p:tags r:id="rId13"/>
            </p:custDataLst>
          </p:nvPr>
        </p:nvSpPr>
        <p:spPr bwMode="gray">
          <a:xfrm>
            <a:off x="8266113" y="3308350"/>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98E582-2B0B-4ABE-8F1A-9E232CEA13C0}" type="datetime'Q''''''''''''4'''''''''''''' ''''''''''''''''''''’''2''0'''">
              <a:rPr lang="en-US" altLang="en-US" smtClean="0"/>
              <a:pPr/>
              <a:t>Q4 ’20</a:t>
            </a:fld>
            <a:endParaRPr lang="en-US" dirty="0">
              <a:sym typeface="+mn-lt"/>
            </a:endParaRPr>
          </a:p>
        </p:txBody>
      </p:sp>
      <p:sp>
        <p:nvSpPr>
          <p:cNvPr id="71" name="Text Placeholder 3">
            <a:extLst>
              <a:ext uri="{FF2B5EF4-FFF2-40B4-BE49-F238E27FC236}">
                <a16:creationId xmlns:a16="http://schemas.microsoft.com/office/drawing/2014/main" id="{0B55FB24-D3E8-4CB9-BA38-2F13733EAAD9}"/>
              </a:ext>
            </a:extLst>
          </p:cNvPr>
          <p:cNvSpPr>
            <a:spLocks noGrp="1"/>
          </p:cNvSpPr>
          <p:nvPr>
            <p:custDataLst>
              <p:tags r:id="rId14"/>
            </p:custDataLst>
          </p:nvPr>
        </p:nvSpPr>
        <p:spPr bwMode="gray">
          <a:xfrm>
            <a:off x="8266113" y="3560763"/>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536F6CE-7C34-4669-8EE9-DBAA36DFF733}" type="datetime'''''''''''''''''Q''''4'''''' ''''’''''''''''''2''''''1'''">
              <a:rPr lang="en-US" altLang="en-US" smtClean="0"/>
              <a:pPr/>
              <a:t>Q4 ’21</a:t>
            </a:fld>
            <a:endParaRPr lang="en-US" dirty="0">
              <a:sym typeface="+mn-lt"/>
            </a:endParaRPr>
          </a:p>
        </p:txBody>
      </p:sp>
      <p:sp>
        <p:nvSpPr>
          <p:cNvPr id="19" name="Rectangle 18"/>
          <p:cNvSpPr/>
          <p:nvPr/>
        </p:nvSpPr>
        <p:spPr>
          <a:xfrm>
            <a:off x="592138" y="1684337"/>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graphicFrame>
        <p:nvGraphicFramePr>
          <p:cNvPr id="114" name="Chart 113">
            <a:extLst>
              <a:ext uri="{FF2B5EF4-FFF2-40B4-BE49-F238E27FC236}">
                <a16:creationId xmlns:a16="http://schemas.microsoft.com/office/drawing/2014/main" id="{813CAFDC-416F-48E2-AC83-4FEA50C22649}"/>
              </a:ext>
            </a:extLst>
          </p:cNvPr>
          <p:cNvGraphicFramePr/>
          <p:nvPr>
            <p:custDataLst>
              <p:tags r:id="rId15"/>
            </p:custDataLst>
            <p:extLst>
              <p:ext uri="{D42A27DB-BD31-4B8C-83A1-F6EECF244321}">
                <p14:modId xmlns:p14="http://schemas.microsoft.com/office/powerpoint/2010/main" val="1082967235"/>
              </p:ext>
            </p:extLst>
          </p:nvPr>
        </p:nvGraphicFramePr>
        <p:xfrm>
          <a:off x="452438" y="4376738"/>
          <a:ext cx="7410450" cy="2055812"/>
        </p:xfrm>
        <a:graphic>
          <a:graphicData uri="http://schemas.openxmlformats.org/drawingml/2006/chart">
            <c:chart xmlns:c="http://schemas.openxmlformats.org/drawingml/2006/chart" xmlns:r="http://schemas.openxmlformats.org/officeDocument/2006/relationships" r:id="rId30"/>
          </a:graphicData>
        </a:graphic>
      </p:graphicFrame>
      <p:sp>
        <p:nvSpPr>
          <p:cNvPr id="104" name="Text Placeholder 3">
            <a:extLst>
              <a:ext uri="{FF2B5EF4-FFF2-40B4-BE49-F238E27FC236}">
                <a16:creationId xmlns:a16="http://schemas.microsoft.com/office/drawing/2014/main" id="{9AE88CC3-9A57-45D1-B345-F48B0758439E}"/>
              </a:ext>
            </a:extLst>
          </p:cNvPr>
          <p:cNvSpPr>
            <a:spLocks noGrp="1"/>
          </p:cNvSpPr>
          <p:nvPr>
            <p:custDataLst>
              <p:tags r:id="rId16"/>
            </p:custDataLst>
          </p:nvPr>
        </p:nvSpPr>
        <p:spPr bwMode="gray">
          <a:xfrm>
            <a:off x="5940425" y="6361113"/>
            <a:ext cx="13970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7864EC4-65AF-42CA-855C-2C5F97A2C1FB}" type="datetime'C''''h''rome R''''''''''ive''r'' ''''fo''r ''''Mo''''b''ile'">
              <a:rPr lang="en-US" altLang="en-US" sz="1000" smtClean="0"/>
              <a:pPr/>
              <a:t>Chrome River for Mobile</a:t>
            </a:fld>
            <a:endParaRPr lang="en-US" sz="1000" dirty="0">
              <a:sym typeface="+mn-lt"/>
            </a:endParaRPr>
          </a:p>
        </p:txBody>
      </p:sp>
      <p:sp>
        <p:nvSpPr>
          <p:cNvPr id="81" name="Text Placeholder 3"/>
          <p:cNvSpPr>
            <a:spLocks noGrp="1"/>
          </p:cNvSpPr>
          <p:nvPr>
            <p:custDataLst>
              <p:tags r:id="rId17"/>
            </p:custDataLst>
          </p:nvPr>
        </p:nvSpPr>
        <p:spPr bwMode="gray">
          <a:xfrm>
            <a:off x="1549400" y="6361114"/>
            <a:ext cx="10509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A0B73E1-753E-40DA-BBC1-ED0CCBF7F6D1}" type="datetime'''''''''Times''he''ets'''''''''''' ''- Info''r'''''''''">
              <a:rPr lang="en-US" altLang="en-US" sz="1000" smtClean="0"/>
              <a:pPr algn="ctr">
                <a:spcBef>
                  <a:spcPct val="0"/>
                </a:spcBef>
                <a:spcAft>
                  <a:spcPct val="0"/>
                </a:spcAft>
              </a:pPr>
              <a:t>Timesheets - Infor</a:t>
            </a:fld>
            <a:endParaRPr lang="en-US" sz="1000" dirty="0">
              <a:sym typeface="+mn-lt"/>
            </a:endParaRPr>
          </a:p>
        </p:txBody>
      </p:sp>
      <p:sp>
        <p:nvSpPr>
          <p:cNvPr id="83" name="Text Placeholder 3"/>
          <p:cNvSpPr>
            <a:spLocks noGrp="1"/>
          </p:cNvSpPr>
          <p:nvPr>
            <p:custDataLst>
              <p:tags r:id="rId18"/>
            </p:custDataLst>
          </p:nvPr>
        </p:nvSpPr>
        <p:spPr bwMode="gray">
          <a:xfrm>
            <a:off x="3648075" y="6361113"/>
            <a:ext cx="14176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8BEA985-43DE-4CE0-AB8F-DFA2FE89E5F6}" type="datetime'E''''''xpenses'' - Ch''''r''''ome ''''''''R''iv''''''e''r'''">
              <a:rPr lang="en-US" altLang="en-US" sz="1000" smtClean="0"/>
              <a:pPr algn="ctr">
                <a:spcBef>
                  <a:spcPct val="0"/>
                </a:spcBef>
                <a:spcAft>
                  <a:spcPct val="0"/>
                </a:spcAft>
              </a:pPr>
              <a:t>Expenses - Chrome River</a:t>
            </a:fld>
            <a:endParaRPr lang="en-US" sz="1000" dirty="0">
              <a:sym typeface="+mn-lt"/>
            </a:endParaRPr>
          </a:p>
        </p:txBody>
      </p:sp>
      <p:sp>
        <p:nvSpPr>
          <p:cNvPr id="44" name="Rectangle 43"/>
          <p:cNvSpPr/>
          <p:nvPr>
            <p:custDataLst>
              <p:tags r:id="rId19"/>
            </p:custDataLst>
          </p:nvPr>
        </p:nvSpPr>
        <p:spPr bwMode="gray">
          <a:xfrm>
            <a:off x="8001000" y="5599113"/>
            <a:ext cx="214313" cy="160338"/>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Rectangle 6">
            <a:extLst>
              <a:ext uri="{FF2B5EF4-FFF2-40B4-BE49-F238E27FC236}">
                <a16:creationId xmlns:a16="http://schemas.microsoft.com/office/drawing/2014/main" id="{FBBCB248-D7BE-4087-86D4-31E149840F67}"/>
              </a:ext>
            </a:extLst>
          </p:cNvPr>
          <p:cNvSpPr/>
          <p:nvPr>
            <p:custDataLst>
              <p:tags r:id="rId20"/>
            </p:custDataLst>
          </p:nvPr>
        </p:nvSpPr>
        <p:spPr bwMode="gray">
          <a:xfrm>
            <a:off x="8001000" y="6103938"/>
            <a:ext cx="214313" cy="160338"/>
          </a:xfrm>
          <a:prstGeom prst="rect">
            <a:avLst/>
          </a:prstGeom>
          <a:solidFill>
            <a:srgbClr val="C8C8C8"/>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a:extLst>
              <a:ext uri="{FF2B5EF4-FFF2-40B4-BE49-F238E27FC236}">
                <a16:creationId xmlns:a16="http://schemas.microsoft.com/office/drawing/2014/main" id="{2B23EB36-0705-48D6-B2BA-6B0C54ABF9F8}"/>
              </a:ext>
            </a:extLst>
          </p:cNvPr>
          <p:cNvSpPr/>
          <p:nvPr>
            <p:custDataLst>
              <p:tags r:id="rId21"/>
            </p:custDataLst>
          </p:nvPr>
        </p:nvSpPr>
        <p:spPr bwMode="gray">
          <a:xfrm>
            <a:off x="8001000" y="5851525"/>
            <a:ext cx="214313" cy="160338"/>
          </a:xfrm>
          <a:prstGeom prst="rect">
            <a:avLst/>
          </a:prstGeom>
          <a:solidFill>
            <a:srgbClr val="ABA8B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Text Placeholder 3"/>
          <p:cNvSpPr>
            <a:spLocks noGrp="1"/>
          </p:cNvSpPr>
          <p:nvPr>
            <p:custDataLst>
              <p:tags r:id="rId22"/>
            </p:custDataLst>
          </p:nvPr>
        </p:nvSpPr>
        <p:spPr bwMode="gray">
          <a:xfrm>
            <a:off x="8266113" y="5580063"/>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4C0EEB5-39C8-4E15-A07B-E9117E0B53EC}" type="datetime'''''''''Q''''''''''4'''''''''' ''''''''''’''''1''''''''9'''">
              <a:rPr lang="en-US" altLang="en-US" smtClean="0"/>
              <a:pPr/>
              <a:t>Q4 ’19</a:t>
            </a:fld>
            <a:endParaRPr lang="en-US" dirty="0">
              <a:sym typeface="+mn-lt"/>
            </a:endParaRPr>
          </a:p>
        </p:txBody>
      </p:sp>
      <p:sp>
        <p:nvSpPr>
          <p:cNvPr id="46" name="Text Placeholder 3">
            <a:extLst>
              <a:ext uri="{FF2B5EF4-FFF2-40B4-BE49-F238E27FC236}">
                <a16:creationId xmlns:a16="http://schemas.microsoft.com/office/drawing/2014/main" id="{4468574D-C612-402A-B5F7-5B8472C4B3CA}"/>
              </a:ext>
            </a:extLst>
          </p:cNvPr>
          <p:cNvSpPr>
            <a:spLocks noGrp="1"/>
          </p:cNvSpPr>
          <p:nvPr>
            <p:custDataLst>
              <p:tags r:id="rId23"/>
            </p:custDataLst>
          </p:nvPr>
        </p:nvSpPr>
        <p:spPr bwMode="gray">
          <a:xfrm>
            <a:off x="8266113" y="608488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BC8167F-8DB9-469F-9E79-2825E23A98AC}" type="datetime'''''Q''4 ''''''''''''''''''’''''''''''''21'''''''''''''">
              <a:rPr lang="en-US" altLang="en-US" smtClean="0"/>
              <a:pPr/>
              <a:t>Q4 ’21</a:t>
            </a:fld>
            <a:endParaRPr lang="en-US" dirty="0">
              <a:sym typeface="+mn-lt"/>
            </a:endParaRPr>
          </a:p>
        </p:txBody>
      </p:sp>
      <p:sp>
        <p:nvSpPr>
          <p:cNvPr id="78" name="Text Placeholder 3">
            <a:extLst>
              <a:ext uri="{FF2B5EF4-FFF2-40B4-BE49-F238E27FC236}">
                <a16:creationId xmlns:a16="http://schemas.microsoft.com/office/drawing/2014/main" id="{65A04396-A5C3-476D-B9DB-8518148AD2C6}"/>
              </a:ext>
            </a:extLst>
          </p:cNvPr>
          <p:cNvSpPr>
            <a:spLocks noGrp="1"/>
          </p:cNvSpPr>
          <p:nvPr>
            <p:custDataLst>
              <p:tags r:id="rId24"/>
            </p:custDataLst>
          </p:nvPr>
        </p:nvSpPr>
        <p:spPr bwMode="gray">
          <a:xfrm>
            <a:off x="8266113" y="583247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9FEAA4E-8440-4331-B030-977C610AA091}" type="datetime'''Q''''''''''''''''''4'''''''''''''' ’2''0'''''''''''">
              <a:rPr lang="en-US" altLang="en-US" smtClean="0"/>
              <a:pPr/>
              <a:t>Q4 ’20</a:t>
            </a:fld>
            <a:endParaRPr lang="en-US" dirty="0">
              <a:sym typeface="+mn-lt"/>
            </a:endParaRPr>
          </a:p>
        </p:txBody>
      </p:sp>
      <p:sp>
        <p:nvSpPr>
          <p:cNvPr id="63" name="Rectangle 62"/>
          <p:cNvSpPr/>
          <p:nvPr/>
        </p:nvSpPr>
        <p:spPr>
          <a:xfrm>
            <a:off x="581942" y="4208462"/>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cxnSp>
        <p:nvCxnSpPr>
          <p:cNvPr id="50" name="Straight Connector 49">
            <a:extLst>
              <a:ext uri="{FF2B5EF4-FFF2-40B4-BE49-F238E27FC236}">
                <a16:creationId xmlns:a16="http://schemas.microsoft.com/office/drawing/2014/main" id="{40DD500D-3E3C-48C2-A99F-DA9C1FE4FB48}"/>
              </a:ext>
            </a:extLst>
          </p:cNvPr>
          <p:cNvCxnSpPr>
            <a:cxnSpLocks/>
          </p:cNvCxnSpPr>
          <p:nvPr/>
        </p:nvCxnSpPr>
        <p:spPr>
          <a:xfrm flipV="1">
            <a:off x="1506932" y="2782064"/>
            <a:ext cx="1023332" cy="48449"/>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F43696D-2B19-4175-BB22-9185C807414B}"/>
              </a:ext>
            </a:extLst>
          </p:cNvPr>
          <p:cNvCxnSpPr>
            <a:cxnSpLocks/>
          </p:cNvCxnSpPr>
          <p:nvPr/>
        </p:nvCxnSpPr>
        <p:spPr>
          <a:xfrm flipV="1">
            <a:off x="3736778" y="2589564"/>
            <a:ext cx="1073666" cy="276667"/>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B959581-4897-4963-A86F-57F2F6181151}"/>
              </a:ext>
            </a:extLst>
          </p:cNvPr>
          <p:cNvCxnSpPr>
            <a:cxnSpLocks/>
          </p:cNvCxnSpPr>
          <p:nvPr/>
        </p:nvCxnSpPr>
        <p:spPr>
          <a:xfrm flipV="1">
            <a:off x="3854999" y="4947444"/>
            <a:ext cx="948759" cy="18956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1E8CADF-1049-4B98-822E-3DA5DECF1947}"/>
              </a:ext>
            </a:extLst>
          </p:cNvPr>
          <p:cNvSpPr/>
          <p:nvPr/>
        </p:nvSpPr>
        <p:spPr>
          <a:xfrm>
            <a:off x="6778626" y="1340734"/>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295E7E"/>
                </a:solidFill>
              </a:rPr>
              <a:t>Consulting</a:t>
            </a:r>
          </a:p>
        </p:txBody>
      </p:sp>
      <p:sp>
        <p:nvSpPr>
          <p:cNvPr id="51" name="Rectangle 50">
            <a:extLst>
              <a:ext uri="{FF2B5EF4-FFF2-40B4-BE49-F238E27FC236}">
                <a16:creationId xmlns:a16="http://schemas.microsoft.com/office/drawing/2014/main" id="{E52CAF75-4D9D-4E15-85FD-F07AAE8D1C20}"/>
              </a:ext>
            </a:extLst>
          </p:cNvPr>
          <p:cNvSpPr/>
          <p:nvPr/>
        </p:nvSpPr>
        <p:spPr>
          <a:xfrm>
            <a:off x="7388243" y="4220980"/>
            <a:ext cx="543841"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575757"/>
                </a:solidFill>
              </a:rPr>
              <a:t>BST</a:t>
            </a:r>
          </a:p>
        </p:txBody>
      </p:sp>
      <p:grpSp>
        <p:nvGrpSpPr>
          <p:cNvPr id="43" name="Group 42">
            <a:extLst>
              <a:ext uri="{FF2B5EF4-FFF2-40B4-BE49-F238E27FC236}">
                <a16:creationId xmlns:a16="http://schemas.microsoft.com/office/drawing/2014/main" id="{7186C7F2-87AD-46E9-97A4-8C57C27A5A73}"/>
              </a:ext>
            </a:extLst>
          </p:cNvPr>
          <p:cNvGrpSpPr>
            <a:grpSpLocks noChangeAspect="1"/>
          </p:cNvGrpSpPr>
          <p:nvPr/>
        </p:nvGrpSpPr>
        <p:grpSpPr>
          <a:xfrm>
            <a:off x="514429" y="864696"/>
            <a:ext cx="457200" cy="457200"/>
            <a:chOff x="5867400" y="3200400"/>
            <a:chExt cx="457200" cy="457200"/>
          </a:xfrm>
        </p:grpSpPr>
        <p:sp>
          <p:nvSpPr>
            <p:cNvPr id="47" name="AutoShape 43">
              <a:extLst>
                <a:ext uri="{FF2B5EF4-FFF2-40B4-BE49-F238E27FC236}">
                  <a16:creationId xmlns:a16="http://schemas.microsoft.com/office/drawing/2014/main" id="{A5DE32F6-4E5F-4E05-B0A9-7B6E86F74F4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8151204D-D51C-455F-A717-F87FC4986BC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7" name="Rectangle 36" hidden="1">
            <a:extLst>
              <a:ext uri="{FF2B5EF4-FFF2-40B4-BE49-F238E27FC236}">
                <a16:creationId xmlns:a16="http://schemas.microsoft.com/office/drawing/2014/main" id="{51870C81-10CF-434C-9377-DC5FFA261D79}"/>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38" name="Rectangle 37" hidden="1">
            <a:extLst>
              <a:ext uri="{FF2B5EF4-FFF2-40B4-BE49-F238E27FC236}">
                <a16:creationId xmlns:a16="http://schemas.microsoft.com/office/drawing/2014/main" id="{464C614B-6620-42F4-979D-C399F1937DB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42" name="Straight Connector 141">
            <a:extLst>
              <a:ext uri="{FF2B5EF4-FFF2-40B4-BE49-F238E27FC236}">
                <a16:creationId xmlns:a16="http://schemas.microsoft.com/office/drawing/2014/main" id="{1E40FC79-051C-44D2-9467-7CD56BD04FA8}"/>
              </a:ext>
            </a:extLst>
          </p:cNvPr>
          <p:cNvCxnSpPr>
            <a:cxnSpLocks/>
          </p:cNvCxnSpPr>
          <p:nvPr/>
        </p:nvCxnSpPr>
        <p:spPr>
          <a:xfrm flipV="1">
            <a:off x="1553137" y="5233516"/>
            <a:ext cx="521725" cy="2220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FA1EFC4-31C4-4FBF-8E81-A25E45B5A624}"/>
              </a:ext>
            </a:extLst>
          </p:cNvPr>
          <p:cNvCxnSpPr>
            <a:cxnSpLocks/>
          </p:cNvCxnSpPr>
          <p:nvPr/>
        </p:nvCxnSpPr>
        <p:spPr>
          <a:xfrm flipV="1">
            <a:off x="6487705" y="2589564"/>
            <a:ext cx="494819" cy="36964"/>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BA45E2F-5D7A-47CD-8FC5-0B3C491AC708}"/>
              </a:ext>
            </a:extLst>
          </p:cNvPr>
          <p:cNvCxnSpPr>
            <a:cxnSpLocks/>
          </p:cNvCxnSpPr>
          <p:nvPr/>
        </p:nvCxnSpPr>
        <p:spPr>
          <a:xfrm flipV="1">
            <a:off x="6581403" y="4829175"/>
            <a:ext cx="552822" cy="18389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52802A7-FD4A-4152-A0AB-64E09B784BBE}"/>
              </a:ext>
            </a:extLst>
          </p:cNvPr>
          <p:cNvSpPr txBox="1"/>
          <p:nvPr/>
        </p:nvSpPr>
        <p:spPr>
          <a:xfrm>
            <a:off x="5959440" y="2739985"/>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Q3 '20</a:t>
            </a:r>
          </a:p>
        </p:txBody>
      </p:sp>
      <p:sp>
        <p:nvSpPr>
          <p:cNvPr id="101" name="TextBox 100">
            <a:extLst>
              <a:ext uri="{FF2B5EF4-FFF2-40B4-BE49-F238E27FC236}">
                <a16:creationId xmlns:a16="http://schemas.microsoft.com/office/drawing/2014/main" id="{59FCEBE8-B375-462C-B7A1-224FE7E6E7FF}"/>
              </a:ext>
            </a:extLst>
          </p:cNvPr>
          <p:cNvSpPr txBox="1"/>
          <p:nvPr/>
        </p:nvSpPr>
        <p:spPr>
          <a:xfrm>
            <a:off x="6116638" y="5233516"/>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Q3 '20</a:t>
            </a:r>
          </a:p>
        </p:txBody>
      </p:sp>
      <p:sp>
        <p:nvSpPr>
          <p:cNvPr id="62" name="Rectangle 61">
            <a:extLst>
              <a:ext uri="{FF2B5EF4-FFF2-40B4-BE49-F238E27FC236}">
                <a16:creationId xmlns:a16="http://schemas.microsoft.com/office/drawing/2014/main" id="{125978CE-C1B1-4423-8DB9-735F32C5233A}"/>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Year-over-Year – Bar Chart View</a:t>
            </a:r>
          </a:p>
        </p:txBody>
      </p:sp>
      <p:cxnSp>
        <p:nvCxnSpPr>
          <p:cNvPr id="58" name="Straight Connector 57">
            <a:extLst>
              <a:ext uri="{FF2B5EF4-FFF2-40B4-BE49-F238E27FC236}">
                <a16:creationId xmlns:a16="http://schemas.microsoft.com/office/drawing/2014/main" id="{4BF12B25-6351-44A7-8F6B-DFDDD79E9999}"/>
              </a:ext>
            </a:extLst>
          </p:cNvPr>
          <p:cNvCxnSpPr>
            <a:cxnSpLocks/>
          </p:cNvCxnSpPr>
          <p:nvPr/>
        </p:nvCxnSpPr>
        <p:spPr>
          <a:xfrm>
            <a:off x="2056200" y="5210926"/>
            <a:ext cx="600823" cy="110986"/>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545947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203"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1849072124"/>
              </p:ext>
            </p:extLst>
          </p:nvPr>
        </p:nvGraphicFramePr>
        <p:xfrm>
          <a:off x="683781" y="1757771"/>
          <a:ext cx="10879571" cy="2699491"/>
        </p:xfrm>
        <a:graphic>
          <a:graphicData uri="http://schemas.openxmlformats.org/drawingml/2006/table">
            <a:tbl>
              <a:tblPr/>
              <a:tblGrid>
                <a:gridCol w="1458881">
                  <a:extLst>
                    <a:ext uri="{9D8B030D-6E8A-4147-A177-3AD203B41FA5}">
                      <a16:colId xmlns:a16="http://schemas.microsoft.com/office/drawing/2014/main" val="20001"/>
                    </a:ext>
                  </a:extLst>
                </a:gridCol>
                <a:gridCol w="942069">
                  <a:extLst>
                    <a:ext uri="{9D8B030D-6E8A-4147-A177-3AD203B41FA5}">
                      <a16:colId xmlns:a16="http://schemas.microsoft.com/office/drawing/2014/main" val="20002"/>
                    </a:ext>
                  </a:extLst>
                </a:gridCol>
                <a:gridCol w="942069">
                  <a:extLst>
                    <a:ext uri="{9D8B030D-6E8A-4147-A177-3AD203B41FA5}">
                      <a16:colId xmlns:a16="http://schemas.microsoft.com/office/drawing/2014/main" val="998035513"/>
                    </a:ext>
                  </a:extLst>
                </a:gridCol>
                <a:gridCol w="942069">
                  <a:extLst>
                    <a:ext uri="{9D8B030D-6E8A-4147-A177-3AD203B41FA5}">
                      <a16:colId xmlns:a16="http://schemas.microsoft.com/office/drawing/2014/main" val="20010"/>
                    </a:ext>
                  </a:extLst>
                </a:gridCol>
                <a:gridCol w="942069">
                  <a:extLst>
                    <a:ext uri="{9D8B030D-6E8A-4147-A177-3AD203B41FA5}">
                      <a16:colId xmlns:a16="http://schemas.microsoft.com/office/drawing/2014/main" val="404579943"/>
                    </a:ext>
                  </a:extLst>
                </a:gridCol>
                <a:gridCol w="942069">
                  <a:extLst>
                    <a:ext uri="{9D8B030D-6E8A-4147-A177-3AD203B41FA5}">
                      <a16:colId xmlns:a16="http://schemas.microsoft.com/office/drawing/2014/main" val="2149838370"/>
                    </a:ext>
                  </a:extLst>
                </a:gridCol>
                <a:gridCol w="942069">
                  <a:extLst>
                    <a:ext uri="{9D8B030D-6E8A-4147-A177-3AD203B41FA5}">
                      <a16:colId xmlns:a16="http://schemas.microsoft.com/office/drawing/2014/main" val="1124808972"/>
                    </a:ext>
                  </a:extLst>
                </a:gridCol>
                <a:gridCol w="942069">
                  <a:extLst>
                    <a:ext uri="{9D8B030D-6E8A-4147-A177-3AD203B41FA5}">
                      <a16:colId xmlns:a16="http://schemas.microsoft.com/office/drawing/2014/main" val="2664623374"/>
                    </a:ext>
                  </a:extLst>
                </a:gridCol>
                <a:gridCol w="942069">
                  <a:extLst>
                    <a:ext uri="{9D8B030D-6E8A-4147-A177-3AD203B41FA5}">
                      <a16:colId xmlns:a16="http://schemas.microsoft.com/office/drawing/2014/main" val="1960978605"/>
                    </a:ext>
                  </a:extLst>
                </a:gridCol>
                <a:gridCol w="942069">
                  <a:extLst>
                    <a:ext uri="{9D8B030D-6E8A-4147-A177-3AD203B41FA5}">
                      <a16:colId xmlns:a16="http://schemas.microsoft.com/office/drawing/2014/main" val="476099589"/>
                    </a:ext>
                  </a:extLst>
                </a:gridCol>
                <a:gridCol w="942069">
                  <a:extLst>
                    <a:ext uri="{9D8B030D-6E8A-4147-A177-3AD203B41FA5}">
                      <a16:colId xmlns:a16="http://schemas.microsoft.com/office/drawing/2014/main" val="4291891488"/>
                    </a:ext>
                  </a:extLst>
                </a:gridCol>
              </a:tblGrid>
              <a:tr h="64933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endParaRPr kumimoji="0" lang="en-US" sz="1200" b="0" i="0" u="none" strike="noStrike" cap="none" normalizeH="0" baseline="30000" dirty="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2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vs 2019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81291">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22955">
                <a:tc>
                  <a:txBody>
                    <a:bodyPr/>
                    <a:lstStyle/>
                    <a:p>
                      <a:pPr algn="l" fontAlgn="b"/>
                      <a:r>
                        <a:rPr lang="en-GB" sz="1200" b="0" i="0" u="none" strike="noStrike" kern="1200" dirty="0">
                          <a:solidFill>
                            <a:schemeClr val="tx1"/>
                          </a:solidFill>
                          <a:effectLst/>
                          <a:latin typeface="+mj-lt"/>
                          <a:ea typeface="+mn-ea"/>
                          <a:cs typeface="+mn-cs"/>
                        </a:rPr>
                        <a:t>Chrome River for Mobile</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8</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6%</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30000" dirty="0">
                          <a:ln>
                            <a:noFill/>
                          </a:ln>
                          <a:solidFill>
                            <a:srgbClr val="575757"/>
                          </a:solidFill>
                          <a:effectLst/>
                          <a:latin typeface="+mn-lt"/>
                          <a:ea typeface="+mn-ea"/>
                          <a:cs typeface="Arial" charset="0"/>
                        </a:rPr>
                        <a:t>--</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r>
                        <a:rPr kumimoji="0" lang="en-US" sz="1200" b="0" i="0" u="none" strike="noStrike" kern="1200" cap="none" normalizeH="0" baseline="30000" dirty="0">
                          <a:ln>
                            <a:noFill/>
                          </a:ln>
                          <a:solidFill>
                            <a:srgbClr val="575757"/>
                          </a:solidFill>
                          <a:effectLst/>
                          <a:latin typeface="+mn-lt"/>
                          <a:ea typeface="+mn-ea"/>
                          <a:cs typeface="Arial" charset="0"/>
                        </a:rPr>
                        <a:t>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77635980"/>
                  </a:ext>
                </a:extLst>
              </a:tr>
              <a:tr h="522955">
                <a:tc>
                  <a:txBody>
                    <a:bodyPr/>
                    <a:lstStyle/>
                    <a:p>
                      <a:pPr algn="l" fontAlgn="b"/>
                      <a:r>
                        <a:rPr lang="en-GB" sz="1200" b="0" i="0" u="none" strike="noStrike" dirty="0">
                          <a:effectLst/>
                          <a:latin typeface="+mj-lt"/>
                        </a:rPr>
                        <a:t>Expenses - Chrome River</a:t>
                      </a:r>
                      <a:endParaRPr lang="en-GB" sz="1200" b="0" i="0" u="none" strike="noStrike" baseline="30000" dirty="0">
                        <a:effectLst/>
                        <a:latin typeface="+mj-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6</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7</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2</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mn-lt"/>
                          <a:ea typeface="+mn-ea"/>
                          <a:cs typeface="+mn-cs"/>
                        </a:rPr>
                        <a:t>1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45614380"/>
                  </a:ext>
                </a:extLst>
              </a:tr>
              <a:tr h="522955">
                <a:tc>
                  <a:txBody>
                    <a:bodyPr/>
                    <a:lstStyle/>
                    <a:p>
                      <a:pPr algn="l" fontAlgn="b"/>
                      <a:r>
                        <a:rPr lang="en-GB" sz="1200" b="0" i="0" u="none" strike="noStrike" dirty="0">
                          <a:effectLst/>
                          <a:latin typeface="+mj-lt"/>
                        </a:rPr>
                        <a:t>Timesheets –</a:t>
                      </a:r>
                      <a:r>
                        <a:rPr lang="en-GB" sz="1200" b="0" i="0" u="none" strike="noStrike" baseline="0" dirty="0">
                          <a:effectLst/>
                          <a:latin typeface="+mj-lt"/>
                        </a:rPr>
                        <a:t> Infor</a:t>
                      </a:r>
                      <a:endParaRPr lang="en-GB" sz="1200" b="0" i="0" u="none" strike="noStrike" baseline="30000" dirty="0">
                        <a:effectLst/>
                        <a:latin typeface="+mj-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7</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2</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4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2</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4%</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2</a:t>
                      </a:r>
                      <a:r>
                        <a:rPr lang="en-US" sz="1200" kern="1200" dirty="0">
                          <a:solidFill>
                            <a:srgbClr val="575757"/>
                          </a:solidFill>
                          <a:latin typeface="+mn-lt"/>
                          <a:ea typeface="+mn-ea"/>
                          <a:cs typeface="+mn-cs"/>
                        </a:rPr>
                        <a:t>7%</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mn-lt"/>
                          <a:ea typeface="+mn-ea"/>
                          <a:cs typeface="+mn-cs"/>
                        </a:rPr>
                        <a:t>2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29" name="Title 2">
            <a:extLst>
              <a:ext uri="{FF2B5EF4-FFF2-40B4-BE49-F238E27FC236}">
                <a16:creationId xmlns:a16="http://schemas.microsoft.com/office/drawing/2014/main" id="{7005E8DE-C3BD-4C99-8A8B-A43FC745724D}"/>
              </a:ext>
            </a:extLst>
          </p:cNvPr>
          <p:cNvSpPr>
            <a:spLocks noGrp="1"/>
          </p:cNvSpPr>
          <p:nvPr>
            <p:ph type="title"/>
          </p:nvPr>
        </p:nvSpPr>
        <p:spPr/>
        <p:txBody>
          <a:bodyPr vert="horz"/>
          <a:lstStyle/>
          <a:p>
            <a:r>
              <a:rPr lang="en-US" dirty="0">
                <a:solidFill>
                  <a:srgbClr val="295E7E"/>
                </a:solidFill>
              </a:rPr>
              <a:t>Timesheets &amp; Expenses - Satisfaction</a:t>
            </a:r>
          </a:p>
        </p:txBody>
      </p:sp>
      <p:sp>
        <p:nvSpPr>
          <p:cNvPr id="35" name="Rectangle 34">
            <a:extLst>
              <a:ext uri="{FF2B5EF4-FFF2-40B4-BE49-F238E27FC236}">
                <a16:creationId xmlns:a16="http://schemas.microsoft.com/office/drawing/2014/main" id="{DBC34E2B-3CB9-48FD-9A23-BF89C591BECE}"/>
              </a:ext>
            </a:extLst>
          </p:cNvPr>
          <p:cNvSpPr/>
          <p:nvPr/>
        </p:nvSpPr>
        <p:spPr>
          <a:xfrm>
            <a:off x="997488" y="925006"/>
            <a:ext cx="6391725"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sp>
        <p:nvSpPr>
          <p:cNvPr id="28" name="Rectangle 27">
            <a:extLst>
              <a:ext uri="{FF2B5EF4-FFF2-40B4-BE49-F238E27FC236}">
                <a16:creationId xmlns:a16="http://schemas.microsoft.com/office/drawing/2014/main" id="{1526B688-AA23-416D-8AEB-300633045E17}"/>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1" name="Rectangle 30">
            <a:extLst>
              <a:ext uri="{FF2B5EF4-FFF2-40B4-BE49-F238E27FC236}">
                <a16:creationId xmlns:a16="http://schemas.microsoft.com/office/drawing/2014/main" id="{9B975420-F08A-4030-A864-9F436E3CFC91}"/>
              </a:ext>
            </a:extLst>
          </p:cNvPr>
          <p:cNvSpPr/>
          <p:nvPr/>
        </p:nvSpPr>
        <p:spPr>
          <a:xfrm>
            <a:off x="190500" y="5980209"/>
            <a:ext cx="11801475"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The annual average for both Chrome River &amp; Timesheets is improved vs 2020. </a:t>
            </a:r>
          </a:p>
          <a:p>
            <a:pPr algn="ctr"/>
            <a:r>
              <a:rPr lang="en-US" dirty="0">
                <a:solidFill>
                  <a:srgbClr val="575757"/>
                </a:solidFill>
              </a:rPr>
              <a:t>Chrome River moves from an 'Average' to 'Good' grade.</a:t>
            </a:r>
          </a:p>
        </p:txBody>
      </p:sp>
      <p:grpSp>
        <p:nvGrpSpPr>
          <p:cNvPr id="20" name="Group 19">
            <a:extLst>
              <a:ext uri="{FF2B5EF4-FFF2-40B4-BE49-F238E27FC236}">
                <a16:creationId xmlns:a16="http://schemas.microsoft.com/office/drawing/2014/main" id="{B3461E75-3B5D-438D-98D5-5DE8F33C84B1}"/>
              </a:ext>
            </a:extLst>
          </p:cNvPr>
          <p:cNvGrpSpPr/>
          <p:nvPr/>
        </p:nvGrpSpPr>
        <p:grpSpPr>
          <a:xfrm>
            <a:off x="639024" y="4685137"/>
            <a:ext cx="6155997" cy="444350"/>
            <a:chOff x="753111" y="3331233"/>
            <a:chExt cx="6155997" cy="444350"/>
          </a:xfrm>
        </p:grpSpPr>
        <p:grpSp>
          <p:nvGrpSpPr>
            <p:cNvPr id="21" name="Group 20">
              <a:extLst>
                <a:ext uri="{FF2B5EF4-FFF2-40B4-BE49-F238E27FC236}">
                  <a16:creationId xmlns:a16="http://schemas.microsoft.com/office/drawing/2014/main" id="{20FDFB1E-22C4-43A2-BD50-2D61ED6F3B6E}"/>
                </a:ext>
              </a:extLst>
            </p:cNvPr>
            <p:cNvGrpSpPr/>
            <p:nvPr/>
          </p:nvGrpSpPr>
          <p:grpSpPr>
            <a:xfrm>
              <a:off x="753111" y="3331233"/>
              <a:ext cx="6155997" cy="220957"/>
              <a:chOff x="753111" y="3331233"/>
              <a:chExt cx="6155997" cy="220957"/>
            </a:xfrm>
          </p:grpSpPr>
          <p:sp>
            <p:nvSpPr>
              <p:cNvPr id="32" name="Rectangle 31">
                <a:extLst>
                  <a:ext uri="{FF2B5EF4-FFF2-40B4-BE49-F238E27FC236}">
                    <a16:creationId xmlns:a16="http://schemas.microsoft.com/office/drawing/2014/main" id="{C31B0C65-425D-4690-B5B7-C05E52746A98}"/>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3" name="Rectangle 32">
                <a:extLst>
                  <a:ext uri="{FF2B5EF4-FFF2-40B4-BE49-F238E27FC236}">
                    <a16:creationId xmlns:a16="http://schemas.microsoft.com/office/drawing/2014/main" id="{8863FC0C-4FA3-4BF4-A847-9054C2B2C69C}"/>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4" name="Rectangle 33">
                <a:extLst>
                  <a:ext uri="{FF2B5EF4-FFF2-40B4-BE49-F238E27FC236}">
                    <a16:creationId xmlns:a16="http://schemas.microsoft.com/office/drawing/2014/main" id="{C5E18972-21FA-4649-AD15-716ADCA0740B}"/>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8" name="Rectangle 37">
                <a:extLst>
                  <a:ext uri="{FF2B5EF4-FFF2-40B4-BE49-F238E27FC236}">
                    <a16:creationId xmlns:a16="http://schemas.microsoft.com/office/drawing/2014/main" id="{00DF1BE3-7229-4E2D-8200-B9848D63CB9D}"/>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9" name="Rectangle 38">
                <a:extLst>
                  <a:ext uri="{FF2B5EF4-FFF2-40B4-BE49-F238E27FC236}">
                    <a16:creationId xmlns:a16="http://schemas.microsoft.com/office/drawing/2014/main" id="{4E89B635-F0D2-43BC-8CA8-452CC6AE1576}"/>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0" name="Rectangle 39">
                <a:extLst>
                  <a:ext uri="{FF2B5EF4-FFF2-40B4-BE49-F238E27FC236}">
                    <a16:creationId xmlns:a16="http://schemas.microsoft.com/office/drawing/2014/main" id="{81826C25-FFD2-496B-B0BB-C57E7520FD19}"/>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0BA116B9-3AD9-43A0-9DFF-7926C3E83B4E}"/>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D27BD8E8-4EE5-41A4-AA92-B880FA38B132}"/>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75BA063D-234F-4642-BE24-606B803FD327}"/>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EB464675-1B70-4027-AB4A-49F94AC02C2C}"/>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1263408E-005D-4681-9156-1E0AB913E11E}"/>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30" name="Rectangle 29">
              <a:extLst>
                <a:ext uri="{FF2B5EF4-FFF2-40B4-BE49-F238E27FC236}">
                  <a16:creationId xmlns:a16="http://schemas.microsoft.com/office/drawing/2014/main" id="{329ED433-3EA5-4738-916D-F473840C9281}"/>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41" name="Group 40">
            <a:extLst>
              <a:ext uri="{FF2B5EF4-FFF2-40B4-BE49-F238E27FC236}">
                <a16:creationId xmlns:a16="http://schemas.microsoft.com/office/drawing/2014/main" id="{1A2EF524-4AAA-4C30-A750-71A1C18CF511}"/>
              </a:ext>
            </a:extLst>
          </p:cNvPr>
          <p:cNvGrpSpPr>
            <a:grpSpLocks noChangeAspect="1"/>
          </p:cNvGrpSpPr>
          <p:nvPr/>
        </p:nvGrpSpPr>
        <p:grpSpPr>
          <a:xfrm>
            <a:off x="514429" y="864696"/>
            <a:ext cx="457200" cy="457200"/>
            <a:chOff x="5867400" y="3200400"/>
            <a:chExt cx="457200" cy="457200"/>
          </a:xfrm>
        </p:grpSpPr>
        <p:sp>
          <p:nvSpPr>
            <p:cNvPr id="43" name="AutoShape 43">
              <a:extLst>
                <a:ext uri="{FF2B5EF4-FFF2-40B4-BE49-F238E27FC236}">
                  <a16:creationId xmlns:a16="http://schemas.microsoft.com/office/drawing/2014/main" id="{89EA1113-6993-40A6-AA1B-64EB3E06468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7">
              <a:extLst>
                <a:ext uri="{FF2B5EF4-FFF2-40B4-BE49-F238E27FC236}">
                  <a16:creationId xmlns:a16="http://schemas.microsoft.com/office/drawing/2014/main" id="{3E8CDA7E-4411-486D-BDB8-A444E2753FB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6" name="Oval 20">
            <a:extLst>
              <a:ext uri="{FF2B5EF4-FFF2-40B4-BE49-F238E27FC236}">
                <a16:creationId xmlns:a16="http://schemas.microsoft.com/office/drawing/2014/main" id="{ED776109-522D-40A1-81F9-4EEF5E7DB3B4}"/>
              </a:ext>
            </a:extLst>
          </p:cNvPr>
          <p:cNvSpPr>
            <a:spLocks noChangeAspect="1" noChangeArrowheads="1"/>
          </p:cNvSpPr>
          <p:nvPr/>
        </p:nvSpPr>
        <p:spPr bwMode="auto">
          <a:xfrm>
            <a:off x="10677625" y="3631259"/>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36" name="Rectangle 35">
            <a:extLst>
              <a:ext uri="{FF2B5EF4-FFF2-40B4-BE49-F238E27FC236}">
                <a16:creationId xmlns:a16="http://schemas.microsoft.com/office/drawing/2014/main" id="{7A154B14-B314-4FD1-83EB-8958EFF5E8EC}"/>
              </a:ext>
            </a:extLst>
          </p:cNvPr>
          <p:cNvSpPr/>
          <p:nvPr/>
        </p:nvSpPr>
        <p:spPr>
          <a:xfrm flipH="1">
            <a:off x="7788160" y="1757772"/>
            <a:ext cx="1889239" cy="270922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Rectangle 56">
            <a:extLst>
              <a:ext uri="{FF2B5EF4-FFF2-40B4-BE49-F238E27FC236}">
                <a16:creationId xmlns:a16="http://schemas.microsoft.com/office/drawing/2014/main" id="{48EC5247-BD01-43B7-9212-9572E4E109BF}"/>
              </a:ext>
            </a:extLst>
          </p:cNvPr>
          <p:cNvSpPr/>
          <p:nvPr/>
        </p:nvSpPr>
        <p:spPr>
          <a:xfrm>
            <a:off x="6740164" y="4684452"/>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54" name="Group 53">
            <a:extLst>
              <a:ext uri="{FF2B5EF4-FFF2-40B4-BE49-F238E27FC236}">
                <a16:creationId xmlns:a16="http://schemas.microsoft.com/office/drawing/2014/main" id="{E695F892-DA89-48EA-BC1F-6234591D15EC}"/>
              </a:ext>
            </a:extLst>
          </p:cNvPr>
          <p:cNvGrpSpPr/>
          <p:nvPr/>
        </p:nvGrpSpPr>
        <p:grpSpPr>
          <a:xfrm>
            <a:off x="9707591" y="4745096"/>
            <a:ext cx="2116895" cy="591304"/>
            <a:chOff x="9751525" y="5356845"/>
            <a:chExt cx="2116895" cy="591304"/>
          </a:xfrm>
        </p:grpSpPr>
        <p:sp>
          <p:nvSpPr>
            <p:cNvPr id="55" name="Oval 20">
              <a:extLst>
                <a:ext uri="{FF2B5EF4-FFF2-40B4-BE49-F238E27FC236}">
                  <a16:creationId xmlns:a16="http://schemas.microsoft.com/office/drawing/2014/main" id="{77A045B1-1083-4952-868B-B2C4561DD27F}"/>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Rectangle 55">
              <a:extLst>
                <a:ext uri="{FF2B5EF4-FFF2-40B4-BE49-F238E27FC236}">
                  <a16:creationId xmlns:a16="http://schemas.microsoft.com/office/drawing/2014/main" id="{D6561D91-5695-4906-8A2D-AF650073B0F0}"/>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58" name="Oval 20">
              <a:extLst>
                <a:ext uri="{FF2B5EF4-FFF2-40B4-BE49-F238E27FC236}">
                  <a16:creationId xmlns:a16="http://schemas.microsoft.com/office/drawing/2014/main" id="{2773F89E-FE7A-4873-A4BF-92B74AB6D957}"/>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9" name="Oval 20">
              <a:extLst>
                <a:ext uri="{FF2B5EF4-FFF2-40B4-BE49-F238E27FC236}">
                  <a16:creationId xmlns:a16="http://schemas.microsoft.com/office/drawing/2014/main" id="{8CD1B115-C557-45BE-98A3-BF0DAFC52D13}"/>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0" name="Rectangle 59">
              <a:extLst>
                <a:ext uri="{FF2B5EF4-FFF2-40B4-BE49-F238E27FC236}">
                  <a16:creationId xmlns:a16="http://schemas.microsoft.com/office/drawing/2014/main" id="{FDF2D2E9-D5C2-4EAC-8CE3-1729436E89A5}"/>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61" name="Rectangle 60">
              <a:extLst>
                <a:ext uri="{FF2B5EF4-FFF2-40B4-BE49-F238E27FC236}">
                  <a16:creationId xmlns:a16="http://schemas.microsoft.com/office/drawing/2014/main" id="{A7CF30B3-DFD3-4D7D-9398-FA5B38A55B65}"/>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0" name="Oval 20">
            <a:extLst>
              <a:ext uri="{FF2B5EF4-FFF2-40B4-BE49-F238E27FC236}">
                <a16:creationId xmlns:a16="http://schemas.microsoft.com/office/drawing/2014/main" id="{3B195823-D8C4-4C47-92F5-2DE88919A675}"/>
              </a:ext>
            </a:extLst>
          </p:cNvPr>
          <p:cNvSpPr>
            <a:spLocks noChangeAspect="1" noChangeArrowheads="1"/>
          </p:cNvSpPr>
          <p:nvPr/>
        </p:nvSpPr>
        <p:spPr bwMode="auto">
          <a:xfrm>
            <a:off x="10677625" y="4114148"/>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9" name="Left Bracket 48">
            <a:extLst>
              <a:ext uri="{FF2B5EF4-FFF2-40B4-BE49-F238E27FC236}">
                <a16:creationId xmlns:a16="http://schemas.microsoft.com/office/drawing/2014/main" id="{16712CB0-B607-4C44-AA00-45BFF2574DE6}"/>
              </a:ext>
            </a:extLst>
          </p:cNvPr>
          <p:cNvSpPr/>
          <p:nvPr/>
        </p:nvSpPr>
        <p:spPr>
          <a:xfrm rot="5400000">
            <a:off x="8624541" y="212107"/>
            <a:ext cx="162169" cy="2917496"/>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1848188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111" name="think-cell Slide" r:id="rId15" imgW="327" imgH="327" progId="TCLayout.ActiveDocument.1">
                  <p:embed/>
                </p:oleObj>
              </mc:Choice>
              <mc:Fallback>
                <p:oleObj name="think-cell Slide" r:id="rId15" imgW="327" imgH="327" progId="TCLayout.ActiveDocument.1">
                  <p:embed/>
                  <p:pic>
                    <p:nvPicPr>
                      <p:cNvPr id="5" name="Object 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2" name="Picture 31">
            <a:extLst>
              <a:ext uri="{FF2B5EF4-FFF2-40B4-BE49-F238E27FC236}">
                <a16:creationId xmlns:a16="http://schemas.microsoft.com/office/drawing/2014/main" id="{04454DE2-491E-4799-87DC-4EFE49BD47A1}"/>
              </a:ext>
            </a:extLst>
          </p:cNvPr>
          <p:cNvPicPr>
            <a:picLocks noChangeAspect="1"/>
          </p:cNvPicPr>
          <p:nvPr/>
        </p:nvPicPr>
        <p:blipFill rotWithShape="1">
          <a:blip r:embed="rId17" cstate="screen">
            <a:alphaModFix/>
            <a:extLst>
              <a:ext uri="{28A0092B-C50C-407E-A947-70E740481C1C}">
                <a14:useLocalDpi xmlns:a14="http://schemas.microsoft.com/office/drawing/2010/main"/>
              </a:ext>
            </a:extLst>
          </a:blip>
          <a:srcRect/>
          <a:stretch/>
        </p:blipFill>
        <p:spPr>
          <a:xfrm>
            <a:off x="7816497" y="-2468"/>
            <a:ext cx="4375503" cy="6858000"/>
          </a:xfrm>
          <a:prstGeom prst="rect">
            <a:avLst/>
          </a:prstGeom>
        </p:spPr>
      </p:pic>
      <p:sp>
        <p:nvSpPr>
          <p:cNvPr id="33" name="Rectangle 32">
            <a:extLst>
              <a:ext uri="{FF2B5EF4-FFF2-40B4-BE49-F238E27FC236}">
                <a16:creationId xmlns:a16="http://schemas.microsoft.com/office/drawing/2014/main" id="{9B28A536-4F39-48D8-8D1D-190A81644870}"/>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TIMESHEETS &amp; EXPENSES</a:t>
            </a:r>
          </a:p>
        </p:txBody>
      </p:sp>
      <p:sp>
        <p:nvSpPr>
          <p:cNvPr id="34" name="Oval 33">
            <a:extLst>
              <a:ext uri="{FF2B5EF4-FFF2-40B4-BE49-F238E27FC236}">
                <a16:creationId xmlns:a16="http://schemas.microsoft.com/office/drawing/2014/main" id="{CDE92A43-48B0-4BCE-8E71-E521FC924364}"/>
              </a:ext>
            </a:extLst>
          </p:cNvPr>
          <p:cNvSpPr>
            <a:spLocks noChangeAspect="1"/>
          </p:cNvSpPr>
          <p:nvPr/>
        </p:nvSpPr>
        <p:spPr>
          <a:xfrm>
            <a:off x="8631238" y="1863850"/>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312</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3" name="Rectangular Callout 42"/>
          <p:cNvSpPr/>
          <p:nvPr/>
        </p:nvSpPr>
        <p:spPr>
          <a:xfrm>
            <a:off x="3208242" y="4064169"/>
            <a:ext cx="1637027" cy="1130925"/>
          </a:xfrm>
          <a:prstGeom prst="wedgeRectCallout">
            <a:avLst>
              <a:gd name="adj1" fmla="val 24053"/>
              <a:gd name="adj2" fmla="val 5351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nfor] </a:t>
            </a:r>
            <a:r>
              <a:rPr lang="en-US" sz="1200" dirty="0">
                <a:cs typeface="Arial" pitchFamily="34" charset="0"/>
              </a:rPr>
              <a:t>Always need to add location (should default auto-fill to last week's location).</a:t>
            </a:r>
            <a:r>
              <a:rPr lang="en-GB" sz="1200" dirty="0">
                <a:cs typeface="Arial" pitchFamily="34" charset="0"/>
              </a:rPr>
              <a:t>”</a:t>
            </a:r>
          </a:p>
          <a:p>
            <a:pPr algn="r"/>
            <a:r>
              <a:rPr lang="en-GB" sz="1000" i="1" dirty="0">
                <a:cs typeface="Arial" pitchFamily="34" charset="0"/>
              </a:rPr>
              <a:t>Consultant</a:t>
            </a:r>
          </a:p>
        </p:txBody>
      </p:sp>
      <p:sp>
        <p:nvSpPr>
          <p:cNvPr id="53" name="Rectangular Callout 52"/>
          <p:cNvSpPr/>
          <p:nvPr/>
        </p:nvSpPr>
        <p:spPr>
          <a:xfrm>
            <a:off x="257714" y="4057288"/>
            <a:ext cx="2872837" cy="1137806"/>
          </a:xfrm>
          <a:prstGeom prst="wedgeRectCallout">
            <a:avLst>
              <a:gd name="adj1" fmla="val 23001"/>
              <a:gd name="adj2" fmla="val 5302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Chrome River] </a:t>
            </a:r>
            <a:r>
              <a:rPr lang="en-US" sz="1200" dirty="0">
                <a:cs typeface="Arial" pitchFamily="34" charset="0"/>
              </a:rPr>
              <a:t>Super seamless - but annoying that we receive an email on Fridays telling us to submit expense reports for the week when our charges haven't imported into CR yet.</a:t>
            </a:r>
            <a:r>
              <a:rPr lang="en-GB" sz="1200" dirty="0">
                <a:cs typeface="Arial" pitchFamily="34" charset="0"/>
              </a:rPr>
              <a:t>”</a:t>
            </a:r>
          </a:p>
          <a:p>
            <a:pPr algn="r"/>
            <a:r>
              <a:rPr lang="en-GB" sz="1000" i="1" dirty="0">
                <a:cs typeface="Arial" pitchFamily="34" charset="0"/>
              </a:rPr>
              <a:t>	Consultant</a:t>
            </a:r>
          </a:p>
        </p:txBody>
      </p:sp>
      <p:sp>
        <p:nvSpPr>
          <p:cNvPr id="54" name="Rectangular Callout 53"/>
          <p:cNvSpPr/>
          <p:nvPr/>
        </p:nvSpPr>
        <p:spPr>
          <a:xfrm>
            <a:off x="2569029" y="5302633"/>
            <a:ext cx="2950029" cy="1227382"/>
          </a:xfrm>
          <a:prstGeom prst="wedgeRectCallout">
            <a:avLst>
              <a:gd name="adj1" fmla="val -22110"/>
              <a:gd name="adj2" fmla="val -5467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Chrome River]</a:t>
            </a:r>
            <a:r>
              <a:rPr lang="en-US" sz="1200" dirty="0">
                <a:cs typeface="Arial" pitchFamily="34" charset="0"/>
              </a:rPr>
              <a:t> The expenses do not automatically tag to the appropriate category, making it difficult at times to adjust things like date, amount, etc.</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Consultant</a:t>
            </a:r>
            <a:endParaRPr lang="en-GB" sz="700" i="1" dirty="0">
              <a:cs typeface="Arial" pitchFamily="34" charset="0"/>
            </a:endParaRPr>
          </a:p>
        </p:txBody>
      </p:sp>
      <p:sp>
        <p:nvSpPr>
          <p:cNvPr id="55" name="Rectangular Callout 54"/>
          <p:cNvSpPr/>
          <p:nvPr/>
        </p:nvSpPr>
        <p:spPr>
          <a:xfrm>
            <a:off x="4935227" y="4064169"/>
            <a:ext cx="1637027" cy="1137805"/>
          </a:xfrm>
          <a:prstGeom prst="wedgeRectCallout">
            <a:avLst>
              <a:gd name="adj1" fmla="val -20786"/>
              <a:gd name="adj2" fmla="val 554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Infor] </a:t>
            </a:r>
            <a:r>
              <a:rPr lang="en-US" sz="1200" dirty="0">
                <a:cs typeface="Arial" pitchFamily="34" charset="0"/>
              </a:rPr>
              <a:t>System is a bit slow in loading and searching past submissions.</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Senior ECT</a:t>
            </a:r>
          </a:p>
        </p:txBody>
      </p:sp>
      <p:sp>
        <p:nvSpPr>
          <p:cNvPr id="41" name="Rectangular Callout 40"/>
          <p:cNvSpPr/>
          <p:nvPr/>
        </p:nvSpPr>
        <p:spPr>
          <a:xfrm>
            <a:off x="257715" y="5302272"/>
            <a:ext cx="2261761" cy="1227743"/>
          </a:xfrm>
          <a:prstGeom prst="wedgeRectCallout">
            <a:avLst>
              <a:gd name="adj1" fmla="val -17296"/>
              <a:gd name="adj2" fmla="val -5651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200" dirty="0">
              <a:cs typeface="Arial" pitchFamily="34" charset="0"/>
            </a:endParaRPr>
          </a:p>
          <a:p>
            <a:pPr lvl="0"/>
            <a:r>
              <a:rPr lang="en-GB" sz="1200" dirty="0">
                <a:cs typeface="Arial" pitchFamily="34" charset="0"/>
              </a:rPr>
              <a:t>“[Chrome River]</a:t>
            </a:r>
            <a:r>
              <a:rPr lang="en-US" sz="1200" dirty="0">
                <a:cs typeface="Arial" pitchFamily="34" charset="0"/>
              </a:rPr>
              <a:t> Pain point: unable to recover/edit the submitted timesheet.</a:t>
            </a:r>
            <a:r>
              <a:rPr lang="en-GB" sz="1200" dirty="0">
                <a:cs typeface="Arial" pitchFamily="34" charset="0"/>
              </a:rPr>
              <a:t>”</a:t>
            </a:r>
          </a:p>
          <a:p>
            <a:pPr lvl="0" algn="r"/>
            <a:endParaRPr lang="en-GB" sz="1200" i="1" dirty="0">
              <a:cs typeface="Arial" pitchFamily="34" charset="0"/>
            </a:endParaRPr>
          </a:p>
          <a:p>
            <a:pPr lvl="0" algn="r"/>
            <a:endParaRPr lang="en-GB" sz="1200" i="1" dirty="0">
              <a:cs typeface="Arial" pitchFamily="34" charset="0"/>
            </a:endParaRPr>
          </a:p>
          <a:p>
            <a:pPr lvl="0" algn="r"/>
            <a:r>
              <a:rPr lang="en-GB" sz="1100" i="1" dirty="0">
                <a:cs typeface="Arial" pitchFamily="34" charset="0"/>
              </a:rPr>
              <a:t>BST</a:t>
            </a:r>
            <a:endParaRPr lang="en-GB" sz="1200" i="1" dirty="0">
              <a:cs typeface="Arial" pitchFamily="34" charset="0"/>
            </a:endParaRPr>
          </a:p>
          <a:p>
            <a:pPr lvl="0"/>
            <a:endParaRPr lang="en-GB" sz="1000" i="1" dirty="0">
              <a:cs typeface="Arial" pitchFamily="34" charset="0"/>
            </a:endParaRPr>
          </a:p>
        </p:txBody>
      </p:sp>
      <p:sp>
        <p:nvSpPr>
          <p:cNvPr id="28" name="Rectangle 27">
            <a:extLst>
              <a:ext uri="{FF2B5EF4-FFF2-40B4-BE49-F238E27FC236}">
                <a16:creationId xmlns:a16="http://schemas.microsoft.com/office/drawing/2014/main" id="{AE8BA0A3-A22B-4066-9085-3FC79F11C9A0}"/>
              </a:ext>
            </a:extLst>
          </p:cNvPr>
          <p:cNvSpPr/>
          <p:nvPr/>
        </p:nvSpPr>
        <p:spPr>
          <a:xfrm>
            <a:off x="213595" y="3660991"/>
            <a:ext cx="5405286" cy="3204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56609" y="144570"/>
            <a:ext cx="7476644" cy="17492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GB" sz="1600" dirty="0"/>
              <a:t>In terms of 'ease of use', many employees find 'Chrome River' seamless, whilst Infor has a more outdated UX, also taking a long time to load. Performance issues are particularly experienced with Infor, such as crashing &amp; re-loading. In addition to the location not being pre-filled, many have raised concerns that they are not able to modify or edit timesheets once submitted. Many also spoke about the need to manually tag expenses to categories in Chrome River which makes it inefficient to use.</a:t>
            </a:r>
          </a:p>
        </p:txBody>
      </p:sp>
      <p:graphicFrame>
        <p:nvGraphicFramePr>
          <p:cNvPr id="29" name="Chart 28">
            <a:extLst>
              <a:ext uri="{FF2B5EF4-FFF2-40B4-BE49-F238E27FC236}">
                <a16:creationId xmlns:a16="http://schemas.microsoft.com/office/drawing/2014/main" id="{0D9C7B65-3059-44EE-B861-000F27081012}"/>
              </a:ext>
            </a:extLst>
          </p:cNvPr>
          <p:cNvGraphicFramePr/>
          <p:nvPr>
            <p:custDataLst>
              <p:tags r:id="rId4"/>
            </p:custDataLst>
          </p:nvPr>
        </p:nvGraphicFramePr>
        <p:xfrm>
          <a:off x="1685925" y="2274888"/>
          <a:ext cx="5924550" cy="1157287"/>
        </p:xfrm>
        <a:graphic>
          <a:graphicData uri="http://schemas.openxmlformats.org/drawingml/2006/chart">
            <c:chart xmlns:c="http://schemas.openxmlformats.org/drawingml/2006/chart" xmlns:r="http://schemas.openxmlformats.org/officeDocument/2006/relationships" r:id="rId18"/>
          </a:graphicData>
        </a:graphic>
      </p:graphicFrame>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5"/>
            </p:custDataLst>
          </p:nvPr>
        </p:nvSpPr>
        <p:spPr bwMode="gray">
          <a:xfrm>
            <a:off x="238125" y="3000375"/>
            <a:ext cx="142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B57F31D-0F57-4BC9-876B-E23238669A01}" type="datetime'''''P''''er''''f''''ormanc''''''e'' (S''''p''''eed'''''')'''">
              <a:rPr lang="en-US" altLang="en-US" smtClean="0">
                <a:solidFill>
                  <a:schemeClr val="bg1"/>
                </a:solidFill>
              </a:rPr>
              <a:pPr/>
              <a:t>Performance (Speed)</a:t>
            </a:fld>
            <a:endParaRPr lang="en-US" dirty="0">
              <a:solidFill>
                <a:schemeClr val="bg1"/>
              </a:solidFill>
              <a:sym typeface="+mn-lt"/>
            </a:endParaRPr>
          </a:p>
        </p:txBody>
      </p:sp>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6"/>
            </p:custDataLst>
          </p:nvPr>
        </p:nvSpPr>
        <p:spPr bwMode="gray">
          <a:xfrm>
            <a:off x="889000" y="2505075"/>
            <a:ext cx="7778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67AF5BE-7ED5-47FF-867D-61AD160F02EC}" type="datetime'''Eas''''''e ''''''o''''''f ''''''''''''''''U''''''se'">
              <a:rPr lang="en-US" altLang="en-US" smtClean="0">
                <a:solidFill>
                  <a:schemeClr val="bg1"/>
                </a:solidFill>
              </a:rPr>
              <a:pPr/>
              <a:t>Ease of Use</a:t>
            </a:fld>
            <a:endParaRPr lang="en-US" altLang="en-US" dirty="0">
              <a:solidFill>
                <a:schemeClr val="bg1"/>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7"/>
            </p:custDataLst>
          </p:nvPr>
        </p:nvSpPr>
        <p:spPr bwMode="gray">
          <a:xfrm>
            <a:off x="2022475" y="35115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8"/>
            </p:custDataLst>
          </p:nvPr>
        </p:nvSpPr>
        <p:spPr bwMode="gray">
          <a:xfrm>
            <a:off x="3787775" y="3511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9"/>
            </p:custDataLst>
          </p:nvPr>
        </p:nvSpPr>
        <p:spPr bwMode="gray">
          <a:xfrm>
            <a:off x="2916238" y="3511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4052888" y="3492500"/>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1"/>
            </p:custDataLst>
          </p:nvPr>
        </p:nvSpPr>
        <p:spPr bwMode="gray">
          <a:xfrm>
            <a:off x="2287588" y="3492500"/>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2"/>
            </p:custDataLst>
          </p:nvPr>
        </p:nvSpPr>
        <p:spPr bwMode="gray">
          <a:xfrm>
            <a:off x="3181350" y="34925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686676" y="2125663"/>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26" name="Rectangular Callout 53">
            <a:extLst>
              <a:ext uri="{FF2B5EF4-FFF2-40B4-BE49-F238E27FC236}">
                <a16:creationId xmlns:a16="http://schemas.microsoft.com/office/drawing/2014/main" id="{DE077170-8E18-4E4B-9E79-EDF0C32FE96A}"/>
              </a:ext>
            </a:extLst>
          </p:cNvPr>
          <p:cNvSpPr/>
          <p:nvPr/>
        </p:nvSpPr>
        <p:spPr>
          <a:xfrm>
            <a:off x="6637530" y="4080259"/>
            <a:ext cx="1064629" cy="1105624"/>
          </a:xfrm>
          <a:prstGeom prst="wedgeRectCallout">
            <a:avLst>
              <a:gd name="adj1" fmla="val 22555"/>
              <a:gd name="adj2" fmla="val 5375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nfor]</a:t>
            </a:r>
            <a:r>
              <a:rPr lang="en-US" sz="1200" dirty="0">
                <a:cs typeface="Arial" pitchFamily="34" charset="0"/>
              </a:rPr>
              <a:t> Easy and simple, already prefilled - good!</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Associate</a:t>
            </a:r>
            <a:endParaRPr lang="en-GB" sz="700" i="1" dirty="0">
              <a:cs typeface="Arial" pitchFamily="34" charset="0"/>
            </a:endParaRPr>
          </a:p>
        </p:txBody>
      </p:sp>
      <p:sp>
        <p:nvSpPr>
          <p:cNvPr id="37" name="Rectangular Callout 53">
            <a:extLst>
              <a:ext uri="{FF2B5EF4-FFF2-40B4-BE49-F238E27FC236}">
                <a16:creationId xmlns:a16="http://schemas.microsoft.com/office/drawing/2014/main" id="{D38C79F5-FAAC-46F4-9D30-800B87271A0C}"/>
              </a:ext>
            </a:extLst>
          </p:cNvPr>
          <p:cNvSpPr/>
          <p:nvPr/>
        </p:nvSpPr>
        <p:spPr>
          <a:xfrm>
            <a:off x="5568611" y="5302272"/>
            <a:ext cx="2133548" cy="1227382"/>
          </a:xfrm>
          <a:prstGeom prst="wedgeRectCallout">
            <a:avLst>
              <a:gd name="adj1" fmla="val -19403"/>
              <a:gd name="adj2" fmla="val -5276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nfor]</a:t>
            </a:r>
            <a:r>
              <a:rPr lang="en-US" sz="1200" dirty="0">
                <a:cs typeface="Arial" pitchFamily="34" charset="0"/>
              </a:rPr>
              <a:t> Interface takes a long time to load (e.g., when I add a new C code); slows down my ability to quickly fill out timesheets!</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BST</a:t>
            </a:r>
            <a:endParaRPr lang="en-GB" sz="700" i="1" dirty="0">
              <a:cs typeface="Arial" pitchFamily="34" charset="0"/>
            </a:endParaRPr>
          </a:p>
        </p:txBody>
      </p:sp>
    </p:spTree>
    <p:extLst>
      <p:ext uri="{BB962C8B-B14F-4D97-AF65-F5344CB8AC3E}">
        <p14:creationId xmlns:p14="http://schemas.microsoft.com/office/powerpoint/2010/main" val="478550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extLst>
              <p:ext uri="{D42A27DB-BD31-4B8C-83A1-F6EECF244321}">
                <p14:modId xmlns:p14="http://schemas.microsoft.com/office/powerpoint/2010/main" val="4076808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420"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err="1">
                <a:solidFill>
                  <a:srgbClr val="575757"/>
                </a:solidFill>
                <a:latin typeface="+mn-ea"/>
                <a:cs typeface="Arial" pitchFamily="34" charset="0"/>
                <a:sym typeface="Trebuchet MS" panose="020B0603020202020204" pitchFamily="34" charset="0"/>
              </a:rPr>
              <a:t>MyCases</a:t>
            </a:r>
            <a:endParaRPr lang="en-US" sz="1400" dirty="0">
              <a:solidFill>
                <a:srgbClr val="575757"/>
              </a:solidFill>
              <a:latin typeface="+mn-ea"/>
              <a:cs typeface="Arial" pitchFamily="34" charset="0"/>
              <a:sym typeface="Trebuchet MS" panose="020B0603020202020204" pitchFamily="34" charset="0"/>
            </a:endParaRP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err="1">
                <a:solidFill>
                  <a:srgbClr val="575757"/>
                </a:solidFill>
                <a:latin typeface="+mn-ea"/>
                <a:cs typeface="Arial" pitchFamily="34" charset="0"/>
                <a:sym typeface="Trebuchet MS" panose="020B0603020202020204" pitchFamily="34" charset="0"/>
              </a:rPr>
              <a:t>InfoEx</a:t>
            </a:r>
            <a:endParaRPr lang="en-US" sz="1400" dirty="0">
              <a:solidFill>
                <a:srgbClr val="575757"/>
              </a:solidFill>
              <a:latin typeface="+mn-ea"/>
              <a:cs typeface="Arial" pitchFamily="34" charset="0"/>
              <a:sym typeface="Trebuchet MS" panose="020B0603020202020204" pitchFamily="34" charset="0"/>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sz="4400" dirty="0">
                <a:solidFill>
                  <a:srgbClr val="FFFFFF"/>
                </a:solidFill>
              </a:rPr>
              <a:t>Risk</a:t>
            </a:r>
          </a:p>
        </p:txBody>
      </p:sp>
      <p:pic>
        <p:nvPicPr>
          <p:cNvPr id="18" name="Picture 17">
            <a:extLst>
              <a:ext uri="{FF2B5EF4-FFF2-40B4-BE49-F238E27FC236}">
                <a16:creationId xmlns:a16="http://schemas.microsoft.com/office/drawing/2014/main" id="{77FC0F5D-6C77-44A3-A7F8-DE690B1F9220}"/>
              </a:ext>
            </a:extLst>
          </p:cNvPr>
          <p:cNvPicPr>
            <a:picLocks noChangeAspect="1"/>
          </p:cNvPicPr>
          <p:nvPr/>
        </p:nvPicPr>
        <p:blipFill rotWithShape="1">
          <a:blip r:embed="rId7">
            <a:extLst>
              <a:ext uri="{28A0092B-C50C-407E-A947-70E740481C1C}">
                <a14:useLocalDpi xmlns:a14="http://schemas.microsoft.com/office/drawing/2010/main" val="0"/>
              </a:ext>
            </a:extLst>
          </a:blip>
          <a:srcRect t="28939" b="25077"/>
          <a:stretch/>
        </p:blipFill>
        <p:spPr>
          <a:xfrm>
            <a:off x="0" y="-48957"/>
            <a:ext cx="12174722" cy="3723121"/>
          </a:xfrm>
          <a:prstGeom prst="rect">
            <a:avLst/>
          </a:prstGeom>
        </p:spPr>
      </p:pic>
      <p:sp>
        <p:nvSpPr>
          <p:cNvPr id="22" name="Rectangle 21">
            <a:extLst>
              <a:ext uri="{FF2B5EF4-FFF2-40B4-BE49-F238E27FC236}">
                <a16:creationId xmlns:a16="http://schemas.microsoft.com/office/drawing/2014/main" id="{F6C092CA-B578-43B9-8086-E93D2FD271BF}"/>
              </a:ext>
            </a:extLst>
          </p:cNvPr>
          <p:cNvSpPr/>
          <p:nvPr/>
        </p:nvSpPr>
        <p:spPr>
          <a:xfrm>
            <a:off x="-17278" y="-70702"/>
            <a:ext cx="12192000" cy="375878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21" name="Title 11">
            <a:extLst>
              <a:ext uri="{FF2B5EF4-FFF2-40B4-BE49-F238E27FC236}">
                <a16:creationId xmlns:a16="http://schemas.microsoft.com/office/drawing/2014/main" id="{484C3CE2-EB18-49C5-A8A8-97A896E00D2B}"/>
              </a:ext>
            </a:extLst>
          </p:cNvPr>
          <p:cNvSpPr txBox="1">
            <a:spLocks/>
          </p:cNvSpPr>
          <p:nvPr/>
        </p:nvSpPr>
        <p:spPr>
          <a:xfrm>
            <a:off x="735994" y="1234641"/>
            <a:ext cx="6077777" cy="609398"/>
          </a:xfrm>
          <a:prstGeom prst="rect">
            <a:avLst/>
          </a:prstGeom>
          <a:effectLst>
            <a:outerShdw blurRad="165100" algn="ctr" rotWithShape="0">
              <a:prstClr val="black">
                <a:alpha val="40000"/>
              </a:prstClr>
            </a:outerShdw>
          </a:effectLst>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4400" dirty="0">
                <a:solidFill>
                  <a:srgbClr val="FFFFFF"/>
                </a:solidFill>
              </a:rPr>
              <a:t>Risk</a:t>
            </a:r>
          </a:p>
        </p:txBody>
      </p:sp>
      <p:sp>
        <p:nvSpPr>
          <p:cNvPr id="23" name="TextBox 22">
            <a:extLst>
              <a:ext uri="{FF2B5EF4-FFF2-40B4-BE49-F238E27FC236}">
                <a16:creationId xmlns:a16="http://schemas.microsoft.com/office/drawing/2014/main" id="{72E6A87B-A831-469A-9455-279BF7895299}"/>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3495317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70044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447"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4122" y="0"/>
            <a:ext cx="282341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Newly returning to Pulse in Q4, 61% of CT employees are satisfied with MyCases overall</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MyCases – Satisfaction Overall</a:t>
            </a:r>
          </a:p>
        </p:txBody>
      </p:sp>
      <p:graphicFrame>
        <p:nvGraphicFramePr>
          <p:cNvPr id="37" name="Chart 36">
            <a:extLst>
              <a:ext uri="{FF2B5EF4-FFF2-40B4-BE49-F238E27FC236}">
                <a16:creationId xmlns:a16="http://schemas.microsoft.com/office/drawing/2014/main" id="{F77F0F22-D388-4760-8315-46B9EB661AF8}"/>
              </a:ext>
            </a:extLst>
          </p:cNvPr>
          <p:cNvGraphicFramePr/>
          <p:nvPr>
            <p:custDataLst>
              <p:tags r:id="rId5"/>
            </p:custDataLst>
            <p:extLst>
              <p:ext uri="{D42A27DB-BD31-4B8C-83A1-F6EECF244321}">
                <p14:modId xmlns:p14="http://schemas.microsoft.com/office/powerpoint/2010/main" val="2029231835"/>
              </p:ext>
            </p:extLst>
          </p:nvPr>
        </p:nvGraphicFramePr>
        <p:xfrm>
          <a:off x="2744788" y="2481263"/>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41" name="Text Placeholder 3"/>
          <p:cNvSpPr>
            <a:spLocks noGrp="1"/>
          </p:cNvSpPr>
          <p:nvPr>
            <p:custDataLst>
              <p:tags r:id="rId6"/>
            </p:custDataLst>
          </p:nvPr>
        </p:nvSpPr>
        <p:spPr bwMode="gray">
          <a:xfrm>
            <a:off x="4295775" y="258127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C2A7A0C-A13B-4494-BE31-6FDA41C167DF}"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73" name="Text Placeholder 3"/>
          <p:cNvSpPr>
            <a:spLocks noGrp="1"/>
          </p:cNvSpPr>
          <p:nvPr>
            <p:custDataLst>
              <p:tags r:id="rId7"/>
            </p:custDataLst>
          </p:nvPr>
        </p:nvSpPr>
        <p:spPr bwMode="gray">
          <a:xfrm>
            <a:off x="4819650" y="27114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70AC879-B2C7-4A04-8FAB-27C2DFBC2100}" type="datetime'''''''''''''''''''''''1''''''''''''''''1'">
              <a:rPr lang="en-US" altLang="en-US" smtClean="0">
                <a:solidFill>
                  <a:schemeClr val="bg1"/>
                </a:solidFill>
              </a:rPr>
              <a:pPr/>
              <a:t>11</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8"/>
            </p:custDataLst>
          </p:nvPr>
        </p:nvSpPr>
        <p:spPr bwMode="gray">
          <a:xfrm>
            <a:off x="2827338" y="40354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292F45A-49CC-4394-A3A2-A6C4B195D3AB}" type="datetime'''''''''''''''''''''28'''''''''''">
              <a:rPr lang="en-US" altLang="en-US" smtClean="0"/>
              <a:pPr/>
              <a:t>28</a:t>
            </a:fld>
            <a:r>
              <a:rPr lang="en-US" altLang="en-US">
                <a:sym typeface="+mn-lt"/>
              </a:rPr>
              <a:t>%</a:t>
            </a:r>
            <a:endParaRPr lang="en-US" dirty="0">
              <a:sym typeface="+mn-lt"/>
            </a:endParaRPr>
          </a:p>
        </p:txBody>
      </p:sp>
      <p:sp>
        <p:nvSpPr>
          <p:cNvPr id="55" name="Text Placeholder 3"/>
          <p:cNvSpPr>
            <a:spLocks noGrp="1"/>
          </p:cNvSpPr>
          <p:nvPr>
            <p:custDataLst>
              <p:tags r:id="rId9"/>
            </p:custDataLst>
          </p:nvPr>
        </p:nvSpPr>
        <p:spPr bwMode="gray">
          <a:xfrm>
            <a:off x="5380038" y="50387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2839014-5485-47D3-8B10-4BADA73BDED2}" type="datetime'''''''''''''''''''''5''''''''0'''''">
              <a:rPr lang="en-US" altLang="en-US" smtClean="0">
                <a:solidFill>
                  <a:schemeClr val="bg1"/>
                </a:solidFill>
              </a:rPr>
              <a:pPr/>
              <a:t>50</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10"/>
            </p:custDataLst>
          </p:nvPr>
        </p:nvSpPr>
        <p:spPr bwMode="gray">
          <a:xfrm>
            <a:off x="3783013" y="2711450"/>
            <a:ext cx="288925"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8512F9E-4598-480F-B3A1-92C8E359C063}" type="datetime'''''''''''''1''''''''''''''''''''''''''''''''''0'''''">
              <a:rPr lang="en-US" altLang="en-US" smtClean="0">
                <a:solidFill>
                  <a:schemeClr val="bg1"/>
                </a:solidFill>
              </a:rPr>
              <a:pPr/>
              <a:t>10</a:t>
            </a:fld>
            <a:r>
              <a:rPr lang="en-US" altLang="en-US">
                <a:solidFill>
                  <a:schemeClr val="bg1"/>
                </a:solidFill>
                <a:sym typeface="+mn-lt"/>
              </a:rPr>
              <a:t>%</a:t>
            </a:r>
            <a:endParaRPr lang="en-US" dirty="0">
              <a:solidFill>
                <a:schemeClr val="bg1"/>
              </a:solidFill>
              <a:sym typeface="+mn-lt"/>
            </a:endParaRPr>
          </a:p>
        </p:txBody>
      </p:sp>
      <p:sp>
        <p:nvSpPr>
          <p:cNvPr id="46" name="Rectangle 45"/>
          <p:cNvSpPr/>
          <p:nvPr>
            <p:custDataLst>
              <p:tags r:id="rId11"/>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4"/>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2" name="Text Placeholder 3"/>
          <p:cNvSpPr>
            <a:spLocks noGrp="1"/>
          </p:cNvSpPr>
          <p:nvPr>
            <p:custDataLst>
              <p:tags r:id="rId17"/>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9" name="Text Placeholder 3"/>
          <p:cNvSpPr>
            <a:spLocks noGrp="1"/>
          </p:cNvSpPr>
          <p:nvPr>
            <p:custDataLst>
              <p:tags r:id="rId18"/>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9"/>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20"/>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29" name="Rectangle 28"/>
          <p:cNvSpPr/>
          <p:nvPr/>
        </p:nvSpPr>
        <p:spPr>
          <a:xfrm>
            <a:off x="552256" y="1422769"/>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61" name="Straight Connector 60"/>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3" name="Rectangle 32"/>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59" name="Rectangle 58">
            <a:extLst>
              <a:ext uri="{FF2B5EF4-FFF2-40B4-BE49-F238E27FC236}">
                <a16:creationId xmlns:a16="http://schemas.microsoft.com/office/drawing/2014/main" id="{73D73CDA-25F1-4DC9-86BA-0FAA36B6F1B9}"/>
              </a:ext>
            </a:extLst>
          </p:cNvPr>
          <p:cNvSpPr/>
          <p:nvPr/>
        </p:nvSpPr>
        <p:spPr>
          <a:xfrm>
            <a:off x="2971801" y="1446038"/>
            <a:ext cx="5365375" cy="5220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1% </a:t>
            </a:r>
            <a:r>
              <a:rPr lang="en-US" dirty="0">
                <a:solidFill>
                  <a:srgbClr val="575757"/>
                </a:solidFill>
              </a:rPr>
              <a:t>satisfied</a:t>
            </a:r>
          </a:p>
        </p:txBody>
      </p:sp>
      <p:sp>
        <p:nvSpPr>
          <p:cNvPr id="30" name="Rectangle 29">
            <a:extLst>
              <a:ext uri="{FF2B5EF4-FFF2-40B4-BE49-F238E27FC236}">
                <a16:creationId xmlns:a16="http://schemas.microsoft.com/office/drawing/2014/main" id="{060B8051-FD2F-4EF9-88AF-EE181DB17942}"/>
              </a:ext>
            </a:extLst>
          </p:cNvPr>
          <p:cNvSpPr/>
          <p:nvPr/>
        </p:nvSpPr>
        <p:spPr>
          <a:xfrm>
            <a:off x="1443131" y="1392248"/>
            <a:ext cx="1301658" cy="60649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grpSp>
        <p:nvGrpSpPr>
          <p:cNvPr id="31" name="Group 30">
            <a:extLst>
              <a:ext uri="{FF2B5EF4-FFF2-40B4-BE49-F238E27FC236}">
                <a16:creationId xmlns:a16="http://schemas.microsoft.com/office/drawing/2014/main" id="{B4FCD8A3-25DA-45DF-B94F-3680128A7829}"/>
              </a:ext>
            </a:extLst>
          </p:cNvPr>
          <p:cNvGrpSpPr>
            <a:grpSpLocks noChangeAspect="1"/>
          </p:cNvGrpSpPr>
          <p:nvPr/>
        </p:nvGrpSpPr>
        <p:grpSpPr>
          <a:xfrm>
            <a:off x="514429" y="864696"/>
            <a:ext cx="457200" cy="457200"/>
            <a:chOff x="5867400" y="3200400"/>
            <a:chExt cx="457200" cy="457200"/>
          </a:xfrm>
        </p:grpSpPr>
        <p:sp>
          <p:nvSpPr>
            <p:cNvPr id="32" name="AutoShape 43">
              <a:extLst>
                <a:ext uri="{FF2B5EF4-FFF2-40B4-BE49-F238E27FC236}">
                  <a16:creationId xmlns:a16="http://schemas.microsoft.com/office/drawing/2014/main" id="{BF3DB0B1-A38D-4E4D-970B-76CF56596BE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7">
              <a:extLst>
                <a:ext uri="{FF2B5EF4-FFF2-40B4-BE49-F238E27FC236}">
                  <a16:creationId xmlns:a16="http://schemas.microsoft.com/office/drawing/2014/main" id="{6A1AE266-0FF9-47AC-9D4F-F7D533607D9C}"/>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56" name="Group 55">
            <a:extLst>
              <a:ext uri="{FF2B5EF4-FFF2-40B4-BE49-F238E27FC236}">
                <a16:creationId xmlns:a16="http://schemas.microsoft.com/office/drawing/2014/main" id="{9E962A17-1ECD-468B-B9FD-A41CA8FDA504}"/>
              </a:ext>
            </a:extLst>
          </p:cNvPr>
          <p:cNvGrpSpPr/>
          <p:nvPr/>
        </p:nvGrpSpPr>
        <p:grpSpPr>
          <a:xfrm>
            <a:off x="11125937" y="-9332"/>
            <a:ext cx="1229963" cy="1054387"/>
            <a:chOff x="11125937" y="-9332"/>
            <a:chExt cx="1229963" cy="1054387"/>
          </a:xfrm>
        </p:grpSpPr>
        <p:sp>
          <p:nvSpPr>
            <p:cNvPr id="57" name="NavigationTriangle">
              <a:extLst>
                <a:ext uri="{FF2B5EF4-FFF2-40B4-BE49-F238E27FC236}">
                  <a16:creationId xmlns:a16="http://schemas.microsoft.com/office/drawing/2014/main" id="{4EF8E1F3-D632-422E-8EA7-B0F18802BC81}"/>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60" name="Rectangle 59">
              <a:extLst>
                <a:ext uri="{FF2B5EF4-FFF2-40B4-BE49-F238E27FC236}">
                  <a16:creationId xmlns:a16="http://schemas.microsoft.com/office/drawing/2014/main" id="{B86A4C72-3D5B-4CBA-BCBB-752887B7B6D6}"/>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New Question</a:t>
              </a:r>
            </a:p>
          </p:txBody>
        </p:sp>
      </p:grpSp>
      <p:pic>
        <p:nvPicPr>
          <p:cNvPr id="62" name="Picture 61" descr="A picture containing shape&#10;&#10;Description automatically generated">
            <a:extLst>
              <a:ext uri="{FF2B5EF4-FFF2-40B4-BE49-F238E27FC236}">
                <a16:creationId xmlns:a16="http://schemas.microsoft.com/office/drawing/2014/main" id="{A0C135C0-20C1-4918-AF68-0B4D94BAF7E6}"/>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spTree>
    <p:custDataLst>
      <p:tags r:id="rId2"/>
    </p:custDataLst>
    <p:extLst>
      <p:ext uri="{BB962C8B-B14F-4D97-AF65-F5344CB8AC3E}">
        <p14:creationId xmlns:p14="http://schemas.microsoft.com/office/powerpoint/2010/main" val="3511305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938880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97" name="think-cell Slide" r:id="rId21" imgW="473" imgH="473" progId="TCLayout.ActiveDocument.1">
                  <p:embed/>
                </p:oleObj>
              </mc:Choice>
              <mc:Fallback>
                <p:oleObj name="think-cell Slide" r:id="rId21" imgW="473" imgH="473" progId="TCLayout.ActiveDocument.1">
                  <p:embed/>
                  <p:pic>
                    <p:nvPicPr>
                      <p:cNvPr id="5" name="Object 4"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129122" y="0"/>
            <a:ext cx="299625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Broken into specific areas, employees are most satisfied with the self-service request form, &amp; least with managing active cases. All are in the low 'average' grade bracket</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MyCases – Satisfaction Detail</a:t>
            </a:r>
          </a:p>
        </p:txBody>
      </p:sp>
      <p:sp>
        <p:nvSpPr>
          <p:cNvPr id="110" name="Rectangle 109">
            <a:extLst>
              <a:ext uri="{FF2B5EF4-FFF2-40B4-BE49-F238E27FC236}">
                <a16:creationId xmlns:a16="http://schemas.microsoft.com/office/drawing/2014/main" id="{988152C3-F650-465E-AB45-0AB84EF8A7EA}"/>
              </a:ext>
            </a:extLst>
          </p:cNvPr>
          <p:cNvSpPr/>
          <p:nvPr/>
        </p:nvSpPr>
        <p:spPr>
          <a:xfrm>
            <a:off x="499032" y="1715366"/>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 the following product aspects:</a:t>
            </a:r>
          </a:p>
        </p:txBody>
      </p:sp>
      <p:graphicFrame>
        <p:nvGraphicFramePr>
          <p:cNvPr id="44" name="Chart 43">
            <a:extLst>
              <a:ext uri="{FF2B5EF4-FFF2-40B4-BE49-F238E27FC236}">
                <a16:creationId xmlns:a16="http://schemas.microsoft.com/office/drawing/2014/main" id="{923273B5-BAA9-4FE1-90B2-F88A241A48EA}"/>
              </a:ext>
            </a:extLst>
          </p:cNvPr>
          <p:cNvGraphicFramePr/>
          <p:nvPr>
            <p:custDataLst>
              <p:tags r:id="rId5"/>
            </p:custDataLst>
            <p:extLst>
              <p:ext uri="{D42A27DB-BD31-4B8C-83A1-F6EECF244321}">
                <p14:modId xmlns:p14="http://schemas.microsoft.com/office/powerpoint/2010/main" val="1761668935"/>
              </p:ext>
            </p:extLst>
          </p:nvPr>
        </p:nvGraphicFramePr>
        <p:xfrm>
          <a:off x="2386013" y="2243138"/>
          <a:ext cx="5100637" cy="3024187"/>
        </p:xfrm>
        <a:graphic>
          <a:graphicData uri="http://schemas.openxmlformats.org/drawingml/2006/chart">
            <c:chart xmlns:c="http://schemas.openxmlformats.org/drawingml/2006/chart" xmlns:r="http://schemas.openxmlformats.org/officeDocument/2006/relationships" r:id="rId23"/>
          </a:graphicData>
        </a:graphic>
      </p:graphicFrame>
      <p:sp>
        <p:nvSpPr>
          <p:cNvPr id="138" name="Text Placeholder 3">
            <a:extLst>
              <a:ext uri="{FF2B5EF4-FFF2-40B4-BE49-F238E27FC236}">
                <a16:creationId xmlns:a16="http://schemas.microsoft.com/office/drawing/2014/main" id="{35C46B64-458B-476E-A91A-AE037AC5D44E}"/>
              </a:ext>
            </a:extLst>
          </p:cNvPr>
          <p:cNvSpPr>
            <a:spLocks noGrp="1"/>
          </p:cNvSpPr>
          <p:nvPr>
            <p:custDataLst>
              <p:tags r:id="rId6"/>
            </p:custDataLst>
          </p:nvPr>
        </p:nvSpPr>
        <p:spPr bwMode="gray">
          <a:xfrm>
            <a:off x="773112" y="2660650"/>
            <a:ext cx="17780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2E142CE-F1C1-43E0-96E7-8340AC22817A}" type="datetime'''Se''lf-S''''''erv''''ic''e ''Requ''''''''est F''o''''r''m'">
              <a:rPr lang="en-US" altLang="en-US" smtClean="0"/>
              <a:pPr/>
              <a:t>Self-Service Request Form</a:t>
            </a:fld>
            <a:endParaRPr lang="en-US" dirty="0">
              <a:sym typeface="+mn-lt"/>
            </a:endParaRPr>
          </a:p>
        </p:txBody>
      </p:sp>
      <p:sp>
        <p:nvSpPr>
          <p:cNvPr id="140" name="Text Placeholder 3">
            <a:extLst>
              <a:ext uri="{FF2B5EF4-FFF2-40B4-BE49-F238E27FC236}">
                <a16:creationId xmlns:a16="http://schemas.microsoft.com/office/drawing/2014/main" id="{E10D944E-1CB1-47BA-9B8C-F96497250CDC}"/>
              </a:ext>
            </a:extLst>
          </p:cNvPr>
          <p:cNvSpPr>
            <a:spLocks noGrp="1"/>
          </p:cNvSpPr>
          <p:nvPr>
            <p:custDataLst>
              <p:tags r:id="rId7"/>
            </p:custDataLst>
          </p:nvPr>
        </p:nvSpPr>
        <p:spPr bwMode="gray">
          <a:xfrm>
            <a:off x="1036638" y="4402138"/>
            <a:ext cx="151447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CB0CC95-5EF3-4D70-B063-686B80053735}" type="datetime'''Ma''''''n''''a''gi''n''g'' ''''''A''c''t''ive'''' Ca''ses'''">
              <a:rPr lang="en-US" altLang="en-US" smtClean="0">
                <a:effectLst/>
                <a:sym typeface="+mn-lt"/>
              </a:rPr>
              <a:pPr algn="r">
                <a:spcBef>
                  <a:spcPct val="0"/>
                </a:spcBef>
                <a:spcAft>
                  <a:spcPct val="0"/>
                </a:spcAft>
              </a:pPr>
              <a:t>Managing Active Cases</a:t>
            </a:fld>
            <a:endParaRPr lang="en-US" dirty="0">
              <a:sym typeface="+mn-lt"/>
            </a:endParaRPr>
          </a:p>
        </p:txBody>
      </p:sp>
      <p:sp>
        <p:nvSpPr>
          <p:cNvPr id="139" name="Text Placeholder 3">
            <a:extLst>
              <a:ext uri="{FF2B5EF4-FFF2-40B4-BE49-F238E27FC236}">
                <a16:creationId xmlns:a16="http://schemas.microsoft.com/office/drawing/2014/main" id="{F2D183CD-ACAF-47A6-84DD-7AAFE1D7D158}"/>
              </a:ext>
            </a:extLst>
          </p:cNvPr>
          <p:cNvSpPr>
            <a:spLocks noGrp="1"/>
          </p:cNvSpPr>
          <p:nvPr>
            <p:custDataLst>
              <p:tags r:id="rId8"/>
            </p:custDataLst>
          </p:nvPr>
        </p:nvSpPr>
        <p:spPr bwMode="gray">
          <a:xfrm>
            <a:off x="871538" y="3530600"/>
            <a:ext cx="167957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F4202C2-9DE9-4842-8EC9-1A56B6B0ADB0}" type="datetime'M''''''''an''a''''gi''ng A''rchived ''''''C''''''''''ase''s'''">
              <a:rPr lang="en-US" altLang="en-US" smtClean="0">
                <a:effectLst/>
                <a:sym typeface="+mn-lt"/>
              </a:rPr>
              <a:pPr algn="r">
                <a:spcBef>
                  <a:spcPct val="0"/>
                </a:spcBef>
                <a:spcAft>
                  <a:spcPct val="0"/>
                </a:spcAft>
              </a:pPr>
              <a:t>Managing Archived Cases</a:t>
            </a:fld>
            <a:endParaRPr lang="en-US" dirty="0">
              <a:sym typeface="+mn-lt"/>
            </a:endParaRPr>
          </a:p>
        </p:txBody>
      </p:sp>
      <p:sp>
        <p:nvSpPr>
          <p:cNvPr id="10" name="Rectangle 9"/>
          <p:cNvSpPr/>
          <p:nvPr>
            <p:custDataLst>
              <p:tags r:id="rId9"/>
            </p:custDataLst>
          </p:nvPr>
        </p:nvSpPr>
        <p:spPr bwMode="gray">
          <a:xfrm>
            <a:off x="3922713" y="5432425"/>
            <a:ext cx="214313" cy="160338"/>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p:cNvSpPr/>
          <p:nvPr>
            <p:custDataLst>
              <p:tags r:id="rId10"/>
            </p:custDataLst>
          </p:nvPr>
        </p:nvSpPr>
        <p:spPr bwMode="gray">
          <a:xfrm>
            <a:off x="2632075" y="54324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p:cNvSpPr/>
          <p:nvPr>
            <p:custDataLst>
              <p:tags r:id="rId11"/>
            </p:custDataLst>
          </p:nvPr>
        </p:nvSpPr>
        <p:spPr bwMode="gray">
          <a:xfrm>
            <a:off x="4872038" y="54324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Rectangle 11"/>
          <p:cNvSpPr/>
          <p:nvPr>
            <p:custDataLst>
              <p:tags r:id="rId12"/>
            </p:custDataLst>
          </p:nvPr>
        </p:nvSpPr>
        <p:spPr bwMode="gray">
          <a:xfrm>
            <a:off x="5743575" y="54324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Rectangle 12"/>
          <p:cNvSpPr/>
          <p:nvPr>
            <p:custDataLst>
              <p:tags r:id="rId13"/>
            </p:custDataLst>
          </p:nvPr>
        </p:nvSpPr>
        <p:spPr bwMode="gray">
          <a:xfrm>
            <a:off x="6880225" y="54324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3" name="Text Placeholder 3"/>
          <p:cNvSpPr>
            <a:spLocks noGrp="1"/>
          </p:cNvSpPr>
          <p:nvPr>
            <p:custDataLst>
              <p:tags r:id="rId14"/>
            </p:custDataLst>
          </p:nvPr>
        </p:nvSpPr>
        <p:spPr bwMode="gray">
          <a:xfrm>
            <a:off x="7145338" y="54133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562EADE-C64D-4ED9-BDF6-EAE81F0BF416}" type="datetime'''''Ve''''r''''''''y'' ''D''is''''''''sa''''t''''isif''ed'">
              <a:rPr lang="en-US" altLang="en-US" smtClean="0">
                <a:sym typeface="+mn-lt"/>
              </a:rPr>
              <a:pPr>
                <a:spcBef>
                  <a:spcPct val="0"/>
                </a:spcBef>
                <a:spcAft>
                  <a:spcPct val="0"/>
                </a:spcAft>
              </a:pPr>
              <a:t>Very Dissatisifed</a:t>
            </a:fld>
            <a:endParaRPr lang="en-US" dirty="0">
              <a:sym typeface="+mn-lt"/>
            </a:endParaRPr>
          </a:p>
        </p:txBody>
      </p:sp>
      <p:sp>
        <p:nvSpPr>
          <p:cNvPr id="157" name="Text Placeholder 3"/>
          <p:cNvSpPr>
            <a:spLocks noGrp="1"/>
          </p:cNvSpPr>
          <p:nvPr>
            <p:custDataLst>
              <p:tags r:id="rId15"/>
            </p:custDataLst>
          </p:nvPr>
        </p:nvSpPr>
        <p:spPr bwMode="gray">
          <a:xfrm>
            <a:off x="2897188" y="54133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2D18B72-F380-4A20-9904-A69CF444FA8B}" type="datetime'V''''e''''''ry'''''' ''Sa''t''''''''''''''''''isfie''''d'''''">
              <a:rPr lang="en-US" altLang="en-US" smtClean="0">
                <a:sym typeface="+mn-lt"/>
              </a:rPr>
              <a:pPr>
                <a:spcBef>
                  <a:spcPct val="0"/>
                </a:spcBef>
                <a:spcAft>
                  <a:spcPct val="0"/>
                </a:spcAft>
              </a:pPr>
              <a:t>Very Satisfied</a:t>
            </a:fld>
            <a:endParaRPr lang="en-US" dirty="0">
              <a:sym typeface="+mn-lt"/>
            </a:endParaRPr>
          </a:p>
        </p:txBody>
      </p:sp>
      <p:sp>
        <p:nvSpPr>
          <p:cNvPr id="155" name="Text Placeholder 3"/>
          <p:cNvSpPr>
            <a:spLocks noGrp="1"/>
          </p:cNvSpPr>
          <p:nvPr>
            <p:custDataLst>
              <p:tags r:id="rId16"/>
            </p:custDataLst>
          </p:nvPr>
        </p:nvSpPr>
        <p:spPr bwMode="gray">
          <a:xfrm>
            <a:off x="4187825" y="54133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F12E427-9C4B-4E77-93EC-793BE8A44D83}" type="datetime'''''Sa''''''''''''t''''''''''''''''''is''f''i''e''''''d'''">
              <a:rPr lang="en-US" altLang="en-US" smtClean="0">
                <a:sym typeface="+mn-lt"/>
              </a:rPr>
              <a:pPr>
                <a:spcBef>
                  <a:spcPct val="0"/>
                </a:spcBef>
                <a:spcAft>
                  <a:spcPct val="0"/>
                </a:spcAft>
              </a:pPr>
              <a:t>Satisfied</a:t>
            </a:fld>
            <a:endParaRPr lang="en-US" dirty="0">
              <a:sym typeface="+mn-lt"/>
            </a:endParaRPr>
          </a:p>
        </p:txBody>
      </p:sp>
      <p:sp>
        <p:nvSpPr>
          <p:cNvPr id="152" name="Text Placeholder 3"/>
          <p:cNvSpPr>
            <a:spLocks noGrp="1"/>
          </p:cNvSpPr>
          <p:nvPr>
            <p:custDataLst>
              <p:tags r:id="rId17"/>
            </p:custDataLst>
          </p:nvPr>
        </p:nvSpPr>
        <p:spPr bwMode="gray">
          <a:xfrm>
            <a:off x="5137150" y="54133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CE06BE7-A840-4E46-99D3-4B3BCF7D8967}" type="datetime'''''''''''''''''''''N''''''e''u''''''tr''a''''''''''l'''''">
              <a:rPr lang="en-US" altLang="en-US" smtClean="0">
                <a:sym typeface="+mn-lt"/>
              </a:rPr>
              <a:pPr>
                <a:spcBef>
                  <a:spcPct val="0"/>
                </a:spcBef>
                <a:spcAft>
                  <a:spcPct val="0"/>
                </a:spcAft>
              </a:pPr>
              <a:t>Neutral</a:t>
            </a:fld>
            <a:endParaRPr lang="en-US" dirty="0">
              <a:sym typeface="+mn-lt"/>
            </a:endParaRPr>
          </a:p>
        </p:txBody>
      </p:sp>
      <p:sp>
        <p:nvSpPr>
          <p:cNvPr id="154" name="Text Placeholder 3"/>
          <p:cNvSpPr>
            <a:spLocks noGrp="1"/>
          </p:cNvSpPr>
          <p:nvPr>
            <p:custDataLst>
              <p:tags r:id="rId18"/>
            </p:custDataLst>
          </p:nvPr>
        </p:nvSpPr>
        <p:spPr bwMode="gray">
          <a:xfrm>
            <a:off x="6008688" y="54133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0002D66-2FF7-46E2-99F0-5B317238FAFA}" type="datetime'''''''''Dis''s''''''''at''i''''''''''s''''''''fied'''''''">
              <a:rPr lang="en-US" altLang="en-US" smtClean="0">
                <a:sym typeface="+mn-lt"/>
              </a:rPr>
              <a:pPr>
                <a:spcBef>
                  <a:spcPct val="0"/>
                </a:spcBef>
                <a:spcAft>
                  <a:spcPct val="0"/>
                </a:spcAft>
              </a:pPr>
              <a:t>Dissatisfied</a:t>
            </a:fld>
            <a:endParaRPr lang="en-US" dirty="0">
              <a:sym typeface="+mn-lt"/>
            </a:endParaRPr>
          </a:p>
        </p:txBody>
      </p:sp>
      <p:sp>
        <p:nvSpPr>
          <p:cNvPr id="50" name="Rectangle 49"/>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5" name="Rectangle 34"/>
          <p:cNvSpPr/>
          <p:nvPr/>
        </p:nvSpPr>
        <p:spPr>
          <a:xfrm>
            <a:off x="7360219" y="3514180"/>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1%</a:t>
            </a:r>
          </a:p>
        </p:txBody>
      </p:sp>
      <p:sp>
        <p:nvSpPr>
          <p:cNvPr id="36" name="Rectangle 35"/>
          <p:cNvSpPr/>
          <p:nvPr/>
        </p:nvSpPr>
        <p:spPr>
          <a:xfrm>
            <a:off x="7956931" y="4378168"/>
            <a:ext cx="879094" cy="276225"/>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39" name="Rectangle 38"/>
          <p:cNvSpPr/>
          <p:nvPr/>
        </p:nvSpPr>
        <p:spPr>
          <a:xfrm>
            <a:off x="7438362" y="5093495"/>
            <a:ext cx="271463"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45" name="Rectangle 44"/>
          <p:cNvSpPr/>
          <p:nvPr/>
        </p:nvSpPr>
        <p:spPr>
          <a:xfrm>
            <a:off x="7360218" y="4378168"/>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0%</a:t>
            </a:r>
          </a:p>
        </p:txBody>
      </p:sp>
      <p:sp>
        <p:nvSpPr>
          <p:cNvPr id="78" name="Rectangle 77">
            <a:extLst>
              <a:ext uri="{FF2B5EF4-FFF2-40B4-BE49-F238E27FC236}">
                <a16:creationId xmlns:a16="http://schemas.microsoft.com/office/drawing/2014/main" id="{8303AED5-D44F-4934-8C7A-9E8BBE0FD031}"/>
              </a:ext>
            </a:extLst>
          </p:cNvPr>
          <p:cNvSpPr/>
          <p:nvPr/>
        </p:nvSpPr>
        <p:spPr>
          <a:xfrm>
            <a:off x="7347526" y="2599531"/>
            <a:ext cx="544513"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2%</a:t>
            </a:r>
          </a:p>
        </p:txBody>
      </p:sp>
      <p:grpSp>
        <p:nvGrpSpPr>
          <p:cNvPr id="54" name="Group 53">
            <a:extLst>
              <a:ext uri="{FF2B5EF4-FFF2-40B4-BE49-F238E27FC236}">
                <a16:creationId xmlns:a16="http://schemas.microsoft.com/office/drawing/2014/main" id="{A7E26161-6D1D-428D-8BFA-3F3A9F1ADD8B}"/>
              </a:ext>
            </a:extLst>
          </p:cNvPr>
          <p:cNvGrpSpPr>
            <a:grpSpLocks noChangeAspect="1"/>
          </p:cNvGrpSpPr>
          <p:nvPr/>
        </p:nvGrpSpPr>
        <p:grpSpPr>
          <a:xfrm>
            <a:off x="514429" y="864696"/>
            <a:ext cx="457200" cy="457200"/>
            <a:chOff x="5867400" y="3200400"/>
            <a:chExt cx="457200" cy="457200"/>
          </a:xfrm>
        </p:grpSpPr>
        <p:sp>
          <p:nvSpPr>
            <p:cNvPr id="55" name="AutoShape 43">
              <a:extLst>
                <a:ext uri="{FF2B5EF4-FFF2-40B4-BE49-F238E27FC236}">
                  <a16:creationId xmlns:a16="http://schemas.microsoft.com/office/drawing/2014/main" id="{48B6C298-AB08-45D1-BF8F-4AFECD597A6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7">
              <a:extLst>
                <a:ext uri="{FF2B5EF4-FFF2-40B4-BE49-F238E27FC236}">
                  <a16:creationId xmlns:a16="http://schemas.microsoft.com/office/drawing/2014/main" id="{0BD4AA8B-1F50-46AC-AFC9-00ABA6799D4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48" name="Group 47">
            <a:extLst>
              <a:ext uri="{FF2B5EF4-FFF2-40B4-BE49-F238E27FC236}">
                <a16:creationId xmlns:a16="http://schemas.microsoft.com/office/drawing/2014/main" id="{A1DF14E2-34EE-4974-ABFE-7078CA21D7EA}"/>
              </a:ext>
            </a:extLst>
          </p:cNvPr>
          <p:cNvGrpSpPr/>
          <p:nvPr/>
        </p:nvGrpSpPr>
        <p:grpSpPr>
          <a:xfrm>
            <a:off x="11125937" y="-9332"/>
            <a:ext cx="1229963" cy="1054387"/>
            <a:chOff x="11125937" y="-9332"/>
            <a:chExt cx="1229963" cy="1054387"/>
          </a:xfrm>
        </p:grpSpPr>
        <p:sp>
          <p:nvSpPr>
            <p:cNvPr id="51" name="NavigationTriangle">
              <a:extLst>
                <a:ext uri="{FF2B5EF4-FFF2-40B4-BE49-F238E27FC236}">
                  <a16:creationId xmlns:a16="http://schemas.microsoft.com/office/drawing/2014/main" id="{2B4D6E6C-6B66-4AE5-9B96-C43D5366EBF3}"/>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52" name="Rectangle 51">
              <a:extLst>
                <a:ext uri="{FF2B5EF4-FFF2-40B4-BE49-F238E27FC236}">
                  <a16:creationId xmlns:a16="http://schemas.microsoft.com/office/drawing/2014/main" id="{BAA2F342-F070-4812-8854-3B9CB32641AE}"/>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New Question</a:t>
              </a:r>
            </a:p>
          </p:txBody>
        </p:sp>
      </p:grpSp>
      <p:pic>
        <p:nvPicPr>
          <p:cNvPr id="53" name="Picture 52" descr="A picture containing shape&#10;&#10;Description automatically generated">
            <a:extLst>
              <a:ext uri="{FF2B5EF4-FFF2-40B4-BE49-F238E27FC236}">
                <a16:creationId xmlns:a16="http://schemas.microsoft.com/office/drawing/2014/main" id="{E2B028F4-B4EE-4A71-A43E-EB47B702A8B8}"/>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sp>
        <p:nvSpPr>
          <p:cNvPr id="146" name="Rectangle 145">
            <a:extLst>
              <a:ext uri="{FF2B5EF4-FFF2-40B4-BE49-F238E27FC236}">
                <a16:creationId xmlns:a16="http://schemas.microsoft.com/office/drawing/2014/main" id="{179C9B3B-A699-4C67-B383-CB18A43E8BF1}"/>
              </a:ext>
            </a:extLst>
          </p:cNvPr>
          <p:cNvSpPr/>
          <p:nvPr/>
        </p:nvSpPr>
        <p:spPr>
          <a:xfrm>
            <a:off x="7956931" y="3515768"/>
            <a:ext cx="879094" cy="276225"/>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147" name="Rectangle 146">
            <a:extLst>
              <a:ext uri="{FF2B5EF4-FFF2-40B4-BE49-F238E27FC236}">
                <a16:creationId xmlns:a16="http://schemas.microsoft.com/office/drawing/2014/main" id="{F39B9835-E7DF-43B6-9027-B84D7D179BFA}"/>
              </a:ext>
            </a:extLst>
          </p:cNvPr>
          <p:cNvSpPr/>
          <p:nvPr/>
        </p:nvSpPr>
        <p:spPr>
          <a:xfrm>
            <a:off x="7956931" y="2602782"/>
            <a:ext cx="879094" cy="276225"/>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Tree>
    <p:custDataLst>
      <p:tags r:id="rId2"/>
    </p:custDataLst>
    <p:extLst>
      <p:ext uri="{BB962C8B-B14F-4D97-AF65-F5344CB8AC3E}">
        <p14:creationId xmlns:p14="http://schemas.microsoft.com/office/powerpoint/2010/main" val="3140903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84806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749"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31" name="Picture 30">
            <a:extLst>
              <a:ext uri="{FF2B5EF4-FFF2-40B4-BE49-F238E27FC236}">
                <a16:creationId xmlns:a16="http://schemas.microsoft.com/office/drawing/2014/main" id="{2C896CD9-812D-4AF7-BC2E-AA37DA89E78E}"/>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05608" y="0"/>
            <a:ext cx="4386392" cy="6858000"/>
          </a:xfrm>
          <a:prstGeom prst="rect">
            <a:avLst/>
          </a:prstGeom>
        </p:spPr>
      </p:pic>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36" name="Rectangle 35">
            <a:extLst>
              <a:ext uri="{FF2B5EF4-FFF2-40B4-BE49-F238E27FC236}">
                <a16:creationId xmlns:a16="http://schemas.microsoft.com/office/drawing/2014/main" id="{6195CF7D-3A06-4C00-B854-3913048F84B8}"/>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err="1">
                <a:solidFill>
                  <a:srgbClr val="FFFFFF"/>
                </a:solidFill>
              </a:rPr>
              <a:t>MyCases</a:t>
            </a:r>
            <a:endParaRPr lang="en-GB" sz="2400" kern="0" dirty="0">
              <a:solidFill>
                <a:srgbClr val="FFFFFF"/>
              </a:solidFill>
            </a:endParaRPr>
          </a:p>
        </p:txBody>
      </p:sp>
      <p:sp>
        <p:nvSpPr>
          <p:cNvPr id="37" name="Oval 36">
            <a:extLst>
              <a:ext uri="{FF2B5EF4-FFF2-40B4-BE49-F238E27FC236}">
                <a16:creationId xmlns:a16="http://schemas.microsoft.com/office/drawing/2014/main" id="{C8E14261-097D-454A-9DF3-A308651DA69F}"/>
              </a:ext>
            </a:extLst>
          </p:cNvPr>
          <p:cNvSpPr>
            <a:spLocks noChangeAspect="1"/>
          </p:cNvSpPr>
          <p:nvPr/>
        </p:nvSpPr>
        <p:spPr>
          <a:xfrm>
            <a:off x="8481966" y="1865376"/>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20</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38" name="Rectangular Callout 42">
            <a:extLst>
              <a:ext uri="{FF2B5EF4-FFF2-40B4-BE49-F238E27FC236}">
                <a16:creationId xmlns:a16="http://schemas.microsoft.com/office/drawing/2014/main" id="{5E533211-630D-4C0C-8385-65F06FBE828F}"/>
              </a:ext>
            </a:extLst>
          </p:cNvPr>
          <p:cNvSpPr/>
          <p:nvPr/>
        </p:nvSpPr>
        <p:spPr>
          <a:xfrm>
            <a:off x="5079678" y="5220470"/>
            <a:ext cx="2553022" cy="1259777"/>
          </a:xfrm>
          <a:prstGeom prst="wedgeRectCallout">
            <a:avLst>
              <a:gd name="adj1" fmla="val 19295"/>
              <a:gd name="adj2" fmla="val -5687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Self-service request form] </a:t>
            </a:r>
            <a:r>
              <a:rPr lang="en-US" sz="1200" dirty="0">
                <a:cs typeface="Arial" pitchFamily="34" charset="0"/>
              </a:rPr>
              <a:t>New case start-up form is great, but you need something that makes it easier to manage ongoing cases.</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Partner</a:t>
            </a:r>
          </a:p>
        </p:txBody>
      </p:sp>
      <p:sp>
        <p:nvSpPr>
          <p:cNvPr id="40" name="Rectangular Callout 52">
            <a:extLst>
              <a:ext uri="{FF2B5EF4-FFF2-40B4-BE49-F238E27FC236}">
                <a16:creationId xmlns:a16="http://schemas.microsoft.com/office/drawing/2014/main" id="{DD207B1D-0ACB-4557-949C-824F57414FBD}"/>
              </a:ext>
            </a:extLst>
          </p:cNvPr>
          <p:cNvSpPr/>
          <p:nvPr/>
        </p:nvSpPr>
        <p:spPr>
          <a:xfrm>
            <a:off x="235777" y="3851852"/>
            <a:ext cx="2793160" cy="1214180"/>
          </a:xfrm>
          <a:prstGeom prst="wedgeRectCallout">
            <a:avLst>
              <a:gd name="adj1" fmla="val 22788"/>
              <a:gd name="adj2" fmla="val 5558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Managing active cases] </a:t>
            </a:r>
            <a:r>
              <a:rPr lang="en-US" sz="1200" dirty="0">
                <a:cs typeface="Arial" pitchFamily="34" charset="0"/>
              </a:rPr>
              <a:t>Even when I am admin on cases, I find it difficult to use to add / remove team members, close out cases, etc.</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Consultant</a:t>
            </a:r>
          </a:p>
        </p:txBody>
      </p:sp>
      <p:sp>
        <p:nvSpPr>
          <p:cNvPr id="47" name="Rectangle 46">
            <a:extLst>
              <a:ext uri="{FF2B5EF4-FFF2-40B4-BE49-F238E27FC236}">
                <a16:creationId xmlns:a16="http://schemas.microsoft.com/office/drawing/2014/main" id="{2FBE5028-E5E8-455A-A8FA-38FA694D142C}"/>
              </a:ext>
            </a:extLst>
          </p:cNvPr>
          <p:cNvSpPr/>
          <p:nvPr/>
        </p:nvSpPr>
        <p:spPr>
          <a:xfrm>
            <a:off x="156209" y="3373438"/>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50" name="Rectangle 49">
            <a:extLst>
              <a:ext uri="{FF2B5EF4-FFF2-40B4-BE49-F238E27FC236}">
                <a16:creationId xmlns:a16="http://schemas.microsoft.com/office/drawing/2014/main" id="{4DC2D4D6-A9E5-4893-9F94-8C025A712C0A}"/>
              </a:ext>
            </a:extLst>
          </p:cNvPr>
          <p:cNvSpPr/>
          <p:nvPr/>
        </p:nvSpPr>
        <p:spPr>
          <a:xfrm>
            <a:off x="235777" y="262686"/>
            <a:ext cx="7334892" cy="16026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MyCases was reintroduced in Q4, 2021. With relatively fewer comments, employees mostly face issues adding or removing users to cases, particularly while managing active cases. For managing archived cases, employees face difficulties locating the cases to archive (sometimes due to the page not loading), resulting in delayed archiving. Whilst some appreciate the self-service request form, others prefer a simple template type request form. </a:t>
            </a:r>
          </a:p>
        </p:txBody>
      </p:sp>
      <p:graphicFrame>
        <p:nvGraphicFramePr>
          <p:cNvPr id="32" name="Chart 31">
            <a:extLst>
              <a:ext uri="{FF2B5EF4-FFF2-40B4-BE49-F238E27FC236}">
                <a16:creationId xmlns:a16="http://schemas.microsoft.com/office/drawing/2014/main" id="{152141C7-04A6-4498-ADC1-F5EE22D2667F}"/>
              </a:ext>
            </a:extLst>
          </p:cNvPr>
          <p:cNvGraphicFramePr/>
          <p:nvPr>
            <p:custDataLst>
              <p:tags r:id="rId4"/>
            </p:custDataLst>
            <p:extLst>
              <p:ext uri="{D42A27DB-BD31-4B8C-83A1-F6EECF244321}">
                <p14:modId xmlns:p14="http://schemas.microsoft.com/office/powerpoint/2010/main" val="3967757200"/>
              </p:ext>
            </p:extLst>
          </p:nvPr>
        </p:nvGraphicFramePr>
        <p:xfrm>
          <a:off x="173038" y="2144713"/>
          <a:ext cx="7459662" cy="895350"/>
        </p:xfrm>
        <a:graphic>
          <a:graphicData uri="http://schemas.openxmlformats.org/drawingml/2006/chart">
            <c:chart xmlns:c="http://schemas.openxmlformats.org/drawingml/2006/chart" xmlns:r="http://schemas.openxmlformats.org/officeDocument/2006/relationships" r:id="rId16"/>
          </a:graphicData>
        </a:graphic>
      </p:graphicFrame>
      <p:sp>
        <p:nvSpPr>
          <p:cNvPr id="70" name="Rectangle 69">
            <a:extLst>
              <a:ext uri="{FF2B5EF4-FFF2-40B4-BE49-F238E27FC236}">
                <a16:creationId xmlns:a16="http://schemas.microsoft.com/office/drawing/2014/main" id="{83407BFD-58F6-4745-AC28-6DDBED03D413}"/>
              </a:ext>
            </a:extLst>
          </p:cNvPr>
          <p:cNvSpPr/>
          <p:nvPr>
            <p:custDataLst>
              <p:tags r:id="rId5"/>
            </p:custDataLst>
          </p:nvPr>
        </p:nvSpPr>
        <p:spPr bwMode="gray">
          <a:xfrm>
            <a:off x="2071688" y="30368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Rectangle 68">
            <a:extLst>
              <a:ext uri="{FF2B5EF4-FFF2-40B4-BE49-F238E27FC236}">
                <a16:creationId xmlns:a16="http://schemas.microsoft.com/office/drawing/2014/main" id="{53750040-4BEE-49DB-9E3A-57C392E1C06E}"/>
              </a:ext>
            </a:extLst>
          </p:cNvPr>
          <p:cNvSpPr/>
          <p:nvPr>
            <p:custDataLst>
              <p:tags r:id="rId6"/>
            </p:custDataLst>
          </p:nvPr>
        </p:nvSpPr>
        <p:spPr bwMode="gray">
          <a:xfrm>
            <a:off x="306388" y="3036888"/>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8" name="Rectangle 67">
            <a:extLst>
              <a:ext uri="{FF2B5EF4-FFF2-40B4-BE49-F238E27FC236}">
                <a16:creationId xmlns:a16="http://schemas.microsoft.com/office/drawing/2014/main" id="{C29D7475-8D1B-41AA-BA99-5C583BED0E44}"/>
              </a:ext>
            </a:extLst>
          </p:cNvPr>
          <p:cNvSpPr/>
          <p:nvPr>
            <p:custDataLst>
              <p:tags r:id="rId7"/>
            </p:custDataLst>
          </p:nvPr>
        </p:nvSpPr>
        <p:spPr bwMode="gray">
          <a:xfrm>
            <a:off x="1200150" y="30368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Text Placeholder 3">
            <a:extLst>
              <a:ext uri="{FF2B5EF4-FFF2-40B4-BE49-F238E27FC236}">
                <a16:creationId xmlns:a16="http://schemas.microsoft.com/office/drawing/2014/main" id="{BE4F93A0-61E6-44E4-8AF6-5765096F4492}"/>
              </a:ext>
            </a:extLst>
          </p:cNvPr>
          <p:cNvSpPr>
            <a:spLocks noGrp="1"/>
          </p:cNvSpPr>
          <p:nvPr>
            <p:custDataLst>
              <p:tags r:id="rId8"/>
            </p:custDataLst>
          </p:nvPr>
        </p:nvSpPr>
        <p:spPr bwMode="gray">
          <a:xfrm>
            <a:off x="571500" y="301783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1D55A58-6C10-425D-BB8A-08A7694137EF}" type="datetime'P''''''''''o''''''sit''''''''i''''v''''''''e'''''''''''''''''">
              <a:rPr lang="en-US" altLang="en-US" smtClean="0">
                <a:solidFill>
                  <a:schemeClr val="bg1"/>
                </a:solidFill>
              </a:rPr>
              <a:pPr/>
              <a:t>Positive</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00220D4D-6137-4996-8E50-E4C77F43074A}"/>
              </a:ext>
            </a:extLst>
          </p:cNvPr>
          <p:cNvSpPr>
            <a:spLocks noGrp="1"/>
          </p:cNvSpPr>
          <p:nvPr>
            <p:custDataLst>
              <p:tags r:id="rId9"/>
            </p:custDataLst>
          </p:nvPr>
        </p:nvSpPr>
        <p:spPr bwMode="gray">
          <a:xfrm>
            <a:off x="1465263" y="30178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96AAB4A-C414-48BF-8AF9-7920514AC55C}" type="datetime'N''''''''''''''''''''''''e''''ut''''''r''''a''l'''''">
              <a:rPr lang="en-US" altLang="en-US" smtClean="0">
                <a:solidFill>
                  <a:schemeClr val="bg1"/>
                </a:solidFill>
              </a:rPr>
              <a:pPr/>
              <a:t>Neutral</a:t>
            </a:fld>
            <a:endParaRPr lang="en-US" dirty="0">
              <a:solidFill>
                <a:schemeClr val="bg1"/>
              </a:solidFill>
              <a:sym typeface="+mn-lt"/>
            </a:endParaRPr>
          </a:p>
        </p:txBody>
      </p:sp>
      <p:sp>
        <p:nvSpPr>
          <p:cNvPr id="72" name="Text Placeholder 3">
            <a:extLst>
              <a:ext uri="{FF2B5EF4-FFF2-40B4-BE49-F238E27FC236}">
                <a16:creationId xmlns:a16="http://schemas.microsoft.com/office/drawing/2014/main" id="{C364B396-151E-4590-B86B-1B9C1CADE14B}"/>
              </a:ext>
            </a:extLst>
          </p:cNvPr>
          <p:cNvSpPr>
            <a:spLocks noGrp="1"/>
          </p:cNvSpPr>
          <p:nvPr>
            <p:custDataLst>
              <p:tags r:id="rId10"/>
            </p:custDataLst>
          </p:nvPr>
        </p:nvSpPr>
        <p:spPr bwMode="gray">
          <a:xfrm>
            <a:off x="2336800" y="301783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F20F66B-2E6F-41F0-A9E3-5FDAFAFE0BE3}" type="datetime'''''''''''N''''''''''''e''g''''''at''''''iv''''''''''''e'''''">
              <a:rPr lang="en-US" altLang="en-US" smtClean="0">
                <a:solidFill>
                  <a:schemeClr val="bg1"/>
                </a:solidFill>
              </a:rPr>
              <a:pPr/>
              <a:t>Negative</a:t>
            </a:fld>
            <a:endParaRPr lang="en-US" dirty="0">
              <a:solidFill>
                <a:schemeClr val="bg1"/>
              </a:solidFill>
              <a:sym typeface="+mn-lt"/>
            </a:endParaRPr>
          </a:p>
        </p:txBody>
      </p:sp>
      <p:sp>
        <p:nvSpPr>
          <p:cNvPr id="74" name="Rectangle 73">
            <a:extLst>
              <a:ext uri="{FF2B5EF4-FFF2-40B4-BE49-F238E27FC236}">
                <a16:creationId xmlns:a16="http://schemas.microsoft.com/office/drawing/2014/main" id="{E6899852-8AA4-41D7-9B24-50AB62487244}"/>
              </a:ext>
            </a:extLst>
          </p:cNvPr>
          <p:cNvSpPr/>
          <p:nvPr/>
        </p:nvSpPr>
        <p:spPr>
          <a:xfrm>
            <a:off x="156209" y="2062163"/>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52" name="Rectangular Callout 53">
            <a:extLst>
              <a:ext uri="{FF2B5EF4-FFF2-40B4-BE49-F238E27FC236}">
                <a16:creationId xmlns:a16="http://schemas.microsoft.com/office/drawing/2014/main" id="{067B7BED-A66B-48DD-84A3-6A85C3A7603E}"/>
              </a:ext>
            </a:extLst>
          </p:cNvPr>
          <p:cNvSpPr/>
          <p:nvPr/>
        </p:nvSpPr>
        <p:spPr>
          <a:xfrm>
            <a:off x="5102394" y="3851852"/>
            <a:ext cx="2532558" cy="1171744"/>
          </a:xfrm>
          <a:prstGeom prst="wedgeRectCallout">
            <a:avLst>
              <a:gd name="adj1" fmla="val -35055"/>
              <a:gd name="adj2" fmla="val 5677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Self-service request form] </a:t>
            </a:r>
            <a:r>
              <a:rPr lang="en-US" sz="1200" dirty="0">
                <a:cs typeface="Arial" pitchFamily="34" charset="0"/>
              </a:rPr>
              <a:t>Annoying to have to go through this to set up an Egnyte folder. Should be an email request with a template form instead.</a:t>
            </a:r>
            <a:r>
              <a:rPr lang="en-GB" sz="1200" dirty="0">
                <a:cs typeface="Arial" pitchFamily="34" charset="0"/>
              </a:rPr>
              <a:t>”</a:t>
            </a:r>
          </a:p>
          <a:p>
            <a:pPr algn="r"/>
            <a:r>
              <a:rPr lang="en-GB" sz="1000" i="1" dirty="0">
                <a:cs typeface="Arial" pitchFamily="34" charset="0"/>
              </a:rPr>
              <a:t>Other CT</a:t>
            </a:r>
          </a:p>
        </p:txBody>
      </p:sp>
      <p:sp>
        <p:nvSpPr>
          <p:cNvPr id="30" name="Rectangular Callout 53">
            <a:extLst>
              <a:ext uri="{FF2B5EF4-FFF2-40B4-BE49-F238E27FC236}">
                <a16:creationId xmlns:a16="http://schemas.microsoft.com/office/drawing/2014/main" id="{5D00F92F-B8A8-4995-8283-4783710E2CDD}"/>
              </a:ext>
            </a:extLst>
          </p:cNvPr>
          <p:cNvSpPr/>
          <p:nvPr/>
        </p:nvSpPr>
        <p:spPr>
          <a:xfrm>
            <a:off x="255678" y="5220472"/>
            <a:ext cx="1525567" cy="1259776"/>
          </a:xfrm>
          <a:prstGeom prst="wedgeRectCallout">
            <a:avLst>
              <a:gd name="adj1" fmla="val 17258"/>
              <a:gd name="adj2" fmla="val -548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Managing active cases] </a:t>
            </a:r>
            <a:r>
              <a:rPr lang="en-US" sz="1200" dirty="0">
                <a:cs typeface="Arial" pitchFamily="34" charset="0"/>
              </a:rPr>
              <a:t>Cannot add / remove users.</a:t>
            </a:r>
            <a:r>
              <a:rPr lang="en-GB" sz="1200" dirty="0">
                <a:cs typeface="Arial" pitchFamily="34" charset="0"/>
              </a:rPr>
              <a:t>” 	</a:t>
            </a:r>
          </a:p>
          <a:p>
            <a:pPr algn="r"/>
            <a:r>
              <a:rPr lang="en-GB" sz="1000" i="1" dirty="0">
                <a:cs typeface="Arial" pitchFamily="34" charset="0"/>
              </a:rPr>
              <a:t>Partner</a:t>
            </a:r>
          </a:p>
        </p:txBody>
      </p:sp>
      <p:sp>
        <p:nvSpPr>
          <p:cNvPr id="44" name="Rectangular Callout 42">
            <a:extLst>
              <a:ext uri="{FF2B5EF4-FFF2-40B4-BE49-F238E27FC236}">
                <a16:creationId xmlns:a16="http://schemas.microsoft.com/office/drawing/2014/main" id="{E501CDB9-1FA2-4EBB-909B-9AC0E98F84CE}"/>
              </a:ext>
            </a:extLst>
          </p:cNvPr>
          <p:cNvSpPr/>
          <p:nvPr/>
        </p:nvSpPr>
        <p:spPr>
          <a:xfrm>
            <a:off x="1880637" y="5220470"/>
            <a:ext cx="3099649" cy="1259777"/>
          </a:xfrm>
          <a:prstGeom prst="wedgeRectCallout">
            <a:avLst>
              <a:gd name="adj1" fmla="val 19598"/>
              <a:gd name="adj2" fmla="val -5781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Managing archived cases] </a:t>
            </a:r>
            <a:r>
              <a:rPr lang="en-US" sz="1200" dirty="0">
                <a:cs typeface="Arial" pitchFamily="34" charset="0"/>
              </a:rPr>
              <a:t>Often page to initiate archiving not fully shown on browser resulting in reminder messages to archive folders. Just painful to archive an Egnyte folder.</a:t>
            </a:r>
            <a:r>
              <a:rPr lang="en-GB" sz="1000" dirty="0">
                <a:cs typeface="Arial" pitchFamily="34" charset="0"/>
              </a:rPr>
              <a:t> ”</a:t>
            </a:r>
          </a:p>
          <a:p>
            <a:pPr algn="r"/>
            <a:r>
              <a:rPr lang="en-GB" sz="1000" i="1" dirty="0">
                <a:cs typeface="Arial" pitchFamily="34" charset="0"/>
              </a:rPr>
              <a:t>Project Leader</a:t>
            </a:r>
          </a:p>
        </p:txBody>
      </p:sp>
      <p:sp>
        <p:nvSpPr>
          <p:cNvPr id="27" name="Rectangular Callout 42">
            <a:extLst>
              <a:ext uri="{FF2B5EF4-FFF2-40B4-BE49-F238E27FC236}">
                <a16:creationId xmlns:a16="http://schemas.microsoft.com/office/drawing/2014/main" id="{30652769-F432-49A1-99A2-8089D3A202EE}"/>
              </a:ext>
            </a:extLst>
          </p:cNvPr>
          <p:cNvSpPr/>
          <p:nvPr/>
        </p:nvSpPr>
        <p:spPr>
          <a:xfrm>
            <a:off x="3128383" y="3851182"/>
            <a:ext cx="1876419" cy="1192962"/>
          </a:xfrm>
          <a:prstGeom prst="wedgeRectCallout">
            <a:avLst>
              <a:gd name="adj1" fmla="val -19948"/>
              <a:gd name="adj2" fmla="val 5397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Managing archived cases] </a:t>
            </a:r>
            <a:r>
              <a:rPr lang="en-US" sz="1200" dirty="0">
                <a:cs typeface="Arial" pitchFamily="34" charset="0"/>
              </a:rPr>
              <a:t>Difficult for me to find archived case material.</a:t>
            </a:r>
            <a:r>
              <a:rPr lang="en-GB" sz="1200" dirty="0">
                <a:cs typeface="Arial" pitchFamily="34" charset="0"/>
              </a:rPr>
              <a:t>”</a:t>
            </a:r>
          </a:p>
          <a:p>
            <a:pPr algn="r"/>
            <a:r>
              <a:rPr lang="en-GB" sz="1000" i="1" dirty="0">
                <a:cs typeface="Arial" pitchFamily="34" charset="0"/>
              </a:rPr>
              <a:t>Consultant</a:t>
            </a:r>
          </a:p>
        </p:txBody>
      </p:sp>
      <p:grpSp>
        <p:nvGrpSpPr>
          <p:cNvPr id="24" name="Group 23">
            <a:extLst>
              <a:ext uri="{FF2B5EF4-FFF2-40B4-BE49-F238E27FC236}">
                <a16:creationId xmlns:a16="http://schemas.microsoft.com/office/drawing/2014/main" id="{613F882D-E834-4E84-841F-B3456CBCA454}"/>
              </a:ext>
            </a:extLst>
          </p:cNvPr>
          <p:cNvGrpSpPr/>
          <p:nvPr/>
        </p:nvGrpSpPr>
        <p:grpSpPr>
          <a:xfrm>
            <a:off x="11125937" y="-9332"/>
            <a:ext cx="1229963" cy="1054387"/>
            <a:chOff x="11125937" y="-9332"/>
            <a:chExt cx="1229963" cy="1054387"/>
          </a:xfrm>
        </p:grpSpPr>
        <p:sp>
          <p:nvSpPr>
            <p:cNvPr id="25" name="NavigationTriangle">
              <a:extLst>
                <a:ext uri="{FF2B5EF4-FFF2-40B4-BE49-F238E27FC236}">
                  <a16:creationId xmlns:a16="http://schemas.microsoft.com/office/drawing/2014/main" id="{5BFB6869-2C68-4257-8B12-62D3A1275607}"/>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26" name="Rectangle 25">
              <a:extLst>
                <a:ext uri="{FF2B5EF4-FFF2-40B4-BE49-F238E27FC236}">
                  <a16:creationId xmlns:a16="http://schemas.microsoft.com/office/drawing/2014/main" id="{ED46B6F8-9942-43CE-99CA-E0DD36871143}"/>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New Question</a:t>
              </a:r>
            </a:p>
          </p:txBody>
        </p:sp>
      </p:grpSp>
      <p:pic>
        <p:nvPicPr>
          <p:cNvPr id="28" name="Picture 27" descr="A picture containing shape&#10;&#10;Description automatically generated">
            <a:extLst>
              <a:ext uri="{FF2B5EF4-FFF2-40B4-BE49-F238E27FC236}">
                <a16:creationId xmlns:a16="http://schemas.microsoft.com/office/drawing/2014/main" id="{B9BA0E10-C6DC-4AF1-8504-E0D5033F093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spTree>
    <p:extLst>
      <p:ext uri="{BB962C8B-B14F-4D97-AF65-F5344CB8AC3E}">
        <p14:creationId xmlns:p14="http://schemas.microsoft.com/office/powerpoint/2010/main" val="2560423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245"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E000D32-29FB-4356-96D2-60EA743A2DB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7278" y="15499"/>
            <a:ext cx="12175612" cy="3657083"/>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15498"/>
            <a:ext cx="2340429" cy="684250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IT Communications</a:t>
            </a:r>
            <a:endParaRPr lang="en-US" sz="1400" dirty="0">
              <a:solidFill>
                <a:srgbClr val="575757"/>
              </a:solidFill>
              <a:latin typeface="+mn-ea"/>
              <a:cs typeface="Arial" pitchFamily="34" charset="0"/>
              <a:sym typeface="Trebuchet MS" panose="020B0603020202020204" pitchFamily="34" charset="0"/>
            </a:endParaRP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N/A</a:t>
            </a:r>
            <a:endParaRPr lang="en-US" sz="1400" dirty="0">
              <a:solidFill>
                <a:srgbClr val="575757"/>
              </a:solidFill>
              <a:latin typeface="+mn-ea"/>
              <a:cs typeface="Arial" pitchFamily="34" charset="0"/>
              <a:sym typeface="Trebuchet MS" panose="020B0603020202020204" pitchFamily="34" charset="0"/>
            </a:endParaRPr>
          </a:p>
        </p:txBody>
      </p:sp>
      <p:sp>
        <p:nvSpPr>
          <p:cNvPr id="22" name="Rectangle 21">
            <a:extLst>
              <a:ext uri="{FF2B5EF4-FFF2-40B4-BE49-F238E27FC236}">
                <a16:creationId xmlns:a16="http://schemas.microsoft.com/office/drawing/2014/main" id="{F6C092CA-B578-43B9-8086-E93D2FD271BF}"/>
              </a:ext>
            </a:extLst>
          </p:cNvPr>
          <p:cNvSpPr/>
          <p:nvPr/>
        </p:nvSpPr>
        <p:spPr>
          <a:xfrm>
            <a:off x="0" y="15498"/>
            <a:ext cx="12209278" cy="3657084"/>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1218795"/>
          </a:xfrm>
          <a:effectLst>
            <a:outerShdw blurRad="165100" algn="ctr" rotWithShape="0">
              <a:prstClr val="black">
                <a:alpha val="40000"/>
              </a:prstClr>
            </a:outerShdw>
          </a:effectLst>
        </p:spPr>
        <p:txBody>
          <a:bodyPr vert="horz"/>
          <a:lstStyle/>
          <a:p>
            <a:r>
              <a:rPr lang="en-US" sz="4400" dirty="0">
                <a:solidFill>
                  <a:srgbClr val="FFFFFF"/>
                </a:solidFill>
              </a:rPr>
              <a:t>Change &amp; Communications</a:t>
            </a:r>
          </a:p>
        </p:txBody>
      </p:sp>
      <p:sp>
        <p:nvSpPr>
          <p:cNvPr id="16" name="TextBox 15">
            <a:extLst>
              <a:ext uri="{FF2B5EF4-FFF2-40B4-BE49-F238E27FC236}">
                <a16:creationId xmlns:a16="http://schemas.microsoft.com/office/drawing/2014/main" id="{B63AF631-EE0F-4A8A-9B68-8B25282BF9EA}"/>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err="1">
                <a:solidFill>
                  <a:schemeClr val="bg1"/>
                </a:solidFill>
                <a:latin typeface="+mj-lt"/>
              </a:rPr>
              <a:t>CoE</a:t>
            </a:r>
            <a:endParaRPr lang="en-US" sz="6500" dirty="0">
              <a:solidFill>
                <a:schemeClr val="bg1"/>
              </a:solidFill>
              <a:latin typeface="+mj-lt"/>
            </a:endParaRPr>
          </a:p>
        </p:txBody>
      </p:sp>
    </p:spTree>
    <p:extLst>
      <p:ext uri="{BB962C8B-B14F-4D97-AF65-F5344CB8AC3E}">
        <p14:creationId xmlns:p14="http://schemas.microsoft.com/office/powerpoint/2010/main" val="3852528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4269223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279"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4122" y="0"/>
            <a:ext cx="282341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77% employees are satisfied with overall IT Comms, this is -5% Q4 year-over-year</a:t>
            </a:r>
          </a:p>
          <a:p>
            <a:endParaRPr lang="en-GB" dirty="0"/>
          </a:p>
          <a:p>
            <a:r>
              <a:rPr lang="en-GB" dirty="0">
                <a:solidFill>
                  <a:srgbClr val="FFFFFF"/>
                </a:solidFill>
                <a:cs typeface="Arial" pitchFamily="34" charset="0"/>
              </a:rPr>
              <a:t>The 2021 annual average is 79%, +2% better than the 2020 average of 77%</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T Communications Satisfaction – Overall</a:t>
            </a:r>
          </a:p>
        </p:txBody>
      </p:sp>
      <p:graphicFrame>
        <p:nvGraphicFramePr>
          <p:cNvPr id="49" name="Chart 48">
            <a:extLst>
              <a:ext uri="{FF2B5EF4-FFF2-40B4-BE49-F238E27FC236}">
                <a16:creationId xmlns:a16="http://schemas.microsoft.com/office/drawing/2014/main" id="{76E591CC-3E5A-4D75-A8D4-58DDEFBFD5D5}"/>
              </a:ext>
            </a:extLst>
          </p:cNvPr>
          <p:cNvGraphicFramePr/>
          <p:nvPr>
            <p:custDataLst>
              <p:tags r:id="rId5"/>
            </p:custDataLst>
            <p:extLst>
              <p:ext uri="{D42A27DB-BD31-4B8C-83A1-F6EECF244321}">
                <p14:modId xmlns:p14="http://schemas.microsoft.com/office/powerpoint/2010/main" val="1386144989"/>
              </p:ext>
            </p:extLst>
          </p:nvPr>
        </p:nvGraphicFramePr>
        <p:xfrm>
          <a:off x="2744788" y="2481263"/>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41" name="Text Placeholder 3"/>
          <p:cNvSpPr>
            <a:spLocks noGrp="1"/>
          </p:cNvSpPr>
          <p:nvPr>
            <p:custDataLst>
              <p:tags r:id="rId6"/>
            </p:custDataLst>
          </p:nvPr>
        </p:nvSpPr>
        <p:spPr bwMode="gray">
          <a:xfrm>
            <a:off x="4295775" y="258127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C2A7A0C-A13B-4494-BE31-6FDA41C167DF}"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73" name="Text Placeholder 3"/>
          <p:cNvSpPr>
            <a:spLocks noGrp="1"/>
          </p:cNvSpPr>
          <p:nvPr>
            <p:custDataLst>
              <p:tags r:id="rId7"/>
            </p:custDataLst>
          </p:nvPr>
        </p:nvSpPr>
        <p:spPr bwMode="gray">
          <a:xfrm>
            <a:off x="5326063" y="3062288"/>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027B9BB-45F4-4262-B746-1D4F32F13E59}" type="datetime'''''''''''''''''''''''''''''''''''2''''5'''''''''''">
              <a:rPr lang="en-US" altLang="en-US" smtClean="0">
                <a:solidFill>
                  <a:schemeClr val="bg1"/>
                </a:solidFill>
              </a:rPr>
              <a:pPr/>
              <a:t>25</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8"/>
            </p:custDataLst>
          </p:nvPr>
        </p:nvSpPr>
        <p:spPr bwMode="gray">
          <a:xfrm>
            <a:off x="4197350" y="55689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78F7E06-EA4D-4ECB-BBE6-42ED32506661}" type="datetime'''5''''''''''''2'''''''''''''''''''''''''">
              <a:rPr lang="en-US" altLang="en-US" smtClean="0">
                <a:solidFill>
                  <a:schemeClr val="bg1"/>
                </a:solidFill>
              </a:rPr>
              <a:pPr/>
              <a:t>52</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9"/>
            </p:custDataLst>
          </p:nvPr>
        </p:nvSpPr>
        <p:spPr bwMode="gray">
          <a:xfrm>
            <a:off x="3213100" y="31305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216A6F3-FF8D-4CAE-9932-6620C0C50501}" type="datetime'''''''1''''''''''9'''''''''''''">
              <a:rPr lang="en-US" altLang="en-US" smtClean="0"/>
              <a:pPr/>
              <a:t>19</a:t>
            </a:fld>
            <a:r>
              <a:rPr lang="en-US" altLang="en-US">
                <a:sym typeface="+mn-lt"/>
              </a:rPr>
              <a:t>%</a:t>
            </a:r>
            <a:endParaRPr lang="en-US" dirty="0">
              <a:sym typeface="+mn-lt"/>
            </a:endParaRPr>
          </a:p>
        </p:txBody>
      </p:sp>
      <p:sp>
        <p:nvSpPr>
          <p:cNvPr id="50" name="Text Placeholder 3"/>
          <p:cNvSpPr>
            <a:spLocks noGrp="1"/>
          </p:cNvSpPr>
          <p:nvPr>
            <p:custDataLst>
              <p:tags r:id="rId10"/>
            </p:custDataLst>
          </p:nvPr>
        </p:nvSpPr>
        <p:spPr bwMode="gray">
          <a:xfrm>
            <a:off x="4098925" y="2609850"/>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CF40467-072B-400A-BF64-EB7654D1015A}" type="datetime'''''''''''''''''''''''''''''''''3'''''''">
              <a:rPr lang="en-US" altLang="en-US" smtClean="0">
                <a:solidFill>
                  <a:schemeClr val="bg1"/>
                </a:solidFill>
              </a:rPr>
              <a:pPr/>
              <a:t>3</a:t>
            </a:fld>
            <a:r>
              <a:rPr lang="en-US" altLang="en-US">
                <a:solidFill>
                  <a:schemeClr val="bg1"/>
                </a:solidFill>
                <a:sym typeface="+mn-lt"/>
              </a:rPr>
              <a:t>%</a:t>
            </a:r>
            <a:endParaRPr lang="en-US" dirty="0">
              <a:solidFill>
                <a:schemeClr val="bg1"/>
              </a:solidFill>
              <a:sym typeface="+mn-lt"/>
            </a:endParaRPr>
          </a:p>
        </p:txBody>
      </p:sp>
      <p:sp>
        <p:nvSpPr>
          <p:cNvPr id="45" name="Rectangle 44"/>
          <p:cNvSpPr/>
          <p:nvPr>
            <p:custDataLst>
              <p:tags r:id="rId11"/>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4"/>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0" name="Text Placeholder 3"/>
          <p:cNvSpPr>
            <a:spLocks noGrp="1"/>
          </p:cNvSpPr>
          <p:nvPr>
            <p:custDataLst>
              <p:tags r:id="rId17"/>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8" name="Text Placeholder 3"/>
          <p:cNvSpPr>
            <a:spLocks noGrp="1"/>
          </p:cNvSpPr>
          <p:nvPr>
            <p:custDataLst>
              <p:tags r:id="rId18"/>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9"/>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20"/>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29" name="Rectangle 28"/>
          <p:cNvSpPr/>
          <p:nvPr/>
        </p:nvSpPr>
        <p:spPr>
          <a:xfrm>
            <a:off x="552256" y="1422769"/>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61" name="Straight Connector 60"/>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3" name="Rectangle 32"/>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59" name="Rectangle 58">
            <a:extLst>
              <a:ext uri="{FF2B5EF4-FFF2-40B4-BE49-F238E27FC236}">
                <a16:creationId xmlns:a16="http://schemas.microsoft.com/office/drawing/2014/main" id="{73D73CDA-25F1-4DC9-86BA-0FAA36B6F1B9}"/>
              </a:ext>
            </a:extLst>
          </p:cNvPr>
          <p:cNvSpPr/>
          <p:nvPr/>
        </p:nvSpPr>
        <p:spPr>
          <a:xfrm>
            <a:off x="2971801" y="1446038"/>
            <a:ext cx="5365375" cy="5220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7% </a:t>
            </a:r>
            <a:r>
              <a:rPr lang="en-US" dirty="0">
                <a:solidFill>
                  <a:srgbClr val="575757"/>
                </a:solidFill>
              </a:rPr>
              <a:t>satisfied</a:t>
            </a:r>
          </a:p>
          <a:p>
            <a:pPr algn="ctr"/>
            <a:endParaRPr lang="en-US" sz="1000" dirty="0">
              <a:solidFill>
                <a:srgbClr val="575757"/>
              </a:solidFill>
            </a:endParaRPr>
          </a:p>
          <a:p>
            <a:pPr algn="ctr"/>
            <a:r>
              <a:rPr lang="en-US" sz="1400" dirty="0">
                <a:solidFill>
                  <a:schemeClr val="bg2">
                    <a:lumMod val="50000"/>
                  </a:schemeClr>
                </a:solidFill>
                <a:latin typeface="Wingdings 3" panose="05040102010807070707" pitchFamily="18" charset="2"/>
              </a:rPr>
              <a:t>w</a:t>
            </a:r>
            <a:r>
              <a:rPr lang="en-US" sz="1400" dirty="0">
                <a:solidFill>
                  <a:srgbClr val="575757"/>
                </a:solidFill>
                <a:latin typeface="+mj-lt"/>
              </a:rPr>
              <a:t>0</a:t>
            </a:r>
            <a:r>
              <a:rPr lang="en-US" sz="1400" dirty="0">
                <a:solidFill>
                  <a:srgbClr val="575757"/>
                </a:solidFill>
              </a:rPr>
              <a:t>% vs Q3 '21 | </a:t>
            </a:r>
            <a:r>
              <a:rPr lang="en-US" sz="1400" dirty="0">
                <a:solidFill>
                  <a:srgbClr val="E71C57"/>
                </a:solidFill>
                <a:latin typeface="Wingdings 3" panose="05040102010807070707" pitchFamily="18" charset="2"/>
              </a:rPr>
              <a:t>q</a:t>
            </a:r>
            <a:r>
              <a:rPr lang="en-US" sz="1400" dirty="0">
                <a:solidFill>
                  <a:srgbClr val="575757"/>
                </a:solidFill>
                <a:latin typeface="+mj-lt"/>
              </a:rPr>
              <a:t>5</a:t>
            </a:r>
            <a:r>
              <a:rPr lang="en-US" sz="1400" dirty="0">
                <a:solidFill>
                  <a:srgbClr val="575757"/>
                </a:solidFill>
              </a:rPr>
              <a:t>% vs Q4 '20 | </a:t>
            </a:r>
            <a:r>
              <a:rPr lang="en-US" sz="1400" dirty="0">
                <a:solidFill>
                  <a:srgbClr val="29BA74"/>
                </a:solidFill>
                <a:latin typeface="Wingdings 3" panose="05040102010807070707" pitchFamily="18" charset="2"/>
              </a:rPr>
              <a:t>p</a:t>
            </a:r>
            <a:r>
              <a:rPr lang="en-US" sz="1400" dirty="0">
                <a:solidFill>
                  <a:srgbClr val="575757"/>
                </a:solidFill>
              </a:rPr>
              <a:t>7% vs BIC Target</a:t>
            </a:r>
          </a:p>
        </p:txBody>
      </p:sp>
      <p:sp>
        <p:nvSpPr>
          <p:cNvPr id="30" name="Rectangle 29">
            <a:extLst>
              <a:ext uri="{FF2B5EF4-FFF2-40B4-BE49-F238E27FC236}">
                <a16:creationId xmlns:a16="http://schemas.microsoft.com/office/drawing/2014/main" id="{060B8051-FD2F-4EF9-88AF-EE181DB17942}"/>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31" name="Group 30">
            <a:extLst>
              <a:ext uri="{FF2B5EF4-FFF2-40B4-BE49-F238E27FC236}">
                <a16:creationId xmlns:a16="http://schemas.microsoft.com/office/drawing/2014/main" id="{B4FCD8A3-25DA-45DF-B94F-3680128A7829}"/>
              </a:ext>
            </a:extLst>
          </p:cNvPr>
          <p:cNvGrpSpPr>
            <a:grpSpLocks noChangeAspect="1"/>
          </p:cNvGrpSpPr>
          <p:nvPr/>
        </p:nvGrpSpPr>
        <p:grpSpPr>
          <a:xfrm>
            <a:off x="514429" y="864696"/>
            <a:ext cx="457200" cy="457200"/>
            <a:chOff x="5867400" y="3200400"/>
            <a:chExt cx="457200" cy="457200"/>
          </a:xfrm>
        </p:grpSpPr>
        <p:sp>
          <p:nvSpPr>
            <p:cNvPr id="32" name="AutoShape 43">
              <a:extLst>
                <a:ext uri="{FF2B5EF4-FFF2-40B4-BE49-F238E27FC236}">
                  <a16:creationId xmlns:a16="http://schemas.microsoft.com/office/drawing/2014/main" id="{BF3DB0B1-A38D-4E4D-970B-76CF56596BE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7">
              <a:extLst>
                <a:ext uri="{FF2B5EF4-FFF2-40B4-BE49-F238E27FC236}">
                  <a16:creationId xmlns:a16="http://schemas.microsoft.com/office/drawing/2014/main" id="{6A1AE266-0FF9-47AC-9D4F-F7D533607D9C}"/>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2849016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35551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01"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26872" y="0"/>
            <a:ext cx="277046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600" dirty="0">
              <a:solidFill>
                <a:srgbClr val="FFFFFF"/>
              </a:solidFill>
              <a:cs typeface="Arial" pitchFamily="34" charset="0"/>
            </a:endParaRPr>
          </a:p>
        </p:txBody>
      </p:sp>
      <p:graphicFrame>
        <p:nvGraphicFramePr>
          <p:cNvPr id="71" name="Chart 70">
            <a:extLst>
              <a:ext uri="{FF2B5EF4-FFF2-40B4-BE49-F238E27FC236}">
                <a16:creationId xmlns:a16="http://schemas.microsoft.com/office/drawing/2014/main" id="{8FFA102C-9DF7-4EB6-8D62-F276EA603C91}"/>
              </a:ext>
            </a:extLst>
          </p:cNvPr>
          <p:cNvGraphicFramePr/>
          <p:nvPr>
            <p:custDataLst>
              <p:tags r:id="rId5"/>
            </p:custDataLst>
            <p:extLst>
              <p:ext uri="{D42A27DB-BD31-4B8C-83A1-F6EECF244321}">
                <p14:modId xmlns:p14="http://schemas.microsoft.com/office/powerpoint/2010/main" val="4234950885"/>
              </p:ext>
            </p:extLst>
          </p:nvPr>
        </p:nvGraphicFramePr>
        <p:xfrm>
          <a:off x="5359400" y="30416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55" name="Text Placeholder 3"/>
          <p:cNvSpPr>
            <a:spLocks noGrp="1"/>
          </p:cNvSpPr>
          <p:nvPr>
            <p:custDataLst>
              <p:tags r:id="rId6"/>
            </p:custDataLst>
          </p:nvPr>
        </p:nvSpPr>
        <p:spPr bwMode="gray">
          <a:xfrm>
            <a:off x="6148388" y="5145088"/>
            <a:ext cx="385763" cy="268288"/>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35F7CF0-180D-46B5-B195-113A423D16C3}" type="datetime'''''''5''''''''''''''''''''''4'''''''''''''">
              <a:rPr lang="en-US" altLang="en-US" sz="1600" smtClean="0">
                <a:solidFill>
                  <a:schemeClr val="bg1"/>
                </a:solidFill>
                <a:effectLst/>
              </a:rPr>
              <a:pPr/>
              <a:t>54</a:t>
            </a:fld>
            <a:r>
              <a:rPr lang="en-US" altLang="en-US" sz="1600">
                <a:solidFill>
                  <a:schemeClr val="bg1"/>
                </a:solidFill>
              </a:rPr>
              <a:t>%</a:t>
            </a:r>
            <a:endParaRPr lang="en-US" sz="1600" dirty="0">
              <a:solidFill>
                <a:schemeClr val="bg1"/>
              </a:solidFill>
              <a:sym typeface="+mn-lt"/>
            </a:endParaRPr>
          </a:p>
        </p:txBody>
      </p:sp>
      <p:sp>
        <p:nvSpPr>
          <p:cNvPr id="73" name="Text Placeholder 3"/>
          <p:cNvSpPr>
            <a:spLocks noGrp="1"/>
          </p:cNvSpPr>
          <p:nvPr>
            <p:custDataLst>
              <p:tags r:id="rId7"/>
            </p:custDataLst>
          </p:nvPr>
        </p:nvSpPr>
        <p:spPr bwMode="gray">
          <a:xfrm>
            <a:off x="7197725" y="3570288"/>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1A3709C-7AC2-4F32-A0F5-44093F6D4B86}" type="datetime'''''''''''''''''2''''''''''''''''''''''''''''''''''''''8'''">
              <a:rPr lang="en-US" altLang="en-US" sz="1600" smtClean="0">
                <a:solidFill>
                  <a:schemeClr val="bg1"/>
                </a:solidFill>
                <a:effectLst/>
              </a:rPr>
              <a:pPr/>
              <a:t>28</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8"/>
            </p:custDataLst>
          </p:nvPr>
        </p:nvSpPr>
        <p:spPr bwMode="gray">
          <a:xfrm>
            <a:off x="5849938" y="3416300"/>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1BC0F40-31B1-49E2-AC1A-06A858F05F39}" type="datetime'''''''''1''''''''''''''''''''''''''''''''6'">
              <a:rPr lang="en-US" altLang="en-US" sz="1600" smtClean="0">
                <a:effectLst/>
              </a:rPr>
              <a:pPr/>
              <a:t>16</a:t>
            </a:fld>
            <a:r>
              <a:rPr lang="en-US" altLang="en-US" sz="1600"/>
              <a:t>%</a:t>
            </a:r>
            <a:endParaRPr lang="en-US" sz="1600" dirty="0">
              <a:sym typeface="+mn-lt"/>
            </a:endParaRPr>
          </a:p>
        </p:txBody>
      </p:sp>
      <p:sp>
        <p:nvSpPr>
          <p:cNvPr id="50" name="Text Placeholder 3"/>
          <p:cNvSpPr>
            <a:spLocks noGrp="1"/>
          </p:cNvSpPr>
          <p:nvPr>
            <p:custDataLst>
              <p:tags r:id="rId9"/>
            </p:custDataLst>
          </p:nvPr>
        </p:nvSpPr>
        <p:spPr bwMode="gray">
          <a:xfrm>
            <a:off x="6403975" y="315595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9B04DF1-1B82-4656-8BD7-7E5EADC724E1}"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10"/>
            </p:custDataLst>
          </p:nvPr>
        </p:nvSpPr>
        <p:spPr bwMode="gray">
          <a:xfrm>
            <a:off x="6492875" y="342423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92FE936-8559-4D38-9B91-278C6A93B94B}" type="datetime'''''''''''''''0'''''''''''''''''''''''''''''''''''''''''''''">
              <a:rPr lang="en-US" altLang="en-US" sz="1600" smtClean="0">
                <a:solidFill>
                  <a:schemeClr val="bg1"/>
                </a:solidFill>
                <a:effectLst/>
              </a:rPr>
              <a:pPr/>
              <a:t>0</a:t>
            </a:fld>
            <a:r>
              <a:rPr lang="en-US" altLang="en-US" sz="1600">
                <a:solidFill>
                  <a:schemeClr val="bg1"/>
                </a:solidFill>
              </a:rPr>
              <a:t>%</a:t>
            </a:r>
            <a:endParaRPr lang="en-US" sz="1600" dirty="0">
              <a:solidFill>
                <a:schemeClr val="bg1"/>
              </a:solidFill>
              <a:sym typeface="+mn-lt"/>
            </a:endParaRPr>
          </a:p>
        </p:txBody>
      </p:sp>
      <p:sp>
        <p:nvSpPr>
          <p:cNvPr id="51" name="Rectangle 50"/>
          <p:cNvSpPr/>
          <p:nvPr>
            <p:custDataLst>
              <p:tags r:id="rId11"/>
            </p:custDataLst>
          </p:nvPr>
        </p:nvSpPr>
        <p:spPr bwMode="gray">
          <a:xfrm>
            <a:off x="4859338" y="61182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747838" y="61182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3987800" y="61182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4"/>
            </p:custDataLst>
          </p:nvPr>
        </p:nvSpPr>
        <p:spPr bwMode="gray">
          <a:xfrm>
            <a:off x="3038475" y="61182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95988" y="61182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2012950" y="60991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2" name="Text Placeholder 3"/>
          <p:cNvSpPr>
            <a:spLocks noGrp="1"/>
          </p:cNvSpPr>
          <p:nvPr>
            <p:custDataLst>
              <p:tags r:id="rId17"/>
            </p:custDataLst>
          </p:nvPr>
        </p:nvSpPr>
        <p:spPr bwMode="gray">
          <a:xfrm>
            <a:off x="6261100" y="60991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8" name="Text Placeholder 3"/>
          <p:cNvSpPr>
            <a:spLocks noGrp="1"/>
          </p:cNvSpPr>
          <p:nvPr>
            <p:custDataLst>
              <p:tags r:id="rId18"/>
            </p:custDataLst>
          </p:nvPr>
        </p:nvSpPr>
        <p:spPr bwMode="gray">
          <a:xfrm>
            <a:off x="3303588" y="60991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9"/>
            </p:custDataLst>
          </p:nvPr>
        </p:nvSpPr>
        <p:spPr bwMode="gray">
          <a:xfrm>
            <a:off x="4252913" y="60991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0" name="Text Placeholder 3"/>
          <p:cNvSpPr>
            <a:spLocks noGrp="1"/>
          </p:cNvSpPr>
          <p:nvPr>
            <p:custDataLst>
              <p:tags r:id="rId20"/>
            </p:custDataLst>
          </p:nvPr>
        </p:nvSpPr>
        <p:spPr bwMode="gray">
          <a:xfrm>
            <a:off x="5124450" y="60991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5" name="Chart 64">
            <a:extLst>
              <a:ext uri="{FF2B5EF4-FFF2-40B4-BE49-F238E27FC236}">
                <a16:creationId xmlns:a16="http://schemas.microsoft.com/office/drawing/2014/main" id="{95561A72-84FC-4EED-930A-224A4036068A}"/>
              </a:ext>
            </a:extLst>
          </p:cNvPr>
          <p:cNvGraphicFramePr/>
          <p:nvPr>
            <p:custDataLst>
              <p:tags r:id="rId21"/>
            </p:custDataLst>
            <p:extLst>
              <p:ext uri="{D42A27DB-BD31-4B8C-83A1-F6EECF244321}">
                <p14:modId xmlns:p14="http://schemas.microsoft.com/office/powerpoint/2010/main" val="39435384"/>
              </p:ext>
            </p:extLst>
          </p:nvPr>
        </p:nvGraphicFramePr>
        <p:xfrm>
          <a:off x="1249363" y="3041650"/>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32" name="Text Placeholder 3"/>
          <p:cNvSpPr>
            <a:spLocks noGrp="1"/>
          </p:cNvSpPr>
          <p:nvPr>
            <p:custDataLst>
              <p:tags r:id="rId22"/>
            </p:custDataLst>
          </p:nvPr>
        </p:nvSpPr>
        <p:spPr bwMode="gray">
          <a:xfrm>
            <a:off x="1477963" y="3730625"/>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5241C25-48F8-435A-B99C-4701002A92D3}" type="datetime'''''''''''''''''''2''''''''''''''2'''''''''">
              <a:rPr lang="en-US" altLang="en-US" sz="1600" smtClean="0">
                <a:effectLst/>
              </a:rPr>
              <a:pPr/>
              <a:t>22</a:t>
            </a:fld>
            <a:r>
              <a:rPr lang="en-US" altLang="en-US" sz="1600"/>
              <a:t>%</a:t>
            </a:r>
            <a:endParaRPr lang="en-US" sz="1600" dirty="0">
              <a:sym typeface="+mn-lt"/>
            </a:endParaRPr>
          </a:p>
        </p:txBody>
      </p:sp>
      <p:sp>
        <p:nvSpPr>
          <p:cNvPr id="29" name="Text Placeholder 3"/>
          <p:cNvSpPr>
            <a:spLocks noGrp="1"/>
          </p:cNvSpPr>
          <p:nvPr>
            <p:custDataLst>
              <p:tags r:id="rId23"/>
            </p:custDataLst>
          </p:nvPr>
        </p:nvSpPr>
        <p:spPr bwMode="gray">
          <a:xfrm>
            <a:off x="2952750" y="3432175"/>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A62A0E7-EEDF-44DA-99BF-6DD607A4C2E6}" type="datetime'''''''''''''''''''''2''''2'''''''''''''''''''''''">
              <a:rPr lang="en-US" altLang="en-US" sz="1600" smtClean="0">
                <a:solidFill>
                  <a:schemeClr val="bg1"/>
                </a:solidFill>
                <a:effectLst/>
              </a:rPr>
              <a:pPr/>
              <a:t>22</a:t>
            </a:fld>
            <a:r>
              <a:rPr lang="en-US" altLang="en-US" sz="1600">
                <a:solidFill>
                  <a:schemeClr val="bg1"/>
                </a:solidFill>
              </a:rPr>
              <a:t>%</a:t>
            </a:r>
            <a:endParaRPr lang="en-US" sz="1600" dirty="0">
              <a:solidFill>
                <a:schemeClr val="bg1"/>
              </a:solidFill>
              <a:sym typeface="+mn-lt"/>
            </a:endParaRPr>
          </a:p>
        </p:txBody>
      </p:sp>
      <p:sp>
        <p:nvSpPr>
          <p:cNvPr id="31" name="Text Placeholder 3"/>
          <p:cNvSpPr>
            <a:spLocks noGrp="1"/>
          </p:cNvSpPr>
          <p:nvPr>
            <p:custDataLst>
              <p:tags r:id="rId24"/>
            </p:custDataLst>
          </p:nvPr>
        </p:nvSpPr>
        <p:spPr bwMode="gray">
          <a:xfrm>
            <a:off x="2547938" y="5178425"/>
            <a:ext cx="385763" cy="268288"/>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A4A08B1-9988-4132-9B63-95AD954E4C64}" type="datetime'''''''''''''''''50'''">
              <a:rPr lang="en-US" altLang="en-US" sz="1600" smtClean="0">
                <a:solidFill>
                  <a:schemeClr val="bg1"/>
                </a:solidFill>
              </a:rPr>
              <a:pPr/>
              <a:t>50</a:t>
            </a:fld>
            <a:r>
              <a:rPr lang="en-US" altLang="en-US" sz="1600">
                <a:solidFill>
                  <a:schemeClr val="bg1"/>
                </a:solidFill>
              </a:rPr>
              <a:t>%</a:t>
            </a:r>
            <a:endParaRPr lang="en-US" sz="1600" dirty="0">
              <a:solidFill>
                <a:schemeClr val="bg1"/>
              </a:solidFill>
              <a:sym typeface="+mn-lt"/>
            </a:endParaRPr>
          </a:p>
        </p:txBody>
      </p:sp>
      <p:sp>
        <p:nvSpPr>
          <p:cNvPr id="33" name="Text Placeholder 3"/>
          <p:cNvSpPr>
            <a:spLocks noGrp="1"/>
          </p:cNvSpPr>
          <p:nvPr>
            <p:custDataLst>
              <p:tags r:id="rId25"/>
            </p:custDataLst>
          </p:nvPr>
        </p:nvSpPr>
        <p:spPr bwMode="gray">
          <a:xfrm>
            <a:off x="2143125" y="319405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853E734-5698-4C47-9AA5-B7169D046913}" type="datetime'''''''''''''''''''''''''''''''''4'''''''''''''''''''''''''''''">
              <a:rPr lang="en-US" altLang="en-US" sz="1600" smtClean="0">
                <a:solidFill>
                  <a:schemeClr val="bg1"/>
                </a:solidFill>
                <a:effectLst/>
              </a:rPr>
              <a:pPr/>
              <a:t>4</a:t>
            </a:fld>
            <a:r>
              <a:rPr lang="en-US" altLang="en-US" sz="1600">
                <a:solidFill>
                  <a:schemeClr val="bg1"/>
                </a:solidFill>
              </a:rPr>
              <a:t>%</a:t>
            </a:r>
            <a:endParaRPr lang="en-US" sz="1600" dirty="0">
              <a:solidFill>
                <a:schemeClr val="bg1"/>
              </a:solidFill>
              <a:sym typeface="+mn-lt"/>
            </a:endParaRPr>
          </a:p>
        </p:txBody>
      </p:sp>
      <p:sp>
        <p:nvSpPr>
          <p:cNvPr id="30" name="Text Placeholder 3"/>
          <p:cNvSpPr>
            <a:spLocks noGrp="1"/>
          </p:cNvSpPr>
          <p:nvPr>
            <p:custDataLst>
              <p:tags r:id="rId26"/>
            </p:custDataLst>
          </p:nvPr>
        </p:nvSpPr>
        <p:spPr bwMode="gray">
          <a:xfrm>
            <a:off x="2352675" y="346233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294055A-4748-4B1D-9D1E-45606905907C}" type="datetime'''''''''2'''''''''''''''''''''''''''''''''''''">
              <a:rPr lang="en-US" altLang="en-US" sz="1600" smtClean="0">
                <a:solidFill>
                  <a:schemeClr val="bg1"/>
                </a:solidFill>
                <a:effectLst/>
              </a:rPr>
              <a:pPr/>
              <a:t>2</a:t>
            </a:fld>
            <a:r>
              <a:rPr lang="en-US" altLang="en-US" sz="1600">
                <a:solidFill>
                  <a:schemeClr val="bg1"/>
                </a:solidFill>
              </a:rPr>
              <a:t>%</a:t>
            </a:r>
            <a:endParaRPr lang="en-US" sz="1600" dirty="0">
              <a:solidFill>
                <a:schemeClr val="bg1"/>
              </a:solidFill>
              <a:sym typeface="+mn-lt"/>
            </a:endParaRPr>
          </a:p>
        </p:txBody>
      </p:sp>
      <p:sp>
        <p:nvSpPr>
          <p:cNvPr id="7" name="Rectangle 6"/>
          <p:cNvSpPr/>
          <p:nvPr/>
        </p:nvSpPr>
        <p:spPr>
          <a:xfrm>
            <a:off x="1798638" y="4003675"/>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922963" y="3995738"/>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84" name="Rectangle 83"/>
          <p:cNvSpPr/>
          <p:nvPr/>
        </p:nvSpPr>
        <p:spPr>
          <a:xfrm>
            <a:off x="1039210" y="938101"/>
            <a:ext cx="2854785"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 Doughnut View</a:t>
            </a:r>
          </a:p>
        </p:txBody>
      </p:sp>
      <p:cxnSp>
        <p:nvCxnSpPr>
          <p:cNvPr id="36" name="Straight Connector 35"/>
          <p:cNvCxnSpPr/>
          <p:nvPr/>
        </p:nvCxnSpPr>
        <p:spPr>
          <a:xfrm flipH="1" flipV="1">
            <a:off x="681605" y="2378075"/>
            <a:ext cx="7707176" cy="0"/>
          </a:xfrm>
          <a:prstGeom prst="line">
            <a:avLst/>
          </a:prstGeom>
          <a:ln w="19050" cap="rnd">
            <a:solidFill>
              <a:schemeClr val="tx1">
                <a:lumMod val="60000"/>
                <a:lumOff val="40000"/>
              </a:schemeClr>
            </a:solidFill>
            <a:prstDash val="sysDot"/>
          </a:ln>
        </p:spPr>
      </p:cxnSp>
      <p:sp>
        <p:nvSpPr>
          <p:cNvPr id="43" name="Rectangle 42"/>
          <p:cNvSpPr/>
          <p:nvPr/>
        </p:nvSpPr>
        <p:spPr>
          <a:xfrm>
            <a:off x="9153525" y="0"/>
            <a:ext cx="2873634"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T are -10% less satisfied than BST</a:t>
            </a:r>
          </a:p>
          <a:p>
            <a:endParaRPr lang="en-GB" dirty="0">
              <a:solidFill>
                <a:srgbClr val="FFFFFF"/>
              </a:solidFill>
              <a:cs typeface="Arial" pitchFamily="34" charset="0"/>
            </a:endParaRPr>
          </a:p>
          <a:p>
            <a:r>
              <a:rPr lang="en-GB" dirty="0">
                <a:solidFill>
                  <a:srgbClr val="FFFFFF"/>
                </a:solidFill>
                <a:cs typeface="Arial" pitchFamily="34" charset="0"/>
              </a:rPr>
              <a:t>That said, for CT the 2021 annual average is 74%, +1% better than the 2020 average of 73% </a:t>
            </a:r>
          </a:p>
        </p:txBody>
      </p:sp>
      <p:sp>
        <p:nvSpPr>
          <p:cNvPr id="56" name="Title 2">
            <a:extLst>
              <a:ext uri="{FF2B5EF4-FFF2-40B4-BE49-F238E27FC236}">
                <a16:creationId xmlns:a16="http://schemas.microsoft.com/office/drawing/2014/main" id="{A48A619C-E299-4A8D-A35B-D557DEE9D7CA}"/>
              </a:ext>
            </a:extLst>
          </p:cNvPr>
          <p:cNvSpPr>
            <a:spLocks noGrp="1"/>
          </p:cNvSpPr>
          <p:nvPr>
            <p:ph type="title"/>
          </p:nvPr>
        </p:nvSpPr>
        <p:spPr>
          <a:xfrm>
            <a:off x="630000" y="622800"/>
            <a:ext cx="8101584" cy="332399"/>
          </a:xfrm>
        </p:spPr>
        <p:txBody>
          <a:bodyPr vert="horz"/>
          <a:lstStyle/>
          <a:p>
            <a:r>
              <a:rPr lang="en-US" dirty="0">
                <a:solidFill>
                  <a:srgbClr val="295E7E"/>
                </a:solidFill>
              </a:rPr>
              <a:t>IT Communications Satisfaction – Overall</a:t>
            </a:r>
          </a:p>
        </p:txBody>
      </p:sp>
      <p:sp>
        <p:nvSpPr>
          <p:cNvPr id="52" name="Rectangle 51">
            <a:extLst>
              <a:ext uri="{FF2B5EF4-FFF2-40B4-BE49-F238E27FC236}">
                <a16:creationId xmlns:a16="http://schemas.microsoft.com/office/drawing/2014/main" id="{4BC6FEF8-0A55-42DA-A3FB-203D64A994E0}"/>
              </a:ext>
            </a:extLst>
          </p:cNvPr>
          <p:cNvSpPr/>
          <p:nvPr/>
        </p:nvSpPr>
        <p:spPr>
          <a:xfrm>
            <a:off x="630000" y="1485818"/>
            <a:ext cx="4016140" cy="91130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2% </a:t>
            </a:r>
            <a:r>
              <a:rPr lang="en-US" dirty="0">
                <a:solidFill>
                  <a:srgbClr val="575757"/>
                </a:solidFill>
              </a:rPr>
              <a:t>CT 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rPr>
              <a:t>1</a:t>
            </a:r>
            <a:r>
              <a:rPr lang="en-US" sz="1400" dirty="0">
                <a:solidFill>
                  <a:srgbClr val="575757"/>
                </a:solidFill>
                <a:latin typeface="+mj-lt"/>
              </a:rPr>
              <a:t>%</a:t>
            </a:r>
            <a:r>
              <a:rPr lang="en-US" sz="1400" dirty="0">
                <a:solidFill>
                  <a:srgbClr val="575757"/>
                </a:solidFill>
              </a:rPr>
              <a:t> vs Q3 '21 | </a:t>
            </a:r>
            <a:r>
              <a:rPr lang="en-US" sz="1400" dirty="0">
                <a:solidFill>
                  <a:srgbClr val="E71C57"/>
                </a:solidFill>
                <a:latin typeface="Wingdings 3" panose="05040102010807070707" pitchFamily="18" charset="2"/>
              </a:rPr>
              <a:t>q</a:t>
            </a:r>
            <a:r>
              <a:rPr lang="en-US" sz="1400" dirty="0">
                <a:solidFill>
                  <a:srgbClr val="575757"/>
                </a:solidFill>
                <a:latin typeface="+mj-lt"/>
              </a:rPr>
              <a:t>7</a:t>
            </a:r>
            <a:r>
              <a:rPr lang="en-US" sz="1400" dirty="0">
                <a:solidFill>
                  <a:srgbClr val="575757"/>
                </a:solidFill>
              </a:rPr>
              <a:t>% vs Q4 '20 </a:t>
            </a:r>
          </a:p>
          <a:p>
            <a:pPr algn="ctr"/>
            <a:r>
              <a:rPr lang="en-US" sz="1400" dirty="0">
                <a:solidFill>
                  <a:srgbClr val="29BA74"/>
                </a:solidFill>
                <a:latin typeface="Wingdings 3" panose="05040102010807070707" pitchFamily="18" charset="2"/>
              </a:rPr>
              <a:t>p</a:t>
            </a:r>
            <a:r>
              <a:rPr lang="en-US" sz="1400" dirty="0">
                <a:solidFill>
                  <a:srgbClr val="575757"/>
                </a:solidFill>
              </a:rPr>
              <a:t>2% vs BIC Target</a:t>
            </a:r>
          </a:p>
        </p:txBody>
      </p:sp>
      <p:sp>
        <p:nvSpPr>
          <p:cNvPr id="57" name="Rectangle 56">
            <a:extLst>
              <a:ext uri="{FF2B5EF4-FFF2-40B4-BE49-F238E27FC236}">
                <a16:creationId xmlns:a16="http://schemas.microsoft.com/office/drawing/2014/main" id="{97CEA3AE-7D28-44A5-9A0F-ACA4DFA799F0}"/>
              </a:ext>
            </a:extLst>
          </p:cNvPr>
          <p:cNvSpPr/>
          <p:nvPr/>
        </p:nvSpPr>
        <p:spPr>
          <a:xfrm>
            <a:off x="4680792" y="1485819"/>
            <a:ext cx="4016140" cy="89225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2% </a:t>
            </a:r>
            <a:r>
              <a:rPr lang="en-US" dirty="0">
                <a:solidFill>
                  <a:srgbClr val="575757"/>
                </a:solidFill>
              </a:rPr>
              <a:t>BST 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2</a:t>
            </a:r>
            <a:r>
              <a:rPr lang="en-US" sz="1400" dirty="0">
                <a:solidFill>
                  <a:srgbClr val="575757"/>
                </a:solidFill>
              </a:rPr>
              <a:t>% vs Q3 '21 | </a:t>
            </a:r>
            <a:r>
              <a:rPr lang="en-US" sz="1400" dirty="0">
                <a:solidFill>
                  <a:srgbClr val="E71C57"/>
                </a:solidFill>
                <a:latin typeface="Wingdings 3" panose="05040102010807070707" pitchFamily="18" charset="2"/>
              </a:rPr>
              <a:t>q</a:t>
            </a:r>
            <a:r>
              <a:rPr lang="en-US" sz="1400" dirty="0">
                <a:solidFill>
                  <a:srgbClr val="575757"/>
                </a:solidFill>
                <a:latin typeface="+mj-lt"/>
              </a:rPr>
              <a:t>2</a:t>
            </a:r>
            <a:r>
              <a:rPr lang="en-US" sz="1400" dirty="0">
                <a:solidFill>
                  <a:srgbClr val="575757"/>
                </a:solidFill>
              </a:rPr>
              <a:t>% vs Q4 '20</a:t>
            </a:r>
          </a:p>
          <a:p>
            <a:pPr algn="ctr"/>
            <a:r>
              <a:rPr lang="en-US" sz="1400" dirty="0">
                <a:solidFill>
                  <a:srgbClr val="29BA74"/>
                </a:solidFill>
                <a:latin typeface="Wingdings 3" panose="05040102010807070707" pitchFamily="18" charset="2"/>
              </a:rPr>
              <a:t>p</a:t>
            </a:r>
            <a:r>
              <a:rPr lang="en-US" sz="1400" dirty="0">
                <a:solidFill>
                  <a:srgbClr val="575757"/>
                </a:solidFill>
              </a:rPr>
              <a:t>12% vs BIC Target</a:t>
            </a:r>
          </a:p>
        </p:txBody>
      </p:sp>
      <p:sp>
        <p:nvSpPr>
          <p:cNvPr id="60" name="Rectangle 59">
            <a:extLst>
              <a:ext uri="{FF2B5EF4-FFF2-40B4-BE49-F238E27FC236}">
                <a16:creationId xmlns:a16="http://schemas.microsoft.com/office/drawing/2014/main" id="{392EC7E4-9AD4-410D-BE5F-443056935ABA}"/>
              </a:ext>
            </a:extLst>
          </p:cNvPr>
          <p:cNvSpPr/>
          <p:nvPr/>
        </p:nvSpPr>
        <p:spPr>
          <a:xfrm>
            <a:off x="1754409" y="2380048"/>
            <a:ext cx="1519017"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63" name="Rectangle 62">
            <a:extLst>
              <a:ext uri="{FF2B5EF4-FFF2-40B4-BE49-F238E27FC236}">
                <a16:creationId xmlns:a16="http://schemas.microsoft.com/office/drawing/2014/main" id="{C1EDA7CB-A811-4497-9DCF-DF93D6C881A7}"/>
              </a:ext>
            </a:extLst>
          </p:cNvPr>
          <p:cNvSpPr/>
          <p:nvPr/>
        </p:nvSpPr>
        <p:spPr>
          <a:xfrm>
            <a:off x="5868304" y="2378654"/>
            <a:ext cx="1519017"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44" name="Group 43">
            <a:extLst>
              <a:ext uri="{FF2B5EF4-FFF2-40B4-BE49-F238E27FC236}">
                <a16:creationId xmlns:a16="http://schemas.microsoft.com/office/drawing/2014/main" id="{D680CA3F-9A3E-4CD3-AF5A-5DD595BC13CB}"/>
              </a:ext>
            </a:extLst>
          </p:cNvPr>
          <p:cNvGrpSpPr>
            <a:grpSpLocks noChangeAspect="1"/>
          </p:cNvGrpSpPr>
          <p:nvPr/>
        </p:nvGrpSpPr>
        <p:grpSpPr>
          <a:xfrm>
            <a:off x="514429" y="864696"/>
            <a:ext cx="457200" cy="457200"/>
            <a:chOff x="5867400" y="3200400"/>
            <a:chExt cx="457200" cy="457200"/>
          </a:xfrm>
        </p:grpSpPr>
        <p:sp>
          <p:nvSpPr>
            <p:cNvPr id="59" name="AutoShape 43">
              <a:extLst>
                <a:ext uri="{FF2B5EF4-FFF2-40B4-BE49-F238E27FC236}">
                  <a16:creationId xmlns:a16="http://schemas.microsoft.com/office/drawing/2014/main" id="{FEEE47DF-F203-4266-AEB9-ABFC918704C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7">
              <a:extLst>
                <a:ext uri="{FF2B5EF4-FFF2-40B4-BE49-F238E27FC236}">
                  <a16:creationId xmlns:a16="http://schemas.microsoft.com/office/drawing/2014/main" id="{21B31FC9-4623-4496-A8D6-5508678DABC7}"/>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1580317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5086265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6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000" dirty="0">
              <a:solidFill>
                <a:srgbClr val="FFFFFF"/>
              </a:solidFill>
              <a:latin typeface="Trebuchet MS" panose="020B0603020202020204" pitchFamily="34" charset="0"/>
              <a:sym typeface="Trebuchet MS" panose="020B0603020202020204" pitchFamily="34" charset="0"/>
            </a:endParaRPr>
          </a:p>
        </p:txBody>
      </p:sp>
      <p:graphicFrame>
        <p:nvGraphicFramePr>
          <p:cNvPr id="1122" name="Chart 1121"/>
          <p:cNvGraphicFramePr>
            <a:graphicFrameLocks noChangeAspect="1"/>
          </p:cNvGraphicFramePr>
          <p:nvPr>
            <p:extLst>
              <p:ext uri="{D42A27DB-BD31-4B8C-83A1-F6EECF244321}">
                <p14:modId xmlns:p14="http://schemas.microsoft.com/office/powerpoint/2010/main" val="3870962248"/>
              </p:ext>
            </p:extLst>
          </p:nvPr>
        </p:nvGraphicFramePr>
        <p:xfrm>
          <a:off x="417301" y="3942958"/>
          <a:ext cx="2295159" cy="2268000"/>
        </p:xfrm>
        <a:graphic>
          <a:graphicData uri="http://schemas.openxmlformats.org/drawingml/2006/chart">
            <c:chart xmlns:c="http://schemas.openxmlformats.org/drawingml/2006/chart" xmlns:r="http://schemas.openxmlformats.org/officeDocument/2006/relationships" r:id="rId28"/>
          </a:graphicData>
        </a:graphic>
      </p:graphicFrame>
      <p:sp>
        <p:nvSpPr>
          <p:cNvPr id="1092" name="ee4pFootnotes"/>
          <p:cNvSpPr>
            <a:spLocks noChangeArrowheads="1"/>
          </p:cNvSpPr>
          <p:nvPr/>
        </p:nvSpPr>
        <p:spPr bwMode="auto">
          <a:xfrm>
            <a:off x="52750" y="6659111"/>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buAutoNum type="arabicPeriod"/>
            </a:pPr>
            <a:r>
              <a:rPr lang="en-GB" sz="1000" i="1" dirty="0">
                <a:solidFill>
                  <a:srgbClr val="7F7F7F"/>
                </a:solidFill>
                <a:latin typeface="Trebuchet MS" panose="020B0603020202020204" pitchFamily="34" charset="0"/>
                <a:cs typeface="Arial" pitchFamily="34" charset="0"/>
              </a:rPr>
              <a:t>Number of employees the survey was sent to </a:t>
            </a:r>
          </a:p>
        </p:txBody>
      </p:sp>
      <p:graphicFrame>
        <p:nvGraphicFramePr>
          <p:cNvPr id="543" name="Chart 542"/>
          <p:cNvGraphicFramePr>
            <a:graphicFrameLocks noChangeAspect="1"/>
          </p:cNvGraphicFramePr>
          <p:nvPr>
            <p:extLst>
              <p:ext uri="{D42A27DB-BD31-4B8C-83A1-F6EECF244321}">
                <p14:modId xmlns:p14="http://schemas.microsoft.com/office/powerpoint/2010/main" val="487552450"/>
              </p:ext>
            </p:extLst>
          </p:nvPr>
        </p:nvGraphicFramePr>
        <p:xfrm>
          <a:off x="9423937" y="3873228"/>
          <a:ext cx="2295159" cy="2268000"/>
        </p:xfrm>
        <a:graphic>
          <a:graphicData uri="http://schemas.openxmlformats.org/drawingml/2006/chart">
            <c:chart xmlns:c="http://schemas.openxmlformats.org/drawingml/2006/chart" xmlns:r="http://schemas.openxmlformats.org/officeDocument/2006/relationships" r:id="rId29"/>
          </a:graphicData>
        </a:graphic>
      </p:graphicFrame>
      <p:sp>
        <p:nvSpPr>
          <p:cNvPr id="4" name="Title 3"/>
          <p:cNvSpPr>
            <a:spLocks noGrp="1"/>
          </p:cNvSpPr>
          <p:nvPr>
            <p:ph type="title"/>
          </p:nvPr>
        </p:nvSpPr>
        <p:spPr>
          <a:xfrm>
            <a:off x="622734" y="296639"/>
            <a:ext cx="10933200" cy="470898"/>
          </a:xfrm>
        </p:spPr>
        <p:txBody>
          <a:bodyPr vert="horz"/>
          <a:lstStyle/>
          <a:p>
            <a:r>
              <a:rPr lang="en-US" dirty="0">
                <a:solidFill>
                  <a:srgbClr val="295E7E"/>
                </a:solidFill>
              </a:rPr>
              <a:t>Q4 Response Rates</a:t>
            </a:r>
            <a:endParaRPr lang="en-US" dirty="0">
              <a:solidFill>
                <a:srgbClr val="295E7E"/>
              </a:solidFill>
              <a:latin typeface="+mj-lt"/>
            </a:endParaRPr>
          </a:p>
        </p:txBody>
      </p:sp>
      <p:graphicFrame>
        <p:nvGraphicFramePr>
          <p:cNvPr id="540" name="Chart 539"/>
          <p:cNvGraphicFramePr>
            <a:graphicFrameLocks noChangeAspect="1"/>
          </p:cNvGraphicFramePr>
          <p:nvPr>
            <p:extLst>
              <p:ext uri="{D42A27DB-BD31-4B8C-83A1-F6EECF244321}">
                <p14:modId xmlns:p14="http://schemas.microsoft.com/office/powerpoint/2010/main" val="4091819361"/>
              </p:ext>
            </p:extLst>
          </p:nvPr>
        </p:nvGraphicFramePr>
        <p:xfrm>
          <a:off x="433602" y="1207197"/>
          <a:ext cx="2295159" cy="2268000"/>
        </p:xfrm>
        <a:graphic>
          <a:graphicData uri="http://schemas.openxmlformats.org/drawingml/2006/chart">
            <c:chart xmlns:c="http://schemas.openxmlformats.org/drawingml/2006/chart" xmlns:r="http://schemas.openxmlformats.org/officeDocument/2006/relationships" r:id="rId30"/>
          </a:graphicData>
        </a:graphic>
      </p:graphicFrame>
      <p:graphicFrame>
        <p:nvGraphicFramePr>
          <p:cNvPr id="542" name="Chart 541"/>
          <p:cNvGraphicFramePr>
            <a:graphicFrameLocks noChangeAspect="1"/>
          </p:cNvGraphicFramePr>
          <p:nvPr>
            <p:extLst>
              <p:ext uri="{D42A27DB-BD31-4B8C-83A1-F6EECF244321}">
                <p14:modId xmlns:p14="http://schemas.microsoft.com/office/powerpoint/2010/main" val="3500505192"/>
              </p:ext>
            </p:extLst>
          </p:nvPr>
        </p:nvGraphicFramePr>
        <p:xfrm>
          <a:off x="9469214" y="1143647"/>
          <a:ext cx="2295159" cy="2268000"/>
        </p:xfrm>
        <a:graphic>
          <a:graphicData uri="http://schemas.openxmlformats.org/drawingml/2006/chart">
            <c:chart xmlns:c="http://schemas.openxmlformats.org/drawingml/2006/chart" xmlns:r="http://schemas.openxmlformats.org/officeDocument/2006/relationships" r:id="rId31"/>
          </a:graphicData>
        </a:graphic>
      </p:graphicFrame>
      <p:sp>
        <p:nvSpPr>
          <p:cNvPr id="544" name="TextBox 543"/>
          <p:cNvSpPr txBox="1"/>
          <p:nvPr/>
        </p:nvSpPr>
        <p:spPr>
          <a:xfrm>
            <a:off x="1123982" y="188399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600" b="1" dirty="0">
                <a:solidFill>
                  <a:srgbClr val="29BA74"/>
                </a:solidFill>
              </a:rPr>
              <a:t>23%</a:t>
            </a:r>
          </a:p>
          <a:p>
            <a:pPr algn="ctr">
              <a:lnSpc>
                <a:spcPts val="1000"/>
              </a:lnSpc>
            </a:pPr>
            <a:endParaRPr lang="en-US" dirty="0">
              <a:solidFill>
                <a:srgbClr val="7F7F7F"/>
              </a:solidFill>
            </a:endParaRPr>
          </a:p>
          <a:p>
            <a:pPr algn="ctr">
              <a:lnSpc>
                <a:spcPts val="1000"/>
              </a:lnSpc>
            </a:pPr>
            <a:r>
              <a:rPr lang="en-US" dirty="0">
                <a:solidFill>
                  <a:srgbClr val="29BA74"/>
                </a:solidFill>
              </a:rPr>
              <a:t>397</a:t>
            </a:r>
          </a:p>
          <a:p>
            <a:pPr algn="ctr"/>
            <a:r>
              <a:rPr lang="en-US" sz="1200" dirty="0">
                <a:solidFill>
                  <a:srgbClr val="7F7F7F"/>
                </a:solidFill>
              </a:rPr>
              <a:t>(1735)</a:t>
            </a:r>
            <a:r>
              <a:rPr lang="en-US" sz="1200" baseline="30000" dirty="0">
                <a:solidFill>
                  <a:srgbClr val="7F7F7F"/>
                </a:solidFill>
              </a:rPr>
              <a:t>1</a:t>
            </a:r>
          </a:p>
        </p:txBody>
      </p:sp>
      <p:sp>
        <p:nvSpPr>
          <p:cNvPr id="545" name="TextBox 544"/>
          <p:cNvSpPr txBox="1"/>
          <p:nvPr/>
        </p:nvSpPr>
        <p:spPr>
          <a:xfrm>
            <a:off x="1059330" y="461975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600" b="1" dirty="0">
                <a:solidFill>
                  <a:srgbClr val="A8B21C"/>
                </a:solidFill>
              </a:rPr>
              <a:t>26%</a:t>
            </a:r>
          </a:p>
          <a:p>
            <a:pPr algn="ctr">
              <a:lnSpc>
                <a:spcPts val="1000"/>
              </a:lnSpc>
            </a:pPr>
            <a:endParaRPr lang="en-US" dirty="0">
              <a:solidFill>
                <a:srgbClr val="7F7F7F"/>
              </a:solidFill>
            </a:endParaRPr>
          </a:p>
          <a:p>
            <a:pPr algn="ctr">
              <a:lnSpc>
                <a:spcPts val="1000"/>
              </a:lnSpc>
            </a:pPr>
            <a:r>
              <a:rPr lang="en-US" dirty="0">
                <a:solidFill>
                  <a:srgbClr val="A8B21C"/>
                </a:solidFill>
              </a:rPr>
              <a:t>242</a:t>
            </a:r>
          </a:p>
          <a:p>
            <a:pPr algn="ctr"/>
            <a:r>
              <a:rPr lang="en-US" sz="1200" dirty="0">
                <a:solidFill>
                  <a:srgbClr val="7F7F7F"/>
                </a:solidFill>
              </a:rPr>
              <a:t>(935)</a:t>
            </a:r>
            <a:r>
              <a:rPr lang="en-US" sz="1200" baseline="30000" dirty="0">
                <a:solidFill>
                  <a:srgbClr val="7F7F7F"/>
                </a:solidFill>
              </a:rPr>
              <a:t>1</a:t>
            </a:r>
          </a:p>
        </p:txBody>
      </p:sp>
      <p:sp>
        <p:nvSpPr>
          <p:cNvPr id="547" name="TextBox 546"/>
          <p:cNvSpPr txBox="1"/>
          <p:nvPr/>
        </p:nvSpPr>
        <p:spPr>
          <a:xfrm>
            <a:off x="10114316" y="455002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600" b="1" dirty="0">
                <a:solidFill>
                  <a:srgbClr val="670F31"/>
                </a:solidFill>
              </a:rPr>
              <a:t>27%</a:t>
            </a:r>
          </a:p>
          <a:p>
            <a:pPr algn="ctr">
              <a:lnSpc>
                <a:spcPts val="1000"/>
              </a:lnSpc>
            </a:pPr>
            <a:endParaRPr lang="en-US" dirty="0">
              <a:solidFill>
                <a:srgbClr val="7F7F7F"/>
              </a:solidFill>
            </a:endParaRPr>
          </a:p>
          <a:p>
            <a:pPr algn="ctr">
              <a:lnSpc>
                <a:spcPts val="1000"/>
              </a:lnSpc>
            </a:pPr>
            <a:r>
              <a:rPr lang="en-US" dirty="0">
                <a:solidFill>
                  <a:srgbClr val="670F31"/>
                </a:solidFill>
              </a:rPr>
              <a:t>340</a:t>
            </a:r>
          </a:p>
          <a:p>
            <a:pPr algn="ctr"/>
            <a:r>
              <a:rPr lang="en-US" sz="1200" dirty="0">
                <a:solidFill>
                  <a:srgbClr val="7F7F7F"/>
                </a:solidFill>
              </a:rPr>
              <a:t>(1262)</a:t>
            </a:r>
            <a:r>
              <a:rPr lang="en-US" sz="1200" baseline="30000" dirty="0">
                <a:solidFill>
                  <a:srgbClr val="7F7F7F"/>
                </a:solidFill>
              </a:rPr>
              <a:t>1</a:t>
            </a:r>
          </a:p>
        </p:txBody>
      </p:sp>
      <p:sp>
        <p:nvSpPr>
          <p:cNvPr id="548" name="TextBox 547"/>
          <p:cNvSpPr txBox="1"/>
          <p:nvPr/>
        </p:nvSpPr>
        <p:spPr>
          <a:xfrm>
            <a:off x="10159593" y="192859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600" b="1" dirty="0">
                <a:solidFill>
                  <a:srgbClr val="295E7E"/>
                </a:solidFill>
              </a:rPr>
              <a:t>26%</a:t>
            </a:r>
            <a:endParaRPr lang="en-US" dirty="0">
              <a:solidFill>
                <a:srgbClr val="7F7F7F"/>
              </a:solidFill>
            </a:endParaRPr>
          </a:p>
          <a:p>
            <a:pPr algn="ctr">
              <a:lnSpc>
                <a:spcPts val="1000"/>
              </a:lnSpc>
            </a:pPr>
            <a:r>
              <a:rPr lang="en-US" dirty="0">
                <a:solidFill>
                  <a:srgbClr val="295E7E"/>
                </a:solidFill>
              </a:rPr>
              <a:t>348</a:t>
            </a:r>
          </a:p>
          <a:p>
            <a:pPr algn="ctr"/>
            <a:r>
              <a:rPr lang="en-US" sz="1200" dirty="0">
                <a:solidFill>
                  <a:srgbClr val="7F7F7F"/>
                </a:solidFill>
              </a:rPr>
              <a:t>(1338)</a:t>
            </a:r>
            <a:r>
              <a:rPr lang="en-US" sz="1200" baseline="30000" dirty="0">
                <a:solidFill>
                  <a:srgbClr val="7F7F7F"/>
                </a:solidFill>
              </a:rPr>
              <a:t>1</a:t>
            </a:r>
          </a:p>
        </p:txBody>
      </p:sp>
      <p:graphicFrame>
        <p:nvGraphicFramePr>
          <p:cNvPr id="552" name="Chart 551"/>
          <p:cNvGraphicFramePr>
            <a:graphicFrameLocks noChangeAspect="1"/>
          </p:cNvGraphicFramePr>
          <p:nvPr>
            <p:extLst>
              <p:ext uri="{D42A27DB-BD31-4B8C-83A1-F6EECF244321}">
                <p14:modId xmlns:p14="http://schemas.microsoft.com/office/powerpoint/2010/main" val="3596720305"/>
              </p:ext>
            </p:extLst>
          </p:nvPr>
        </p:nvGraphicFramePr>
        <p:xfrm>
          <a:off x="5027167" y="4353455"/>
          <a:ext cx="2295161" cy="2268000"/>
        </p:xfrm>
        <a:graphic>
          <a:graphicData uri="http://schemas.openxmlformats.org/drawingml/2006/chart">
            <c:chart xmlns:c="http://schemas.openxmlformats.org/drawingml/2006/chart" xmlns:r="http://schemas.openxmlformats.org/officeDocument/2006/relationships" r:id="rId32"/>
          </a:graphicData>
        </a:graphic>
      </p:graphicFrame>
      <p:sp>
        <p:nvSpPr>
          <p:cNvPr id="553" name="TextBox 552"/>
          <p:cNvSpPr txBox="1"/>
          <p:nvPr/>
        </p:nvSpPr>
        <p:spPr>
          <a:xfrm>
            <a:off x="5717548" y="4952194"/>
            <a:ext cx="914400" cy="10850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lnSpc>
                <a:spcPts val="5000"/>
              </a:lnSpc>
            </a:pPr>
            <a:r>
              <a:rPr lang="en-US" sz="3600" b="1" dirty="0">
                <a:solidFill>
                  <a:srgbClr val="E71C57"/>
                </a:solidFill>
              </a:rPr>
              <a:t>26%</a:t>
            </a:r>
          </a:p>
          <a:p>
            <a:pPr algn="ctr">
              <a:lnSpc>
                <a:spcPts val="1000"/>
              </a:lnSpc>
            </a:pPr>
            <a:endParaRPr lang="en-US" dirty="0">
              <a:solidFill>
                <a:srgbClr val="7F7F7F"/>
              </a:solidFill>
            </a:endParaRPr>
          </a:p>
          <a:p>
            <a:pPr algn="ctr">
              <a:lnSpc>
                <a:spcPts val="1000"/>
              </a:lnSpc>
            </a:pPr>
            <a:r>
              <a:rPr lang="en-US" dirty="0">
                <a:solidFill>
                  <a:srgbClr val="E71C57"/>
                </a:solidFill>
              </a:rPr>
              <a:t>590</a:t>
            </a:r>
          </a:p>
          <a:p>
            <a:pPr algn="ctr"/>
            <a:r>
              <a:rPr lang="en-US" sz="1200" dirty="0">
                <a:solidFill>
                  <a:srgbClr val="7F7F7F"/>
                </a:solidFill>
              </a:rPr>
              <a:t>(2273)</a:t>
            </a:r>
            <a:r>
              <a:rPr lang="en-US" sz="1200" baseline="30000" dirty="0">
                <a:solidFill>
                  <a:srgbClr val="7F7F7F"/>
                </a:solidFill>
              </a:rPr>
              <a:t> 1</a:t>
            </a:r>
          </a:p>
        </p:txBody>
      </p:sp>
      <p:sp>
        <p:nvSpPr>
          <p:cNvPr id="1098" name="TextBox 1097">
            <a:extLst>
              <a:ext uri="{FF2B5EF4-FFF2-40B4-BE49-F238E27FC236}">
                <a16:creationId xmlns:a16="http://schemas.microsoft.com/office/drawing/2014/main" id="{CF9CAADE-AD7A-0041-BAFD-06665B9CD629}"/>
              </a:ext>
            </a:extLst>
          </p:cNvPr>
          <p:cNvSpPr txBox="1"/>
          <p:nvPr/>
        </p:nvSpPr>
        <p:spPr>
          <a:xfrm>
            <a:off x="256771" y="5755223"/>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099" name="TextBox 1098">
            <a:extLst>
              <a:ext uri="{FF2B5EF4-FFF2-40B4-BE49-F238E27FC236}">
                <a16:creationId xmlns:a16="http://schemas.microsoft.com/office/drawing/2014/main" id="{C179BC82-8ECB-FB40-8585-DC6B35931D06}"/>
              </a:ext>
            </a:extLst>
          </p:cNvPr>
          <p:cNvSpPr txBox="1"/>
          <p:nvPr/>
        </p:nvSpPr>
        <p:spPr>
          <a:xfrm>
            <a:off x="4799259" y="6250687"/>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100" name="TextBox 1099">
            <a:extLst>
              <a:ext uri="{FF2B5EF4-FFF2-40B4-BE49-F238E27FC236}">
                <a16:creationId xmlns:a16="http://schemas.microsoft.com/office/drawing/2014/main" id="{91A2CFC8-B132-484B-92CE-73766D08A674}"/>
              </a:ext>
            </a:extLst>
          </p:cNvPr>
          <p:cNvSpPr txBox="1"/>
          <p:nvPr/>
        </p:nvSpPr>
        <p:spPr>
          <a:xfrm>
            <a:off x="9215994" y="5779679"/>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102" name="TextBox 1101">
            <a:extLst>
              <a:ext uri="{FF2B5EF4-FFF2-40B4-BE49-F238E27FC236}">
                <a16:creationId xmlns:a16="http://schemas.microsoft.com/office/drawing/2014/main" id="{B47FCD2D-ED01-824B-8A47-1297E845EB26}"/>
              </a:ext>
            </a:extLst>
          </p:cNvPr>
          <p:cNvSpPr txBox="1"/>
          <p:nvPr/>
        </p:nvSpPr>
        <p:spPr>
          <a:xfrm>
            <a:off x="2226631" y="5774521"/>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sp>
        <p:nvSpPr>
          <p:cNvPr id="1103" name="TextBox 1102">
            <a:extLst>
              <a:ext uri="{FF2B5EF4-FFF2-40B4-BE49-F238E27FC236}">
                <a16:creationId xmlns:a16="http://schemas.microsoft.com/office/drawing/2014/main" id="{812F0020-16A3-9E4A-8DBB-A0D201198A4D}"/>
              </a:ext>
            </a:extLst>
          </p:cNvPr>
          <p:cNvSpPr txBox="1"/>
          <p:nvPr/>
        </p:nvSpPr>
        <p:spPr>
          <a:xfrm>
            <a:off x="6873465" y="6236056"/>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sp>
        <p:nvSpPr>
          <p:cNvPr id="1104" name="TextBox 1103">
            <a:extLst>
              <a:ext uri="{FF2B5EF4-FFF2-40B4-BE49-F238E27FC236}">
                <a16:creationId xmlns:a16="http://schemas.microsoft.com/office/drawing/2014/main" id="{D2CF6FB1-184A-C243-9C48-DCB5FE8DCBDB}"/>
              </a:ext>
            </a:extLst>
          </p:cNvPr>
          <p:cNvSpPr txBox="1"/>
          <p:nvPr/>
        </p:nvSpPr>
        <p:spPr>
          <a:xfrm>
            <a:off x="11153022" y="5779679"/>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grpSp>
        <p:nvGrpSpPr>
          <p:cNvPr id="554" name="Group 553"/>
          <p:cNvGrpSpPr/>
          <p:nvPr/>
        </p:nvGrpSpPr>
        <p:grpSpPr>
          <a:xfrm>
            <a:off x="2552464" y="1353194"/>
            <a:ext cx="7131865" cy="3534642"/>
            <a:chOff x="1668937" y="2063755"/>
            <a:chExt cx="8658000" cy="4291013"/>
          </a:xfrm>
        </p:grpSpPr>
        <p:sp>
          <p:nvSpPr>
            <p:cNvPr id="555" name="Freeform 287b"/>
            <p:cNvSpPr>
              <a:spLocks/>
            </p:cNvSpPr>
            <p:nvPr/>
          </p:nvSpPr>
          <p:spPr bwMode="auto">
            <a:xfrm>
              <a:off x="6307761" y="4637173"/>
              <a:ext cx="293060" cy="185822"/>
            </a:xfrm>
            <a:custGeom>
              <a:avLst/>
              <a:gdLst/>
              <a:ahLst/>
              <a:cxnLst>
                <a:cxn ang="0">
                  <a:pos x="248" y="137"/>
                </a:cxn>
                <a:cxn ang="0">
                  <a:pos x="220" y="99"/>
                </a:cxn>
                <a:cxn ang="0">
                  <a:pos x="205" y="85"/>
                </a:cxn>
                <a:cxn ang="0">
                  <a:pos x="217" y="75"/>
                </a:cxn>
                <a:cxn ang="0">
                  <a:pos x="220" y="73"/>
                </a:cxn>
                <a:cxn ang="0">
                  <a:pos x="231" y="40"/>
                </a:cxn>
                <a:cxn ang="0">
                  <a:pos x="213" y="28"/>
                </a:cxn>
                <a:cxn ang="0">
                  <a:pos x="213" y="0"/>
                </a:cxn>
                <a:cxn ang="0">
                  <a:pos x="187" y="4"/>
                </a:cxn>
                <a:cxn ang="0">
                  <a:pos x="189" y="35"/>
                </a:cxn>
                <a:cxn ang="0">
                  <a:pos x="170" y="56"/>
                </a:cxn>
                <a:cxn ang="0">
                  <a:pos x="139" y="44"/>
                </a:cxn>
                <a:cxn ang="0">
                  <a:pos x="99" y="61"/>
                </a:cxn>
                <a:cxn ang="0">
                  <a:pos x="73" y="59"/>
                </a:cxn>
                <a:cxn ang="0">
                  <a:pos x="52" y="37"/>
                </a:cxn>
                <a:cxn ang="0">
                  <a:pos x="38" y="40"/>
                </a:cxn>
                <a:cxn ang="0">
                  <a:pos x="28" y="54"/>
                </a:cxn>
                <a:cxn ang="0">
                  <a:pos x="12" y="73"/>
                </a:cxn>
                <a:cxn ang="0">
                  <a:pos x="0" y="73"/>
                </a:cxn>
                <a:cxn ang="0">
                  <a:pos x="5" y="75"/>
                </a:cxn>
                <a:cxn ang="0">
                  <a:pos x="28" y="85"/>
                </a:cxn>
                <a:cxn ang="0">
                  <a:pos x="83" y="151"/>
                </a:cxn>
                <a:cxn ang="0">
                  <a:pos x="97" y="163"/>
                </a:cxn>
                <a:cxn ang="0">
                  <a:pos x="137" y="163"/>
                </a:cxn>
                <a:cxn ang="0">
                  <a:pos x="151" y="174"/>
                </a:cxn>
                <a:cxn ang="0">
                  <a:pos x="179" y="174"/>
                </a:cxn>
                <a:cxn ang="0">
                  <a:pos x="220" y="163"/>
                </a:cxn>
                <a:cxn ang="0">
                  <a:pos x="234" y="163"/>
                </a:cxn>
                <a:cxn ang="0">
                  <a:pos x="262" y="163"/>
                </a:cxn>
                <a:cxn ang="0">
                  <a:pos x="262" y="137"/>
                </a:cxn>
                <a:cxn ang="0">
                  <a:pos x="248" y="137"/>
                </a:cxn>
              </a:cxnLst>
              <a:rect l="0" t="0" r="r" b="b"/>
              <a:pathLst>
                <a:path w="262" h="174">
                  <a:moveTo>
                    <a:pt x="248" y="137"/>
                  </a:moveTo>
                  <a:lnTo>
                    <a:pt x="220" y="99"/>
                  </a:lnTo>
                  <a:lnTo>
                    <a:pt x="205" y="85"/>
                  </a:lnTo>
                  <a:lnTo>
                    <a:pt x="217" y="75"/>
                  </a:lnTo>
                  <a:lnTo>
                    <a:pt x="220" y="73"/>
                  </a:lnTo>
                  <a:lnTo>
                    <a:pt x="231" y="40"/>
                  </a:lnTo>
                  <a:lnTo>
                    <a:pt x="213" y="28"/>
                  </a:lnTo>
                  <a:lnTo>
                    <a:pt x="213" y="0"/>
                  </a:lnTo>
                  <a:lnTo>
                    <a:pt x="187" y="4"/>
                  </a:lnTo>
                  <a:lnTo>
                    <a:pt x="189" y="35"/>
                  </a:lnTo>
                  <a:lnTo>
                    <a:pt x="170" y="56"/>
                  </a:lnTo>
                  <a:lnTo>
                    <a:pt x="139" y="44"/>
                  </a:lnTo>
                  <a:lnTo>
                    <a:pt x="99" y="61"/>
                  </a:lnTo>
                  <a:lnTo>
                    <a:pt x="73" y="59"/>
                  </a:lnTo>
                  <a:lnTo>
                    <a:pt x="52" y="37"/>
                  </a:lnTo>
                  <a:lnTo>
                    <a:pt x="38" y="40"/>
                  </a:lnTo>
                  <a:lnTo>
                    <a:pt x="28" y="54"/>
                  </a:lnTo>
                  <a:lnTo>
                    <a:pt x="12" y="73"/>
                  </a:lnTo>
                  <a:lnTo>
                    <a:pt x="0" y="73"/>
                  </a:lnTo>
                  <a:lnTo>
                    <a:pt x="5" y="75"/>
                  </a:lnTo>
                  <a:lnTo>
                    <a:pt x="28" y="85"/>
                  </a:lnTo>
                  <a:lnTo>
                    <a:pt x="83" y="151"/>
                  </a:lnTo>
                  <a:lnTo>
                    <a:pt x="97" y="163"/>
                  </a:lnTo>
                  <a:lnTo>
                    <a:pt x="137" y="163"/>
                  </a:lnTo>
                  <a:lnTo>
                    <a:pt x="151" y="174"/>
                  </a:lnTo>
                  <a:lnTo>
                    <a:pt x="179" y="174"/>
                  </a:lnTo>
                  <a:lnTo>
                    <a:pt x="220" y="163"/>
                  </a:lnTo>
                  <a:lnTo>
                    <a:pt x="234" y="163"/>
                  </a:lnTo>
                  <a:lnTo>
                    <a:pt x="262" y="163"/>
                  </a:lnTo>
                  <a:lnTo>
                    <a:pt x="262" y="137"/>
                  </a:lnTo>
                  <a:lnTo>
                    <a:pt x="248" y="13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56" name="Freeform 287a"/>
            <p:cNvSpPr>
              <a:spLocks/>
            </p:cNvSpPr>
            <p:nvPr/>
          </p:nvSpPr>
          <p:spPr bwMode="auto">
            <a:xfrm>
              <a:off x="6260782" y="4399022"/>
              <a:ext cx="400441" cy="316111"/>
            </a:xfrm>
            <a:custGeom>
              <a:avLst/>
              <a:gdLst/>
              <a:ahLst/>
              <a:cxnLst>
                <a:cxn ang="0">
                  <a:pos x="347" y="90"/>
                </a:cxn>
                <a:cxn ang="0">
                  <a:pos x="332" y="15"/>
                </a:cxn>
                <a:cxn ang="0">
                  <a:pos x="304" y="0"/>
                </a:cxn>
                <a:cxn ang="0">
                  <a:pos x="262" y="26"/>
                </a:cxn>
                <a:cxn ang="0">
                  <a:pos x="247" y="15"/>
                </a:cxn>
                <a:cxn ang="0">
                  <a:pos x="70" y="15"/>
                </a:cxn>
                <a:cxn ang="0">
                  <a:pos x="70" y="52"/>
                </a:cxn>
                <a:cxn ang="0">
                  <a:pos x="56" y="67"/>
                </a:cxn>
                <a:cxn ang="0">
                  <a:pos x="42" y="78"/>
                </a:cxn>
                <a:cxn ang="0">
                  <a:pos x="42" y="142"/>
                </a:cxn>
                <a:cxn ang="0">
                  <a:pos x="42" y="154"/>
                </a:cxn>
                <a:cxn ang="0">
                  <a:pos x="28" y="154"/>
                </a:cxn>
                <a:cxn ang="0">
                  <a:pos x="0" y="206"/>
                </a:cxn>
                <a:cxn ang="0">
                  <a:pos x="28" y="244"/>
                </a:cxn>
                <a:cxn ang="0">
                  <a:pos x="14" y="244"/>
                </a:cxn>
                <a:cxn ang="0">
                  <a:pos x="42" y="270"/>
                </a:cxn>
                <a:cxn ang="0">
                  <a:pos x="42" y="296"/>
                </a:cxn>
                <a:cxn ang="0">
                  <a:pos x="42" y="296"/>
                </a:cxn>
                <a:cxn ang="0">
                  <a:pos x="54" y="296"/>
                </a:cxn>
                <a:cxn ang="0">
                  <a:pos x="70" y="277"/>
                </a:cxn>
                <a:cxn ang="0">
                  <a:pos x="80" y="263"/>
                </a:cxn>
                <a:cxn ang="0">
                  <a:pos x="94" y="260"/>
                </a:cxn>
                <a:cxn ang="0">
                  <a:pos x="115" y="282"/>
                </a:cxn>
                <a:cxn ang="0">
                  <a:pos x="141" y="284"/>
                </a:cxn>
                <a:cxn ang="0">
                  <a:pos x="181" y="267"/>
                </a:cxn>
                <a:cxn ang="0">
                  <a:pos x="212" y="279"/>
                </a:cxn>
                <a:cxn ang="0">
                  <a:pos x="231" y="258"/>
                </a:cxn>
                <a:cxn ang="0">
                  <a:pos x="229" y="227"/>
                </a:cxn>
                <a:cxn ang="0">
                  <a:pos x="255" y="223"/>
                </a:cxn>
                <a:cxn ang="0">
                  <a:pos x="255" y="251"/>
                </a:cxn>
                <a:cxn ang="0">
                  <a:pos x="273" y="263"/>
                </a:cxn>
                <a:cxn ang="0">
                  <a:pos x="276" y="258"/>
                </a:cxn>
                <a:cxn ang="0">
                  <a:pos x="318" y="206"/>
                </a:cxn>
                <a:cxn ang="0">
                  <a:pos x="318" y="182"/>
                </a:cxn>
                <a:cxn ang="0">
                  <a:pos x="332" y="130"/>
                </a:cxn>
                <a:cxn ang="0">
                  <a:pos x="358" y="116"/>
                </a:cxn>
                <a:cxn ang="0">
                  <a:pos x="358" y="104"/>
                </a:cxn>
                <a:cxn ang="0">
                  <a:pos x="347" y="90"/>
                </a:cxn>
              </a:cxnLst>
              <a:rect l="0" t="0" r="r" b="b"/>
              <a:pathLst>
                <a:path w="358" h="296">
                  <a:moveTo>
                    <a:pt x="347" y="90"/>
                  </a:moveTo>
                  <a:lnTo>
                    <a:pt x="332" y="15"/>
                  </a:lnTo>
                  <a:lnTo>
                    <a:pt x="304" y="0"/>
                  </a:lnTo>
                  <a:lnTo>
                    <a:pt x="262" y="26"/>
                  </a:lnTo>
                  <a:lnTo>
                    <a:pt x="247" y="15"/>
                  </a:lnTo>
                  <a:lnTo>
                    <a:pt x="70" y="15"/>
                  </a:lnTo>
                  <a:lnTo>
                    <a:pt x="70" y="52"/>
                  </a:lnTo>
                  <a:lnTo>
                    <a:pt x="56" y="67"/>
                  </a:lnTo>
                  <a:lnTo>
                    <a:pt x="42" y="78"/>
                  </a:lnTo>
                  <a:lnTo>
                    <a:pt x="42" y="142"/>
                  </a:lnTo>
                  <a:lnTo>
                    <a:pt x="42" y="154"/>
                  </a:lnTo>
                  <a:lnTo>
                    <a:pt x="28" y="154"/>
                  </a:lnTo>
                  <a:lnTo>
                    <a:pt x="0" y="206"/>
                  </a:lnTo>
                  <a:lnTo>
                    <a:pt x="28" y="244"/>
                  </a:lnTo>
                  <a:lnTo>
                    <a:pt x="14" y="244"/>
                  </a:lnTo>
                  <a:lnTo>
                    <a:pt x="42" y="270"/>
                  </a:lnTo>
                  <a:lnTo>
                    <a:pt x="42" y="296"/>
                  </a:lnTo>
                  <a:lnTo>
                    <a:pt x="42" y="296"/>
                  </a:lnTo>
                  <a:lnTo>
                    <a:pt x="54" y="296"/>
                  </a:lnTo>
                  <a:lnTo>
                    <a:pt x="70" y="277"/>
                  </a:lnTo>
                  <a:lnTo>
                    <a:pt x="80" y="263"/>
                  </a:lnTo>
                  <a:lnTo>
                    <a:pt x="94" y="260"/>
                  </a:lnTo>
                  <a:lnTo>
                    <a:pt x="115" y="282"/>
                  </a:lnTo>
                  <a:lnTo>
                    <a:pt x="141" y="284"/>
                  </a:lnTo>
                  <a:lnTo>
                    <a:pt x="181" y="267"/>
                  </a:lnTo>
                  <a:lnTo>
                    <a:pt x="212" y="279"/>
                  </a:lnTo>
                  <a:lnTo>
                    <a:pt x="231" y="258"/>
                  </a:lnTo>
                  <a:lnTo>
                    <a:pt x="229" y="227"/>
                  </a:lnTo>
                  <a:lnTo>
                    <a:pt x="255" y="223"/>
                  </a:lnTo>
                  <a:lnTo>
                    <a:pt x="255" y="251"/>
                  </a:lnTo>
                  <a:lnTo>
                    <a:pt x="273" y="263"/>
                  </a:lnTo>
                  <a:lnTo>
                    <a:pt x="276" y="258"/>
                  </a:lnTo>
                  <a:lnTo>
                    <a:pt x="318" y="206"/>
                  </a:lnTo>
                  <a:lnTo>
                    <a:pt x="318" y="182"/>
                  </a:lnTo>
                  <a:lnTo>
                    <a:pt x="332" y="130"/>
                  </a:lnTo>
                  <a:lnTo>
                    <a:pt x="358" y="116"/>
                  </a:lnTo>
                  <a:lnTo>
                    <a:pt x="358" y="104"/>
                  </a:lnTo>
                  <a:lnTo>
                    <a:pt x="347" y="9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57" name="Freeform 6"/>
            <p:cNvSpPr>
              <a:spLocks/>
            </p:cNvSpPr>
            <p:nvPr/>
          </p:nvSpPr>
          <p:spPr bwMode="auto">
            <a:xfrm>
              <a:off x="5482832" y="3469019"/>
              <a:ext cx="104079" cy="138475"/>
            </a:xfrm>
            <a:custGeom>
              <a:avLst/>
              <a:gdLst>
                <a:gd name="T0" fmla="*/ 10 w 119"/>
                <a:gd name="T1" fmla="*/ 0 h 161"/>
                <a:gd name="T2" fmla="*/ 10 w 119"/>
                <a:gd name="T3" fmla="*/ 0 h 161"/>
                <a:gd name="T4" fmla="*/ 8 w 119"/>
                <a:gd name="T5" fmla="*/ 5 h 161"/>
                <a:gd name="T6" fmla="*/ 10 w 119"/>
                <a:gd name="T7" fmla="*/ 6 h 161"/>
                <a:gd name="T8" fmla="*/ 14 w 119"/>
                <a:gd name="T9" fmla="*/ 6 h 161"/>
                <a:gd name="T10" fmla="*/ 14 w 119"/>
                <a:gd name="T11" fmla="*/ 9 h 161"/>
                <a:gd name="T12" fmla="*/ 14 w 119"/>
                <a:gd name="T13" fmla="*/ 12 h 161"/>
                <a:gd name="T14" fmla="*/ 12 w 119"/>
                <a:gd name="T15" fmla="*/ 18 h 161"/>
                <a:gd name="T16" fmla="*/ 2 w 119"/>
                <a:gd name="T17" fmla="*/ 21 h 161"/>
                <a:gd name="T18" fmla="*/ 0 w 119"/>
                <a:gd name="T19" fmla="*/ 18 h 161"/>
                <a:gd name="T20" fmla="*/ 2 w 119"/>
                <a:gd name="T21" fmla="*/ 18 h 161"/>
                <a:gd name="T22" fmla="*/ 4 w 119"/>
                <a:gd name="T23" fmla="*/ 12 h 161"/>
                <a:gd name="T24" fmla="*/ 2 w 119"/>
                <a:gd name="T25" fmla="*/ 11 h 161"/>
                <a:gd name="T26" fmla="*/ 4 w 119"/>
                <a:gd name="T27" fmla="*/ 9 h 161"/>
                <a:gd name="T28" fmla="*/ 2 w 119"/>
                <a:gd name="T29" fmla="*/ 9 h 161"/>
                <a:gd name="T30" fmla="*/ 2 w 119"/>
                <a:gd name="T31" fmla="*/ 6 h 161"/>
                <a:gd name="T32" fmla="*/ 6 w 119"/>
                <a:gd name="T33" fmla="*/ 6 h 161"/>
                <a:gd name="T34" fmla="*/ 8 w 119"/>
                <a:gd name="T35" fmla="*/ 5 h 161"/>
                <a:gd name="T36" fmla="*/ 6 w 119"/>
                <a:gd name="T37" fmla="*/ 5 h 161"/>
                <a:gd name="T38" fmla="*/ 6 w 119"/>
                <a:gd name="T39" fmla="*/ 3 h 161"/>
                <a:gd name="T40" fmla="*/ 10 w 119"/>
                <a:gd name="T41" fmla="*/ 0 h 1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9"/>
                <a:gd name="T64" fmla="*/ 0 h 161"/>
                <a:gd name="T65" fmla="*/ 119 w 119"/>
                <a:gd name="T66" fmla="*/ 161 h 1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9" h="161">
                  <a:moveTo>
                    <a:pt x="86" y="0"/>
                  </a:moveTo>
                  <a:lnTo>
                    <a:pt x="86" y="0"/>
                  </a:ln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58" name="Freeform 7"/>
            <p:cNvSpPr>
              <a:spLocks/>
            </p:cNvSpPr>
            <p:nvPr>
              <p:custDataLst>
                <p:tags r:id="rId19"/>
              </p:custDataLst>
            </p:nvPr>
          </p:nvSpPr>
          <p:spPr bwMode="auto">
            <a:xfrm>
              <a:off x="8188898" y="4554594"/>
              <a:ext cx="160529" cy="119670"/>
            </a:xfrm>
            <a:custGeom>
              <a:avLst/>
              <a:gdLst>
                <a:gd name="T0" fmla="*/ 37 w 91"/>
                <a:gd name="T1" fmla="*/ 70 h 70"/>
                <a:gd name="T2" fmla="*/ 12 w 91"/>
                <a:gd name="T3" fmla="*/ 60 h 70"/>
                <a:gd name="T4" fmla="*/ 0 w 91"/>
                <a:gd name="T5" fmla="*/ 19 h 70"/>
                <a:gd name="T6" fmla="*/ 36 w 91"/>
                <a:gd name="T7" fmla="*/ 0 h 70"/>
                <a:gd name="T8" fmla="*/ 75 w 91"/>
                <a:gd name="T9" fmla="*/ 3 h 70"/>
                <a:gd name="T10" fmla="*/ 91 w 91"/>
                <a:gd name="T11" fmla="*/ 31 h 70"/>
                <a:gd name="T12" fmla="*/ 79 w 91"/>
                <a:gd name="T13" fmla="*/ 54 h 70"/>
                <a:gd name="T14" fmla="*/ 37 w 91"/>
                <a:gd name="T15" fmla="*/ 70 h 70"/>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70"/>
                <a:gd name="T26" fmla="*/ 91 w 91"/>
                <a:gd name="T27" fmla="*/ 70 h 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70">
                  <a:moveTo>
                    <a:pt x="37" y="70"/>
                  </a:moveTo>
                  <a:lnTo>
                    <a:pt x="12" y="60"/>
                  </a:lnTo>
                  <a:lnTo>
                    <a:pt x="0" y="19"/>
                  </a:lnTo>
                  <a:lnTo>
                    <a:pt x="36" y="0"/>
                  </a:lnTo>
                  <a:lnTo>
                    <a:pt x="75" y="3"/>
                  </a:lnTo>
                  <a:lnTo>
                    <a:pt x="91" y="31"/>
                  </a:lnTo>
                  <a:lnTo>
                    <a:pt x="79" y="54"/>
                  </a:lnTo>
                  <a:lnTo>
                    <a:pt x="37" y="7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59" name="Freeform 8"/>
            <p:cNvSpPr>
              <a:spLocks/>
            </p:cNvSpPr>
            <p:nvPr/>
          </p:nvSpPr>
          <p:spPr bwMode="auto">
            <a:xfrm>
              <a:off x="6446008" y="4918732"/>
              <a:ext cx="261081" cy="232501"/>
            </a:xfrm>
            <a:custGeom>
              <a:avLst/>
              <a:gdLst>
                <a:gd name="T0" fmla="*/ 13 w 296"/>
                <a:gd name="T1" fmla="*/ 28 h 270"/>
                <a:gd name="T2" fmla="*/ 13 w 296"/>
                <a:gd name="T3" fmla="*/ 28 h 270"/>
                <a:gd name="T4" fmla="*/ 6 w 296"/>
                <a:gd name="T5" fmla="*/ 24 h 270"/>
                <a:gd name="T6" fmla="*/ 5 w 296"/>
                <a:gd name="T7" fmla="*/ 24 h 270"/>
                <a:gd name="T8" fmla="*/ 0 w 296"/>
                <a:gd name="T9" fmla="*/ 18 h 270"/>
                <a:gd name="T10" fmla="*/ 0 w 296"/>
                <a:gd name="T11" fmla="*/ 12 h 270"/>
                <a:gd name="T12" fmla="*/ 5 w 296"/>
                <a:gd name="T13" fmla="*/ 8 h 270"/>
                <a:gd name="T14" fmla="*/ 5 w 296"/>
                <a:gd name="T15" fmla="*/ 6 h 270"/>
                <a:gd name="T16" fmla="*/ 5 w 296"/>
                <a:gd name="T17" fmla="*/ 4 h 270"/>
                <a:gd name="T18" fmla="*/ 5 w 296"/>
                <a:gd name="T19" fmla="*/ 0 h 270"/>
                <a:gd name="T20" fmla="*/ 9 w 296"/>
                <a:gd name="T21" fmla="*/ 0 h 270"/>
                <a:gd name="T22" fmla="*/ 15 w 296"/>
                <a:gd name="T23" fmla="*/ 0 h 270"/>
                <a:gd name="T24" fmla="*/ 18 w 296"/>
                <a:gd name="T25" fmla="*/ 0 h 270"/>
                <a:gd name="T26" fmla="*/ 28 w 296"/>
                <a:gd name="T27" fmla="*/ 6 h 270"/>
                <a:gd name="T28" fmla="*/ 28 w 296"/>
                <a:gd name="T29" fmla="*/ 10 h 270"/>
                <a:gd name="T30" fmla="*/ 35 w 296"/>
                <a:gd name="T31" fmla="*/ 12 h 270"/>
                <a:gd name="T32" fmla="*/ 33 w 296"/>
                <a:gd name="T33" fmla="*/ 16 h 270"/>
                <a:gd name="T34" fmla="*/ 35 w 296"/>
                <a:gd name="T35" fmla="*/ 20 h 270"/>
                <a:gd name="T36" fmla="*/ 35 w 296"/>
                <a:gd name="T37" fmla="*/ 26 h 270"/>
                <a:gd name="T38" fmla="*/ 35 w 296"/>
                <a:gd name="T39" fmla="*/ 28 h 270"/>
                <a:gd name="T40" fmla="*/ 37 w 296"/>
                <a:gd name="T41" fmla="*/ 30 h 270"/>
                <a:gd name="T42" fmla="*/ 33 w 296"/>
                <a:gd name="T43" fmla="*/ 35 h 270"/>
                <a:gd name="T44" fmla="*/ 23 w 296"/>
                <a:gd name="T45" fmla="*/ 35 h 270"/>
                <a:gd name="T46" fmla="*/ 19 w 296"/>
                <a:gd name="T47" fmla="*/ 35 h 270"/>
                <a:gd name="T48" fmla="*/ 18 w 296"/>
                <a:gd name="T49" fmla="*/ 28 h 270"/>
                <a:gd name="T50" fmla="*/ 15 w 296"/>
                <a:gd name="T51" fmla="*/ 28 h 270"/>
                <a:gd name="T52" fmla="*/ 13 w 296"/>
                <a:gd name="T53" fmla="*/ 28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0" name="Freeform 9"/>
            <p:cNvSpPr>
              <a:spLocks/>
            </p:cNvSpPr>
            <p:nvPr/>
          </p:nvSpPr>
          <p:spPr bwMode="auto">
            <a:xfrm>
              <a:off x="7883716" y="4275935"/>
              <a:ext cx="74090" cy="27353"/>
            </a:xfrm>
            <a:custGeom>
              <a:avLst/>
              <a:gdLst>
                <a:gd name="T0" fmla="*/ 8 w 85"/>
                <a:gd name="T1" fmla="*/ 0 h 33"/>
                <a:gd name="T2" fmla="*/ 8 w 85"/>
                <a:gd name="T3" fmla="*/ 0 h 33"/>
                <a:gd name="T4" fmla="*/ 2 w 85"/>
                <a:gd name="T5" fmla="*/ 0 h 33"/>
                <a:gd name="T6" fmla="*/ 0 w 85"/>
                <a:gd name="T7" fmla="*/ 2 h 33"/>
                <a:gd name="T8" fmla="*/ 0 w 85"/>
                <a:gd name="T9" fmla="*/ 4 h 33"/>
                <a:gd name="T10" fmla="*/ 8 w 85"/>
                <a:gd name="T11" fmla="*/ 4 h 33"/>
                <a:gd name="T12" fmla="*/ 10 w 85"/>
                <a:gd name="T13" fmla="*/ 4 h 33"/>
                <a:gd name="T14" fmla="*/ 8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1" name="Freeform 10"/>
            <p:cNvSpPr>
              <a:spLocks/>
            </p:cNvSpPr>
            <p:nvPr/>
          </p:nvSpPr>
          <p:spPr bwMode="auto">
            <a:xfrm>
              <a:off x="7850199" y="3592108"/>
              <a:ext cx="765600" cy="328237"/>
            </a:xfrm>
            <a:custGeom>
              <a:avLst/>
              <a:gdLst>
                <a:gd name="T0" fmla="*/ 72 w 867"/>
                <a:gd name="T1" fmla="*/ 12 h 384"/>
                <a:gd name="T2" fmla="*/ 72 w 867"/>
                <a:gd name="T3" fmla="*/ 12 h 384"/>
                <a:gd name="T4" fmla="*/ 59 w 867"/>
                <a:gd name="T5" fmla="*/ 6 h 384"/>
                <a:gd name="T6" fmla="*/ 55 w 867"/>
                <a:gd name="T7" fmla="*/ 9 h 384"/>
                <a:gd name="T8" fmla="*/ 52 w 867"/>
                <a:gd name="T9" fmla="*/ 9 h 384"/>
                <a:gd name="T10" fmla="*/ 48 w 867"/>
                <a:gd name="T11" fmla="*/ 3 h 384"/>
                <a:gd name="T12" fmla="*/ 40 w 867"/>
                <a:gd name="T13" fmla="*/ 0 h 384"/>
                <a:gd name="T14" fmla="*/ 35 w 867"/>
                <a:gd name="T15" fmla="*/ 3 h 384"/>
                <a:gd name="T16" fmla="*/ 35 w 867"/>
                <a:gd name="T17" fmla="*/ 6 h 384"/>
                <a:gd name="T18" fmla="*/ 35 w 867"/>
                <a:gd name="T19" fmla="*/ 11 h 384"/>
                <a:gd name="T20" fmla="*/ 26 w 867"/>
                <a:gd name="T21" fmla="*/ 11 h 384"/>
                <a:gd name="T22" fmla="*/ 22 w 867"/>
                <a:gd name="T23" fmla="*/ 9 h 384"/>
                <a:gd name="T24" fmla="*/ 13 w 867"/>
                <a:gd name="T25" fmla="*/ 6 h 384"/>
                <a:gd name="T26" fmla="*/ 3 w 867"/>
                <a:gd name="T27" fmla="*/ 12 h 384"/>
                <a:gd name="T28" fmla="*/ 0 w 867"/>
                <a:gd name="T29" fmla="*/ 14 h 384"/>
                <a:gd name="T30" fmla="*/ 5 w 867"/>
                <a:gd name="T31" fmla="*/ 21 h 384"/>
                <a:gd name="T32" fmla="*/ 9 w 867"/>
                <a:gd name="T33" fmla="*/ 21 h 384"/>
                <a:gd name="T34" fmla="*/ 11 w 867"/>
                <a:gd name="T35" fmla="*/ 24 h 384"/>
                <a:gd name="T36" fmla="*/ 11 w 867"/>
                <a:gd name="T37" fmla="*/ 33 h 384"/>
                <a:gd name="T38" fmla="*/ 24 w 867"/>
                <a:gd name="T39" fmla="*/ 36 h 384"/>
                <a:gd name="T40" fmla="*/ 31 w 867"/>
                <a:gd name="T41" fmla="*/ 42 h 384"/>
                <a:gd name="T42" fmla="*/ 44 w 867"/>
                <a:gd name="T43" fmla="*/ 42 h 384"/>
                <a:gd name="T44" fmla="*/ 50 w 867"/>
                <a:gd name="T45" fmla="*/ 47 h 384"/>
                <a:gd name="T46" fmla="*/ 59 w 867"/>
                <a:gd name="T47" fmla="*/ 48 h 384"/>
                <a:gd name="T48" fmla="*/ 68 w 867"/>
                <a:gd name="T49" fmla="*/ 45 h 384"/>
                <a:gd name="T50" fmla="*/ 76 w 867"/>
                <a:gd name="T51" fmla="*/ 45 h 384"/>
                <a:gd name="T52" fmla="*/ 83 w 867"/>
                <a:gd name="T53" fmla="*/ 39 h 384"/>
                <a:gd name="T54" fmla="*/ 81 w 867"/>
                <a:gd name="T55" fmla="*/ 36 h 384"/>
                <a:gd name="T56" fmla="*/ 85 w 867"/>
                <a:gd name="T57" fmla="*/ 33 h 384"/>
                <a:gd name="T58" fmla="*/ 89 w 867"/>
                <a:gd name="T59" fmla="*/ 35 h 384"/>
                <a:gd name="T60" fmla="*/ 96 w 867"/>
                <a:gd name="T61" fmla="*/ 30 h 384"/>
                <a:gd name="T62" fmla="*/ 100 w 867"/>
                <a:gd name="T63" fmla="*/ 26 h 384"/>
                <a:gd name="T64" fmla="*/ 109 w 867"/>
                <a:gd name="T65" fmla="*/ 26 h 384"/>
                <a:gd name="T66" fmla="*/ 107 w 867"/>
                <a:gd name="T67" fmla="*/ 23 h 384"/>
                <a:gd name="T68" fmla="*/ 105 w 867"/>
                <a:gd name="T69" fmla="*/ 21 h 384"/>
                <a:gd name="T70" fmla="*/ 100 w 867"/>
                <a:gd name="T71" fmla="*/ 23 h 384"/>
                <a:gd name="T72" fmla="*/ 96 w 867"/>
                <a:gd name="T73" fmla="*/ 23 h 384"/>
                <a:gd name="T74" fmla="*/ 96 w 867"/>
                <a:gd name="T75" fmla="*/ 14 h 384"/>
                <a:gd name="T76" fmla="*/ 98 w 867"/>
                <a:gd name="T77" fmla="*/ 11 h 384"/>
                <a:gd name="T78" fmla="*/ 92 w 867"/>
                <a:gd name="T79" fmla="*/ 9 h 384"/>
                <a:gd name="T80" fmla="*/ 87 w 867"/>
                <a:gd name="T81" fmla="*/ 12 h 384"/>
                <a:gd name="T82" fmla="*/ 78 w 867"/>
                <a:gd name="T83" fmla="*/ 14 h 384"/>
                <a:gd name="T84" fmla="*/ 72 w 867"/>
                <a:gd name="T85" fmla="*/ 12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2" name="Freeform 11"/>
            <p:cNvSpPr>
              <a:spLocks/>
            </p:cNvSpPr>
            <p:nvPr/>
          </p:nvSpPr>
          <p:spPr bwMode="auto">
            <a:xfrm>
              <a:off x="6232557" y="2759549"/>
              <a:ext cx="259317" cy="519708"/>
            </a:xfrm>
            <a:custGeom>
              <a:avLst/>
              <a:gdLst>
                <a:gd name="T0" fmla="*/ 28 w 294"/>
                <a:gd name="T1" fmla="*/ 10 h 609"/>
                <a:gd name="T2" fmla="*/ 28 w 294"/>
                <a:gd name="T3" fmla="*/ 10 h 609"/>
                <a:gd name="T4" fmla="*/ 28 w 294"/>
                <a:gd name="T5" fmla="*/ 16 h 609"/>
                <a:gd name="T6" fmla="*/ 33 w 294"/>
                <a:gd name="T7" fmla="*/ 20 h 609"/>
                <a:gd name="T8" fmla="*/ 30 w 294"/>
                <a:gd name="T9" fmla="*/ 26 h 609"/>
                <a:gd name="T10" fmla="*/ 33 w 294"/>
                <a:gd name="T11" fmla="*/ 36 h 609"/>
                <a:gd name="T12" fmla="*/ 30 w 294"/>
                <a:gd name="T13" fmla="*/ 42 h 609"/>
                <a:gd name="T14" fmla="*/ 35 w 294"/>
                <a:gd name="T15" fmla="*/ 48 h 609"/>
                <a:gd name="T16" fmla="*/ 33 w 294"/>
                <a:gd name="T17" fmla="*/ 52 h 609"/>
                <a:gd name="T18" fmla="*/ 37 w 294"/>
                <a:gd name="T19" fmla="*/ 55 h 609"/>
                <a:gd name="T20" fmla="*/ 37 w 294"/>
                <a:gd name="T21" fmla="*/ 58 h 609"/>
                <a:gd name="T22" fmla="*/ 30 w 294"/>
                <a:gd name="T23" fmla="*/ 67 h 609"/>
                <a:gd name="T24" fmla="*/ 23 w 294"/>
                <a:gd name="T25" fmla="*/ 72 h 609"/>
                <a:gd name="T26" fmla="*/ 21 w 294"/>
                <a:gd name="T27" fmla="*/ 72 h 609"/>
                <a:gd name="T28" fmla="*/ 10 w 294"/>
                <a:gd name="T29" fmla="*/ 76 h 609"/>
                <a:gd name="T30" fmla="*/ 2 w 294"/>
                <a:gd name="T31" fmla="*/ 72 h 609"/>
                <a:gd name="T32" fmla="*/ 5 w 294"/>
                <a:gd name="T33" fmla="*/ 66 h 609"/>
                <a:gd name="T34" fmla="*/ 2 w 294"/>
                <a:gd name="T35" fmla="*/ 60 h 609"/>
                <a:gd name="T36" fmla="*/ 5 w 294"/>
                <a:gd name="T37" fmla="*/ 55 h 609"/>
                <a:gd name="T38" fmla="*/ 13 w 294"/>
                <a:gd name="T39" fmla="*/ 44 h 609"/>
                <a:gd name="T40" fmla="*/ 15 w 294"/>
                <a:gd name="T41" fmla="*/ 42 h 609"/>
                <a:gd name="T42" fmla="*/ 15 w 294"/>
                <a:gd name="T43" fmla="*/ 38 h 609"/>
                <a:gd name="T44" fmla="*/ 13 w 294"/>
                <a:gd name="T45" fmla="*/ 36 h 609"/>
                <a:gd name="T46" fmla="*/ 10 w 294"/>
                <a:gd name="T47" fmla="*/ 36 h 609"/>
                <a:gd name="T48" fmla="*/ 9 w 294"/>
                <a:gd name="T49" fmla="*/ 18 h 609"/>
                <a:gd name="T50" fmla="*/ 0 w 294"/>
                <a:gd name="T51" fmla="*/ 10 h 609"/>
                <a:gd name="T52" fmla="*/ 2 w 294"/>
                <a:gd name="T53" fmla="*/ 8 h 609"/>
                <a:gd name="T54" fmla="*/ 6 w 294"/>
                <a:gd name="T55" fmla="*/ 12 h 609"/>
                <a:gd name="T56" fmla="*/ 9 w 294"/>
                <a:gd name="T57" fmla="*/ 12 h 609"/>
                <a:gd name="T58" fmla="*/ 10 w 294"/>
                <a:gd name="T59" fmla="*/ 12 h 609"/>
                <a:gd name="T60" fmla="*/ 15 w 294"/>
                <a:gd name="T61" fmla="*/ 12 h 609"/>
                <a:gd name="T62" fmla="*/ 18 w 294"/>
                <a:gd name="T63" fmla="*/ 10 h 609"/>
                <a:gd name="T64" fmla="*/ 19 w 294"/>
                <a:gd name="T65" fmla="*/ 2 h 609"/>
                <a:gd name="T66" fmla="*/ 23 w 294"/>
                <a:gd name="T67" fmla="*/ 0 h 609"/>
                <a:gd name="T68" fmla="*/ 30 w 294"/>
                <a:gd name="T69" fmla="*/ 4 h 609"/>
                <a:gd name="T70" fmla="*/ 28 w 294"/>
                <a:gd name="T71" fmla="*/ 10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609"/>
                <a:gd name="T110" fmla="*/ 294 w 294"/>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609">
                  <a:moveTo>
                    <a:pt x="225" y="81"/>
                  </a:moveTo>
                  <a:lnTo>
                    <a:pt x="225" y="81"/>
                  </a:lnTo>
                  <a:lnTo>
                    <a:pt x="225" y="129"/>
                  </a:lnTo>
                  <a:lnTo>
                    <a:pt x="260" y="160"/>
                  </a:lnTo>
                  <a:lnTo>
                    <a:pt x="242" y="208"/>
                  </a:lnTo>
                  <a:lnTo>
                    <a:pt x="260" y="288"/>
                  </a:lnTo>
                  <a:lnTo>
                    <a:pt x="242" y="336"/>
                  </a:lnTo>
                  <a:lnTo>
                    <a:pt x="277" y="384"/>
                  </a:lnTo>
                  <a:lnTo>
                    <a:pt x="260" y="417"/>
                  </a:lnTo>
                  <a:lnTo>
                    <a:pt x="294" y="447"/>
                  </a:lnTo>
                  <a:lnTo>
                    <a:pt x="294" y="465"/>
                  </a:lnTo>
                  <a:lnTo>
                    <a:pt x="242" y="543"/>
                  </a:lnTo>
                  <a:lnTo>
                    <a:pt x="191" y="576"/>
                  </a:lnTo>
                  <a:lnTo>
                    <a:pt x="173" y="576"/>
                  </a:lnTo>
                  <a:lnTo>
                    <a:pt x="87" y="609"/>
                  </a:lnTo>
                  <a:lnTo>
                    <a:pt x="18" y="576"/>
                  </a:lnTo>
                  <a:lnTo>
                    <a:pt x="35" y="528"/>
                  </a:lnTo>
                  <a:lnTo>
                    <a:pt x="18" y="480"/>
                  </a:lnTo>
                  <a:lnTo>
                    <a:pt x="35" y="447"/>
                  </a:lnTo>
                  <a:lnTo>
                    <a:pt x="104" y="352"/>
                  </a:lnTo>
                  <a:lnTo>
                    <a:pt x="121" y="336"/>
                  </a:lnTo>
                  <a:lnTo>
                    <a:pt x="121" y="304"/>
                  </a:lnTo>
                  <a:lnTo>
                    <a:pt x="104" y="288"/>
                  </a:lnTo>
                  <a:lnTo>
                    <a:pt x="87" y="288"/>
                  </a:lnTo>
                  <a:lnTo>
                    <a:pt x="70" y="144"/>
                  </a:lnTo>
                  <a:lnTo>
                    <a:pt x="0" y="81"/>
                  </a:lnTo>
                  <a:lnTo>
                    <a:pt x="18" y="64"/>
                  </a:lnTo>
                  <a:lnTo>
                    <a:pt x="52" y="96"/>
                  </a:lnTo>
                  <a:lnTo>
                    <a:pt x="70" y="96"/>
                  </a:lnTo>
                  <a:lnTo>
                    <a:pt x="87" y="96"/>
                  </a:lnTo>
                  <a:lnTo>
                    <a:pt x="121" y="96"/>
                  </a:lnTo>
                  <a:lnTo>
                    <a:pt x="139" y="81"/>
                  </a:lnTo>
                  <a:lnTo>
                    <a:pt x="156" y="16"/>
                  </a:lnTo>
                  <a:lnTo>
                    <a:pt x="191" y="0"/>
                  </a:lnTo>
                  <a:lnTo>
                    <a:pt x="242" y="33"/>
                  </a:lnTo>
                  <a:lnTo>
                    <a:pt x="225" y="81"/>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63" name="Freeform 12"/>
            <p:cNvSpPr>
              <a:spLocks/>
            </p:cNvSpPr>
            <p:nvPr/>
          </p:nvSpPr>
          <p:spPr bwMode="auto">
            <a:xfrm>
              <a:off x="5847992" y="2689456"/>
              <a:ext cx="643882" cy="671860"/>
            </a:xfrm>
            <a:custGeom>
              <a:avLst/>
              <a:gdLst>
                <a:gd name="T0" fmla="*/ 22 w 729"/>
                <a:gd name="T1" fmla="*/ 94 h 785"/>
                <a:gd name="T2" fmla="*/ 20 w 729"/>
                <a:gd name="T3" fmla="*/ 90 h 785"/>
                <a:gd name="T4" fmla="*/ 18 w 729"/>
                <a:gd name="T5" fmla="*/ 93 h 785"/>
                <a:gd name="T6" fmla="*/ 7 w 729"/>
                <a:gd name="T7" fmla="*/ 99 h 785"/>
                <a:gd name="T8" fmla="*/ 5 w 729"/>
                <a:gd name="T9" fmla="*/ 90 h 785"/>
                <a:gd name="T10" fmla="*/ 3 w 729"/>
                <a:gd name="T11" fmla="*/ 90 h 785"/>
                <a:gd name="T12" fmla="*/ 3 w 729"/>
                <a:gd name="T13" fmla="*/ 84 h 785"/>
                <a:gd name="T14" fmla="*/ 3 w 729"/>
                <a:gd name="T15" fmla="*/ 76 h 785"/>
                <a:gd name="T16" fmla="*/ 9 w 729"/>
                <a:gd name="T17" fmla="*/ 69 h 785"/>
                <a:gd name="T18" fmla="*/ 16 w 729"/>
                <a:gd name="T19" fmla="*/ 63 h 785"/>
                <a:gd name="T20" fmla="*/ 22 w 729"/>
                <a:gd name="T21" fmla="*/ 54 h 785"/>
                <a:gd name="T22" fmla="*/ 31 w 729"/>
                <a:gd name="T23" fmla="*/ 40 h 785"/>
                <a:gd name="T24" fmla="*/ 39 w 729"/>
                <a:gd name="T25" fmla="*/ 27 h 785"/>
                <a:gd name="T26" fmla="*/ 28 w 729"/>
                <a:gd name="T27" fmla="*/ 30 h 785"/>
                <a:gd name="T28" fmla="*/ 35 w 729"/>
                <a:gd name="T29" fmla="*/ 27 h 785"/>
                <a:gd name="T30" fmla="*/ 39 w 729"/>
                <a:gd name="T31" fmla="*/ 18 h 785"/>
                <a:gd name="T32" fmla="*/ 41 w 729"/>
                <a:gd name="T33" fmla="*/ 21 h 785"/>
                <a:gd name="T34" fmla="*/ 44 w 729"/>
                <a:gd name="T35" fmla="*/ 21 h 785"/>
                <a:gd name="T36" fmla="*/ 41 w 729"/>
                <a:gd name="T37" fmla="*/ 16 h 785"/>
                <a:gd name="T38" fmla="*/ 48 w 729"/>
                <a:gd name="T39" fmla="*/ 10 h 785"/>
                <a:gd name="T40" fmla="*/ 57 w 729"/>
                <a:gd name="T41" fmla="*/ 9 h 785"/>
                <a:gd name="T42" fmla="*/ 68 w 729"/>
                <a:gd name="T43" fmla="*/ 4 h 785"/>
                <a:gd name="T44" fmla="*/ 72 w 729"/>
                <a:gd name="T45" fmla="*/ 0 h 785"/>
                <a:gd name="T46" fmla="*/ 74 w 729"/>
                <a:gd name="T47" fmla="*/ 3 h 785"/>
                <a:gd name="T48" fmla="*/ 78 w 729"/>
                <a:gd name="T49" fmla="*/ 0 h 785"/>
                <a:gd name="T50" fmla="*/ 92 w 729"/>
                <a:gd name="T51" fmla="*/ 9 h 785"/>
                <a:gd name="T52" fmla="*/ 83 w 729"/>
                <a:gd name="T53" fmla="*/ 10 h 785"/>
                <a:gd name="T54" fmla="*/ 89 w 729"/>
                <a:gd name="T55" fmla="*/ 15 h 785"/>
                <a:gd name="T56" fmla="*/ 87 w 729"/>
                <a:gd name="T57" fmla="*/ 16 h 785"/>
                <a:gd name="T58" fmla="*/ 85 w 729"/>
                <a:gd name="T59" fmla="*/ 15 h 785"/>
                <a:gd name="T60" fmla="*/ 74 w 729"/>
                <a:gd name="T61" fmla="*/ 12 h 785"/>
                <a:gd name="T62" fmla="*/ 70 w 729"/>
                <a:gd name="T63" fmla="*/ 22 h 785"/>
                <a:gd name="T64" fmla="*/ 63 w 729"/>
                <a:gd name="T65" fmla="*/ 22 h 785"/>
                <a:gd name="T66" fmla="*/ 57 w 729"/>
                <a:gd name="T67" fmla="*/ 18 h 785"/>
                <a:gd name="T68" fmla="*/ 52 w 729"/>
                <a:gd name="T69" fmla="*/ 21 h 785"/>
                <a:gd name="T70" fmla="*/ 48 w 729"/>
                <a:gd name="T71" fmla="*/ 24 h 785"/>
                <a:gd name="T72" fmla="*/ 46 w 729"/>
                <a:gd name="T73" fmla="*/ 28 h 785"/>
                <a:gd name="T74" fmla="*/ 41 w 729"/>
                <a:gd name="T75" fmla="*/ 30 h 785"/>
                <a:gd name="T76" fmla="*/ 39 w 729"/>
                <a:gd name="T77" fmla="*/ 36 h 785"/>
                <a:gd name="T78" fmla="*/ 35 w 729"/>
                <a:gd name="T79" fmla="*/ 45 h 785"/>
                <a:gd name="T80" fmla="*/ 31 w 729"/>
                <a:gd name="T81" fmla="*/ 54 h 785"/>
                <a:gd name="T82" fmla="*/ 28 w 729"/>
                <a:gd name="T83" fmla="*/ 60 h 785"/>
                <a:gd name="T84" fmla="*/ 24 w 729"/>
                <a:gd name="T85" fmla="*/ 70 h 785"/>
                <a:gd name="T86" fmla="*/ 26 w 729"/>
                <a:gd name="T87" fmla="*/ 81 h 785"/>
                <a:gd name="T88" fmla="*/ 24 w 729"/>
                <a:gd name="T89" fmla="*/ 88 h 785"/>
                <a:gd name="T90" fmla="*/ 22 w 729"/>
                <a:gd name="T91" fmla="*/ 94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29"/>
                <a:gd name="T139" fmla="*/ 0 h 785"/>
                <a:gd name="T140" fmla="*/ 729 w 729"/>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29" h="785">
                  <a:moveTo>
                    <a:pt x="172" y="752"/>
                  </a:moveTo>
                  <a:lnTo>
                    <a:pt x="172" y="752"/>
                  </a:lnTo>
                  <a:lnTo>
                    <a:pt x="172" y="737"/>
                  </a:lnTo>
                  <a:lnTo>
                    <a:pt x="155" y="719"/>
                  </a:lnTo>
                  <a:lnTo>
                    <a:pt x="155" y="737"/>
                  </a:lnTo>
                  <a:lnTo>
                    <a:pt x="138" y="737"/>
                  </a:lnTo>
                  <a:lnTo>
                    <a:pt x="86" y="785"/>
                  </a:lnTo>
                  <a:lnTo>
                    <a:pt x="52" y="785"/>
                  </a:lnTo>
                  <a:lnTo>
                    <a:pt x="17" y="767"/>
                  </a:lnTo>
                  <a:lnTo>
                    <a:pt x="34" y="719"/>
                  </a:lnTo>
                  <a:lnTo>
                    <a:pt x="17" y="737"/>
                  </a:lnTo>
                  <a:lnTo>
                    <a:pt x="17" y="719"/>
                  </a:lnTo>
                  <a:lnTo>
                    <a:pt x="17" y="704"/>
                  </a:lnTo>
                  <a:lnTo>
                    <a:pt x="17" y="671"/>
                  </a:lnTo>
                  <a:lnTo>
                    <a:pt x="0" y="641"/>
                  </a:lnTo>
                  <a:lnTo>
                    <a:pt x="17" y="608"/>
                  </a:lnTo>
                  <a:lnTo>
                    <a:pt x="0" y="593"/>
                  </a:lnTo>
                  <a:lnTo>
                    <a:pt x="69" y="545"/>
                  </a:lnTo>
                  <a:lnTo>
                    <a:pt x="86" y="527"/>
                  </a:lnTo>
                  <a:lnTo>
                    <a:pt x="121" y="497"/>
                  </a:lnTo>
                  <a:lnTo>
                    <a:pt x="121" y="512"/>
                  </a:lnTo>
                  <a:lnTo>
                    <a:pt x="172" y="432"/>
                  </a:lnTo>
                  <a:lnTo>
                    <a:pt x="207" y="401"/>
                  </a:lnTo>
                  <a:lnTo>
                    <a:pt x="242" y="320"/>
                  </a:lnTo>
                  <a:lnTo>
                    <a:pt x="276" y="240"/>
                  </a:lnTo>
                  <a:lnTo>
                    <a:pt x="311" y="209"/>
                  </a:lnTo>
                  <a:lnTo>
                    <a:pt x="259" y="224"/>
                  </a:lnTo>
                  <a:lnTo>
                    <a:pt x="224" y="240"/>
                  </a:lnTo>
                  <a:lnTo>
                    <a:pt x="242" y="209"/>
                  </a:lnTo>
                  <a:lnTo>
                    <a:pt x="276" y="209"/>
                  </a:lnTo>
                  <a:lnTo>
                    <a:pt x="259" y="176"/>
                  </a:lnTo>
                  <a:lnTo>
                    <a:pt x="311" y="144"/>
                  </a:lnTo>
                  <a:lnTo>
                    <a:pt x="311" y="176"/>
                  </a:lnTo>
                  <a:lnTo>
                    <a:pt x="328" y="161"/>
                  </a:lnTo>
                  <a:lnTo>
                    <a:pt x="328" y="176"/>
                  </a:lnTo>
                  <a:lnTo>
                    <a:pt x="347" y="161"/>
                  </a:lnTo>
                  <a:lnTo>
                    <a:pt x="328" y="161"/>
                  </a:lnTo>
                  <a:lnTo>
                    <a:pt x="328" y="128"/>
                  </a:lnTo>
                  <a:lnTo>
                    <a:pt x="364" y="113"/>
                  </a:lnTo>
                  <a:lnTo>
                    <a:pt x="382" y="80"/>
                  </a:lnTo>
                  <a:lnTo>
                    <a:pt x="416" y="80"/>
                  </a:lnTo>
                  <a:lnTo>
                    <a:pt x="451" y="65"/>
                  </a:lnTo>
                  <a:lnTo>
                    <a:pt x="503" y="17"/>
                  </a:lnTo>
                  <a:lnTo>
                    <a:pt x="537" y="32"/>
                  </a:lnTo>
                  <a:lnTo>
                    <a:pt x="555" y="17"/>
                  </a:lnTo>
                  <a:lnTo>
                    <a:pt x="572" y="0"/>
                  </a:lnTo>
                  <a:lnTo>
                    <a:pt x="572" y="48"/>
                  </a:lnTo>
                  <a:lnTo>
                    <a:pt x="589" y="17"/>
                  </a:lnTo>
                  <a:lnTo>
                    <a:pt x="606" y="48"/>
                  </a:lnTo>
                  <a:lnTo>
                    <a:pt x="624" y="0"/>
                  </a:lnTo>
                  <a:lnTo>
                    <a:pt x="658" y="17"/>
                  </a:lnTo>
                  <a:lnTo>
                    <a:pt x="729" y="65"/>
                  </a:lnTo>
                  <a:lnTo>
                    <a:pt x="695" y="80"/>
                  </a:lnTo>
                  <a:lnTo>
                    <a:pt x="658" y="80"/>
                  </a:lnTo>
                  <a:lnTo>
                    <a:pt x="695" y="96"/>
                  </a:lnTo>
                  <a:lnTo>
                    <a:pt x="712" y="113"/>
                  </a:lnTo>
                  <a:lnTo>
                    <a:pt x="712" y="128"/>
                  </a:lnTo>
                  <a:lnTo>
                    <a:pt x="695" y="128"/>
                  </a:lnTo>
                  <a:lnTo>
                    <a:pt x="658" y="161"/>
                  </a:lnTo>
                  <a:lnTo>
                    <a:pt x="677" y="113"/>
                  </a:lnTo>
                  <a:lnTo>
                    <a:pt x="624" y="80"/>
                  </a:lnTo>
                  <a:lnTo>
                    <a:pt x="589" y="96"/>
                  </a:lnTo>
                  <a:lnTo>
                    <a:pt x="572" y="161"/>
                  </a:lnTo>
                  <a:lnTo>
                    <a:pt x="555" y="176"/>
                  </a:lnTo>
                  <a:lnTo>
                    <a:pt x="520" y="176"/>
                  </a:lnTo>
                  <a:lnTo>
                    <a:pt x="503" y="176"/>
                  </a:lnTo>
                  <a:lnTo>
                    <a:pt x="485" y="176"/>
                  </a:lnTo>
                  <a:lnTo>
                    <a:pt x="451" y="144"/>
                  </a:lnTo>
                  <a:lnTo>
                    <a:pt x="434" y="161"/>
                  </a:lnTo>
                  <a:lnTo>
                    <a:pt x="416" y="161"/>
                  </a:lnTo>
                  <a:lnTo>
                    <a:pt x="416" y="192"/>
                  </a:lnTo>
                  <a:lnTo>
                    <a:pt x="382" y="192"/>
                  </a:lnTo>
                  <a:lnTo>
                    <a:pt x="364" y="192"/>
                  </a:lnTo>
                  <a:lnTo>
                    <a:pt x="364" y="224"/>
                  </a:lnTo>
                  <a:lnTo>
                    <a:pt x="347" y="224"/>
                  </a:lnTo>
                  <a:lnTo>
                    <a:pt x="328" y="240"/>
                  </a:lnTo>
                  <a:lnTo>
                    <a:pt x="311" y="272"/>
                  </a:lnTo>
                  <a:lnTo>
                    <a:pt x="311" y="288"/>
                  </a:lnTo>
                  <a:lnTo>
                    <a:pt x="311" y="305"/>
                  </a:lnTo>
                  <a:lnTo>
                    <a:pt x="276" y="353"/>
                  </a:lnTo>
                  <a:lnTo>
                    <a:pt x="259" y="401"/>
                  </a:lnTo>
                  <a:lnTo>
                    <a:pt x="242" y="432"/>
                  </a:lnTo>
                  <a:lnTo>
                    <a:pt x="259" y="464"/>
                  </a:lnTo>
                  <a:lnTo>
                    <a:pt x="224" y="479"/>
                  </a:lnTo>
                  <a:lnTo>
                    <a:pt x="207" y="497"/>
                  </a:lnTo>
                  <a:lnTo>
                    <a:pt x="190" y="560"/>
                  </a:lnTo>
                  <a:lnTo>
                    <a:pt x="207" y="623"/>
                  </a:lnTo>
                  <a:lnTo>
                    <a:pt x="207" y="641"/>
                  </a:lnTo>
                  <a:lnTo>
                    <a:pt x="207" y="689"/>
                  </a:lnTo>
                  <a:lnTo>
                    <a:pt x="190" y="704"/>
                  </a:lnTo>
                  <a:lnTo>
                    <a:pt x="190" y="752"/>
                  </a:lnTo>
                  <a:lnTo>
                    <a:pt x="172" y="752"/>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64" name="Freeform 13"/>
            <p:cNvSpPr>
              <a:spLocks/>
            </p:cNvSpPr>
            <p:nvPr/>
          </p:nvSpPr>
          <p:spPr bwMode="auto">
            <a:xfrm>
              <a:off x="6292535" y="3427989"/>
              <a:ext cx="229327" cy="179505"/>
            </a:xfrm>
            <a:custGeom>
              <a:avLst/>
              <a:gdLst>
                <a:gd name="T0" fmla="*/ 31 w 259"/>
                <a:gd name="T1" fmla="*/ 23 h 209"/>
                <a:gd name="T2" fmla="*/ 31 w 259"/>
                <a:gd name="T3" fmla="*/ 23 h 209"/>
                <a:gd name="T4" fmla="*/ 28 w 259"/>
                <a:gd name="T5" fmla="*/ 18 h 209"/>
                <a:gd name="T6" fmla="*/ 28 w 259"/>
                <a:gd name="T7" fmla="*/ 17 h 209"/>
                <a:gd name="T8" fmla="*/ 31 w 259"/>
                <a:gd name="T9" fmla="*/ 18 h 209"/>
                <a:gd name="T10" fmla="*/ 33 w 259"/>
                <a:gd name="T11" fmla="*/ 15 h 209"/>
                <a:gd name="T12" fmla="*/ 31 w 259"/>
                <a:gd name="T13" fmla="*/ 15 h 209"/>
                <a:gd name="T14" fmla="*/ 26 w 259"/>
                <a:gd name="T15" fmla="*/ 9 h 209"/>
                <a:gd name="T16" fmla="*/ 26 w 259"/>
                <a:gd name="T17" fmla="*/ 5 h 209"/>
                <a:gd name="T18" fmla="*/ 24 w 259"/>
                <a:gd name="T19" fmla="*/ 3 h 209"/>
                <a:gd name="T20" fmla="*/ 18 w 259"/>
                <a:gd name="T21" fmla="*/ 0 h 209"/>
                <a:gd name="T22" fmla="*/ 13 w 259"/>
                <a:gd name="T23" fmla="*/ 5 h 209"/>
                <a:gd name="T24" fmla="*/ 13 w 259"/>
                <a:gd name="T25" fmla="*/ 6 h 209"/>
                <a:gd name="T26" fmla="*/ 9 w 259"/>
                <a:gd name="T27" fmla="*/ 9 h 209"/>
                <a:gd name="T28" fmla="*/ 9 w 259"/>
                <a:gd name="T29" fmla="*/ 12 h 209"/>
                <a:gd name="T30" fmla="*/ 7 w 259"/>
                <a:gd name="T31" fmla="*/ 12 h 209"/>
                <a:gd name="T32" fmla="*/ 3 w 259"/>
                <a:gd name="T33" fmla="*/ 15 h 209"/>
                <a:gd name="T34" fmla="*/ 0 w 259"/>
                <a:gd name="T35" fmla="*/ 15 h 209"/>
                <a:gd name="T36" fmla="*/ 3 w 259"/>
                <a:gd name="T37" fmla="*/ 18 h 209"/>
                <a:gd name="T38" fmla="*/ 0 w 259"/>
                <a:gd name="T39" fmla="*/ 23 h 209"/>
                <a:gd name="T40" fmla="*/ 0 w 259"/>
                <a:gd name="T41" fmla="*/ 27 h 209"/>
                <a:gd name="T42" fmla="*/ 5 w 259"/>
                <a:gd name="T43" fmla="*/ 24 h 209"/>
                <a:gd name="T44" fmla="*/ 9 w 259"/>
                <a:gd name="T45" fmla="*/ 24 h 209"/>
                <a:gd name="T46" fmla="*/ 16 w 259"/>
                <a:gd name="T47" fmla="*/ 27 h 209"/>
                <a:gd name="T48" fmla="*/ 18 w 259"/>
                <a:gd name="T49" fmla="*/ 27 h 209"/>
                <a:gd name="T50" fmla="*/ 20 w 259"/>
                <a:gd name="T51" fmla="*/ 27 h 209"/>
                <a:gd name="T52" fmla="*/ 22 w 259"/>
                <a:gd name="T53" fmla="*/ 27 h 209"/>
                <a:gd name="T54" fmla="*/ 26 w 259"/>
                <a:gd name="T55" fmla="*/ 27 h 209"/>
                <a:gd name="T56" fmla="*/ 28 w 259"/>
                <a:gd name="T57" fmla="*/ 23 h 209"/>
                <a:gd name="T58" fmla="*/ 31 w 259"/>
                <a:gd name="T59" fmla="*/ 23 h 2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9"/>
                <a:gd name="T91" fmla="*/ 0 h 209"/>
                <a:gd name="T92" fmla="*/ 259 w 259"/>
                <a:gd name="T93" fmla="*/ 209 h 2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9" h="209">
                  <a:moveTo>
                    <a:pt x="241" y="177"/>
                  </a:moveTo>
                  <a:lnTo>
                    <a:pt x="241" y="177"/>
                  </a:lnTo>
                  <a:lnTo>
                    <a:pt x="224" y="144"/>
                  </a:lnTo>
                  <a:lnTo>
                    <a:pt x="224" y="129"/>
                  </a:lnTo>
                  <a:lnTo>
                    <a:pt x="241" y="144"/>
                  </a:lnTo>
                  <a:lnTo>
                    <a:pt x="259" y="113"/>
                  </a:lnTo>
                  <a:lnTo>
                    <a:pt x="241" y="113"/>
                  </a:lnTo>
                  <a:lnTo>
                    <a:pt x="207" y="66"/>
                  </a:lnTo>
                  <a:lnTo>
                    <a:pt x="207" y="33"/>
                  </a:lnTo>
                  <a:lnTo>
                    <a:pt x="190" y="18"/>
                  </a:lnTo>
                  <a:lnTo>
                    <a:pt x="138" y="0"/>
                  </a:lnTo>
                  <a:lnTo>
                    <a:pt x="103" y="33"/>
                  </a:lnTo>
                  <a:lnTo>
                    <a:pt x="103" y="48"/>
                  </a:lnTo>
                  <a:lnTo>
                    <a:pt x="69" y="66"/>
                  </a:lnTo>
                  <a:lnTo>
                    <a:pt x="69" y="96"/>
                  </a:lnTo>
                  <a:lnTo>
                    <a:pt x="51" y="96"/>
                  </a:lnTo>
                  <a:lnTo>
                    <a:pt x="17" y="113"/>
                  </a:lnTo>
                  <a:lnTo>
                    <a:pt x="0" y="113"/>
                  </a:lnTo>
                  <a:lnTo>
                    <a:pt x="17" y="144"/>
                  </a:lnTo>
                  <a:lnTo>
                    <a:pt x="0" y="177"/>
                  </a:lnTo>
                  <a:lnTo>
                    <a:pt x="0" y="209"/>
                  </a:lnTo>
                  <a:lnTo>
                    <a:pt x="34" y="192"/>
                  </a:lnTo>
                  <a:lnTo>
                    <a:pt x="69" y="192"/>
                  </a:lnTo>
                  <a:lnTo>
                    <a:pt x="121" y="209"/>
                  </a:lnTo>
                  <a:lnTo>
                    <a:pt x="138" y="209"/>
                  </a:lnTo>
                  <a:lnTo>
                    <a:pt x="155" y="209"/>
                  </a:lnTo>
                  <a:lnTo>
                    <a:pt x="172" y="209"/>
                  </a:lnTo>
                  <a:lnTo>
                    <a:pt x="207" y="209"/>
                  </a:lnTo>
                  <a:lnTo>
                    <a:pt x="224" y="177"/>
                  </a:lnTo>
                  <a:lnTo>
                    <a:pt x="241" y="17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5" name="Freeform 14"/>
            <p:cNvSpPr>
              <a:spLocks/>
            </p:cNvSpPr>
            <p:nvPr/>
          </p:nvSpPr>
          <p:spPr bwMode="auto">
            <a:xfrm>
              <a:off x="6384266" y="2157781"/>
              <a:ext cx="3942671" cy="1762564"/>
            </a:xfrm>
            <a:custGeom>
              <a:avLst/>
              <a:gdLst>
                <a:gd name="T0" fmla="*/ 275 w 4469"/>
                <a:gd name="T1" fmla="*/ 52 h 2063"/>
                <a:gd name="T2" fmla="*/ 275 w 4469"/>
                <a:gd name="T3" fmla="*/ 10 h 2063"/>
                <a:gd name="T4" fmla="*/ 228 w 4469"/>
                <a:gd name="T5" fmla="*/ 22 h 2063"/>
                <a:gd name="T6" fmla="*/ 187 w 4469"/>
                <a:gd name="T7" fmla="*/ 74 h 2063"/>
                <a:gd name="T8" fmla="*/ 165 w 4469"/>
                <a:gd name="T9" fmla="*/ 66 h 2063"/>
                <a:gd name="T10" fmla="*/ 165 w 4469"/>
                <a:gd name="T11" fmla="*/ 110 h 2063"/>
                <a:gd name="T12" fmla="*/ 154 w 4469"/>
                <a:gd name="T13" fmla="*/ 74 h 2063"/>
                <a:gd name="T14" fmla="*/ 137 w 4469"/>
                <a:gd name="T15" fmla="*/ 92 h 2063"/>
                <a:gd name="T16" fmla="*/ 113 w 4469"/>
                <a:gd name="T17" fmla="*/ 100 h 2063"/>
                <a:gd name="T18" fmla="*/ 72 w 4469"/>
                <a:gd name="T19" fmla="*/ 114 h 2063"/>
                <a:gd name="T20" fmla="*/ 59 w 4469"/>
                <a:gd name="T21" fmla="*/ 114 h 2063"/>
                <a:gd name="T22" fmla="*/ 33 w 4469"/>
                <a:gd name="T23" fmla="*/ 132 h 2063"/>
                <a:gd name="T24" fmla="*/ 22 w 4469"/>
                <a:gd name="T25" fmla="*/ 116 h 2063"/>
                <a:gd name="T26" fmla="*/ 18 w 4469"/>
                <a:gd name="T27" fmla="*/ 90 h 2063"/>
                <a:gd name="T28" fmla="*/ 9 w 4469"/>
                <a:gd name="T29" fmla="*/ 114 h 2063"/>
                <a:gd name="T30" fmla="*/ 9 w 4469"/>
                <a:gd name="T31" fmla="*/ 155 h 2063"/>
                <a:gd name="T32" fmla="*/ 3 w 4469"/>
                <a:gd name="T33" fmla="*/ 176 h 2063"/>
                <a:gd name="T34" fmla="*/ 14 w 4469"/>
                <a:gd name="T35" fmla="*/ 194 h 2063"/>
                <a:gd name="T36" fmla="*/ 24 w 4469"/>
                <a:gd name="T37" fmla="*/ 208 h 2063"/>
                <a:gd name="T38" fmla="*/ 35 w 4469"/>
                <a:gd name="T39" fmla="*/ 215 h 2063"/>
                <a:gd name="T40" fmla="*/ 44 w 4469"/>
                <a:gd name="T41" fmla="*/ 233 h 2063"/>
                <a:gd name="T42" fmla="*/ 55 w 4469"/>
                <a:gd name="T43" fmla="*/ 250 h 2063"/>
                <a:gd name="T44" fmla="*/ 70 w 4469"/>
                <a:gd name="T45" fmla="*/ 251 h 2063"/>
                <a:gd name="T46" fmla="*/ 74 w 4469"/>
                <a:gd name="T47" fmla="*/ 236 h 2063"/>
                <a:gd name="T48" fmla="*/ 76 w 4469"/>
                <a:gd name="T49" fmla="*/ 220 h 2063"/>
                <a:gd name="T50" fmla="*/ 102 w 4469"/>
                <a:gd name="T51" fmla="*/ 214 h 2063"/>
                <a:gd name="T52" fmla="*/ 115 w 4469"/>
                <a:gd name="T53" fmla="*/ 206 h 2063"/>
                <a:gd name="T54" fmla="*/ 150 w 4469"/>
                <a:gd name="T55" fmla="*/ 191 h 2063"/>
                <a:gd name="T56" fmla="*/ 167 w 4469"/>
                <a:gd name="T57" fmla="*/ 197 h 2063"/>
                <a:gd name="T58" fmla="*/ 200 w 4469"/>
                <a:gd name="T59" fmla="*/ 220 h 2063"/>
                <a:gd name="T60" fmla="*/ 221 w 4469"/>
                <a:gd name="T61" fmla="*/ 215 h 2063"/>
                <a:gd name="T62" fmla="*/ 256 w 4469"/>
                <a:gd name="T63" fmla="*/ 212 h 2063"/>
                <a:gd name="T64" fmla="*/ 299 w 4469"/>
                <a:gd name="T65" fmla="*/ 218 h 2063"/>
                <a:gd name="T66" fmla="*/ 319 w 4469"/>
                <a:gd name="T67" fmla="*/ 208 h 2063"/>
                <a:gd name="T68" fmla="*/ 356 w 4469"/>
                <a:gd name="T69" fmla="*/ 226 h 2063"/>
                <a:gd name="T70" fmla="*/ 356 w 4469"/>
                <a:gd name="T71" fmla="*/ 244 h 2063"/>
                <a:gd name="T72" fmla="*/ 369 w 4469"/>
                <a:gd name="T73" fmla="*/ 250 h 2063"/>
                <a:gd name="T74" fmla="*/ 382 w 4469"/>
                <a:gd name="T75" fmla="*/ 202 h 2063"/>
                <a:gd name="T76" fmla="*/ 377 w 4469"/>
                <a:gd name="T77" fmla="*/ 188 h 2063"/>
                <a:gd name="T78" fmla="*/ 425 w 4469"/>
                <a:gd name="T79" fmla="*/ 167 h 2063"/>
                <a:gd name="T80" fmla="*/ 455 w 4469"/>
                <a:gd name="T81" fmla="*/ 152 h 2063"/>
                <a:gd name="T82" fmla="*/ 466 w 4469"/>
                <a:gd name="T83" fmla="*/ 160 h 2063"/>
                <a:gd name="T84" fmla="*/ 453 w 4469"/>
                <a:gd name="T85" fmla="*/ 203 h 2063"/>
                <a:gd name="T86" fmla="*/ 466 w 4469"/>
                <a:gd name="T87" fmla="*/ 188 h 2063"/>
                <a:gd name="T88" fmla="*/ 466 w 4469"/>
                <a:gd name="T89" fmla="*/ 170 h 2063"/>
                <a:gd name="T90" fmla="*/ 490 w 4469"/>
                <a:gd name="T91" fmla="*/ 166 h 2063"/>
                <a:gd name="T92" fmla="*/ 516 w 4469"/>
                <a:gd name="T93" fmla="*/ 132 h 2063"/>
                <a:gd name="T94" fmla="*/ 533 w 4469"/>
                <a:gd name="T95" fmla="*/ 126 h 2063"/>
                <a:gd name="T96" fmla="*/ 553 w 4469"/>
                <a:gd name="T97" fmla="*/ 116 h 2063"/>
                <a:gd name="T98" fmla="*/ 484 w 4469"/>
                <a:gd name="T99" fmla="*/ 96 h 2063"/>
                <a:gd name="T100" fmla="*/ 457 w 4469"/>
                <a:gd name="T101" fmla="*/ 92 h 2063"/>
                <a:gd name="T102" fmla="*/ 423 w 4469"/>
                <a:gd name="T103" fmla="*/ 76 h 2063"/>
                <a:gd name="T104" fmla="*/ 375 w 4469"/>
                <a:gd name="T105" fmla="*/ 74 h 2063"/>
                <a:gd name="T106" fmla="*/ 351 w 4469"/>
                <a:gd name="T107" fmla="*/ 62 h 2063"/>
                <a:gd name="T108" fmla="*/ 315 w 4469"/>
                <a:gd name="T109" fmla="*/ 52 h 20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69"/>
                <a:gd name="T166" fmla="*/ 0 h 2063"/>
                <a:gd name="T167" fmla="*/ 4469 w 4469"/>
                <a:gd name="T168" fmla="*/ 2063 h 20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69" h="2063">
                  <a:moveTo>
                    <a:pt x="2269" y="384"/>
                  </a:moveTo>
                  <a:lnTo>
                    <a:pt x="2269" y="384"/>
                  </a:lnTo>
                  <a:lnTo>
                    <a:pt x="2252" y="401"/>
                  </a:lnTo>
                  <a:lnTo>
                    <a:pt x="2269" y="432"/>
                  </a:lnTo>
                  <a:lnTo>
                    <a:pt x="2200" y="465"/>
                  </a:lnTo>
                  <a:lnTo>
                    <a:pt x="2183" y="465"/>
                  </a:lnTo>
                  <a:lnTo>
                    <a:pt x="2200" y="417"/>
                  </a:lnTo>
                  <a:lnTo>
                    <a:pt x="2375" y="273"/>
                  </a:lnTo>
                  <a:lnTo>
                    <a:pt x="2375" y="177"/>
                  </a:lnTo>
                  <a:lnTo>
                    <a:pt x="2304" y="113"/>
                  </a:lnTo>
                  <a:lnTo>
                    <a:pt x="2218" y="113"/>
                  </a:lnTo>
                  <a:lnTo>
                    <a:pt x="2218" y="144"/>
                  </a:lnTo>
                  <a:lnTo>
                    <a:pt x="2166" y="144"/>
                  </a:lnTo>
                  <a:lnTo>
                    <a:pt x="2200" y="81"/>
                  </a:lnTo>
                  <a:lnTo>
                    <a:pt x="2114" y="65"/>
                  </a:lnTo>
                  <a:lnTo>
                    <a:pt x="2166" y="33"/>
                  </a:lnTo>
                  <a:lnTo>
                    <a:pt x="2114" y="0"/>
                  </a:lnTo>
                  <a:lnTo>
                    <a:pt x="2028" y="81"/>
                  </a:lnTo>
                  <a:lnTo>
                    <a:pt x="2028" y="144"/>
                  </a:lnTo>
                  <a:lnTo>
                    <a:pt x="1976" y="144"/>
                  </a:lnTo>
                  <a:lnTo>
                    <a:pt x="1820" y="177"/>
                  </a:lnTo>
                  <a:lnTo>
                    <a:pt x="1682" y="257"/>
                  </a:lnTo>
                  <a:lnTo>
                    <a:pt x="1630" y="321"/>
                  </a:lnTo>
                  <a:lnTo>
                    <a:pt x="1647" y="401"/>
                  </a:lnTo>
                  <a:lnTo>
                    <a:pt x="1455" y="432"/>
                  </a:lnTo>
                  <a:lnTo>
                    <a:pt x="1473" y="528"/>
                  </a:lnTo>
                  <a:lnTo>
                    <a:pt x="1525" y="576"/>
                  </a:lnTo>
                  <a:lnTo>
                    <a:pt x="1490" y="593"/>
                  </a:lnTo>
                  <a:lnTo>
                    <a:pt x="1438" y="528"/>
                  </a:lnTo>
                  <a:lnTo>
                    <a:pt x="1386" y="512"/>
                  </a:lnTo>
                  <a:lnTo>
                    <a:pt x="1369" y="528"/>
                  </a:lnTo>
                  <a:lnTo>
                    <a:pt x="1334" y="497"/>
                  </a:lnTo>
                  <a:lnTo>
                    <a:pt x="1300" y="465"/>
                  </a:lnTo>
                  <a:lnTo>
                    <a:pt x="1300" y="480"/>
                  </a:lnTo>
                  <a:lnTo>
                    <a:pt x="1317" y="528"/>
                  </a:lnTo>
                  <a:lnTo>
                    <a:pt x="1265" y="608"/>
                  </a:lnTo>
                  <a:lnTo>
                    <a:pt x="1300" y="672"/>
                  </a:lnTo>
                  <a:lnTo>
                    <a:pt x="1283" y="737"/>
                  </a:lnTo>
                  <a:lnTo>
                    <a:pt x="1283" y="785"/>
                  </a:lnTo>
                  <a:lnTo>
                    <a:pt x="1334" y="785"/>
                  </a:lnTo>
                  <a:lnTo>
                    <a:pt x="1300" y="800"/>
                  </a:lnTo>
                  <a:lnTo>
                    <a:pt x="1317" y="881"/>
                  </a:lnTo>
                  <a:lnTo>
                    <a:pt x="1214" y="960"/>
                  </a:lnTo>
                  <a:lnTo>
                    <a:pt x="1196" y="944"/>
                  </a:lnTo>
                  <a:lnTo>
                    <a:pt x="1265" y="864"/>
                  </a:lnTo>
                  <a:lnTo>
                    <a:pt x="1283" y="816"/>
                  </a:lnTo>
                  <a:lnTo>
                    <a:pt x="1248" y="785"/>
                  </a:lnTo>
                  <a:lnTo>
                    <a:pt x="1248" y="624"/>
                  </a:lnTo>
                  <a:lnTo>
                    <a:pt x="1231" y="593"/>
                  </a:lnTo>
                  <a:lnTo>
                    <a:pt x="1248" y="497"/>
                  </a:lnTo>
                  <a:lnTo>
                    <a:pt x="1214" y="480"/>
                  </a:lnTo>
                  <a:lnTo>
                    <a:pt x="1231" y="465"/>
                  </a:lnTo>
                  <a:lnTo>
                    <a:pt x="1214" y="432"/>
                  </a:lnTo>
                  <a:lnTo>
                    <a:pt x="1179" y="449"/>
                  </a:lnTo>
                  <a:lnTo>
                    <a:pt x="1093" y="656"/>
                  </a:lnTo>
                  <a:lnTo>
                    <a:pt x="1093" y="737"/>
                  </a:lnTo>
                  <a:lnTo>
                    <a:pt x="1144" y="800"/>
                  </a:lnTo>
                  <a:lnTo>
                    <a:pt x="1144" y="833"/>
                  </a:lnTo>
                  <a:lnTo>
                    <a:pt x="1093" y="800"/>
                  </a:lnTo>
                  <a:lnTo>
                    <a:pt x="885" y="672"/>
                  </a:lnTo>
                  <a:lnTo>
                    <a:pt x="868" y="704"/>
                  </a:lnTo>
                  <a:lnTo>
                    <a:pt x="937" y="785"/>
                  </a:lnTo>
                  <a:lnTo>
                    <a:pt x="903" y="800"/>
                  </a:lnTo>
                  <a:lnTo>
                    <a:pt x="885" y="785"/>
                  </a:lnTo>
                  <a:lnTo>
                    <a:pt x="780" y="816"/>
                  </a:lnTo>
                  <a:lnTo>
                    <a:pt x="762" y="848"/>
                  </a:lnTo>
                  <a:lnTo>
                    <a:pt x="745" y="816"/>
                  </a:lnTo>
                  <a:lnTo>
                    <a:pt x="745" y="785"/>
                  </a:lnTo>
                  <a:lnTo>
                    <a:pt x="572" y="881"/>
                  </a:lnTo>
                  <a:lnTo>
                    <a:pt x="572" y="912"/>
                  </a:lnTo>
                  <a:lnTo>
                    <a:pt x="538" y="929"/>
                  </a:lnTo>
                  <a:lnTo>
                    <a:pt x="486" y="896"/>
                  </a:lnTo>
                  <a:lnTo>
                    <a:pt x="538" y="864"/>
                  </a:lnTo>
                  <a:lnTo>
                    <a:pt x="521" y="816"/>
                  </a:lnTo>
                  <a:lnTo>
                    <a:pt x="451" y="800"/>
                  </a:lnTo>
                  <a:lnTo>
                    <a:pt x="469" y="833"/>
                  </a:lnTo>
                  <a:lnTo>
                    <a:pt x="469" y="912"/>
                  </a:lnTo>
                  <a:lnTo>
                    <a:pt x="486" y="944"/>
                  </a:lnTo>
                  <a:lnTo>
                    <a:pt x="469" y="977"/>
                  </a:lnTo>
                  <a:lnTo>
                    <a:pt x="417" y="960"/>
                  </a:lnTo>
                  <a:lnTo>
                    <a:pt x="348" y="1008"/>
                  </a:lnTo>
                  <a:lnTo>
                    <a:pt x="382" y="1073"/>
                  </a:lnTo>
                  <a:lnTo>
                    <a:pt x="279" y="1040"/>
                  </a:lnTo>
                  <a:lnTo>
                    <a:pt x="261" y="1056"/>
                  </a:lnTo>
                  <a:lnTo>
                    <a:pt x="296" y="1103"/>
                  </a:lnTo>
                  <a:lnTo>
                    <a:pt x="261" y="1103"/>
                  </a:lnTo>
                  <a:lnTo>
                    <a:pt x="210" y="1073"/>
                  </a:lnTo>
                  <a:lnTo>
                    <a:pt x="210" y="977"/>
                  </a:lnTo>
                  <a:lnTo>
                    <a:pt x="158" y="944"/>
                  </a:lnTo>
                  <a:lnTo>
                    <a:pt x="140" y="912"/>
                  </a:lnTo>
                  <a:lnTo>
                    <a:pt x="175" y="929"/>
                  </a:lnTo>
                  <a:lnTo>
                    <a:pt x="313" y="977"/>
                  </a:lnTo>
                  <a:lnTo>
                    <a:pt x="400" y="929"/>
                  </a:lnTo>
                  <a:lnTo>
                    <a:pt x="382" y="881"/>
                  </a:lnTo>
                  <a:lnTo>
                    <a:pt x="279" y="785"/>
                  </a:lnTo>
                  <a:lnTo>
                    <a:pt x="175" y="752"/>
                  </a:lnTo>
                  <a:lnTo>
                    <a:pt x="175" y="737"/>
                  </a:lnTo>
                  <a:lnTo>
                    <a:pt x="140" y="720"/>
                  </a:lnTo>
                  <a:lnTo>
                    <a:pt x="106" y="737"/>
                  </a:lnTo>
                  <a:lnTo>
                    <a:pt x="106" y="752"/>
                  </a:lnTo>
                  <a:lnTo>
                    <a:pt x="87" y="752"/>
                  </a:lnTo>
                  <a:lnTo>
                    <a:pt x="52" y="785"/>
                  </a:lnTo>
                  <a:lnTo>
                    <a:pt x="52" y="833"/>
                  </a:lnTo>
                  <a:lnTo>
                    <a:pt x="87" y="864"/>
                  </a:lnTo>
                  <a:lnTo>
                    <a:pt x="69" y="912"/>
                  </a:lnTo>
                  <a:lnTo>
                    <a:pt x="87" y="992"/>
                  </a:lnTo>
                  <a:lnTo>
                    <a:pt x="69" y="1040"/>
                  </a:lnTo>
                  <a:lnTo>
                    <a:pt x="106" y="1088"/>
                  </a:lnTo>
                  <a:lnTo>
                    <a:pt x="87" y="1121"/>
                  </a:lnTo>
                  <a:lnTo>
                    <a:pt x="123" y="1151"/>
                  </a:lnTo>
                  <a:lnTo>
                    <a:pt x="123" y="1169"/>
                  </a:lnTo>
                  <a:lnTo>
                    <a:pt x="69" y="1247"/>
                  </a:lnTo>
                  <a:lnTo>
                    <a:pt x="18" y="1280"/>
                  </a:lnTo>
                  <a:lnTo>
                    <a:pt x="35" y="1280"/>
                  </a:lnTo>
                  <a:lnTo>
                    <a:pt x="69" y="1313"/>
                  </a:lnTo>
                  <a:lnTo>
                    <a:pt x="35" y="1343"/>
                  </a:lnTo>
                  <a:lnTo>
                    <a:pt x="18" y="1361"/>
                  </a:lnTo>
                  <a:lnTo>
                    <a:pt x="0" y="1361"/>
                  </a:lnTo>
                  <a:lnTo>
                    <a:pt x="18" y="1409"/>
                  </a:lnTo>
                  <a:lnTo>
                    <a:pt x="18" y="1424"/>
                  </a:lnTo>
                  <a:lnTo>
                    <a:pt x="18" y="1439"/>
                  </a:lnTo>
                  <a:lnTo>
                    <a:pt x="18" y="1457"/>
                  </a:lnTo>
                  <a:lnTo>
                    <a:pt x="35" y="1487"/>
                  </a:lnTo>
                  <a:lnTo>
                    <a:pt x="87" y="1505"/>
                  </a:lnTo>
                  <a:lnTo>
                    <a:pt x="106" y="1520"/>
                  </a:lnTo>
                  <a:lnTo>
                    <a:pt x="106" y="1553"/>
                  </a:lnTo>
                  <a:lnTo>
                    <a:pt x="140" y="1600"/>
                  </a:lnTo>
                  <a:lnTo>
                    <a:pt x="158" y="1600"/>
                  </a:lnTo>
                  <a:lnTo>
                    <a:pt x="140" y="1631"/>
                  </a:lnTo>
                  <a:lnTo>
                    <a:pt x="123" y="1616"/>
                  </a:lnTo>
                  <a:lnTo>
                    <a:pt x="123" y="1631"/>
                  </a:lnTo>
                  <a:lnTo>
                    <a:pt x="140" y="1664"/>
                  </a:lnTo>
                  <a:lnTo>
                    <a:pt x="192" y="1664"/>
                  </a:lnTo>
                  <a:lnTo>
                    <a:pt x="210" y="1679"/>
                  </a:lnTo>
                  <a:lnTo>
                    <a:pt x="192" y="1679"/>
                  </a:lnTo>
                  <a:lnTo>
                    <a:pt x="210" y="1696"/>
                  </a:lnTo>
                  <a:lnTo>
                    <a:pt x="227" y="1696"/>
                  </a:lnTo>
                  <a:lnTo>
                    <a:pt x="244" y="1727"/>
                  </a:lnTo>
                  <a:lnTo>
                    <a:pt x="261" y="1744"/>
                  </a:lnTo>
                  <a:lnTo>
                    <a:pt x="279" y="1727"/>
                  </a:lnTo>
                  <a:lnTo>
                    <a:pt x="365" y="1775"/>
                  </a:lnTo>
                  <a:lnTo>
                    <a:pt x="348" y="1840"/>
                  </a:lnTo>
                  <a:lnTo>
                    <a:pt x="330" y="1823"/>
                  </a:lnTo>
                  <a:lnTo>
                    <a:pt x="313" y="1840"/>
                  </a:lnTo>
                  <a:lnTo>
                    <a:pt x="313" y="1871"/>
                  </a:lnTo>
                  <a:lnTo>
                    <a:pt x="330" y="1856"/>
                  </a:lnTo>
                  <a:lnTo>
                    <a:pt x="348" y="1871"/>
                  </a:lnTo>
                  <a:lnTo>
                    <a:pt x="296" y="1888"/>
                  </a:lnTo>
                  <a:lnTo>
                    <a:pt x="313" y="1904"/>
                  </a:lnTo>
                  <a:lnTo>
                    <a:pt x="279" y="1936"/>
                  </a:lnTo>
                  <a:lnTo>
                    <a:pt x="261" y="1936"/>
                  </a:lnTo>
                  <a:lnTo>
                    <a:pt x="279" y="1936"/>
                  </a:lnTo>
                  <a:lnTo>
                    <a:pt x="348" y="2000"/>
                  </a:lnTo>
                  <a:lnTo>
                    <a:pt x="434" y="2000"/>
                  </a:lnTo>
                  <a:lnTo>
                    <a:pt x="469" y="2015"/>
                  </a:lnTo>
                  <a:lnTo>
                    <a:pt x="503" y="2015"/>
                  </a:lnTo>
                  <a:lnTo>
                    <a:pt x="538" y="2048"/>
                  </a:lnTo>
                  <a:lnTo>
                    <a:pt x="555" y="2063"/>
                  </a:lnTo>
                  <a:lnTo>
                    <a:pt x="572" y="2063"/>
                  </a:lnTo>
                  <a:lnTo>
                    <a:pt x="590" y="2048"/>
                  </a:lnTo>
                  <a:lnTo>
                    <a:pt x="555" y="2015"/>
                  </a:lnTo>
                  <a:lnTo>
                    <a:pt x="555" y="1984"/>
                  </a:lnTo>
                  <a:lnTo>
                    <a:pt x="538" y="1952"/>
                  </a:lnTo>
                  <a:lnTo>
                    <a:pt x="572" y="1904"/>
                  </a:lnTo>
                  <a:lnTo>
                    <a:pt x="590" y="1919"/>
                  </a:lnTo>
                  <a:lnTo>
                    <a:pt x="607" y="1904"/>
                  </a:lnTo>
                  <a:lnTo>
                    <a:pt x="607" y="1888"/>
                  </a:lnTo>
                  <a:lnTo>
                    <a:pt x="590" y="1888"/>
                  </a:lnTo>
                  <a:lnTo>
                    <a:pt x="607" y="1871"/>
                  </a:lnTo>
                  <a:lnTo>
                    <a:pt x="590" y="1840"/>
                  </a:lnTo>
                  <a:lnTo>
                    <a:pt x="555" y="1840"/>
                  </a:lnTo>
                  <a:lnTo>
                    <a:pt x="538" y="1808"/>
                  </a:lnTo>
                  <a:lnTo>
                    <a:pt x="555" y="1727"/>
                  </a:lnTo>
                  <a:lnTo>
                    <a:pt x="590" y="1760"/>
                  </a:lnTo>
                  <a:lnTo>
                    <a:pt x="607" y="1760"/>
                  </a:lnTo>
                  <a:lnTo>
                    <a:pt x="590" y="1727"/>
                  </a:lnTo>
                  <a:lnTo>
                    <a:pt x="641" y="1679"/>
                  </a:lnTo>
                  <a:lnTo>
                    <a:pt x="676" y="1696"/>
                  </a:lnTo>
                  <a:lnTo>
                    <a:pt x="693" y="1679"/>
                  </a:lnTo>
                  <a:lnTo>
                    <a:pt x="728" y="1696"/>
                  </a:lnTo>
                  <a:lnTo>
                    <a:pt x="780" y="1727"/>
                  </a:lnTo>
                  <a:lnTo>
                    <a:pt x="814" y="1712"/>
                  </a:lnTo>
                  <a:lnTo>
                    <a:pt x="851" y="1712"/>
                  </a:lnTo>
                  <a:lnTo>
                    <a:pt x="868" y="1727"/>
                  </a:lnTo>
                  <a:lnTo>
                    <a:pt x="937" y="1727"/>
                  </a:lnTo>
                  <a:lnTo>
                    <a:pt x="954" y="1696"/>
                  </a:lnTo>
                  <a:lnTo>
                    <a:pt x="903" y="1679"/>
                  </a:lnTo>
                  <a:lnTo>
                    <a:pt x="937" y="1664"/>
                  </a:lnTo>
                  <a:lnTo>
                    <a:pt x="920" y="1648"/>
                  </a:lnTo>
                  <a:lnTo>
                    <a:pt x="937" y="1631"/>
                  </a:lnTo>
                  <a:lnTo>
                    <a:pt x="937" y="1583"/>
                  </a:lnTo>
                  <a:lnTo>
                    <a:pt x="972" y="1600"/>
                  </a:lnTo>
                  <a:lnTo>
                    <a:pt x="1127" y="1553"/>
                  </a:lnTo>
                  <a:lnTo>
                    <a:pt x="1127" y="1535"/>
                  </a:lnTo>
                  <a:lnTo>
                    <a:pt x="1144" y="1535"/>
                  </a:lnTo>
                  <a:lnTo>
                    <a:pt x="1196" y="1535"/>
                  </a:lnTo>
                  <a:lnTo>
                    <a:pt x="1214" y="1568"/>
                  </a:lnTo>
                  <a:lnTo>
                    <a:pt x="1214" y="1583"/>
                  </a:lnTo>
                  <a:lnTo>
                    <a:pt x="1231" y="1583"/>
                  </a:lnTo>
                  <a:lnTo>
                    <a:pt x="1265" y="1600"/>
                  </a:lnTo>
                  <a:lnTo>
                    <a:pt x="1265" y="1616"/>
                  </a:lnTo>
                  <a:lnTo>
                    <a:pt x="1300" y="1616"/>
                  </a:lnTo>
                  <a:lnTo>
                    <a:pt x="1334" y="1583"/>
                  </a:lnTo>
                  <a:lnTo>
                    <a:pt x="1369" y="1568"/>
                  </a:lnTo>
                  <a:lnTo>
                    <a:pt x="1386" y="1616"/>
                  </a:lnTo>
                  <a:lnTo>
                    <a:pt x="1455" y="1727"/>
                  </a:lnTo>
                  <a:lnTo>
                    <a:pt x="1473" y="1696"/>
                  </a:lnTo>
                  <a:lnTo>
                    <a:pt x="1490" y="1727"/>
                  </a:lnTo>
                  <a:lnTo>
                    <a:pt x="1542" y="1712"/>
                  </a:lnTo>
                  <a:lnTo>
                    <a:pt x="1596" y="1760"/>
                  </a:lnTo>
                  <a:lnTo>
                    <a:pt x="1630" y="1775"/>
                  </a:lnTo>
                  <a:lnTo>
                    <a:pt x="1630" y="1760"/>
                  </a:lnTo>
                  <a:lnTo>
                    <a:pt x="1647" y="1792"/>
                  </a:lnTo>
                  <a:lnTo>
                    <a:pt x="1630" y="1808"/>
                  </a:lnTo>
                  <a:lnTo>
                    <a:pt x="1665" y="1792"/>
                  </a:lnTo>
                  <a:lnTo>
                    <a:pt x="1682" y="1775"/>
                  </a:lnTo>
                  <a:lnTo>
                    <a:pt x="1768" y="1727"/>
                  </a:lnTo>
                  <a:lnTo>
                    <a:pt x="1837" y="1744"/>
                  </a:lnTo>
                  <a:lnTo>
                    <a:pt x="1872" y="1760"/>
                  </a:lnTo>
                  <a:lnTo>
                    <a:pt x="1941" y="1760"/>
                  </a:lnTo>
                  <a:lnTo>
                    <a:pt x="1941" y="1727"/>
                  </a:lnTo>
                  <a:lnTo>
                    <a:pt x="1941" y="1696"/>
                  </a:lnTo>
                  <a:lnTo>
                    <a:pt x="1976" y="1679"/>
                  </a:lnTo>
                  <a:lnTo>
                    <a:pt x="2045" y="1696"/>
                  </a:lnTo>
                  <a:lnTo>
                    <a:pt x="2079" y="1744"/>
                  </a:lnTo>
                  <a:lnTo>
                    <a:pt x="2097" y="1744"/>
                  </a:lnTo>
                  <a:lnTo>
                    <a:pt x="2131" y="1727"/>
                  </a:lnTo>
                  <a:lnTo>
                    <a:pt x="2235" y="1775"/>
                  </a:lnTo>
                  <a:lnTo>
                    <a:pt x="2287" y="1792"/>
                  </a:lnTo>
                  <a:lnTo>
                    <a:pt x="2358" y="1775"/>
                  </a:lnTo>
                  <a:lnTo>
                    <a:pt x="2392" y="1744"/>
                  </a:lnTo>
                  <a:lnTo>
                    <a:pt x="2444" y="1760"/>
                  </a:lnTo>
                  <a:lnTo>
                    <a:pt x="2479" y="1775"/>
                  </a:lnTo>
                  <a:lnTo>
                    <a:pt x="2530" y="1760"/>
                  </a:lnTo>
                  <a:lnTo>
                    <a:pt x="2548" y="1696"/>
                  </a:lnTo>
                  <a:lnTo>
                    <a:pt x="2565" y="1679"/>
                  </a:lnTo>
                  <a:lnTo>
                    <a:pt x="2565" y="1664"/>
                  </a:lnTo>
                  <a:lnTo>
                    <a:pt x="2548" y="1664"/>
                  </a:lnTo>
                  <a:lnTo>
                    <a:pt x="2565" y="1631"/>
                  </a:lnTo>
                  <a:lnTo>
                    <a:pt x="2634" y="1616"/>
                  </a:lnTo>
                  <a:lnTo>
                    <a:pt x="2686" y="1631"/>
                  </a:lnTo>
                  <a:lnTo>
                    <a:pt x="2721" y="1664"/>
                  </a:lnTo>
                  <a:lnTo>
                    <a:pt x="2755" y="1775"/>
                  </a:lnTo>
                  <a:lnTo>
                    <a:pt x="2790" y="1775"/>
                  </a:lnTo>
                  <a:lnTo>
                    <a:pt x="2841" y="1808"/>
                  </a:lnTo>
                  <a:lnTo>
                    <a:pt x="2841" y="1840"/>
                  </a:lnTo>
                  <a:lnTo>
                    <a:pt x="2876" y="1840"/>
                  </a:lnTo>
                  <a:lnTo>
                    <a:pt x="2945" y="1823"/>
                  </a:lnTo>
                  <a:lnTo>
                    <a:pt x="2945" y="1856"/>
                  </a:lnTo>
                  <a:lnTo>
                    <a:pt x="2893" y="1952"/>
                  </a:lnTo>
                  <a:lnTo>
                    <a:pt x="2876" y="1936"/>
                  </a:lnTo>
                  <a:lnTo>
                    <a:pt x="2841" y="1952"/>
                  </a:lnTo>
                  <a:lnTo>
                    <a:pt x="2859" y="2000"/>
                  </a:lnTo>
                  <a:lnTo>
                    <a:pt x="2841" y="2032"/>
                  </a:lnTo>
                  <a:lnTo>
                    <a:pt x="2859" y="2000"/>
                  </a:lnTo>
                  <a:lnTo>
                    <a:pt x="2876" y="2000"/>
                  </a:lnTo>
                  <a:lnTo>
                    <a:pt x="2876" y="2015"/>
                  </a:lnTo>
                  <a:lnTo>
                    <a:pt x="2893" y="2032"/>
                  </a:lnTo>
                  <a:lnTo>
                    <a:pt x="2945" y="2000"/>
                  </a:lnTo>
                  <a:lnTo>
                    <a:pt x="3103" y="1823"/>
                  </a:lnTo>
                  <a:lnTo>
                    <a:pt x="3103" y="1712"/>
                  </a:lnTo>
                  <a:lnTo>
                    <a:pt x="3120" y="1679"/>
                  </a:lnTo>
                  <a:lnTo>
                    <a:pt x="3120" y="1631"/>
                  </a:lnTo>
                  <a:lnTo>
                    <a:pt x="3085" y="1583"/>
                  </a:lnTo>
                  <a:lnTo>
                    <a:pt x="3068" y="1583"/>
                  </a:lnTo>
                  <a:lnTo>
                    <a:pt x="3049" y="1616"/>
                  </a:lnTo>
                  <a:lnTo>
                    <a:pt x="3014" y="1616"/>
                  </a:lnTo>
                  <a:lnTo>
                    <a:pt x="3032" y="1583"/>
                  </a:lnTo>
                  <a:lnTo>
                    <a:pt x="3014" y="1583"/>
                  </a:lnTo>
                  <a:lnTo>
                    <a:pt x="2997" y="1568"/>
                  </a:lnTo>
                  <a:lnTo>
                    <a:pt x="2962" y="1568"/>
                  </a:lnTo>
                  <a:lnTo>
                    <a:pt x="2962" y="1553"/>
                  </a:lnTo>
                  <a:lnTo>
                    <a:pt x="3014" y="1505"/>
                  </a:lnTo>
                  <a:lnTo>
                    <a:pt x="3172" y="1361"/>
                  </a:lnTo>
                  <a:lnTo>
                    <a:pt x="3241" y="1343"/>
                  </a:lnTo>
                  <a:lnTo>
                    <a:pt x="3258" y="1361"/>
                  </a:lnTo>
                  <a:lnTo>
                    <a:pt x="3275" y="1343"/>
                  </a:lnTo>
                  <a:lnTo>
                    <a:pt x="3327" y="1361"/>
                  </a:lnTo>
                  <a:lnTo>
                    <a:pt x="3344" y="1328"/>
                  </a:lnTo>
                  <a:lnTo>
                    <a:pt x="3396" y="1343"/>
                  </a:lnTo>
                  <a:lnTo>
                    <a:pt x="3414" y="1343"/>
                  </a:lnTo>
                  <a:lnTo>
                    <a:pt x="3396" y="1361"/>
                  </a:lnTo>
                  <a:lnTo>
                    <a:pt x="3396" y="1376"/>
                  </a:lnTo>
                  <a:lnTo>
                    <a:pt x="3500" y="1361"/>
                  </a:lnTo>
                  <a:lnTo>
                    <a:pt x="3483" y="1343"/>
                  </a:lnTo>
                  <a:lnTo>
                    <a:pt x="3552" y="1232"/>
                  </a:lnTo>
                  <a:lnTo>
                    <a:pt x="3638" y="1217"/>
                  </a:lnTo>
                  <a:lnTo>
                    <a:pt x="3638" y="1247"/>
                  </a:lnTo>
                  <a:lnTo>
                    <a:pt x="3638" y="1280"/>
                  </a:lnTo>
                  <a:lnTo>
                    <a:pt x="3725" y="1232"/>
                  </a:lnTo>
                  <a:lnTo>
                    <a:pt x="3725" y="1184"/>
                  </a:lnTo>
                  <a:lnTo>
                    <a:pt x="3759" y="1184"/>
                  </a:lnTo>
                  <a:lnTo>
                    <a:pt x="3742" y="1199"/>
                  </a:lnTo>
                  <a:lnTo>
                    <a:pt x="3725" y="1280"/>
                  </a:lnTo>
                  <a:lnTo>
                    <a:pt x="3690" y="1295"/>
                  </a:lnTo>
                  <a:lnTo>
                    <a:pt x="3586" y="1409"/>
                  </a:lnTo>
                  <a:lnTo>
                    <a:pt x="3552" y="1424"/>
                  </a:lnTo>
                  <a:lnTo>
                    <a:pt x="3517" y="1535"/>
                  </a:lnTo>
                  <a:lnTo>
                    <a:pt x="3552" y="1727"/>
                  </a:lnTo>
                  <a:lnTo>
                    <a:pt x="3586" y="1696"/>
                  </a:lnTo>
                  <a:lnTo>
                    <a:pt x="3621" y="1631"/>
                  </a:lnTo>
                  <a:lnTo>
                    <a:pt x="3638" y="1631"/>
                  </a:lnTo>
                  <a:lnTo>
                    <a:pt x="3638" y="1583"/>
                  </a:lnTo>
                  <a:lnTo>
                    <a:pt x="3655" y="1583"/>
                  </a:lnTo>
                  <a:lnTo>
                    <a:pt x="3690" y="1568"/>
                  </a:lnTo>
                  <a:lnTo>
                    <a:pt x="3673" y="1520"/>
                  </a:lnTo>
                  <a:lnTo>
                    <a:pt x="3707" y="1505"/>
                  </a:lnTo>
                  <a:lnTo>
                    <a:pt x="3725" y="1505"/>
                  </a:lnTo>
                  <a:lnTo>
                    <a:pt x="3725" y="1472"/>
                  </a:lnTo>
                  <a:lnTo>
                    <a:pt x="3707" y="1472"/>
                  </a:lnTo>
                  <a:lnTo>
                    <a:pt x="3725" y="1424"/>
                  </a:lnTo>
                  <a:lnTo>
                    <a:pt x="3707" y="1424"/>
                  </a:lnTo>
                  <a:lnTo>
                    <a:pt x="3690" y="1424"/>
                  </a:lnTo>
                  <a:lnTo>
                    <a:pt x="3690" y="1409"/>
                  </a:lnTo>
                  <a:lnTo>
                    <a:pt x="3725" y="1361"/>
                  </a:lnTo>
                  <a:lnTo>
                    <a:pt x="3725" y="1328"/>
                  </a:lnTo>
                  <a:lnTo>
                    <a:pt x="3759" y="1328"/>
                  </a:lnTo>
                  <a:lnTo>
                    <a:pt x="3813" y="1295"/>
                  </a:lnTo>
                  <a:lnTo>
                    <a:pt x="3813" y="1328"/>
                  </a:lnTo>
                  <a:lnTo>
                    <a:pt x="3830" y="1313"/>
                  </a:lnTo>
                  <a:lnTo>
                    <a:pt x="3882" y="1295"/>
                  </a:lnTo>
                  <a:lnTo>
                    <a:pt x="3917" y="1328"/>
                  </a:lnTo>
                  <a:lnTo>
                    <a:pt x="3934" y="1295"/>
                  </a:lnTo>
                  <a:lnTo>
                    <a:pt x="4107" y="1184"/>
                  </a:lnTo>
                  <a:lnTo>
                    <a:pt x="4158" y="1199"/>
                  </a:lnTo>
                  <a:lnTo>
                    <a:pt x="4176" y="1184"/>
                  </a:lnTo>
                  <a:lnTo>
                    <a:pt x="4141" y="1088"/>
                  </a:lnTo>
                  <a:lnTo>
                    <a:pt x="4124" y="1088"/>
                  </a:lnTo>
                  <a:lnTo>
                    <a:pt x="4124" y="1056"/>
                  </a:lnTo>
                  <a:lnTo>
                    <a:pt x="4141" y="1056"/>
                  </a:lnTo>
                  <a:lnTo>
                    <a:pt x="4176" y="1040"/>
                  </a:lnTo>
                  <a:lnTo>
                    <a:pt x="4210" y="1008"/>
                  </a:lnTo>
                  <a:lnTo>
                    <a:pt x="4193" y="977"/>
                  </a:lnTo>
                  <a:lnTo>
                    <a:pt x="4210" y="960"/>
                  </a:lnTo>
                  <a:lnTo>
                    <a:pt x="4228" y="1008"/>
                  </a:lnTo>
                  <a:lnTo>
                    <a:pt x="4262" y="1008"/>
                  </a:lnTo>
                  <a:lnTo>
                    <a:pt x="4297" y="1040"/>
                  </a:lnTo>
                  <a:lnTo>
                    <a:pt x="4383" y="1088"/>
                  </a:lnTo>
                  <a:lnTo>
                    <a:pt x="4400" y="1040"/>
                  </a:lnTo>
                  <a:lnTo>
                    <a:pt x="4400" y="1008"/>
                  </a:lnTo>
                  <a:lnTo>
                    <a:pt x="4435" y="1008"/>
                  </a:lnTo>
                  <a:lnTo>
                    <a:pt x="4469" y="977"/>
                  </a:lnTo>
                  <a:lnTo>
                    <a:pt x="4418" y="929"/>
                  </a:lnTo>
                  <a:lnTo>
                    <a:pt x="4331" y="912"/>
                  </a:lnTo>
                  <a:lnTo>
                    <a:pt x="4176" y="785"/>
                  </a:lnTo>
                  <a:lnTo>
                    <a:pt x="4072" y="720"/>
                  </a:lnTo>
                  <a:lnTo>
                    <a:pt x="3934" y="704"/>
                  </a:lnTo>
                  <a:lnTo>
                    <a:pt x="3934" y="785"/>
                  </a:lnTo>
                  <a:lnTo>
                    <a:pt x="3899" y="800"/>
                  </a:lnTo>
                  <a:lnTo>
                    <a:pt x="3865" y="768"/>
                  </a:lnTo>
                  <a:lnTo>
                    <a:pt x="3865" y="737"/>
                  </a:lnTo>
                  <a:lnTo>
                    <a:pt x="3882" y="737"/>
                  </a:lnTo>
                  <a:lnTo>
                    <a:pt x="3899" y="720"/>
                  </a:lnTo>
                  <a:lnTo>
                    <a:pt x="3865" y="720"/>
                  </a:lnTo>
                  <a:lnTo>
                    <a:pt x="3830" y="752"/>
                  </a:lnTo>
                  <a:lnTo>
                    <a:pt x="3742" y="737"/>
                  </a:lnTo>
                  <a:lnTo>
                    <a:pt x="3655" y="737"/>
                  </a:lnTo>
                  <a:lnTo>
                    <a:pt x="3621" y="720"/>
                  </a:lnTo>
                  <a:lnTo>
                    <a:pt x="3638" y="689"/>
                  </a:lnTo>
                  <a:lnTo>
                    <a:pt x="3604" y="641"/>
                  </a:lnTo>
                  <a:lnTo>
                    <a:pt x="3535" y="624"/>
                  </a:lnTo>
                  <a:lnTo>
                    <a:pt x="3431" y="656"/>
                  </a:lnTo>
                  <a:lnTo>
                    <a:pt x="3414" y="608"/>
                  </a:lnTo>
                  <a:lnTo>
                    <a:pt x="3379" y="608"/>
                  </a:lnTo>
                  <a:lnTo>
                    <a:pt x="3362" y="593"/>
                  </a:lnTo>
                  <a:lnTo>
                    <a:pt x="3362" y="545"/>
                  </a:lnTo>
                  <a:lnTo>
                    <a:pt x="3241" y="512"/>
                  </a:lnTo>
                  <a:lnTo>
                    <a:pt x="3103" y="480"/>
                  </a:lnTo>
                  <a:lnTo>
                    <a:pt x="3068" y="545"/>
                  </a:lnTo>
                  <a:lnTo>
                    <a:pt x="3103" y="593"/>
                  </a:lnTo>
                  <a:lnTo>
                    <a:pt x="2997" y="593"/>
                  </a:lnTo>
                  <a:lnTo>
                    <a:pt x="2980" y="593"/>
                  </a:lnTo>
                  <a:lnTo>
                    <a:pt x="2945" y="608"/>
                  </a:lnTo>
                  <a:lnTo>
                    <a:pt x="2893" y="560"/>
                  </a:lnTo>
                  <a:lnTo>
                    <a:pt x="2859" y="656"/>
                  </a:lnTo>
                  <a:lnTo>
                    <a:pt x="2824" y="641"/>
                  </a:lnTo>
                  <a:lnTo>
                    <a:pt x="2790" y="576"/>
                  </a:lnTo>
                  <a:lnTo>
                    <a:pt x="2807" y="497"/>
                  </a:lnTo>
                  <a:lnTo>
                    <a:pt x="2772" y="449"/>
                  </a:lnTo>
                  <a:lnTo>
                    <a:pt x="2669" y="417"/>
                  </a:lnTo>
                  <a:lnTo>
                    <a:pt x="2634" y="417"/>
                  </a:lnTo>
                  <a:lnTo>
                    <a:pt x="2617" y="449"/>
                  </a:lnTo>
                  <a:lnTo>
                    <a:pt x="2634" y="480"/>
                  </a:lnTo>
                  <a:lnTo>
                    <a:pt x="2496" y="465"/>
                  </a:lnTo>
                  <a:lnTo>
                    <a:pt x="2513" y="417"/>
                  </a:lnTo>
                  <a:lnTo>
                    <a:pt x="2427" y="401"/>
                  </a:lnTo>
                  <a:lnTo>
                    <a:pt x="2375" y="432"/>
                  </a:lnTo>
                  <a:lnTo>
                    <a:pt x="2269" y="384"/>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66" name="Freeform 15"/>
            <p:cNvSpPr>
              <a:spLocks/>
            </p:cNvSpPr>
            <p:nvPr/>
          </p:nvSpPr>
          <p:spPr bwMode="auto">
            <a:xfrm>
              <a:off x="6262546" y="3578431"/>
              <a:ext cx="444544" cy="259854"/>
            </a:xfrm>
            <a:custGeom>
              <a:avLst/>
              <a:gdLst>
                <a:gd name="T0" fmla="*/ 27 w 503"/>
                <a:gd name="T1" fmla="*/ 34 h 303"/>
                <a:gd name="T2" fmla="*/ 27 w 503"/>
                <a:gd name="T3" fmla="*/ 34 h 303"/>
                <a:gd name="T4" fmla="*/ 22 w 503"/>
                <a:gd name="T5" fmla="*/ 34 h 303"/>
                <a:gd name="T6" fmla="*/ 22 w 503"/>
                <a:gd name="T7" fmla="*/ 32 h 303"/>
                <a:gd name="T8" fmla="*/ 24 w 503"/>
                <a:gd name="T9" fmla="*/ 28 h 303"/>
                <a:gd name="T10" fmla="*/ 29 w 503"/>
                <a:gd name="T11" fmla="*/ 28 h 303"/>
                <a:gd name="T12" fmla="*/ 29 w 503"/>
                <a:gd name="T13" fmla="*/ 26 h 303"/>
                <a:gd name="T14" fmla="*/ 27 w 503"/>
                <a:gd name="T15" fmla="*/ 22 h 303"/>
                <a:gd name="T16" fmla="*/ 27 w 503"/>
                <a:gd name="T17" fmla="*/ 20 h 303"/>
                <a:gd name="T18" fmla="*/ 20 w 503"/>
                <a:gd name="T19" fmla="*/ 18 h 303"/>
                <a:gd name="T20" fmla="*/ 16 w 503"/>
                <a:gd name="T21" fmla="*/ 20 h 303"/>
                <a:gd name="T22" fmla="*/ 11 w 503"/>
                <a:gd name="T23" fmla="*/ 22 h 303"/>
                <a:gd name="T24" fmla="*/ 9 w 503"/>
                <a:gd name="T25" fmla="*/ 22 h 303"/>
                <a:gd name="T26" fmla="*/ 3 w 503"/>
                <a:gd name="T27" fmla="*/ 22 h 303"/>
                <a:gd name="T28" fmla="*/ 0 w 503"/>
                <a:gd name="T29" fmla="*/ 20 h 303"/>
                <a:gd name="T30" fmla="*/ 3 w 503"/>
                <a:gd name="T31" fmla="*/ 16 h 303"/>
                <a:gd name="T32" fmla="*/ 5 w 503"/>
                <a:gd name="T33" fmla="*/ 12 h 303"/>
                <a:gd name="T34" fmla="*/ 7 w 503"/>
                <a:gd name="T35" fmla="*/ 10 h 303"/>
                <a:gd name="T36" fmla="*/ 5 w 503"/>
                <a:gd name="T37" fmla="*/ 4 h 303"/>
                <a:gd name="T38" fmla="*/ 9 w 503"/>
                <a:gd name="T39" fmla="*/ 2 h 303"/>
                <a:gd name="T40" fmla="*/ 13 w 503"/>
                <a:gd name="T41" fmla="*/ 2 h 303"/>
                <a:gd name="T42" fmla="*/ 20 w 503"/>
                <a:gd name="T43" fmla="*/ 4 h 303"/>
                <a:gd name="T44" fmla="*/ 22 w 503"/>
                <a:gd name="T45" fmla="*/ 4 h 303"/>
                <a:gd name="T46" fmla="*/ 24 w 503"/>
                <a:gd name="T47" fmla="*/ 4 h 303"/>
                <a:gd name="T48" fmla="*/ 27 w 503"/>
                <a:gd name="T49" fmla="*/ 4 h 303"/>
                <a:gd name="T50" fmla="*/ 31 w 503"/>
                <a:gd name="T51" fmla="*/ 4 h 303"/>
                <a:gd name="T52" fmla="*/ 33 w 503"/>
                <a:gd name="T53" fmla="*/ 0 h 303"/>
                <a:gd name="T54" fmla="*/ 35 w 503"/>
                <a:gd name="T55" fmla="*/ 0 h 303"/>
                <a:gd name="T56" fmla="*/ 42 w 503"/>
                <a:gd name="T57" fmla="*/ 0 h 303"/>
                <a:gd name="T58" fmla="*/ 44 w 503"/>
                <a:gd name="T59" fmla="*/ 2 h 303"/>
                <a:gd name="T60" fmla="*/ 42 w 503"/>
                <a:gd name="T61" fmla="*/ 2 h 303"/>
                <a:gd name="T62" fmla="*/ 44 w 503"/>
                <a:gd name="T63" fmla="*/ 4 h 303"/>
                <a:gd name="T64" fmla="*/ 46 w 503"/>
                <a:gd name="T65" fmla="*/ 4 h 303"/>
                <a:gd name="T66" fmla="*/ 48 w 503"/>
                <a:gd name="T67" fmla="*/ 8 h 303"/>
                <a:gd name="T68" fmla="*/ 50 w 503"/>
                <a:gd name="T69" fmla="*/ 10 h 303"/>
                <a:gd name="T70" fmla="*/ 53 w 503"/>
                <a:gd name="T71" fmla="*/ 8 h 303"/>
                <a:gd name="T72" fmla="*/ 63 w 503"/>
                <a:gd name="T73" fmla="*/ 14 h 303"/>
                <a:gd name="T74" fmla="*/ 61 w 503"/>
                <a:gd name="T75" fmla="*/ 22 h 303"/>
                <a:gd name="T76" fmla="*/ 59 w 503"/>
                <a:gd name="T77" fmla="*/ 20 h 303"/>
                <a:gd name="T78" fmla="*/ 57 w 503"/>
                <a:gd name="T79" fmla="*/ 22 h 303"/>
                <a:gd name="T80" fmla="*/ 57 w 503"/>
                <a:gd name="T81" fmla="*/ 26 h 303"/>
                <a:gd name="T82" fmla="*/ 55 w 503"/>
                <a:gd name="T83" fmla="*/ 26 h 303"/>
                <a:gd name="T84" fmla="*/ 44 w 503"/>
                <a:gd name="T85" fmla="*/ 32 h 303"/>
                <a:gd name="T86" fmla="*/ 48 w 503"/>
                <a:gd name="T87" fmla="*/ 34 h 303"/>
                <a:gd name="T88" fmla="*/ 50 w 503"/>
                <a:gd name="T89" fmla="*/ 34 h 303"/>
                <a:gd name="T90" fmla="*/ 48 w 503"/>
                <a:gd name="T91" fmla="*/ 34 h 303"/>
                <a:gd name="T92" fmla="*/ 42 w 503"/>
                <a:gd name="T93" fmla="*/ 38 h 303"/>
                <a:gd name="T94" fmla="*/ 40 w 503"/>
                <a:gd name="T95" fmla="*/ 38 h 303"/>
                <a:gd name="T96" fmla="*/ 40 w 503"/>
                <a:gd name="T97" fmla="*/ 36 h 303"/>
                <a:gd name="T98" fmla="*/ 37 w 503"/>
                <a:gd name="T99" fmla="*/ 34 h 303"/>
                <a:gd name="T100" fmla="*/ 42 w 503"/>
                <a:gd name="T101" fmla="*/ 32 h 303"/>
                <a:gd name="T102" fmla="*/ 35 w 503"/>
                <a:gd name="T103" fmla="*/ 30 h 303"/>
                <a:gd name="T104" fmla="*/ 35 w 503"/>
                <a:gd name="T105" fmla="*/ 28 h 303"/>
                <a:gd name="T106" fmla="*/ 31 w 503"/>
                <a:gd name="T107" fmla="*/ 28 h 303"/>
                <a:gd name="T108" fmla="*/ 29 w 503"/>
                <a:gd name="T109" fmla="*/ 32 h 303"/>
                <a:gd name="T110" fmla="*/ 27 w 503"/>
                <a:gd name="T111" fmla="*/ 32 h 303"/>
                <a:gd name="T112" fmla="*/ 27 w 503"/>
                <a:gd name="T113" fmla="*/ 34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67" name="Freeform 16"/>
            <p:cNvSpPr>
              <a:spLocks/>
            </p:cNvSpPr>
            <p:nvPr/>
          </p:nvSpPr>
          <p:spPr bwMode="auto">
            <a:xfrm>
              <a:off x="6858798" y="3469019"/>
              <a:ext cx="979053" cy="466712"/>
            </a:xfrm>
            <a:custGeom>
              <a:avLst/>
              <a:gdLst>
                <a:gd name="T0" fmla="*/ 137 w 1109"/>
                <a:gd name="T1" fmla="*/ 35 h 545"/>
                <a:gd name="T2" fmla="*/ 132 w 1109"/>
                <a:gd name="T3" fmla="*/ 42 h 545"/>
                <a:gd name="T4" fmla="*/ 124 w 1109"/>
                <a:gd name="T5" fmla="*/ 42 h 545"/>
                <a:gd name="T6" fmla="*/ 115 w 1109"/>
                <a:gd name="T7" fmla="*/ 51 h 545"/>
                <a:gd name="T8" fmla="*/ 117 w 1109"/>
                <a:gd name="T9" fmla="*/ 60 h 545"/>
                <a:gd name="T10" fmla="*/ 111 w 1109"/>
                <a:gd name="T11" fmla="*/ 60 h 545"/>
                <a:gd name="T12" fmla="*/ 94 w 1109"/>
                <a:gd name="T13" fmla="*/ 59 h 545"/>
                <a:gd name="T14" fmla="*/ 91 w 1109"/>
                <a:gd name="T15" fmla="*/ 63 h 545"/>
                <a:gd name="T16" fmla="*/ 83 w 1109"/>
                <a:gd name="T17" fmla="*/ 63 h 545"/>
                <a:gd name="T18" fmla="*/ 74 w 1109"/>
                <a:gd name="T19" fmla="*/ 66 h 545"/>
                <a:gd name="T20" fmla="*/ 70 w 1109"/>
                <a:gd name="T21" fmla="*/ 65 h 545"/>
                <a:gd name="T22" fmla="*/ 68 w 1109"/>
                <a:gd name="T23" fmla="*/ 60 h 545"/>
                <a:gd name="T24" fmla="*/ 52 w 1109"/>
                <a:gd name="T25" fmla="*/ 57 h 545"/>
                <a:gd name="T26" fmla="*/ 41 w 1109"/>
                <a:gd name="T27" fmla="*/ 48 h 545"/>
                <a:gd name="T28" fmla="*/ 33 w 1109"/>
                <a:gd name="T29" fmla="*/ 66 h 545"/>
                <a:gd name="T30" fmla="*/ 26 w 1109"/>
                <a:gd name="T31" fmla="*/ 63 h 545"/>
                <a:gd name="T32" fmla="*/ 20 w 1109"/>
                <a:gd name="T33" fmla="*/ 60 h 545"/>
                <a:gd name="T34" fmla="*/ 16 w 1109"/>
                <a:gd name="T35" fmla="*/ 54 h 545"/>
                <a:gd name="T36" fmla="*/ 18 w 1109"/>
                <a:gd name="T37" fmla="*/ 54 h 545"/>
                <a:gd name="T38" fmla="*/ 18 w 1109"/>
                <a:gd name="T39" fmla="*/ 51 h 545"/>
                <a:gd name="T40" fmla="*/ 24 w 1109"/>
                <a:gd name="T41" fmla="*/ 45 h 545"/>
                <a:gd name="T42" fmla="*/ 16 w 1109"/>
                <a:gd name="T43" fmla="*/ 41 h 545"/>
                <a:gd name="T44" fmla="*/ 7 w 1109"/>
                <a:gd name="T45" fmla="*/ 45 h 545"/>
                <a:gd name="T46" fmla="*/ 7 w 1109"/>
                <a:gd name="T47" fmla="*/ 39 h 545"/>
                <a:gd name="T48" fmla="*/ 0 w 1109"/>
                <a:gd name="T49" fmla="*/ 35 h 545"/>
                <a:gd name="T50" fmla="*/ 7 w 1109"/>
                <a:gd name="T51" fmla="*/ 29 h 545"/>
                <a:gd name="T52" fmla="*/ 7 w 1109"/>
                <a:gd name="T53" fmla="*/ 24 h 545"/>
                <a:gd name="T54" fmla="*/ 18 w 1109"/>
                <a:gd name="T55" fmla="*/ 21 h 545"/>
                <a:gd name="T56" fmla="*/ 24 w 1109"/>
                <a:gd name="T57" fmla="*/ 21 h 545"/>
                <a:gd name="T58" fmla="*/ 35 w 1109"/>
                <a:gd name="T59" fmla="*/ 23 h 545"/>
                <a:gd name="T60" fmla="*/ 41 w 1109"/>
                <a:gd name="T61" fmla="*/ 24 h 545"/>
                <a:gd name="T62" fmla="*/ 52 w 1109"/>
                <a:gd name="T63" fmla="*/ 21 h 545"/>
                <a:gd name="T64" fmla="*/ 50 w 1109"/>
                <a:gd name="T65" fmla="*/ 17 h 545"/>
                <a:gd name="T66" fmla="*/ 50 w 1109"/>
                <a:gd name="T67" fmla="*/ 12 h 545"/>
                <a:gd name="T68" fmla="*/ 54 w 1109"/>
                <a:gd name="T69" fmla="*/ 9 h 545"/>
                <a:gd name="T70" fmla="*/ 74 w 1109"/>
                <a:gd name="T71" fmla="*/ 0 h 545"/>
                <a:gd name="T72" fmla="*/ 83 w 1109"/>
                <a:gd name="T73" fmla="*/ 0 h 545"/>
                <a:gd name="T74" fmla="*/ 85 w 1109"/>
                <a:gd name="T75" fmla="*/ 6 h 545"/>
                <a:gd name="T76" fmla="*/ 91 w 1109"/>
                <a:gd name="T77" fmla="*/ 9 h 545"/>
                <a:gd name="T78" fmla="*/ 96 w 1109"/>
                <a:gd name="T79" fmla="*/ 11 h 545"/>
                <a:gd name="T80" fmla="*/ 104 w 1109"/>
                <a:gd name="T81" fmla="*/ 5 h 545"/>
                <a:gd name="T82" fmla="*/ 115 w 1109"/>
                <a:gd name="T83" fmla="*/ 24 h 545"/>
                <a:gd name="T84" fmla="*/ 119 w 1109"/>
                <a:gd name="T85" fmla="*/ 24 h 545"/>
                <a:gd name="T86" fmla="*/ 132 w 1109"/>
                <a:gd name="T87" fmla="*/ 29 h 545"/>
                <a:gd name="T88" fmla="*/ 137 w 1109"/>
                <a:gd name="T89" fmla="*/ 29 h 545"/>
                <a:gd name="T90" fmla="*/ 137 w 1109"/>
                <a:gd name="T91" fmla="*/ 35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8" name="Freeform 17"/>
            <p:cNvSpPr>
              <a:spLocks/>
            </p:cNvSpPr>
            <p:nvPr/>
          </p:nvSpPr>
          <p:spPr bwMode="auto">
            <a:xfrm>
              <a:off x="6246670" y="3361316"/>
              <a:ext cx="167586" cy="94026"/>
            </a:xfrm>
            <a:custGeom>
              <a:avLst/>
              <a:gdLst>
                <a:gd name="T0" fmla="*/ 11 w 190"/>
                <a:gd name="T1" fmla="*/ 0 h 111"/>
                <a:gd name="T2" fmla="*/ 11 w 190"/>
                <a:gd name="T3" fmla="*/ 0 h 111"/>
                <a:gd name="T4" fmla="*/ 11 w 190"/>
                <a:gd name="T5" fmla="*/ 6 h 111"/>
                <a:gd name="T6" fmla="*/ 9 w 190"/>
                <a:gd name="T7" fmla="*/ 6 h 111"/>
                <a:gd name="T8" fmla="*/ 6 w 190"/>
                <a:gd name="T9" fmla="*/ 6 h 111"/>
                <a:gd name="T10" fmla="*/ 5 w 190"/>
                <a:gd name="T11" fmla="*/ 1 h 111"/>
                <a:gd name="T12" fmla="*/ 3 w 190"/>
                <a:gd name="T13" fmla="*/ 3 h 111"/>
                <a:gd name="T14" fmla="*/ 0 w 190"/>
                <a:gd name="T15" fmla="*/ 7 h 111"/>
                <a:gd name="T16" fmla="*/ 0 w 190"/>
                <a:gd name="T17" fmla="*/ 12 h 111"/>
                <a:gd name="T18" fmla="*/ 3 w 190"/>
                <a:gd name="T19" fmla="*/ 9 h 111"/>
                <a:gd name="T20" fmla="*/ 11 w 190"/>
                <a:gd name="T21" fmla="*/ 9 h 111"/>
                <a:gd name="T22" fmla="*/ 12 w 190"/>
                <a:gd name="T23" fmla="*/ 9 h 111"/>
                <a:gd name="T24" fmla="*/ 20 w 190"/>
                <a:gd name="T25" fmla="*/ 13 h 111"/>
                <a:gd name="T26" fmla="*/ 24 w 190"/>
                <a:gd name="T27" fmla="*/ 9 h 111"/>
                <a:gd name="T28" fmla="*/ 22 w 190"/>
                <a:gd name="T29" fmla="*/ 6 h 111"/>
                <a:gd name="T30" fmla="*/ 22 w 190"/>
                <a:gd name="T31" fmla="*/ 3 h 111"/>
                <a:gd name="T32" fmla="*/ 22 w 190"/>
                <a:gd name="T33" fmla="*/ 1 h 111"/>
                <a:gd name="T34" fmla="*/ 18 w 190"/>
                <a:gd name="T35" fmla="*/ 1 h 111"/>
                <a:gd name="T36" fmla="*/ 12 w 190"/>
                <a:gd name="T37" fmla="*/ 0 h 111"/>
                <a:gd name="T38" fmla="*/ 11 w 190"/>
                <a:gd name="T39" fmla="*/ 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111"/>
                <a:gd name="T62" fmla="*/ 190 w 190"/>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111">
                  <a:moveTo>
                    <a:pt x="86" y="0"/>
                  </a:moveTo>
                  <a:lnTo>
                    <a:pt x="86" y="0"/>
                  </a:lnTo>
                  <a:lnTo>
                    <a:pt x="86" y="48"/>
                  </a:lnTo>
                  <a:lnTo>
                    <a:pt x="69" y="48"/>
                  </a:lnTo>
                  <a:lnTo>
                    <a:pt x="52" y="48"/>
                  </a:lnTo>
                  <a:lnTo>
                    <a:pt x="34" y="15"/>
                  </a:lnTo>
                  <a:lnTo>
                    <a:pt x="17" y="30"/>
                  </a:lnTo>
                  <a:lnTo>
                    <a:pt x="0" y="63"/>
                  </a:lnTo>
                  <a:lnTo>
                    <a:pt x="0" y="96"/>
                  </a:lnTo>
                  <a:lnTo>
                    <a:pt x="17" y="78"/>
                  </a:lnTo>
                  <a:lnTo>
                    <a:pt x="86" y="78"/>
                  </a:lnTo>
                  <a:lnTo>
                    <a:pt x="103" y="78"/>
                  </a:lnTo>
                  <a:lnTo>
                    <a:pt x="155" y="111"/>
                  </a:lnTo>
                  <a:lnTo>
                    <a:pt x="190" y="78"/>
                  </a:lnTo>
                  <a:lnTo>
                    <a:pt x="173" y="48"/>
                  </a:lnTo>
                  <a:lnTo>
                    <a:pt x="173" y="30"/>
                  </a:lnTo>
                  <a:lnTo>
                    <a:pt x="173" y="15"/>
                  </a:lnTo>
                  <a:lnTo>
                    <a:pt x="138" y="15"/>
                  </a:lnTo>
                  <a:lnTo>
                    <a:pt x="103" y="0"/>
                  </a:lnTo>
                  <a:lnTo>
                    <a:pt x="86"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69" name="Freeform 18"/>
            <p:cNvSpPr>
              <a:spLocks/>
            </p:cNvSpPr>
            <p:nvPr/>
          </p:nvSpPr>
          <p:spPr bwMode="auto">
            <a:xfrm>
              <a:off x="6246670" y="3427989"/>
              <a:ext cx="137597" cy="97445"/>
            </a:xfrm>
            <a:custGeom>
              <a:avLst/>
              <a:gdLst>
                <a:gd name="T0" fmla="*/ 0 w 155"/>
                <a:gd name="T1" fmla="*/ 6 h 113"/>
                <a:gd name="T2" fmla="*/ 0 w 155"/>
                <a:gd name="T3" fmla="*/ 6 h 113"/>
                <a:gd name="T4" fmla="*/ 0 w 155"/>
                <a:gd name="T5" fmla="*/ 5 h 113"/>
                <a:gd name="T6" fmla="*/ 0 w 155"/>
                <a:gd name="T7" fmla="*/ 3 h 113"/>
                <a:gd name="T8" fmla="*/ 3 w 155"/>
                <a:gd name="T9" fmla="*/ 0 h 113"/>
                <a:gd name="T10" fmla="*/ 11 w 155"/>
                <a:gd name="T11" fmla="*/ 0 h 113"/>
                <a:gd name="T12" fmla="*/ 13 w 155"/>
                <a:gd name="T13" fmla="*/ 0 h 113"/>
                <a:gd name="T14" fmla="*/ 20 w 155"/>
                <a:gd name="T15" fmla="*/ 5 h 113"/>
                <a:gd name="T16" fmla="*/ 20 w 155"/>
                <a:gd name="T17" fmla="*/ 6 h 113"/>
                <a:gd name="T18" fmla="*/ 16 w 155"/>
                <a:gd name="T19" fmla="*/ 9 h 113"/>
                <a:gd name="T20" fmla="*/ 16 w 155"/>
                <a:gd name="T21" fmla="*/ 12 h 113"/>
                <a:gd name="T22" fmla="*/ 13 w 155"/>
                <a:gd name="T23" fmla="*/ 12 h 113"/>
                <a:gd name="T24" fmla="*/ 9 w 155"/>
                <a:gd name="T25" fmla="*/ 15 h 113"/>
                <a:gd name="T26" fmla="*/ 7 w 155"/>
                <a:gd name="T27" fmla="*/ 15 h 113"/>
                <a:gd name="T28" fmla="*/ 5 w 155"/>
                <a:gd name="T29" fmla="*/ 12 h 113"/>
                <a:gd name="T30" fmla="*/ 5 w 155"/>
                <a:gd name="T31" fmla="*/ 6 h 113"/>
                <a:gd name="T32" fmla="*/ 0 w 155"/>
                <a:gd name="T33" fmla="*/ 6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113"/>
                <a:gd name="T53" fmla="*/ 155 w 155"/>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113">
                  <a:moveTo>
                    <a:pt x="0" y="48"/>
                  </a:moveTo>
                  <a:lnTo>
                    <a:pt x="0" y="48"/>
                  </a:lnTo>
                  <a:lnTo>
                    <a:pt x="0" y="33"/>
                  </a:lnTo>
                  <a:lnTo>
                    <a:pt x="0" y="18"/>
                  </a:lnTo>
                  <a:lnTo>
                    <a:pt x="17" y="0"/>
                  </a:lnTo>
                  <a:lnTo>
                    <a:pt x="86" y="0"/>
                  </a:lnTo>
                  <a:lnTo>
                    <a:pt x="103" y="0"/>
                  </a:lnTo>
                  <a:lnTo>
                    <a:pt x="155" y="33"/>
                  </a:lnTo>
                  <a:lnTo>
                    <a:pt x="155" y="48"/>
                  </a:lnTo>
                  <a:lnTo>
                    <a:pt x="121" y="66"/>
                  </a:lnTo>
                  <a:lnTo>
                    <a:pt x="121" y="96"/>
                  </a:lnTo>
                  <a:lnTo>
                    <a:pt x="103" y="96"/>
                  </a:lnTo>
                  <a:lnTo>
                    <a:pt x="69" y="113"/>
                  </a:lnTo>
                  <a:lnTo>
                    <a:pt x="52" y="113"/>
                  </a:lnTo>
                  <a:lnTo>
                    <a:pt x="34" y="96"/>
                  </a:lnTo>
                  <a:lnTo>
                    <a:pt x="34" y="48"/>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0" name="Freeform 19"/>
            <p:cNvSpPr>
              <a:spLocks/>
            </p:cNvSpPr>
            <p:nvPr/>
          </p:nvSpPr>
          <p:spPr bwMode="auto">
            <a:xfrm>
              <a:off x="6308411" y="3304901"/>
              <a:ext cx="105844" cy="68383"/>
            </a:xfrm>
            <a:custGeom>
              <a:avLst/>
              <a:gdLst>
                <a:gd name="T0" fmla="*/ 2 w 121"/>
                <a:gd name="T1" fmla="*/ 8 h 81"/>
                <a:gd name="T2" fmla="*/ 2 w 121"/>
                <a:gd name="T3" fmla="*/ 8 h 81"/>
                <a:gd name="T4" fmla="*/ 0 w 121"/>
                <a:gd name="T5" fmla="*/ 6 h 81"/>
                <a:gd name="T6" fmla="*/ 0 w 121"/>
                <a:gd name="T7" fmla="*/ 2 h 81"/>
                <a:gd name="T8" fmla="*/ 2 w 121"/>
                <a:gd name="T9" fmla="*/ 0 h 81"/>
                <a:gd name="T10" fmla="*/ 6 w 121"/>
                <a:gd name="T11" fmla="*/ 0 h 81"/>
                <a:gd name="T12" fmla="*/ 15 w 121"/>
                <a:gd name="T13" fmla="*/ 0 h 81"/>
                <a:gd name="T14" fmla="*/ 13 w 121"/>
                <a:gd name="T15" fmla="*/ 2 h 81"/>
                <a:gd name="T16" fmla="*/ 10 w 121"/>
                <a:gd name="T17" fmla="*/ 2 h 81"/>
                <a:gd name="T18" fmla="*/ 13 w 121"/>
                <a:gd name="T19" fmla="*/ 8 h 81"/>
                <a:gd name="T20" fmla="*/ 13 w 121"/>
                <a:gd name="T21" fmla="*/ 10 h 81"/>
                <a:gd name="T22" fmla="*/ 8 w 121"/>
                <a:gd name="T23" fmla="*/ 10 h 81"/>
                <a:gd name="T24" fmla="*/ 4 w 121"/>
                <a:gd name="T25" fmla="*/ 8 h 81"/>
                <a:gd name="T26" fmla="*/ 2 w 121"/>
                <a:gd name="T27" fmla="*/ 8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81"/>
                <a:gd name="T44" fmla="*/ 121 w 121"/>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81">
                  <a:moveTo>
                    <a:pt x="17" y="66"/>
                  </a:moveTo>
                  <a:lnTo>
                    <a:pt x="17" y="66"/>
                  </a:lnTo>
                  <a:lnTo>
                    <a:pt x="0" y="48"/>
                  </a:lnTo>
                  <a:lnTo>
                    <a:pt x="0" y="18"/>
                  </a:lnTo>
                  <a:lnTo>
                    <a:pt x="17" y="0"/>
                  </a:lnTo>
                  <a:lnTo>
                    <a:pt x="52" y="0"/>
                  </a:lnTo>
                  <a:lnTo>
                    <a:pt x="121" y="0"/>
                  </a:lnTo>
                  <a:lnTo>
                    <a:pt x="104" y="18"/>
                  </a:lnTo>
                  <a:lnTo>
                    <a:pt x="86" y="18"/>
                  </a:lnTo>
                  <a:lnTo>
                    <a:pt x="104" y="66"/>
                  </a:lnTo>
                  <a:lnTo>
                    <a:pt x="104" y="81"/>
                  </a:lnTo>
                  <a:lnTo>
                    <a:pt x="69" y="81"/>
                  </a:lnTo>
                  <a:lnTo>
                    <a:pt x="34" y="66"/>
                  </a:lnTo>
                  <a:lnTo>
                    <a:pt x="17" y="6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1" name="Freeform 20"/>
            <p:cNvSpPr>
              <a:spLocks/>
            </p:cNvSpPr>
            <p:nvPr/>
          </p:nvSpPr>
          <p:spPr bwMode="auto">
            <a:xfrm>
              <a:off x="6200804" y="3469019"/>
              <a:ext cx="77619" cy="41030"/>
            </a:xfrm>
            <a:custGeom>
              <a:avLst/>
              <a:gdLst>
                <a:gd name="T0" fmla="*/ 12 w 86"/>
                <a:gd name="T1" fmla="*/ 0 h 48"/>
                <a:gd name="T2" fmla="*/ 12 w 86"/>
                <a:gd name="T3" fmla="*/ 0 h 48"/>
                <a:gd name="T4" fmla="*/ 12 w 86"/>
                <a:gd name="T5" fmla="*/ 6 h 48"/>
                <a:gd name="T6" fmla="*/ 7 w 86"/>
                <a:gd name="T7" fmla="*/ 6 h 48"/>
                <a:gd name="T8" fmla="*/ 0 w 86"/>
                <a:gd name="T9" fmla="*/ 5 h 48"/>
                <a:gd name="T10" fmla="*/ 5 w 86"/>
                <a:gd name="T11" fmla="*/ 3 h 48"/>
                <a:gd name="T12" fmla="*/ 7 w 86"/>
                <a:gd name="T13" fmla="*/ 0 h 48"/>
                <a:gd name="T14" fmla="*/ 12 w 8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48"/>
                <a:gd name="T26" fmla="*/ 86 w 8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48">
                  <a:moveTo>
                    <a:pt x="86" y="0"/>
                  </a:moveTo>
                  <a:lnTo>
                    <a:pt x="86" y="0"/>
                  </a:lnTo>
                  <a:lnTo>
                    <a:pt x="86" y="48"/>
                  </a:lnTo>
                  <a:lnTo>
                    <a:pt x="52" y="48"/>
                  </a:lnTo>
                  <a:lnTo>
                    <a:pt x="0" y="33"/>
                  </a:lnTo>
                  <a:lnTo>
                    <a:pt x="34" y="18"/>
                  </a:lnTo>
                  <a:lnTo>
                    <a:pt x="52" y="0"/>
                  </a:lnTo>
                  <a:lnTo>
                    <a:pt x="86"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2" name="Freeform 21"/>
            <p:cNvSpPr>
              <a:spLocks/>
            </p:cNvSpPr>
            <p:nvPr/>
          </p:nvSpPr>
          <p:spPr bwMode="auto">
            <a:xfrm>
              <a:off x="6689448" y="3865639"/>
              <a:ext cx="169350" cy="54706"/>
            </a:xfrm>
            <a:custGeom>
              <a:avLst/>
              <a:gdLst>
                <a:gd name="T0" fmla="*/ 6 w 192"/>
                <a:gd name="T1" fmla="*/ 8 h 63"/>
                <a:gd name="T2" fmla="*/ 6 w 192"/>
                <a:gd name="T3" fmla="*/ 8 h 63"/>
                <a:gd name="T4" fmla="*/ 6 w 192"/>
                <a:gd name="T5" fmla="*/ 6 h 63"/>
                <a:gd name="T6" fmla="*/ 6 w 192"/>
                <a:gd name="T7" fmla="*/ 4 h 63"/>
                <a:gd name="T8" fmla="*/ 0 w 192"/>
                <a:gd name="T9" fmla="*/ 0 h 63"/>
                <a:gd name="T10" fmla="*/ 11 w 192"/>
                <a:gd name="T11" fmla="*/ 0 h 63"/>
                <a:gd name="T12" fmla="*/ 15 w 192"/>
                <a:gd name="T13" fmla="*/ 2 h 63"/>
                <a:gd name="T14" fmla="*/ 20 w 192"/>
                <a:gd name="T15" fmla="*/ 2 h 63"/>
                <a:gd name="T16" fmla="*/ 24 w 192"/>
                <a:gd name="T17" fmla="*/ 6 h 63"/>
                <a:gd name="T18" fmla="*/ 22 w 192"/>
                <a:gd name="T19" fmla="*/ 6 h 63"/>
                <a:gd name="T20" fmla="*/ 24 w 192"/>
                <a:gd name="T21" fmla="*/ 8 h 63"/>
                <a:gd name="T22" fmla="*/ 20 w 192"/>
                <a:gd name="T23" fmla="*/ 8 h 63"/>
                <a:gd name="T24" fmla="*/ 18 w 192"/>
                <a:gd name="T25" fmla="*/ 8 h 63"/>
                <a:gd name="T26" fmla="*/ 13 w 192"/>
                <a:gd name="T27" fmla="*/ 8 h 63"/>
                <a:gd name="T28" fmla="*/ 6 w 192"/>
                <a:gd name="T29" fmla="*/ 8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3" name="Freeform 22"/>
            <p:cNvSpPr>
              <a:spLocks/>
            </p:cNvSpPr>
            <p:nvPr/>
          </p:nvSpPr>
          <p:spPr bwMode="auto">
            <a:xfrm>
              <a:off x="6368388" y="3701520"/>
              <a:ext cx="91731" cy="95736"/>
            </a:xfrm>
            <a:custGeom>
              <a:avLst/>
              <a:gdLst>
                <a:gd name="T0" fmla="*/ 0 w 104"/>
                <a:gd name="T1" fmla="*/ 2 h 111"/>
                <a:gd name="T2" fmla="*/ 0 w 104"/>
                <a:gd name="T3" fmla="*/ 2 h 111"/>
                <a:gd name="T4" fmla="*/ 3 w 104"/>
                <a:gd name="T5" fmla="*/ 2 h 111"/>
                <a:gd name="T6" fmla="*/ 7 w 104"/>
                <a:gd name="T7" fmla="*/ 8 h 111"/>
                <a:gd name="T8" fmla="*/ 7 w 104"/>
                <a:gd name="T9" fmla="*/ 14 h 111"/>
                <a:gd name="T10" fmla="*/ 9 w 104"/>
                <a:gd name="T11" fmla="*/ 10 h 111"/>
                <a:gd name="T12" fmla="*/ 13 w 104"/>
                <a:gd name="T13" fmla="*/ 10 h 111"/>
                <a:gd name="T14" fmla="*/ 13 w 104"/>
                <a:gd name="T15" fmla="*/ 8 h 111"/>
                <a:gd name="T16" fmla="*/ 11 w 104"/>
                <a:gd name="T17" fmla="*/ 4 h 111"/>
                <a:gd name="T18" fmla="*/ 11 w 104"/>
                <a:gd name="T19" fmla="*/ 2 h 111"/>
                <a:gd name="T20" fmla="*/ 5 w 104"/>
                <a:gd name="T21" fmla="*/ 0 h 111"/>
                <a:gd name="T22" fmla="*/ 0 w 104"/>
                <a:gd name="T23" fmla="*/ 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4" name="Freeform 23"/>
            <p:cNvSpPr>
              <a:spLocks/>
            </p:cNvSpPr>
            <p:nvPr/>
          </p:nvSpPr>
          <p:spPr bwMode="auto">
            <a:xfrm>
              <a:off x="6368388" y="3701520"/>
              <a:ext cx="91731" cy="95736"/>
            </a:xfrm>
            <a:custGeom>
              <a:avLst/>
              <a:gdLst>
                <a:gd name="T0" fmla="*/ 0 w 104"/>
                <a:gd name="T1" fmla="*/ 2 h 111"/>
                <a:gd name="T2" fmla="*/ 0 w 104"/>
                <a:gd name="T3" fmla="*/ 2 h 111"/>
                <a:gd name="T4" fmla="*/ 3 w 104"/>
                <a:gd name="T5" fmla="*/ 2 h 111"/>
                <a:gd name="T6" fmla="*/ 7 w 104"/>
                <a:gd name="T7" fmla="*/ 8 h 111"/>
                <a:gd name="T8" fmla="*/ 7 w 104"/>
                <a:gd name="T9" fmla="*/ 14 h 111"/>
                <a:gd name="T10" fmla="*/ 9 w 104"/>
                <a:gd name="T11" fmla="*/ 10 h 111"/>
                <a:gd name="T12" fmla="*/ 13 w 104"/>
                <a:gd name="T13" fmla="*/ 10 h 111"/>
                <a:gd name="T14" fmla="*/ 13 w 104"/>
                <a:gd name="T15" fmla="*/ 8 h 111"/>
                <a:gd name="T16" fmla="*/ 11 w 104"/>
                <a:gd name="T17" fmla="*/ 4 h 111"/>
                <a:gd name="T18" fmla="*/ 11 w 104"/>
                <a:gd name="T19" fmla="*/ 2 h 111"/>
                <a:gd name="T20" fmla="*/ 5 w 104"/>
                <a:gd name="T21" fmla="*/ 0 h 111"/>
                <a:gd name="T22" fmla="*/ 0 w 104"/>
                <a:gd name="T23" fmla="*/ 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5" name="Freeform 24"/>
            <p:cNvSpPr>
              <a:spLocks/>
            </p:cNvSpPr>
            <p:nvPr/>
          </p:nvSpPr>
          <p:spPr bwMode="auto">
            <a:xfrm>
              <a:off x="6782943" y="3920345"/>
              <a:ext cx="75855" cy="68383"/>
            </a:xfrm>
            <a:custGeom>
              <a:avLst/>
              <a:gdLst>
                <a:gd name="T0" fmla="*/ 10 w 87"/>
                <a:gd name="T1" fmla="*/ 10 h 81"/>
                <a:gd name="T2" fmla="*/ 10 w 87"/>
                <a:gd name="T3" fmla="*/ 10 h 81"/>
                <a:gd name="T4" fmla="*/ 10 w 87"/>
                <a:gd name="T5" fmla="*/ 8 h 81"/>
                <a:gd name="T6" fmla="*/ 8 w 87"/>
                <a:gd name="T7" fmla="*/ 6 h 81"/>
                <a:gd name="T8" fmla="*/ 8 w 87"/>
                <a:gd name="T9" fmla="*/ 4 h 81"/>
                <a:gd name="T10" fmla="*/ 4 w 87"/>
                <a:gd name="T11" fmla="*/ 0 h 81"/>
                <a:gd name="T12" fmla="*/ 0 w 87"/>
                <a:gd name="T13" fmla="*/ 0 h 81"/>
                <a:gd name="T14" fmla="*/ 2 w 87"/>
                <a:gd name="T15" fmla="*/ 6 h 81"/>
                <a:gd name="T16" fmla="*/ 4 w 87"/>
                <a:gd name="T17" fmla="*/ 6 h 81"/>
                <a:gd name="T18" fmla="*/ 8 w 87"/>
                <a:gd name="T19" fmla="*/ 8 h 81"/>
                <a:gd name="T20" fmla="*/ 8 w 87"/>
                <a:gd name="T21" fmla="*/ 10 h 81"/>
                <a:gd name="T22" fmla="*/ 10 w 87"/>
                <a:gd name="T23" fmla="*/ 1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6" name="Freeform 25"/>
            <p:cNvSpPr>
              <a:spLocks/>
            </p:cNvSpPr>
            <p:nvPr/>
          </p:nvSpPr>
          <p:spPr bwMode="auto">
            <a:xfrm>
              <a:off x="6782943" y="3920345"/>
              <a:ext cx="75855" cy="68383"/>
            </a:xfrm>
            <a:custGeom>
              <a:avLst/>
              <a:gdLst>
                <a:gd name="T0" fmla="*/ 10 w 87"/>
                <a:gd name="T1" fmla="*/ 10 h 81"/>
                <a:gd name="T2" fmla="*/ 10 w 87"/>
                <a:gd name="T3" fmla="*/ 10 h 81"/>
                <a:gd name="T4" fmla="*/ 10 w 87"/>
                <a:gd name="T5" fmla="*/ 8 h 81"/>
                <a:gd name="T6" fmla="*/ 8 w 87"/>
                <a:gd name="T7" fmla="*/ 6 h 81"/>
                <a:gd name="T8" fmla="*/ 8 w 87"/>
                <a:gd name="T9" fmla="*/ 4 h 81"/>
                <a:gd name="T10" fmla="*/ 4 w 87"/>
                <a:gd name="T11" fmla="*/ 0 h 81"/>
                <a:gd name="T12" fmla="*/ 0 w 87"/>
                <a:gd name="T13" fmla="*/ 0 h 81"/>
                <a:gd name="T14" fmla="*/ 2 w 87"/>
                <a:gd name="T15" fmla="*/ 6 h 81"/>
                <a:gd name="T16" fmla="*/ 4 w 87"/>
                <a:gd name="T17" fmla="*/ 6 h 81"/>
                <a:gd name="T18" fmla="*/ 8 w 87"/>
                <a:gd name="T19" fmla="*/ 8 h 81"/>
                <a:gd name="T20" fmla="*/ 8 w 87"/>
                <a:gd name="T21" fmla="*/ 10 h 81"/>
                <a:gd name="T22" fmla="*/ 10 w 87"/>
                <a:gd name="T23" fmla="*/ 1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7" name="Freeform 26"/>
            <p:cNvSpPr>
              <a:spLocks/>
            </p:cNvSpPr>
            <p:nvPr/>
          </p:nvSpPr>
          <p:spPr bwMode="auto">
            <a:xfrm>
              <a:off x="6812932" y="3961374"/>
              <a:ext cx="29989" cy="27353"/>
            </a:xfrm>
            <a:custGeom>
              <a:avLst/>
              <a:gdLst>
                <a:gd name="T0" fmla="*/ 4 w 35"/>
                <a:gd name="T1" fmla="*/ 4 h 33"/>
                <a:gd name="T2" fmla="*/ 4 w 35"/>
                <a:gd name="T3" fmla="*/ 4 h 33"/>
                <a:gd name="T4" fmla="*/ 2 w 35"/>
                <a:gd name="T5" fmla="*/ 4 h 33"/>
                <a:gd name="T6" fmla="*/ 0 w 35"/>
                <a:gd name="T7" fmla="*/ 0 h 33"/>
                <a:gd name="T8" fmla="*/ 4 w 35"/>
                <a:gd name="T9" fmla="*/ 2 h 33"/>
                <a:gd name="T10" fmla="*/ 4 w 35"/>
                <a:gd name="T11" fmla="*/ 4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8" name="Freeform 27"/>
            <p:cNvSpPr>
              <a:spLocks/>
            </p:cNvSpPr>
            <p:nvPr/>
          </p:nvSpPr>
          <p:spPr bwMode="auto">
            <a:xfrm>
              <a:off x="6812932" y="3961374"/>
              <a:ext cx="29989" cy="27353"/>
            </a:xfrm>
            <a:custGeom>
              <a:avLst/>
              <a:gdLst>
                <a:gd name="T0" fmla="*/ 4 w 35"/>
                <a:gd name="T1" fmla="*/ 4 h 33"/>
                <a:gd name="T2" fmla="*/ 4 w 35"/>
                <a:gd name="T3" fmla="*/ 4 h 33"/>
                <a:gd name="T4" fmla="*/ 2 w 35"/>
                <a:gd name="T5" fmla="*/ 4 h 33"/>
                <a:gd name="T6" fmla="*/ 0 w 35"/>
                <a:gd name="T7" fmla="*/ 0 h 33"/>
                <a:gd name="T8" fmla="*/ 4 w 35"/>
                <a:gd name="T9" fmla="*/ 2 h 33"/>
                <a:gd name="T10" fmla="*/ 4 w 35"/>
                <a:gd name="T11" fmla="*/ 4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79" name="Freeform 28"/>
            <p:cNvSpPr>
              <a:spLocks/>
            </p:cNvSpPr>
            <p:nvPr/>
          </p:nvSpPr>
          <p:spPr bwMode="auto">
            <a:xfrm>
              <a:off x="6812932" y="3906668"/>
              <a:ext cx="139361" cy="95736"/>
            </a:xfrm>
            <a:custGeom>
              <a:avLst/>
              <a:gdLst>
                <a:gd name="T0" fmla="*/ 7 w 157"/>
                <a:gd name="T1" fmla="*/ 12 h 111"/>
                <a:gd name="T2" fmla="*/ 7 w 157"/>
                <a:gd name="T3" fmla="*/ 12 h 111"/>
                <a:gd name="T4" fmla="*/ 11 w 157"/>
                <a:gd name="T5" fmla="*/ 10 h 111"/>
                <a:gd name="T6" fmla="*/ 13 w 157"/>
                <a:gd name="T7" fmla="*/ 10 h 111"/>
                <a:gd name="T8" fmla="*/ 11 w 157"/>
                <a:gd name="T9" fmla="*/ 12 h 111"/>
                <a:gd name="T10" fmla="*/ 16 w 157"/>
                <a:gd name="T11" fmla="*/ 14 h 111"/>
                <a:gd name="T12" fmla="*/ 13 w 157"/>
                <a:gd name="T13" fmla="*/ 12 h 111"/>
                <a:gd name="T14" fmla="*/ 16 w 157"/>
                <a:gd name="T15" fmla="*/ 12 h 111"/>
                <a:gd name="T16" fmla="*/ 16 w 157"/>
                <a:gd name="T17" fmla="*/ 8 h 111"/>
                <a:gd name="T18" fmla="*/ 20 w 157"/>
                <a:gd name="T19" fmla="*/ 6 h 111"/>
                <a:gd name="T20" fmla="*/ 16 w 157"/>
                <a:gd name="T21" fmla="*/ 4 h 111"/>
                <a:gd name="T22" fmla="*/ 13 w 157"/>
                <a:gd name="T23" fmla="*/ 0 h 111"/>
                <a:gd name="T24" fmla="*/ 11 w 157"/>
                <a:gd name="T25" fmla="*/ 2 h 111"/>
                <a:gd name="T26" fmla="*/ 9 w 157"/>
                <a:gd name="T27" fmla="*/ 2 h 111"/>
                <a:gd name="T28" fmla="*/ 7 w 157"/>
                <a:gd name="T29" fmla="*/ 0 h 111"/>
                <a:gd name="T30" fmla="*/ 5 w 157"/>
                <a:gd name="T31" fmla="*/ 0 h 111"/>
                <a:gd name="T32" fmla="*/ 7 w 157"/>
                <a:gd name="T33" fmla="*/ 2 h 111"/>
                <a:gd name="T34" fmla="*/ 3 w 157"/>
                <a:gd name="T35" fmla="*/ 2 h 111"/>
                <a:gd name="T36" fmla="*/ 0 w 157"/>
                <a:gd name="T37" fmla="*/ 2 h 111"/>
                <a:gd name="T38" fmla="*/ 5 w 157"/>
                <a:gd name="T39" fmla="*/ 6 h 111"/>
                <a:gd name="T40" fmla="*/ 5 w 157"/>
                <a:gd name="T41" fmla="*/ 8 h 111"/>
                <a:gd name="T42" fmla="*/ 7 w 157"/>
                <a:gd name="T43" fmla="*/ 10 h 111"/>
                <a:gd name="T44" fmla="*/ 7 w 157"/>
                <a:gd name="T45" fmla="*/ 12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0" name="Freeform 29"/>
            <p:cNvSpPr>
              <a:spLocks/>
            </p:cNvSpPr>
            <p:nvPr/>
          </p:nvSpPr>
          <p:spPr bwMode="auto">
            <a:xfrm>
              <a:off x="6996394" y="3879315"/>
              <a:ext cx="351048" cy="205148"/>
            </a:xfrm>
            <a:custGeom>
              <a:avLst/>
              <a:gdLst>
                <a:gd name="T0" fmla="*/ 47 w 400"/>
                <a:gd name="T1" fmla="*/ 24 h 240"/>
                <a:gd name="T2" fmla="*/ 47 w 400"/>
                <a:gd name="T3" fmla="*/ 24 h 240"/>
                <a:gd name="T4" fmla="*/ 45 w 400"/>
                <a:gd name="T5" fmla="*/ 22 h 240"/>
                <a:gd name="T6" fmla="*/ 45 w 400"/>
                <a:gd name="T7" fmla="*/ 24 h 240"/>
                <a:gd name="T8" fmla="*/ 43 w 400"/>
                <a:gd name="T9" fmla="*/ 24 h 240"/>
                <a:gd name="T10" fmla="*/ 41 w 400"/>
                <a:gd name="T11" fmla="*/ 28 h 240"/>
                <a:gd name="T12" fmla="*/ 36 w 400"/>
                <a:gd name="T13" fmla="*/ 28 h 240"/>
                <a:gd name="T14" fmla="*/ 36 w 400"/>
                <a:gd name="T15" fmla="*/ 30 h 240"/>
                <a:gd name="T16" fmla="*/ 30 w 400"/>
                <a:gd name="T17" fmla="*/ 30 h 240"/>
                <a:gd name="T18" fmla="*/ 30 w 400"/>
                <a:gd name="T19" fmla="*/ 28 h 240"/>
                <a:gd name="T20" fmla="*/ 30 w 400"/>
                <a:gd name="T21" fmla="*/ 27 h 240"/>
                <a:gd name="T22" fmla="*/ 17 w 400"/>
                <a:gd name="T23" fmla="*/ 21 h 240"/>
                <a:gd name="T24" fmla="*/ 10 w 400"/>
                <a:gd name="T25" fmla="*/ 21 h 240"/>
                <a:gd name="T26" fmla="*/ 6 w 400"/>
                <a:gd name="T27" fmla="*/ 22 h 240"/>
                <a:gd name="T28" fmla="*/ 6 w 400"/>
                <a:gd name="T29" fmla="*/ 17 h 240"/>
                <a:gd name="T30" fmla="*/ 4 w 400"/>
                <a:gd name="T31" fmla="*/ 17 h 240"/>
                <a:gd name="T32" fmla="*/ 4 w 400"/>
                <a:gd name="T33" fmla="*/ 12 h 240"/>
                <a:gd name="T34" fmla="*/ 2 w 400"/>
                <a:gd name="T35" fmla="*/ 12 h 240"/>
                <a:gd name="T36" fmla="*/ 2 w 400"/>
                <a:gd name="T37" fmla="*/ 11 h 240"/>
                <a:gd name="T38" fmla="*/ 6 w 400"/>
                <a:gd name="T39" fmla="*/ 11 h 240"/>
                <a:gd name="T40" fmla="*/ 8 w 400"/>
                <a:gd name="T41" fmla="*/ 9 h 240"/>
                <a:gd name="T42" fmla="*/ 4 w 400"/>
                <a:gd name="T43" fmla="*/ 5 h 240"/>
                <a:gd name="T44" fmla="*/ 2 w 400"/>
                <a:gd name="T45" fmla="*/ 5 h 240"/>
                <a:gd name="T46" fmla="*/ 2 w 400"/>
                <a:gd name="T47" fmla="*/ 9 h 240"/>
                <a:gd name="T48" fmla="*/ 0 w 400"/>
                <a:gd name="T49" fmla="*/ 5 h 240"/>
                <a:gd name="T50" fmla="*/ 6 w 400"/>
                <a:gd name="T51" fmla="*/ 3 h 240"/>
                <a:gd name="T52" fmla="*/ 10 w 400"/>
                <a:gd name="T53" fmla="*/ 6 h 240"/>
                <a:gd name="T54" fmla="*/ 13 w 400"/>
                <a:gd name="T55" fmla="*/ 6 h 240"/>
                <a:gd name="T56" fmla="*/ 15 w 400"/>
                <a:gd name="T57" fmla="*/ 6 h 240"/>
                <a:gd name="T58" fmla="*/ 15 w 400"/>
                <a:gd name="T59" fmla="*/ 5 h 240"/>
                <a:gd name="T60" fmla="*/ 19 w 400"/>
                <a:gd name="T61" fmla="*/ 3 h 240"/>
                <a:gd name="T62" fmla="*/ 21 w 400"/>
                <a:gd name="T63" fmla="*/ 3 h 240"/>
                <a:gd name="T64" fmla="*/ 19 w 400"/>
                <a:gd name="T65" fmla="*/ 0 h 240"/>
                <a:gd name="T66" fmla="*/ 21 w 400"/>
                <a:gd name="T67" fmla="*/ 0 h 240"/>
                <a:gd name="T68" fmla="*/ 25 w 400"/>
                <a:gd name="T69" fmla="*/ 3 h 240"/>
                <a:gd name="T70" fmla="*/ 25 w 400"/>
                <a:gd name="T71" fmla="*/ 6 h 240"/>
                <a:gd name="T72" fmla="*/ 32 w 400"/>
                <a:gd name="T73" fmla="*/ 6 h 240"/>
                <a:gd name="T74" fmla="*/ 34 w 400"/>
                <a:gd name="T75" fmla="*/ 12 h 240"/>
                <a:gd name="T76" fmla="*/ 45 w 400"/>
                <a:gd name="T77" fmla="*/ 18 h 240"/>
                <a:gd name="T78" fmla="*/ 49 w 400"/>
                <a:gd name="T79" fmla="*/ 21 h 240"/>
                <a:gd name="T80" fmla="*/ 47 w 400"/>
                <a:gd name="T81" fmla="*/ 24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1" name="Freeform 30"/>
            <p:cNvSpPr>
              <a:spLocks/>
            </p:cNvSpPr>
            <p:nvPr/>
          </p:nvSpPr>
          <p:spPr bwMode="auto">
            <a:xfrm>
              <a:off x="7086362" y="3797256"/>
              <a:ext cx="414554" cy="246178"/>
            </a:xfrm>
            <a:custGeom>
              <a:avLst/>
              <a:gdLst>
                <a:gd name="T0" fmla="*/ 35 w 468"/>
                <a:gd name="T1" fmla="*/ 36 h 288"/>
                <a:gd name="T2" fmla="*/ 35 w 468"/>
                <a:gd name="T3" fmla="*/ 36 h 288"/>
                <a:gd name="T4" fmla="*/ 39 w 468"/>
                <a:gd name="T5" fmla="*/ 36 h 288"/>
                <a:gd name="T6" fmla="*/ 42 w 468"/>
                <a:gd name="T7" fmla="*/ 33 h 288"/>
                <a:gd name="T8" fmla="*/ 42 w 468"/>
                <a:gd name="T9" fmla="*/ 28 h 288"/>
                <a:gd name="T10" fmla="*/ 39 w 468"/>
                <a:gd name="T11" fmla="*/ 26 h 288"/>
                <a:gd name="T12" fmla="*/ 44 w 468"/>
                <a:gd name="T13" fmla="*/ 26 h 288"/>
                <a:gd name="T14" fmla="*/ 46 w 468"/>
                <a:gd name="T15" fmla="*/ 22 h 288"/>
                <a:gd name="T16" fmla="*/ 46 w 468"/>
                <a:gd name="T17" fmla="*/ 20 h 288"/>
                <a:gd name="T18" fmla="*/ 50 w 468"/>
                <a:gd name="T19" fmla="*/ 20 h 288"/>
                <a:gd name="T20" fmla="*/ 50 w 468"/>
                <a:gd name="T21" fmla="*/ 22 h 288"/>
                <a:gd name="T22" fmla="*/ 55 w 468"/>
                <a:gd name="T23" fmla="*/ 22 h 288"/>
                <a:gd name="T24" fmla="*/ 59 w 468"/>
                <a:gd name="T25" fmla="*/ 20 h 288"/>
                <a:gd name="T26" fmla="*/ 55 w 468"/>
                <a:gd name="T27" fmla="*/ 18 h 288"/>
                <a:gd name="T28" fmla="*/ 53 w 468"/>
                <a:gd name="T29" fmla="*/ 18 h 288"/>
                <a:gd name="T30" fmla="*/ 48 w 468"/>
                <a:gd name="T31" fmla="*/ 18 h 288"/>
                <a:gd name="T32" fmla="*/ 53 w 468"/>
                <a:gd name="T33" fmla="*/ 14 h 288"/>
                <a:gd name="T34" fmla="*/ 50 w 468"/>
                <a:gd name="T35" fmla="*/ 14 h 288"/>
                <a:gd name="T36" fmla="*/ 44 w 468"/>
                <a:gd name="T37" fmla="*/ 20 h 288"/>
                <a:gd name="T38" fmla="*/ 42 w 468"/>
                <a:gd name="T39" fmla="*/ 18 h 288"/>
                <a:gd name="T40" fmla="*/ 37 w 468"/>
                <a:gd name="T41" fmla="*/ 18 h 288"/>
                <a:gd name="T42" fmla="*/ 37 w 468"/>
                <a:gd name="T43" fmla="*/ 17 h 288"/>
                <a:gd name="T44" fmla="*/ 35 w 468"/>
                <a:gd name="T45" fmla="*/ 17 h 288"/>
                <a:gd name="T46" fmla="*/ 35 w 468"/>
                <a:gd name="T47" fmla="*/ 12 h 288"/>
                <a:gd name="T48" fmla="*/ 31 w 468"/>
                <a:gd name="T49" fmla="*/ 9 h 288"/>
                <a:gd name="T50" fmla="*/ 20 w 468"/>
                <a:gd name="T51" fmla="*/ 9 h 288"/>
                <a:gd name="T52" fmla="*/ 13 w 468"/>
                <a:gd name="T53" fmla="*/ 2 h 288"/>
                <a:gd name="T54" fmla="*/ 9 w 468"/>
                <a:gd name="T55" fmla="*/ 0 h 288"/>
                <a:gd name="T56" fmla="*/ 0 w 468"/>
                <a:gd name="T57" fmla="*/ 2 h 288"/>
                <a:gd name="T58" fmla="*/ 0 w 468"/>
                <a:gd name="T59" fmla="*/ 18 h 288"/>
                <a:gd name="T60" fmla="*/ 3 w 468"/>
                <a:gd name="T61" fmla="*/ 18 h 288"/>
                <a:gd name="T62" fmla="*/ 3 w 468"/>
                <a:gd name="T63" fmla="*/ 17 h 288"/>
                <a:gd name="T64" fmla="*/ 7 w 468"/>
                <a:gd name="T65" fmla="*/ 14 h 288"/>
                <a:gd name="T66" fmla="*/ 9 w 468"/>
                <a:gd name="T67" fmla="*/ 14 h 288"/>
                <a:gd name="T68" fmla="*/ 7 w 468"/>
                <a:gd name="T69" fmla="*/ 12 h 288"/>
                <a:gd name="T70" fmla="*/ 9 w 468"/>
                <a:gd name="T71" fmla="*/ 12 h 288"/>
                <a:gd name="T72" fmla="*/ 13 w 468"/>
                <a:gd name="T73" fmla="*/ 14 h 288"/>
                <a:gd name="T74" fmla="*/ 13 w 468"/>
                <a:gd name="T75" fmla="*/ 18 h 288"/>
                <a:gd name="T76" fmla="*/ 20 w 468"/>
                <a:gd name="T77" fmla="*/ 18 h 288"/>
                <a:gd name="T78" fmla="*/ 22 w 468"/>
                <a:gd name="T79" fmla="*/ 24 h 288"/>
                <a:gd name="T80" fmla="*/ 33 w 468"/>
                <a:gd name="T81" fmla="*/ 30 h 288"/>
                <a:gd name="T82" fmla="*/ 37 w 468"/>
                <a:gd name="T83" fmla="*/ 33 h 288"/>
                <a:gd name="T84" fmla="*/ 35 w 468"/>
                <a:gd name="T85" fmla="*/ 36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2" name="Freeform 31"/>
            <p:cNvSpPr>
              <a:spLocks/>
            </p:cNvSpPr>
            <p:nvPr/>
          </p:nvSpPr>
          <p:spPr bwMode="auto">
            <a:xfrm>
              <a:off x="7361554" y="3935731"/>
              <a:ext cx="185225" cy="123089"/>
            </a:xfrm>
            <a:custGeom>
              <a:avLst/>
              <a:gdLst>
                <a:gd name="T0" fmla="*/ 22 w 209"/>
                <a:gd name="T1" fmla="*/ 6 h 144"/>
                <a:gd name="T2" fmla="*/ 22 w 209"/>
                <a:gd name="T3" fmla="*/ 6 h 144"/>
                <a:gd name="T4" fmla="*/ 22 w 209"/>
                <a:gd name="T5" fmla="*/ 9 h 144"/>
                <a:gd name="T6" fmla="*/ 27 w 209"/>
                <a:gd name="T7" fmla="*/ 9 h 144"/>
                <a:gd name="T8" fmla="*/ 27 w 209"/>
                <a:gd name="T9" fmla="*/ 15 h 144"/>
                <a:gd name="T10" fmla="*/ 20 w 209"/>
                <a:gd name="T11" fmla="*/ 13 h 144"/>
                <a:gd name="T12" fmla="*/ 16 w 209"/>
                <a:gd name="T13" fmla="*/ 18 h 144"/>
                <a:gd name="T14" fmla="*/ 14 w 209"/>
                <a:gd name="T15" fmla="*/ 12 h 144"/>
                <a:gd name="T16" fmla="*/ 11 w 209"/>
                <a:gd name="T17" fmla="*/ 9 h 144"/>
                <a:gd name="T18" fmla="*/ 9 w 209"/>
                <a:gd name="T19" fmla="*/ 13 h 144"/>
                <a:gd name="T20" fmla="*/ 7 w 209"/>
                <a:gd name="T21" fmla="*/ 13 h 144"/>
                <a:gd name="T22" fmla="*/ 7 w 209"/>
                <a:gd name="T23" fmla="*/ 15 h 144"/>
                <a:gd name="T24" fmla="*/ 3 w 209"/>
                <a:gd name="T25" fmla="*/ 15 h 144"/>
                <a:gd name="T26" fmla="*/ 0 w 209"/>
                <a:gd name="T27" fmla="*/ 15 h 144"/>
                <a:gd name="T28" fmla="*/ 3 w 209"/>
                <a:gd name="T29" fmla="*/ 12 h 144"/>
                <a:gd name="T30" fmla="*/ 3 w 209"/>
                <a:gd name="T31" fmla="*/ 8 h 144"/>
                <a:gd name="T32" fmla="*/ 0 w 209"/>
                <a:gd name="T33" fmla="*/ 6 h 144"/>
                <a:gd name="T34" fmla="*/ 5 w 209"/>
                <a:gd name="T35" fmla="*/ 6 h 144"/>
                <a:gd name="T36" fmla="*/ 7 w 209"/>
                <a:gd name="T37" fmla="*/ 2 h 144"/>
                <a:gd name="T38" fmla="*/ 7 w 209"/>
                <a:gd name="T39" fmla="*/ 0 h 144"/>
                <a:gd name="T40" fmla="*/ 11 w 209"/>
                <a:gd name="T41" fmla="*/ 0 h 144"/>
                <a:gd name="T42" fmla="*/ 11 w 209"/>
                <a:gd name="T43" fmla="*/ 2 h 144"/>
                <a:gd name="T44" fmla="*/ 11 w 209"/>
                <a:gd name="T45" fmla="*/ 3 h 144"/>
                <a:gd name="T46" fmla="*/ 7 w 209"/>
                <a:gd name="T47" fmla="*/ 3 h 144"/>
                <a:gd name="T48" fmla="*/ 7 w 209"/>
                <a:gd name="T49" fmla="*/ 6 h 144"/>
                <a:gd name="T50" fmla="*/ 14 w 209"/>
                <a:gd name="T51" fmla="*/ 6 h 144"/>
                <a:gd name="T52" fmla="*/ 16 w 209"/>
                <a:gd name="T53" fmla="*/ 6 h 144"/>
                <a:gd name="T54" fmla="*/ 22 w 209"/>
                <a:gd name="T55" fmla="*/ 6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3" name="Freeform 32"/>
            <p:cNvSpPr>
              <a:spLocks/>
            </p:cNvSpPr>
            <p:nvPr/>
          </p:nvSpPr>
          <p:spPr bwMode="auto">
            <a:xfrm>
              <a:off x="7409184" y="3865639"/>
              <a:ext cx="261081" cy="111122"/>
            </a:xfrm>
            <a:custGeom>
              <a:avLst/>
              <a:gdLst>
                <a:gd name="T0" fmla="*/ 37 w 295"/>
                <a:gd name="T1" fmla="*/ 4 h 128"/>
                <a:gd name="T2" fmla="*/ 37 w 295"/>
                <a:gd name="T3" fmla="*/ 4 h 128"/>
                <a:gd name="T4" fmla="*/ 37 w 295"/>
                <a:gd name="T5" fmla="*/ 6 h 128"/>
                <a:gd name="T6" fmla="*/ 31 w 295"/>
                <a:gd name="T7" fmla="*/ 11 h 128"/>
                <a:gd name="T8" fmla="*/ 26 w 295"/>
                <a:gd name="T9" fmla="*/ 11 h 128"/>
                <a:gd name="T10" fmla="*/ 24 w 295"/>
                <a:gd name="T11" fmla="*/ 13 h 128"/>
                <a:gd name="T12" fmla="*/ 20 w 295"/>
                <a:gd name="T13" fmla="*/ 13 h 128"/>
                <a:gd name="T14" fmla="*/ 16 w 295"/>
                <a:gd name="T15" fmla="*/ 14 h 128"/>
                <a:gd name="T16" fmla="*/ 16 w 295"/>
                <a:gd name="T17" fmla="*/ 17 h 128"/>
                <a:gd name="T18" fmla="*/ 9 w 295"/>
                <a:gd name="T19" fmla="*/ 17 h 128"/>
                <a:gd name="T20" fmla="*/ 7 w 295"/>
                <a:gd name="T21" fmla="*/ 17 h 128"/>
                <a:gd name="T22" fmla="*/ 0 w 295"/>
                <a:gd name="T23" fmla="*/ 17 h 128"/>
                <a:gd name="T24" fmla="*/ 0 w 295"/>
                <a:gd name="T25" fmla="*/ 14 h 128"/>
                <a:gd name="T26" fmla="*/ 5 w 295"/>
                <a:gd name="T27" fmla="*/ 14 h 128"/>
                <a:gd name="T28" fmla="*/ 5 w 295"/>
                <a:gd name="T29" fmla="*/ 13 h 128"/>
                <a:gd name="T30" fmla="*/ 9 w 295"/>
                <a:gd name="T31" fmla="*/ 13 h 128"/>
                <a:gd name="T32" fmla="*/ 13 w 295"/>
                <a:gd name="T33" fmla="*/ 11 h 128"/>
                <a:gd name="T34" fmla="*/ 9 w 295"/>
                <a:gd name="T35" fmla="*/ 8 h 128"/>
                <a:gd name="T36" fmla="*/ 7 w 295"/>
                <a:gd name="T37" fmla="*/ 8 h 128"/>
                <a:gd name="T38" fmla="*/ 3 w 295"/>
                <a:gd name="T39" fmla="*/ 8 h 128"/>
                <a:gd name="T40" fmla="*/ 7 w 295"/>
                <a:gd name="T41" fmla="*/ 4 h 128"/>
                <a:gd name="T42" fmla="*/ 5 w 295"/>
                <a:gd name="T43" fmla="*/ 4 h 128"/>
                <a:gd name="T44" fmla="*/ 7 w 295"/>
                <a:gd name="T45" fmla="*/ 2 h 128"/>
                <a:gd name="T46" fmla="*/ 13 w 295"/>
                <a:gd name="T47" fmla="*/ 4 h 128"/>
                <a:gd name="T48" fmla="*/ 13 w 295"/>
                <a:gd name="T49" fmla="*/ 2 h 128"/>
                <a:gd name="T50" fmla="*/ 16 w 295"/>
                <a:gd name="T51" fmla="*/ 0 h 128"/>
                <a:gd name="T52" fmla="*/ 20 w 295"/>
                <a:gd name="T53" fmla="*/ 2 h 128"/>
                <a:gd name="T54" fmla="*/ 33 w 295"/>
                <a:gd name="T55" fmla="*/ 2 h 128"/>
                <a:gd name="T56" fmla="*/ 37 w 295"/>
                <a:gd name="T57" fmla="*/ 4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4" name="Freeform 33"/>
            <p:cNvSpPr>
              <a:spLocks/>
            </p:cNvSpPr>
            <p:nvPr/>
          </p:nvSpPr>
          <p:spPr bwMode="auto">
            <a:xfrm>
              <a:off x="6001465" y="2827931"/>
              <a:ext cx="305182" cy="641088"/>
            </a:xfrm>
            <a:custGeom>
              <a:avLst/>
              <a:gdLst>
                <a:gd name="T0" fmla="*/ 0 w 346"/>
                <a:gd name="T1" fmla="*/ 74 h 750"/>
                <a:gd name="T2" fmla="*/ 0 w 346"/>
                <a:gd name="T3" fmla="*/ 74 h 750"/>
                <a:gd name="T4" fmla="*/ 3 w 346"/>
                <a:gd name="T5" fmla="*/ 74 h 750"/>
                <a:gd name="T6" fmla="*/ 3 w 346"/>
                <a:gd name="T7" fmla="*/ 68 h 750"/>
                <a:gd name="T8" fmla="*/ 5 w 346"/>
                <a:gd name="T9" fmla="*/ 66 h 750"/>
                <a:gd name="T10" fmla="*/ 5 w 346"/>
                <a:gd name="T11" fmla="*/ 60 h 750"/>
                <a:gd name="T12" fmla="*/ 5 w 346"/>
                <a:gd name="T13" fmla="*/ 57 h 750"/>
                <a:gd name="T14" fmla="*/ 3 w 346"/>
                <a:gd name="T15" fmla="*/ 49 h 750"/>
                <a:gd name="T16" fmla="*/ 5 w 346"/>
                <a:gd name="T17" fmla="*/ 42 h 750"/>
                <a:gd name="T18" fmla="*/ 6 w 346"/>
                <a:gd name="T19" fmla="*/ 40 h 750"/>
                <a:gd name="T20" fmla="*/ 11 w 346"/>
                <a:gd name="T21" fmla="*/ 38 h 750"/>
                <a:gd name="T22" fmla="*/ 9 w 346"/>
                <a:gd name="T23" fmla="*/ 34 h 750"/>
                <a:gd name="T24" fmla="*/ 11 w 346"/>
                <a:gd name="T25" fmla="*/ 30 h 750"/>
                <a:gd name="T26" fmla="*/ 13 w 346"/>
                <a:gd name="T27" fmla="*/ 24 h 750"/>
                <a:gd name="T28" fmla="*/ 18 w 346"/>
                <a:gd name="T29" fmla="*/ 18 h 750"/>
                <a:gd name="T30" fmla="*/ 18 w 346"/>
                <a:gd name="T31" fmla="*/ 15 h 750"/>
                <a:gd name="T32" fmla="*/ 18 w 346"/>
                <a:gd name="T33" fmla="*/ 13 h 750"/>
                <a:gd name="T34" fmla="*/ 20 w 346"/>
                <a:gd name="T35" fmla="*/ 10 h 750"/>
                <a:gd name="T36" fmla="*/ 22 w 346"/>
                <a:gd name="T37" fmla="*/ 7 h 750"/>
                <a:gd name="T38" fmla="*/ 23 w 346"/>
                <a:gd name="T39" fmla="*/ 7 h 750"/>
                <a:gd name="T40" fmla="*/ 23 w 346"/>
                <a:gd name="T41" fmla="*/ 3 h 750"/>
                <a:gd name="T42" fmla="*/ 26 w 346"/>
                <a:gd name="T43" fmla="*/ 3 h 750"/>
                <a:gd name="T44" fmla="*/ 30 w 346"/>
                <a:gd name="T45" fmla="*/ 3 h 750"/>
                <a:gd name="T46" fmla="*/ 30 w 346"/>
                <a:gd name="T47" fmla="*/ 0 h 750"/>
                <a:gd name="T48" fmla="*/ 33 w 346"/>
                <a:gd name="T49" fmla="*/ 0 h 750"/>
                <a:gd name="T50" fmla="*/ 42 w 346"/>
                <a:gd name="T51" fmla="*/ 7 h 750"/>
                <a:gd name="T52" fmla="*/ 43 w 346"/>
                <a:gd name="T53" fmla="*/ 25 h 750"/>
                <a:gd name="T54" fmla="*/ 39 w 346"/>
                <a:gd name="T55" fmla="*/ 25 h 750"/>
                <a:gd name="T56" fmla="*/ 35 w 346"/>
                <a:gd name="T57" fmla="*/ 30 h 750"/>
                <a:gd name="T58" fmla="*/ 35 w 346"/>
                <a:gd name="T59" fmla="*/ 31 h 750"/>
                <a:gd name="T60" fmla="*/ 35 w 346"/>
                <a:gd name="T61" fmla="*/ 34 h 750"/>
                <a:gd name="T62" fmla="*/ 37 w 346"/>
                <a:gd name="T63" fmla="*/ 36 h 750"/>
                <a:gd name="T64" fmla="*/ 33 w 346"/>
                <a:gd name="T65" fmla="*/ 40 h 750"/>
                <a:gd name="T66" fmla="*/ 26 w 346"/>
                <a:gd name="T67" fmla="*/ 46 h 750"/>
                <a:gd name="T68" fmla="*/ 22 w 346"/>
                <a:gd name="T69" fmla="*/ 51 h 750"/>
                <a:gd name="T70" fmla="*/ 22 w 346"/>
                <a:gd name="T71" fmla="*/ 61 h 750"/>
                <a:gd name="T72" fmla="*/ 26 w 346"/>
                <a:gd name="T73" fmla="*/ 68 h 750"/>
                <a:gd name="T74" fmla="*/ 23 w 346"/>
                <a:gd name="T75" fmla="*/ 70 h 750"/>
                <a:gd name="T76" fmla="*/ 23 w 346"/>
                <a:gd name="T77" fmla="*/ 72 h 750"/>
                <a:gd name="T78" fmla="*/ 20 w 346"/>
                <a:gd name="T79" fmla="*/ 76 h 750"/>
                <a:gd name="T80" fmla="*/ 18 w 346"/>
                <a:gd name="T81" fmla="*/ 90 h 750"/>
                <a:gd name="T82" fmla="*/ 13 w 346"/>
                <a:gd name="T83" fmla="*/ 90 h 750"/>
                <a:gd name="T84" fmla="*/ 11 w 346"/>
                <a:gd name="T85" fmla="*/ 92 h 750"/>
                <a:gd name="T86" fmla="*/ 11 w 346"/>
                <a:gd name="T87" fmla="*/ 94 h 750"/>
                <a:gd name="T88" fmla="*/ 6 w 346"/>
                <a:gd name="T89" fmla="*/ 94 h 750"/>
                <a:gd name="T90" fmla="*/ 5 w 346"/>
                <a:gd name="T91" fmla="*/ 90 h 750"/>
                <a:gd name="T92" fmla="*/ 6 w 346"/>
                <a:gd name="T93" fmla="*/ 88 h 750"/>
                <a:gd name="T94" fmla="*/ 5 w 346"/>
                <a:gd name="T95" fmla="*/ 86 h 750"/>
                <a:gd name="T96" fmla="*/ 0 w 346"/>
                <a:gd name="T97" fmla="*/ 74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6"/>
                <a:gd name="T148" fmla="*/ 0 h 750"/>
                <a:gd name="T149" fmla="*/ 346 w 346"/>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6" h="750">
                  <a:moveTo>
                    <a:pt x="0" y="591"/>
                  </a:moveTo>
                  <a:lnTo>
                    <a:pt x="0" y="591"/>
                  </a:lnTo>
                  <a:lnTo>
                    <a:pt x="18" y="591"/>
                  </a:lnTo>
                  <a:lnTo>
                    <a:pt x="18" y="543"/>
                  </a:lnTo>
                  <a:lnTo>
                    <a:pt x="35" y="528"/>
                  </a:lnTo>
                  <a:lnTo>
                    <a:pt x="35" y="480"/>
                  </a:lnTo>
                  <a:lnTo>
                    <a:pt x="35" y="462"/>
                  </a:lnTo>
                  <a:lnTo>
                    <a:pt x="18" y="399"/>
                  </a:lnTo>
                  <a:lnTo>
                    <a:pt x="35" y="336"/>
                  </a:lnTo>
                  <a:lnTo>
                    <a:pt x="52" y="318"/>
                  </a:lnTo>
                  <a:lnTo>
                    <a:pt x="87" y="303"/>
                  </a:lnTo>
                  <a:lnTo>
                    <a:pt x="70" y="271"/>
                  </a:lnTo>
                  <a:lnTo>
                    <a:pt x="87" y="240"/>
                  </a:lnTo>
                  <a:lnTo>
                    <a:pt x="104" y="192"/>
                  </a:lnTo>
                  <a:lnTo>
                    <a:pt x="139" y="144"/>
                  </a:lnTo>
                  <a:lnTo>
                    <a:pt x="139" y="127"/>
                  </a:lnTo>
                  <a:lnTo>
                    <a:pt x="139" y="111"/>
                  </a:lnTo>
                  <a:lnTo>
                    <a:pt x="156" y="79"/>
                  </a:lnTo>
                  <a:lnTo>
                    <a:pt x="173" y="63"/>
                  </a:lnTo>
                  <a:lnTo>
                    <a:pt x="190" y="63"/>
                  </a:lnTo>
                  <a:lnTo>
                    <a:pt x="190" y="31"/>
                  </a:lnTo>
                  <a:lnTo>
                    <a:pt x="208" y="31"/>
                  </a:lnTo>
                  <a:lnTo>
                    <a:pt x="242" y="31"/>
                  </a:lnTo>
                  <a:lnTo>
                    <a:pt x="242" y="0"/>
                  </a:lnTo>
                  <a:lnTo>
                    <a:pt x="260" y="0"/>
                  </a:lnTo>
                  <a:lnTo>
                    <a:pt x="329" y="63"/>
                  </a:lnTo>
                  <a:lnTo>
                    <a:pt x="346" y="207"/>
                  </a:lnTo>
                  <a:lnTo>
                    <a:pt x="311" y="207"/>
                  </a:lnTo>
                  <a:lnTo>
                    <a:pt x="277" y="240"/>
                  </a:lnTo>
                  <a:lnTo>
                    <a:pt x="277" y="255"/>
                  </a:lnTo>
                  <a:lnTo>
                    <a:pt x="277" y="271"/>
                  </a:lnTo>
                  <a:lnTo>
                    <a:pt x="294" y="288"/>
                  </a:lnTo>
                  <a:lnTo>
                    <a:pt x="260" y="318"/>
                  </a:lnTo>
                  <a:lnTo>
                    <a:pt x="208" y="366"/>
                  </a:lnTo>
                  <a:lnTo>
                    <a:pt x="173" y="414"/>
                  </a:lnTo>
                  <a:lnTo>
                    <a:pt x="173" y="495"/>
                  </a:lnTo>
                  <a:lnTo>
                    <a:pt x="208" y="543"/>
                  </a:lnTo>
                  <a:lnTo>
                    <a:pt x="190" y="558"/>
                  </a:lnTo>
                  <a:lnTo>
                    <a:pt x="190" y="576"/>
                  </a:lnTo>
                  <a:lnTo>
                    <a:pt x="156" y="606"/>
                  </a:lnTo>
                  <a:lnTo>
                    <a:pt x="139" y="720"/>
                  </a:lnTo>
                  <a:lnTo>
                    <a:pt x="104" y="720"/>
                  </a:lnTo>
                  <a:lnTo>
                    <a:pt x="87" y="735"/>
                  </a:lnTo>
                  <a:lnTo>
                    <a:pt x="87" y="750"/>
                  </a:lnTo>
                  <a:lnTo>
                    <a:pt x="52" y="750"/>
                  </a:lnTo>
                  <a:lnTo>
                    <a:pt x="35" y="720"/>
                  </a:lnTo>
                  <a:lnTo>
                    <a:pt x="52" y="702"/>
                  </a:lnTo>
                  <a:lnTo>
                    <a:pt x="35" y="687"/>
                  </a:lnTo>
                  <a:lnTo>
                    <a:pt x="0" y="591"/>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85" name="Freeform 34"/>
            <p:cNvSpPr>
              <a:spLocks/>
            </p:cNvSpPr>
            <p:nvPr/>
          </p:nvSpPr>
          <p:spPr bwMode="auto">
            <a:xfrm>
              <a:off x="5541046" y="3469019"/>
              <a:ext cx="63507" cy="56416"/>
            </a:xfrm>
            <a:custGeom>
              <a:avLst/>
              <a:gdLst>
                <a:gd name="T0" fmla="*/ 7 w 71"/>
                <a:gd name="T1" fmla="*/ 9 h 65"/>
                <a:gd name="T2" fmla="*/ 7 w 71"/>
                <a:gd name="T3" fmla="*/ 9 h 65"/>
                <a:gd name="T4" fmla="*/ 7 w 71"/>
                <a:gd name="T5" fmla="*/ 6 h 65"/>
                <a:gd name="T6" fmla="*/ 3 w 71"/>
                <a:gd name="T7" fmla="*/ 6 h 65"/>
                <a:gd name="T8" fmla="*/ 0 w 71"/>
                <a:gd name="T9" fmla="*/ 5 h 65"/>
                <a:gd name="T10" fmla="*/ 3 w 71"/>
                <a:gd name="T11" fmla="*/ 0 h 65"/>
                <a:gd name="T12" fmla="*/ 7 w 71"/>
                <a:gd name="T13" fmla="*/ 3 h 65"/>
                <a:gd name="T14" fmla="*/ 9 w 71"/>
                <a:gd name="T15" fmla="*/ 6 h 65"/>
                <a:gd name="T16" fmla="*/ 7 w 71"/>
                <a:gd name="T17" fmla="*/ 9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65"/>
                <a:gd name="T29" fmla="*/ 71 w 71"/>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65">
                  <a:moveTo>
                    <a:pt x="54" y="65"/>
                  </a:moveTo>
                  <a:lnTo>
                    <a:pt x="54" y="65"/>
                  </a:lnTo>
                  <a:lnTo>
                    <a:pt x="54" y="48"/>
                  </a:lnTo>
                  <a:lnTo>
                    <a:pt x="18" y="48"/>
                  </a:lnTo>
                  <a:lnTo>
                    <a:pt x="0" y="33"/>
                  </a:lnTo>
                  <a:lnTo>
                    <a:pt x="18" y="0"/>
                  </a:lnTo>
                  <a:lnTo>
                    <a:pt x="54" y="18"/>
                  </a:lnTo>
                  <a:lnTo>
                    <a:pt x="71" y="48"/>
                  </a:lnTo>
                  <a:lnTo>
                    <a:pt x="54"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6" name="Freeform 35"/>
            <p:cNvSpPr>
              <a:spLocks/>
            </p:cNvSpPr>
            <p:nvPr/>
          </p:nvSpPr>
          <p:spPr bwMode="auto">
            <a:xfrm>
              <a:off x="5923847" y="3386960"/>
              <a:ext cx="77619" cy="97445"/>
            </a:xfrm>
            <a:custGeom>
              <a:avLst/>
              <a:gdLst>
                <a:gd name="T0" fmla="*/ 3 w 88"/>
                <a:gd name="T1" fmla="*/ 14 h 114"/>
                <a:gd name="T2" fmla="*/ 3 w 88"/>
                <a:gd name="T3" fmla="*/ 14 h 114"/>
                <a:gd name="T4" fmla="*/ 5 w 88"/>
                <a:gd name="T5" fmla="*/ 14 h 114"/>
                <a:gd name="T6" fmla="*/ 6 w 88"/>
                <a:gd name="T7" fmla="*/ 14 h 114"/>
                <a:gd name="T8" fmla="*/ 9 w 88"/>
                <a:gd name="T9" fmla="*/ 9 h 114"/>
                <a:gd name="T10" fmla="*/ 11 w 88"/>
                <a:gd name="T11" fmla="*/ 9 h 114"/>
                <a:gd name="T12" fmla="*/ 11 w 88"/>
                <a:gd name="T13" fmla="*/ 6 h 114"/>
                <a:gd name="T14" fmla="*/ 9 w 88"/>
                <a:gd name="T15" fmla="*/ 6 h 114"/>
                <a:gd name="T16" fmla="*/ 9 w 88"/>
                <a:gd name="T17" fmla="*/ 0 h 114"/>
                <a:gd name="T18" fmla="*/ 3 w 88"/>
                <a:gd name="T19" fmla="*/ 3 h 114"/>
                <a:gd name="T20" fmla="*/ 0 w 88"/>
                <a:gd name="T21" fmla="*/ 6 h 114"/>
                <a:gd name="T22" fmla="*/ 0 w 88"/>
                <a:gd name="T23" fmla="*/ 11 h 114"/>
                <a:gd name="T24" fmla="*/ 3 w 88"/>
                <a:gd name="T25" fmla="*/ 12 h 114"/>
                <a:gd name="T26" fmla="*/ 3 w 88"/>
                <a:gd name="T27" fmla="*/ 14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114"/>
                <a:gd name="T44" fmla="*/ 88 w 88"/>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114">
                  <a:moveTo>
                    <a:pt x="19" y="114"/>
                  </a:moveTo>
                  <a:lnTo>
                    <a:pt x="19" y="114"/>
                  </a:lnTo>
                  <a:lnTo>
                    <a:pt x="37" y="114"/>
                  </a:lnTo>
                  <a:lnTo>
                    <a:pt x="54" y="114"/>
                  </a:lnTo>
                  <a:lnTo>
                    <a:pt x="71" y="66"/>
                  </a:lnTo>
                  <a:lnTo>
                    <a:pt x="88" y="66"/>
                  </a:lnTo>
                  <a:lnTo>
                    <a:pt x="88" y="48"/>
                  </a:lnTo>
                  <a:lnTo>
                    <a:pt x="71" y="48"/>
                  </a:lnTo>
                  <a:lnTo>
                    <a:pt x="71" y="0"/>
                  </a:lnTo>
                  <a:lnTo>
                    <a:pt x="19" y="18"/>
                  </a:lnTo>
                  <a:lnTo>
                    <a:pt x="0" y="48"/>
                  </a:lnTo>
                  <a:lnTo>
                    <a:pt x="0" y="81"/>
                  </a:lnTo>
                  <a:lnTo>
                    <a:pt x="19" y="96"/>
                  </a:lnTo>
                  <a:lnTo>
                    <a:pt x="19" y="11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87" name="Freeform 36"/>
            <p:cNvSpPr>
              <a:spLocks/>
            </p:cNvSpPr>
            <p:nvPr/>
          </p:nvSpPr>
          <p:spPr bwMode="auto">
            <a:xfrm>
              <a:off x="5818003" y="3537402"/>
              <a:ext cx="89967" cy="95736"/>
            </a:xfrm>
            <a:custGeom>
              <a:avLst/>
              <a:gdLst>
                <a:gd name="T0" fmla="*/ 8 w 104"/>
                <a:gd name="T1" fmla="*/ 14 h 111"/>
                <a:gd name="T2" fmla="*/ 8 w 104"/>
                <a:gd name="T3" fmla="*/ 14 h 111"/>
                <a:gd name="T4" fmla="*/ 8 w 104"/>
                <a:gd name="T5" fmla="*/ 8 h 111"/>
                <a:gd name="T6" fmla="*/ 10 w 104"/>
                <a:gd name="T7" fmla="*/ 6 h 111"/>
                <a:gd name="T8" fmla="*/ 12 w 104"/>
                <a:gd name="T9" fmla="*/ 0 h 111"/>
                <a:gd name="T10" fmla="*/ 6 w 104"/>
                <a:gd name="T11" fmla="*/ 2 h 111"/>
                <a:gd name="T12" fmla="*/ 8 w 104"/>
                <a:gd name="T13" fmla="*/ 6 h 111"/>
                <a:gd name="T14" fmla="*/ 6 w 104"/>
                <a:gd name="T15" fmla="*/ 6 h 111"/>
                <a:gd name="T16" fmla="*/ 6 w 104"/>
                <a:gd name="T17" fmla="*/ 4 h 111"/>
                <a:gd name="T18" fmla="*/ 4 w 104"/>
                <a:gd name="T19" fmla="*/ 4 h 111"/>
                <a:gd name="T20" fmla="*/ 0 w 104"/>
                <a:gd name="T21" fmla="*/ 12 h 111"/>
                <a:gd name="T22" fmla="*/ 6 w 104"/>
                <a:gd name="T23" fmla="*/ 12 h 111"/>
                <a:gd name="T24" fmla="*/ 8 w 104"/>
                <a:gd name="T25" fmla="*/ 14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69" y="111"/>
                  </a:moveTo>
                  <a:lnTo>
                    <a:pt x="69" y="111"/>
                  </a:lnTo>
                  <a:lnTo>
                    <a:pt x="69" y="63"/>
                  </a:lnTo>
                  <a:lnTo>
                    <a:pt x="87" y="48"/>
                  </a:lnTo>
                  <a:lnTo>
                    <a:pt x="104" y="0"/>
                  </a:lnTo>
                  <a:lnTo>
                    <a:pt x="52" y="15"/>
                  </a:lnTo>
                  <a:lnTo>
                    <a:pt x="69" y="48"/>
                  </a:lnTo>
                  <a:lnTo>
                    <a:pt x="52" y="48"/>
                  </a:lnTo>
                  <a:lnTo>
                    <a:pt x="52" y="32"/>
                  </a:lnTo>
                  <a:lnTo>
                    <a:pt x="35" y="32"/>
                  </a:lnTo>
                  <a:lnTo>
                    <a:pt x="0" y="96"/>
                  </a:lnTo>
                  <a:lnTo>
                    <a:pt x="52" y="96"/>
                  </a:lnTo>
                  <a:lnTo>
                    <a:pt x="69" y="111"/>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588" name="Freeform 37"/>
            <p:cNvSpPr>
              <a:spLocks/>
            </p:cNvSpPr>
            <p:nvPr/>
          </p:nvSpPr>
          <p:spPr bwMode="auto">
            <a:xfrm>
              <a:off x="5800362" y="3619461"/>
              <a:ext cx="77619" cy="54706"/>
            </a:xfrm>
            <a:custGeom>
              <a:avLst/>
              <a:gdLst>
                <a:gd name="T0" fmla="*/ 9 w 88"/>
                <a:gd name="T1" fmla="*/ 8 h 63"/>
                <a:gd name="T2" fmla="*/ 9 w 88"/>
                <a:gd name="T3" fmla="*/ 8 h 63"/>
                <a:gd name="T4" fmla="*/ 6 w 88"/>
                <a:gd name="T5" fmla="*/ 8 h 63"/>
                <a:gd name="T6" fmla="*/ 6 w 88"/>
                <a:gd name="T7" fmla="*/ 6 h 63"/>
                <a:gd name="T8" fmla="*/ 5 w 88"/>
                <a:gd name="T9" fmla="*/ 6 h 63"/>
                <a:gd name="T10" fmla="*/ 5 w 88"/>
                <a:gd name="T11" fmla="*/ 4 h 63"/>
                <a:gd name="T12" fmla="*/ 0 w 88"/>
                <a:gd name="T13" fmla="*/ 2 h 63"/>
                <a:gd name="T14" fmla="*/ 0 w 88"/>
                <a:gd name="T15" fmla="*/ 0 h 63"/>
                <a:gd name="T16" fmla="*/ 3 w 88"/>
                <a:gd name="T17" fmla="*/ 0 h 63"/>
                <a:gd name="T18" fmla="*/ 9 w 88"/>
                <a:gd name="T19" fmla="*/ 0 h 63"/>
                <a:gd name="T20" fmla="*/ 11 w 88"/>
                <a:gd name="T21" fmla="*/ 2 h 63"/>
                <a:gd name="T22" fmla="*/ 11 w 88"/>
                <a:gd name="T23" fmla="*/ 6 h 63"/>
                <a:gd name="T24" fmla="*/ 9 w 88"/>
                <a:gd name="T25" fmla="*/ 6 h 63"/>
                <a:gd name="T26" fmla="*/ 9 w 88"/>
                <a:gd name="T27" fmla="*/ 8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63"/>
                <a:gd name="T44" fmla="*/ 88 w 88"/>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63">
                  <a:moveTo>
                    <a:pt x="71" y="63"/>
                  </a:moveTo>
                  <a:lnTo>
                    <a:pt x="71" y="63"/>
                  </a:lnTo>
                  <a:lnTo>
                    <a:pt x="54" y="63"/>
                  </a:lnTo>
                  <a:lnTo>
                    <a:pt x="54" y="48"/>
                  </a:lnTo>
                  <a:lnTo>
                    <a:pt x="36" y="48"/>
                  </a:lnTo>
                  <a:lnTo>
                    <a:pt x="36" y="32"/>
                  </a:lnTo>
                  <a:lnTo>
                    <a:pt x="0" y="15"/>
                  </a:lnTo>
                  <a:lnTo>
                    <a:pt x="0" y="0"/>
                  </a:lnTo>
                  <a:lnTo>
                    <a:pt x="19" y="0"/>
                  </a:lnTo>
                  <a:lnTo>
                    <a:pt x="71" y="0"/>
                  </a:lnTo>
                  <a:lnTo>
                    <a:pt x="88" y="15"/>
                  </a:lnTo>
                  <a:lnTo>
                    <a:pt x="88" y="48"/>
                  </a:lnTo>
                  <a:lnTo>
                    <a:pt x="71" y="48"/>
                  </a:lnTo>
                  <a:lnTo>
                    <a:pt x="71" y="63"/>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589" name="Freeform 38"/>
            <p:cNvSpPr>
              <a:spLocks/>
            </p:cNvSpPr>
            <p:nvPr/>
          </p:nvSpPr>
          <p:spPr bwMode="auto">
            <a:xfrm>
              <a:off x="5862104" y="3660491"/>
              <a:ext cx="15877" cy="13677"/>
            </a:xfrm>
            <a:custGeom>
              <a:avLst/>
              <a:gdLst>
                <a:gd name="T0" fmla="*/ 0 w 17"/>
                <a:gd name="T1" fmla="*/ 2 h 15"/>
                <a:gd name="T2" fmla="*/ 0 w 17"/>
                <a:gd name="T3" fmla="*/ 2 h 15"/>
                <a:gd name="T4" fmla="*/ 0 w 17"/>
                <a:gd name="T5" fmla="*/ 0 h 15"/>
                <a:gd name="T6" fmla="*/ 3 w 17"/>
                <a:gd name="T7" fmla="*/ 0 h 15"/>
                <a:gd name="T8" fmla="*/ 3 w 17"/>
                <a:gd name="T9" fmla="*/ 2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590" name="Freeform 39"/>
            <p:cNvSpPr>
              <a:spLocks/>
            </p:cNvSpPr>
            <p:nvPr/>
          </p:nvSpPr>
          <p:spPr bwMode="auto">
            <a:xfrm>
              <a:off x="5862104" y="3660491"/>
              <a:ext cx="15877" cy="13677"/>
            </a:xfrm>
            <a:custGeom>
              <a:avLst/>
              <a:gdLst>
                <a:gd name="T0" fmla="*/ 0 w 17"/>
                <a:gd name="T1" fmla="*/ 2 h 15"/>
                <a:gd name="T2" fmla="*/ 0 w 17"/>
                <a:gd name="T3" fmla="*/ 2 h 15"/>
                <a:gd name="T4" fmla="*/ 0 w 17"/>
                <a:gd name="T5" fmla="*/ 0 h 15"/>
                <a:gd name="T6" fmla="*/ 3 w 17"/>
                <a:gd name="T7" fmla="*/ 0 h 15"/>
                <a:gd name="T8" fmla="*/ 3 w 17"/>
                <a:gd name="T9" fmla="*/ 2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591" name="Freeform 40"/>
            <p:cNvSpPr>
              <a:spLocks/>
            </p:cNvSpPr>
            <p:nvPr/>
          </p:nvSpPr>
          <p:spPr bwMode="auto">
            <a:xfrm>
              <a:off x="6077320" y="3484405"/>
              <a:ext cx="229327" cy="205148"/>
            </a:xfrm>
            <a:custGeom>
              <a:avLst/>
              <a:gdLst>
                <a:gd name="T0" fmla="*/ 28 w 259"/>
                <a:gd name="T1" fmla="*/ 30 h 239"/>
                <a:gd name="T2" fmla="*/ 28 w 259"/>
                <a:gd name="T3" fmla="*/ 30 h 239"/>
                <a:gd name="T4" fmla="*/ 31 w 259"/>
                <a:gd name="T5" fmla="*/ 26 h 239"/>
                <a:gd name="T6" fmla="*/ 33 w 259"/>
                <a:gd name="T7" fmla="*/ 24 h 239"/>
                <a:gd name="T8" fmla="*/ 31 w 259"/>
                <a:gd name="T9" fmla="*/ 18 h 239"/>
                <a:gd name="T10" fmla="*/ 31 w 259"/>
                <a:gd name="T11" fmla="*/ 14 h 239"/>
                <a:gd name="T12" fmla="*/ 33 w 259"/>
                <a:gd name="T13" fmla="*/ 10 h 239"/>
                <a:gd name="T14" fmla="*/ 31 w 259"/>
                <a:gd name="T15" fmla="*/ 6 h 239"/>
                <a:gd name="T16" fmla="*/ 28 w 259"/>
                <a:gd name="T17" fmla="*/ 4 h 239"/>
                <a:gd name="T18" fmla="*/ 24 w 259"/>
                <a:gd name="T19" fmla="*/ 4 h 239"/>
                <a:gd name="T20" fmla="*/ 18 w 259"/>
                <a:gd name="T21" fmla="*/ 2 h 239"/>
                <a:gd name="T22" fmla="*/ 18 w 259"/>
                <a:gd name="T23" fmla="*/ 4 h 239"/>
                <a:gd name="T24" fmla="*/ 16 w 259"/>
                <a:gd name="T25" fmla="*/ 4 h 239"/>
                <a:gd name="T26" fmla="*/ 13 w 259"/>
                <a:gd name="T27" fmla="*/ 0 h 239"/>
                <a:gd name="T28" fmla="*/ 0 w 259"/>
                <a:gd name="T29" fmla="*/ 6 h 239"/>
                <a:gd name="T30" fmla="*/ 3 w 259"/>
                <a:gd name="T31" fmla="*/ 22 h 239"/>
                <a:gd name="T32" fmla="*/ 3 w 259"/>
                <a:gd name="T33" fmla="*/ 20 h 239"/>
                <a:gd name="T34" fmla="*/ 5 w 259"/>
                <a:gd name="T35" fmla="*/ 22 h 239"/>
                <a:gd name="T36" fmla="*/ 9 w 259"/>
                <a:gd name="T37" fmla="*/ 24 h 239"/>
                <a:gd name="T38" fmla="*/ 11 w 259"/>
                <a:gd name="T39" fmla="*/ 24 h 239"/>
                <a:gd name="T40" fmla="*/ 16 w 259"/>
                <a:gd name="T41" fmla="*/ 28 h 239"/>
                <a:gd name="T42" fmla="*/ 18 w 259"/>
                <a:gd name="T43" fmla="*/ 28 h 239"/>
                <a:gd name="T44" fmla="*/ 20 w 259"/>
                <a:gd name="T45" fmla="*/ 30 h 239"/>
                <a:gd name="T46" fmla="*/ 24 w 259"/>
                <a:gd name="T47" fmla="*/ 28 h 239"/>
                <a:gd name="T48" fmla="*/ 28 w 259"/>
                <a:gd name="T49" fmla="*/ 30 h 2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239"/>
                <a:gd name="T77" fmla="*/ 259 w 259"/>
                <a:gd name="T78" fmla="*/ 239 h 2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239">
                  <a:moveTo>
                    <a:pt x="224" y="239"/>
                  </a:moveTo>
                  <a:lnTo>
                    <a:pt x="224" y="239"/>
                  </a:lnTo>
                  <a:lnTo>
                    <a:pt x="242" y="207"/>
                  </a:lnTo>
                  <a:lnTo>
                    <a:pt x="259" y="191"/>
                  </a:lnTo>
                  <a:lnTo>
                    <a:pt x="242" y="143"/>
                  </a:lnTo>
                  <a:lnTo>
                    <a:pt x="242" y="111"/>
                  </a:lnTo>
                  <a:lnTo>
                    <a:pt x="259" y="78"/>
                  </a:lnTo>
                  <a:lnTo>
                    <a:pt x="242" y="47"/>
                  </a:lnTo>
                  <a:lnTo>
                    <a:pt x="224" y="30"/>
                  </a:lnTo>
                  <a:lnTo>
                    <a:pt x="190" y="30"/>
                  </a:lnTo>
                  <a:lnTo>
                    <a:pt x="138" y="15"/>
                  </a:lnTo>
                  <a:lnTo>
                    <a:pt x="138" y="30"/>
                  </a:lnTo>
                  <a:lnTo>
                    <a:pt x="121" y="30"/>
                  </a:lnTo>
                  <a:lnTo>
                    <a:pt x="103" y="0"/>
                  </a:lnTo>
                  <a:lnTo>
                    <a:pt x="0" y="47"/>
                  </a:lnTo>
                  <a:lnTo>
                    <a:pt x="17" y="174"/>
                  </a:lnTo>
                  <a:lnTo>
                    <a:pt x="17" y="159"/>
                  </a:lnTo>
                  <a:lnTo>
                    <a:pt x="34" y="174"/>
                  </a:lnTo>
                  <a:lnTo>
                    <a:pt x="69" y="191"/>
                  </a:lnTo>
                  <a:lnTo>
                    <a:pt x="86" y="191"/>
                  </a:lnTo>
                  <a:lnTo>
                    <a:pt x="121" y="222"/>
                  </a:lnTo>
                  <a:lnTo>
                    <a:pt x="138" y="222"/>
                  </a:lnTo>
                  <a:lnTo>
                    <a:pt x="155" y="239"/>
                  </a:lnTo>
                  <a:lnTo>
                    <a:pt x="190" y="222"/>
                  </a:lnTo>
                  <a:lnTo>
                    <a:pt x="224" y="239"/>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92" name="Freeform 41"/>
            <p:cNvSpPr>
              <a:spLocks/>
            </p:cNvSpPr>
            <p:nvPr/>
          </p:nvSpPr>
          <p:spPr bwMode="auto">
            <a:xfrm>
              <a:off x="5877981" y="3484405"/>
              <a:ext cx="215215" cy="258146"/>
            </a:xfrm>
            <a:custGeom>
              <a:avLst/>
              <a:gdLst>
                <a:gd name="T0" fmla="*/ 18 w 244"/>
                <a:gd name="T1" fmla="*/ 5 h 303"/>
                <a:gd name="T2" fmla="*/ 18 w 244"/>
                <a:gd name="T3" fmla="*/ 5 h 303"/>
                <a:gd name="T4" fmla="*/ 27 w 244"/>
                <a:gd name="T5" fmla="*/ 1 h 303"/>
                <a:gd name="T6" fmla="*/ 27 w 244"/>
                <a:gd name="T7" fmla="*/ 3 h 303"/>
                <a:gd name="T8" fmla="*/ 24 w 244"/>
                <a:gd name="T9" fmla="*/ 3 h 303"/>
                <a:gd name="T10" fmla="*/ 29 w 244"/>
                <a:gd name="T11" fmla="*/ 5 h 303"/>
                <a:gd name="T12" fmla="*/ 31 w 244"/>
                <a:gd name="T13" fmla="*/ 21 h 303"/>
                <a:gd name="T14" fmla="*/ 29 w 244"/>
                <a:gd name="T15" fmla="*/ 19 h 303"/>
                <a:gd name="T16" fmla="*/ 24 w 244"/>
                <a:gd name="T17" fmla="*/ 21 h 303"/>
                <a:gd name="T18" fmla="*/ 20 w 244"/>
                <a:gd name="T19" fmla="*/ 23 h 303"/>
                <a:gd name="T20" fmla="*/ 22 w 244"/>
                <a:gd name="T21" fmla="*/ 27 h 303"/>
                <a:gd name="T22" fmla="*/ 27 w 244"/>
                <a:gd name="T23" fmla="*/ 31 h 303"/>
                <a:gd name="T24" fmla="*/ 24 w 244"/>
                <a:gd name="T25" fmla="*/ 33 h 303"/>
                <a:gd name="T26" fmla="*/ 24 w 244"/>
                <a:gd name="T27" fmla="*/ 35 h 303"/>
                <a:gd name="T28" fmla="*/ 15 w 244"/>
                <a:gd name="T29" fmla="*/ 37 h 303"/>
                <a:gd name="T30" fmla="*/ 12 w 244"/>
                <a:gd name="T31" fmla="*/ 37 h 303"/>
                <a:gd name="T32" fmla="*/ 5 w 244"/>
                <a:gd name="T33" fmla="*/ 37 h 303"/>
                <a:gd name="T34" fmla="*/ 7 w 244"/>
                <a:gd name="T35" fmla="*/ 31 h 303"/>
                <a:gd name="T36" fmla="*/ 0 w 244"/>
                <a:gd name="T37" fmla="*/ 27 h 303"/>
                <a:gd name="T38" fmla="*/ 0 w 244"/>
                <a:gd name="T39" fmla="*/ 25 h 303"/>
                <a:gd name="T40" fmla="*/ 0 w 244"/>
                <a:gd name="T41" fmla="*/ 21 h 303"/>
                <a:gd name="T42" fmla="*/ 0 w 244"/>
                <a:gd name="T43" fmla="*/ 15 h 303"/>
                <a:gd name="T44" fmla="*/ 3 w 244"/>
                <a:gd name="T45" fmla="*/ 13 h 303"/>
                <a:gd name="T46" fmla="*/ 5 w 244"/>
                <a:gd name="T47" fmla="*/ 7 h 303"/>
                <a:gd name="T48" fmla="*/ 9 w 244"/>
                <a:gd name="T49" fmla="*/ 7 h 303"/>
                <a:gd name="T50" fmla="*/ 12 w 244"/>
                <a:gd name="T51" fmla="*/ 3 h 303"/>
                <a:gd name="T52" fmla="*/ 9 w 244"/>
                <a:gd name="T53" fmla="*/ 3 h 303"/>
                <a:gd name="T54" fmla="*/ 12 w 244"/>
                <a:gd name="T55" fmla="*/ 1 h 303"/>
                <a:gd name="T56" fmla="*/ 9 w 244"/>
                <a:gd name="T57" fmla="*/ 0 h 303"/>
                <a:gd name="T58" fmla="*/ 12 w 244"/>
                <a:gd name="T59" fmla="*/ 0 h 303"/>
                <a:gd name="T60" fmla="*/ 14 w 244"/>
                <a:gd name="T61" fmla="*/ 0 h 303"/>
                <a:gd name="T62" fmla="*/ 14 w 244"/>
                <a:gd name="T63" fmla="*/ 1 h 303"/>
                <a:gd name="T64" fmla="*/ 18 w 244"/>
                <a:gd name="T65" fmla="*/ 3 h 303"/>
                <a:gd name="T66" fmla="*/ 15 w 244"/>
                <a:gd name="T67" fmla="*/ 5 h 303"/>
                <a:gd name="T68" fmla="*/ 18 w 244"/>
                <a:gd name="T69" fmla="*/ 5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93" name="Freeform 42"/>
            <p:cNvSpPr>
              <a:spLocks/>
            </p:cNvSpPr>
            <p:nvPr/>
          </p:nvSpPr>
          <p:spPr bwMode="auto">
            <a:xfrm>
              <a:off x="5953836" y="3689553"/>
              <a:ext cx="185225" cy="82059"/>
            </a:xfrm>
            <a:custGeom>
              <a:avLst/>
              <a:gdLst>
                <a:gd name="T0" fmla="*/ 0 w 209"/>
                <a:gd name="T1" fmla="*/ 8 h 96"/>
                <a:gd name="T2" fmla="*/ 0 w 209"/>
                <a:gd name="T3" fmla="*/ 8 h 96"/>
                <a:gd name="T4" fmla="*/ 5 w 209"/>
                <a:gd name="T5" fmla="*/ 8 h 96"/>
                <a:gd name="T6" fmla="*/ 14 w 209"/>
                <a:gd name="T7" fmla="*/ 6 h 96"/>
                <a:gd name="T8" fmla="*/ 14 w 209"/>
                <a:gd name="T9" fmla="*/ 3 h 96"/>
                <a:gd name="T10" fmla="*/ 16 w 209"/>
                <a:gd name="T11" fmla="*/ 2 h 96"/>
                <a:gd name="T12" fmla="*/ 20 w 209"/>
                <a:gd name="T13" fmla="*/ 2 h 96"/>
                <a:gd name="T14" fmla="*/ 20 w 209"/>
                <a:gd name="T15" fmla="*/ 0 h 96"/>
                <a:gd name="T16" fmla="*/ 27 w 209"/>
                <a:gd name="T17" fmla="*/ 2 h 96"/>
                <a:gd name="T18" fmla="*/ 27 w 209"/>
                <a:gd name="T19" fmla="*/ 6 h 96"/>
                <a:gd name="T20" fmla="*/ 24 w 209"/>
                <a:gd name="T21" fmla="*/ 10 h 96"/>
                <a:gd name="T22" fmla="*/ 16 w 209"/>
                <a:gd name="T23" fmla="*/ 12 h 96"/>
                <a:gd name="T24" fmla="*/ 11 w 209"/>
                <a:gd name="T25" fmla="*/ 10 h 96"/>
                <a:gd name="T26" fmla="*/ 5 w 209"/>
                <a:gd name="T27" fmla="*/ 10 h 96"/>
                <a:gd name="T28" fmla="*/ 3 w 209"/>
                <a:gd name="T29" fmla="*/ 10 h 96"/>
                <a:gd name="T30" fmla="*/ 0 w 209"/>
                <a:gd name="T31" fmla="*/ 8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94" name="Freeform 43"/>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95" name="Freeform 44"/>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96" name="Freeform 45"/>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97" name="Freeform 46"/>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598" name="Freeform 47"/>
            <p:cNvSpPr>
              <a:spLocks/>
            </p:cNvSpPr>
            <p:nvPr/>
          </p:nvSpPr>
          <p:spPr bwMode="auto">
            <a:xfrm>
              <a:off x="5877981" y="3742550"/>
              <a:ext cx="109372" cy="54706"/>
            </a:xfrm>
            <a:custGeom>
              <a:avLst/>
              <a:gdLst>
                <a:gd name="T0" fmla="*/ 5 w 123"/>
                <a:gd name="T1" fmla="*/ 8 h 63"/>
                <a:gd name="T2" fmla="*/ 5 w 123"/>
                <a:gd name="T3" fmla="*/ 8 h 63"/>
                <a:gd name="T4" fmla="*/ 9 w 123"/>
                <a:gd name="T5" fmla="*/ 6 h 63"/>
                <a:gd name="T6" fmla="*/ 12 w 123"/>
                <a:gd name="T7" fmla="*/ 6 h 63"/>
                <a:gd name="T8" fmla="*/ 12 w 123"/>
                <a:gd name="T9" fmla="*/ 4 h 63"/>
                <a:gd name="T10" fmla="*/ 14 w 123"/>
                <a:gd name="T11" fmla="*/ 6 h 63"/>
                <a:gd name="T12" fmla="*/ 16 w 123"/>
                <a:gd name="T13" fmla="*/ 2 h 63"/>
                <a:gd name="T14" fmla="*/ 14 w 123"/>
                <a:gd name="T15" fmla="*/ 2 h 63"/>
                <a:gd name="T16" fmla="*/ 12 w 123"/>
                <a:gd name="T17" fmla="*/ 0 h 63"/>
                <a:gd name="T18" fmla="*/ 5 w 123"/>
                <a:gd name="T19" fmla="*/ 0 h 63"/>
                <a:gd name="T20" fmla="*/ 3 w 123"/>
                <a:gd name="T21" fmla="*/ 0 h 63"/>
                <a:gd name="T22" fmla="*/ 0 w 123"/>
                <a:gd name="T23" fmla="*/ 4 h 63"/>
                <a:gd name="T24" fmla="*/ 0 w 123"/>
                <a:gd name="T25" fmla="*/ 6 h 63"/>
                <a:gd name="T26" fmla="*/ 3 w 123"/>
                <a:gd name="T27" fmla="*/ 4 h 63"/>
                <a:gd name="T28" fmla="*/ 3 w 123"/>
                <a:gd name="T29" fmla="*/ 8 h 63"/>
                <a:gd name="T30" fmla="*/ 5 w 123"/>
                <a:gd name="T31" fmla="*/ 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599" name="Freeform 48"/>
            <p:cNvSpPr>
              <a:spLocks/>
            </p:cNvSpPr>
            <p:nvPr/>
          </p:nvSpPr>
          <p:spPr bwMode="auto">
            <a:xfrm>
              <a:off x="5512821" y="3853672"/>
              <a:ext cx="289306" cy="217115"/>
            </a:xfrm>
            <a:custGeom>
              <a:avLst/>
              <a:gdLst>
                <a:gd name="T0" fmla="*/ 3 w 328"/>
                <a:gd name="T1" fmla="*/ 8 h 255"/>
                <a:gd name="T2" fmla="*/ 3 w 328"/>
                <a:gd name="T3" fmla="*/ 8 h 255"/>
                <a:gd name="T4" fmla="*/ 10 w 328"/>
                <a:gd name="T5" fmla="*/ 8 h 255"/>
                <a:gd name="T6" fmla="*/ 10 w 328"/>
                <a:gd name="T7" fmla="*/ 9 h 255"/>
                <a:gd name="T8" fmla="*/ 9 w 328"/>
                <a:gd name="T9" fmla="*/ 12 h 255"/>
                <a:gd name="T10" fmla="*/ 9 w 328"/>
                <a:gd name="T11" fmla="*/ 15 h 255"/>
                <a:gd name="T12" fmla="*/ 6 w 328"/>
                <a:gd name="T13" fmla="*/ 18 h 255"/>
                <a:gd name="T14" fmla="*/ 9 w 328"/>
                <a:gd name="T15" fmla="*/ 24 h 255"/>
                <a:gd name="T16" fmla="*/ 6 w 328"/>
                <a:gd name="T17" fmla="*/ 27 h 255"/>
                <a:gd name="T18" fmla="*/ 12 w 328"/>
                <a:gd name="T19" fmla="*/ 31 h 255"/>
                <a:gd name="T20" fmla="*/ 15 w 328"/>
                <a:gd name="T21" fmla="*/ 30 h 255"/>
                <a:gd name="T22" fmla="*/ 23 w 328"/>
                <a:gd name="T23" fmla="*/ 30 h 255"/>
                <a:gd name="T24" fmla="*/ 33 w 328"/>
                <a:gd name="T25" fmla="*/ 21 h 255"/>
                <a:gd name="T26" fmla="*/ 30 w 328"/>
                <a:gd name="T27" fmla="*/ 18 h 255"/>
                <a:gd name="T28" fmla="*/ 35 w 328"/>
                <a:gd name="T29" fmla="*/ 12 h 255"/>
                <a:gd name="T30" fmla="*/ 41 w 328"/>
                <a:gd name="T31" fmla="*/ 8 h 255"/>
                <a:gd name="T32" fmla="*/ 41 w 328"/>
                <a:gd name="T33" fmla="*/ 6 h 255"/>
                <a:gd name="T34" fmla="*/ 30 w 328"/>
                <a:gd name="T35" fmla="*/ 3 h 255"/>
                <a:gd name="T36" fmla="*/ 25 w 328"/>
                <a:gd name="T37" fmla="*/ 2 h 255"/>
                <a:gd name="T38" fmla="*/ 23 w 328"/>
                <a:gd name="T39" fmla="*/ 2 h 255"/>
                <a:gd name="T40" fmla="*/ 20 w 328"/>
                <a:gd name="T41" fmla="*/ 2 h 255"/>
                <a:gd name="T42" fmla="*/ 18 w 328"/>
                <a:gd name="T43" fmla="*/ 2 h 255"/>
                <a:gd name="T44" fmla="*/ 5 w 328"/>
                <a:gd name="T45" fmla="*/ 0 h 255"/>
                <a:gd name="T46" fmla="*/ 3 w 328"/>
                <a:gd name="T47" fmla="*/ 2 h 255"/>
                <a:gd name="T48" fmla="*/ 0 w 328"/>
                <a:gd name="T49" fmla="*/ 2 h 255"/>
                <a:gd name="T50" fmla="*/ 0 w 328"/>
                <a:gd name="T51" fmla="*/ 3 h 255"/>
                <a:gd name="T52" fmla="*/ 3 w 328"/>
                <a:gd name="T53" fmla="*/ 8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00" name="Freeform 49"/>
            <p:cNvSpPr>
              <a:spLocks/>
            </p:cNvSpPr>
            <p:nvPr/>
          </p:nvSpPr>
          <p:spPr bwMode="auto">
            <a:xfrm>
              <a:off x="5512821" y="3906668"/>
              <a:ext cx="74090" cy="136765"/>
            </a:xfrm>
            <a:custGeom>
              <a:avLst/>
              <a:gdLst>
                <a:gd name="T0" fmla="*/ 6 w 84"/>
                <a:gd name="T1" fmla="*/ 20 h 159"/>
                <a:gd name="T2" fmla="*/ 6 w 84"/>
                <a:gd name="T3" fmla="*/ 20 h 159"/>
                <a:gd name="T4" fmla="*/ 9 w 84"/>
                <a:gd name="T5" fmla="*/ 16 h 159"/>
                <a:gd name="T6" fmla="*/ 6 w 84"/>
                <a:gd name="T7" fmla="*/ 10 h 159"/>
                <a:gd name="T8" fmla="*/ 9 w 84"/>
                <a:gd name="T9" fmla="*/ 8 h 159"/>
                <a:gd name="T10" fmla="*/ 9 w 84"/>
                <a:gd name="T11" fmla="*/ 4 h 159"/>
                <a:gd name="T12" fmla="*/ 11 w 84"/>
                <a:gd name="T13" fmla="*/ 2 h 159"/>
                <a:gd name="T14" fmla="*/ 11 w 84"/>
                <a:gd name="T15" fmla="*/ 0 h 159"/>
                <a:gd name="T16" fmla="*/ 3 w 84"/>
                <a:gd name="T17" fmla="*/ 0 h 159"/>
                <a:gd name="T18" fmla="*/ 3 w 84"/>
                <a:gd name="T19" fmla="*/ 4 h 159"/>
                <a:gd name="T20" fmla="*/ 0 w 84"/>
                <a:gd name="T21" fmla="*/ 14 h 159"/>
                <a:gd name="T22" fmla="*/ 3 w 84"/>
                <a:gd name="T23" fmla="*/ 14 h 159"/>
                <a:gd name="T24" fmla="*/ 0 w 84"/>
                <a:gd name="T25" fmla="*/ 20 h 159"/>
                <a:gd name="T26" fmla="*/ 6 w 84"/>
                <a:gd name="T27" fmla="*/ 20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01" name="Freeform 50"/>
            <p:cNvSpPr>
              <a:spLocks/>
            </p:cNvSpPr>
            <p:nvPr/>
          </p:nvSpPr>
          <p:spPr bwMode="auto">
            <a:xfrm>
              <a:off x="5893858" y="3756226"/>
              <a:ext cx="291070" cy="261564"/>
            </a:xfrm>
            <a:custGeom>
              <a:avLst/>
              <a:gdLst>
                <a:gd name="T0" fmla="*/ 3 w 330"/>
                <a:gd name="T1" fmla="*/ 15 h 305"/>
                <a:gd name="T2" fmla="*/ 3 w 330"/>
                <a:gd name="T3" fmla="*/ 15 h 305"/>
                <a:gd name="T4" fmla="*/ 6 w 330"/>
                <a:gd name="T5" fmla="*/ 12 h 305"/>
                <a:gd name="T6" fmla="*/ 10 w 330"/>
                <a:gd name="T7" fmla="*/ 15 h 305"/>
                <a:gd name="T8" fmla="*/ 15 w 330"/>
                <a:gd name="T9" fmla="*/ 21 h 305"/>
                <a:gd name="T10" fmla="*/ 18 w 330"/>
                <a:gd name="T11" fmla="*/ 21 h 305"/>
                <a:gd name="T12" fmla="*/ 20 w 330"/>
                <a:gd name="T13" fmla="*/ 24 h 305"/>
                <a:gd name="T14" fmla="*/ 24 w 330"/>
                <a:gd name="T15" fmla="*/ 27 h 305"/>
                <a:gd name="T16" fmla="*/ 28 w 330"/>
                <a:gd name="T17" fmla="*/ 30 h 305"/>
                <a:gd name="T18" fmla="*/ 30 w 330"/>
                <a:gd name="T19" fmla="*/ 30 h 305"/>
                <a:gd name="T20" fmla="*/ 33 w 330"/>
                <a:gd name="T21" fmla="*/ 36 h 305"/>
                <a:gd name="T22" fmla="*/ 30 w 330"/>
                <a:gd name="T23" fmla="*/ 39 h 305"/>
                <a:gd name="T24" fmla="*/ 33 w 330"/>
                <a:gd name="T25" fmla="*/ 39 h 305"/>
                <a:gd name="T26" fmla="*/ 35 w 330"/>
                <a:gd name="T27" fmla="*/ 36 h 305"/>
                <a:gd name="T28" fmla="*/ 35 w 330"/>
                <a:gd name="T29" fmla="*/ 35 h 305"/>
                <a:gd name="T30" fmla="*/ 35 w 330"/>
                <a:gd name="T31" fmla="*/ 33 h 305"/>
                <a:gd name="T32" fmla="*/ 35 w 330"/>
                <a:gd name="T33" fmla="*/ 29 h 305"/>
                <a:gd name="T34" fmla="*/ 39 w 330"/>
                <a:gd name="T35" fmla="*/ 33 h 305"/>
                <a:gd name="T36" fmla="*/ 41 w 330"/>
                <a:gd name="T37" fmla="*/ 30 h 305"/>
                <a:gd name="T38" fmla="*/ 30 w 330"/>
                <a:gd name="T39" fmla="*/ 24 h 305"/>
                <a:gd name="T40" fmla="*/ 33 w 330"/>
                <a:gd name="T41" fmla="*/ 23 h 305"/>
                <a:gd name="T42" fmla="*/ 30 w 330"/>
                <a:gd name="T43" fmla="*/ 23 h 305"/>
                <a:gd name="T44" fmla="*/ 26 w 330"/>
                <a:gd name="T45" fmla="*/ 21 h 305"/>
                <a:gd name="T46" fmla="*/ 24 w 330"/>
                <a:gd name="T47" fmla="*/ 17 h 305"/>
                <a:gd name="T48" fmla="*/ 20 w 330"/>
                <a:gd name="T49" fmla="*/ 12 h 305"/>
                <a:gd name="T50" fmla="*/ 20 w 330"/>
                <a:gd name="T51" fmla="*/ 6 h 305"/>
                <a:gd name="T52" fmla="*/ 21 w 330"/>
                <a:gd name="T53" fmla="*/ 6 h 305"/>
                <a:gd name="T54" fmla="*/ 24 w 330"/>
                <a:gd name="T55" fmla="*/ 6 h 305"/>
                <a:gd name="T56" fmla="*/ 24 w 330"/>
                <a:gd name="T57" fmla="*/ 5 h 305"/>
                <a:gd name="T58" fmla="*/ 24 w 330"/>
                <a:gd name="T59" fmla="*/ 3 h 305"/>
                <a:gd name="T60" fmla="*/ 20 w 330"/>
                <a:gd name="T61" fmla="*/ 0 h 305"/>
                <a:gd name="T62" fmla="*/ 12 w 330"/>
                <a:gd name="T63" fmla="*/ 0 h 305"/>
                <a:gd name="T64" fmla="*/ 10 w 330"/>
                <a:gd name="T65" fmla="*/ 5 h 305"/>
                <a:gd name="T66" fmla="*/ 9 w 330"/>
                <a:gd name="T67" fmla="*/ 3 h 305"/>
                <a:gd name="T68" fmla="*/ 9 w 330"/>
                <a:gd name="T69" fmla="*/ 5 h 305"/>
                <a:gd name="T70" fmla="*/ 6 w 330"/>
                <a:gd name="T71" fmla="*/ 5 h 305"/>
                <a:gd name="T72" fmla="*/ 3 w 330"/>
                <a:gd name="T73" fmla="*/ 6 h 305"/>
                <a:gd name="T74" fmla="*/ 0 w 330"/>
                <a:gd name="T75" fmla="*/ 6 h 305"/>
                <a:gd name="T76" fmla="*/ 0 w 330"/>
                <a:gd name="T77" fmla="*/ 11 h 305"/>
                <a:gd name="T78" fmla="*/ 3 w 330"/>
                <a:gd name="T79" fmla="*/ 15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602" name="Freeform 51"/>
            <p:cNvSpPr>
              <a:spLocks/>
            </p:cNvSpPr>
            <p:nvPr/>
          </p:nvSpPr>
          <p:spPr bwMode="auto">
            <a:xfrm>
              <a:off x="6214916" y="3715197"/>
              <a:ext cx="231092" cy="150442"/>
            </a:xfrm>
            <a:custGeom>
              <a:avLst/>
              <a:gdLst>
                <a:gd name="T0" fmla="*/ 5 w 261"/>
                <a:gd name="T1" fmla="*/ 16 h 177"/>
                <a:gd name="T2" fmla="*/ 5 w 261"/>
                <a:gd name="T3" fmla="*/ 16 h 177"/>
                <a:gd name="T4" fmla="*/ 9 w 261"/>
                <a:gd name="T5" fmla="*/ 16 h 177"/>
                <a:gd name="T6" fmla="*/ 9 w 261"/>
                <a:gd name="T7" fmla="*/ 18 h 177"/>
                <a:gd name="T8" fmla="*/ 11 w 261"/>
                <a:gd name="T9" fmla="*/ 20 h 177"/>
                <a:gd name="T10" fmla="*/ 13 w 261"/>
                <a:gd name="T11" fmla="*/ 20 h 177"/>
                <a:gd name="T12" fmla="*/ 20 w 261"/>
                <a:gd name="T13" fmla="*/ 22 h 177"/>
                <a:gd name="T14" fmla="*/ 24 w 261"/>
                <a:gd name="T15" fmla="*/ 18 h 177"/>
                <a:gd name="T16" fmla="*/ 31 w 261"/>
                <a:gd name="T17" fmla="*/ 20 h 177"/>
                <a:gd name="T18" fmla="*/ 31 w 261"/>
                <a:gd name="T19" fmla="*/ 18 h 177"/>
                <a:gd name="T20" fmla="*/ 33 w 261"/>
                <a:gd name="T21" fmla="*/ 16 h 177"/>
                <a:gd name="T22" fmla="*/ 33 w 261"/>
                <a:gd name="T23" fmla="*/ 14 h 177"/>
                <a:gd name="T24" fmla="*/ 29 w 261"/>
                <a:gd name="T25" fmla="*/ 14 h 177"/>
                <a:gd name="T26" fmla="*/ 29 w 261"/>
                <a:gd name="T27" fmla="*/ 12 h 177"/>
                <a:gd name="T28" fmla="*/ 29 w 261"/>
                <a:gd name="T29" fmla="*/ 6 h 177"/>
                <a:gd name="T30" fmla="*/ 24 w 261"/>
                <a:gd name="T31" fmla="*/ 0 h 177"/>
                <a:gd name="T32" fmla="*/ 22 w 261"/>
                <a:gd name="T33" fmla="*/ 0 h 177"/>
                <a:gd name="T34" fmla="*/ 18 w 261"/>
                <a:gd name="T35" fmla="*/ 2 h 177"/>
                <a:gd name="T36" fmla="*/ 16 w 261"/>
                <a:gd name="T37" fmla="*/ 2 h 177"/>
                <a:gd name="T38" fmla="*/ 9 w 261"/>
                <a:gd name="T39" fmla="*/ 2 h 177"/>
                <a:gd name="T40" fmla="*/ 7 w 261"/>
                <a:gd name="T41" fmla="*/ 2 h 177"/>
                <a:gd name="T42" fmla="*/ 5 w 261"/>
                <a:gd name="T43" fmla="*/ 10 h 177"/>
                <a:gd name="T44" fmla="*/ 0 w 261"/>
                <a:gd name="T45" fmla="*/ 10 h 177"/>
                <a:gd name="T46" fmla="*/ 5 w 261"/>
                <a:gd name="T47" fmla="*/ 16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3" name="Freeform 52"/>
            <p:cNvSpPr>
              <a:spLocks/>
            </p:cNvSpPr>
            <p:nvPr/>
          </p:nvSpPr>
          <p:spPr bwMode="auto">
            <a:xfrm>
              <a:off x="6214916" y="3715197"/>
              <a:ext cx="231092" cy="150442"/>
            </a:xfrm>
            <a:custGeom>
              <a:avLst/>
              <a:gdLst>
                <a:gd name="T0" fmla="*/ 5 w 261"/>
                <a:gd name="T1" fmla="*/ 16 h 177"/>
                <a:gd name="T2" fmla="*/ 5 w 261"/>
                <a:gd name="T3" fmla="*/ 16 h 177"/>
                <a:gd name="T4" fmla="*/ 9 w 261"/>
                <a:gd name="T5" fmla="*/ 16 h 177"/>
                <a:gd name="T6" fmla="*/ 9 w 261"/>
                <a:gd name="T7" fmla="*/ 18 h 177"/>
                <a:gd name="T8" fmla="*/ 11 w 261"/>
                <a:gd name="T9" fmla="*/ 20 h 177"/>
                <a:gd name="T10" fmla="*/ 13 w 261"/>
                <a:gd name="T11" fmla="*/ 20 h 177"/>
                <a:gd name="T12" fmla="*/ 20 w 261"/>
                <a:gd name="T13" fmla="*/ 22 h 177"/>
                <a:gd name="T14" fmla="*/ 24 w 261"/>
                <a:gd name="T15" fmla="*/ 18 h 177"/>
                <a:gd name="T16" fmla="*/ 31 w 261"/>
                <a:gd name="T17" fmla="*/ 20 h 177"/>
                <a:gd name="T18" fmla="*/ 31 w 261"/>
                <a:gd name="T19" fmla="*/ 18 h 177"/>
                <a:gd name="T20" fmla="*/ 33 w 261"/>
                <a:gd name="T21" fmla="*/ 16 h 177"/>
                <a:gd name="T22" fmla="*/ 33 w 261"/>
                <a:gd name="T23" fmla="*/ 14 h 177"/>
                <a:gd name="T24" fmla="*/ 29 w 261"/>
                <a:gd name="T25" fmla="*/ 14 h 177"/>
                <a:gd name="T26" fmla="*/ 29 w 261"/>
                <a:gd name="T27" fmla="*/ 12 h 177"/>
                <a:gd name="T28" fmla="*/ 29 w 261"/>
                <a:gd name="T29" fmla="*/ 6 h 177"/>
                <a:gd name="T30" fmla="*/ 24 w 261"/>
                <a:gd name="T31" fmla="*/ 0 h 177"/>
                <a:gd name="T32" fmla="*/ 22 w 261"/>
                <a:gd name="T33" fmla="*/ 0 h 177"/>
                <a:gd name="T34" fmla="*/ 18 w 261"/>
                <a:gd name="T35" fmla="*/ 2 h 177"/>
                <a:gd name="T36" fmla="*/ 16 w 261"/>
                <a:gd name="T37" fmla="*/ 2 h 177"/>
                <a:gd name="T38" fmla="*/ 9 w 261"/>
                <a:gd name="T39" fmla="*/ 2 h 177"/>
                <a:gd name="T40" fmla="*/ 7 w 261"/>
                <a:gd name="T41" fmla="*/ 2 h 177"/>
                <a:gd name="T42" fmla="*/ 5 w 261"/>
                <a:gd name="T43" fmla="*/ 10 h 177"/>
                <a:gd name="T44" fmla="*/ 0 w 261"/>
                <a:gd name="T45" fmla="*/ 10 h 177"/>
                <a:gd name="T46" fmla="*/ 5 w 261"/>
                <a:gd name="T47" fmla="*/ 16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4" name="Freeform 53"/>
            <p:cNvSpPr>
              <a:spLocks/>
            </p:cNvSpPr>
            <p:nvPr/>
          </p:nvSpPr>
          <p:spPr bwMode="auto">
            <a:xfrm>
              <a:off x="6352513" y="3906668"/>
              <a:ext cx="458655" cy="164118"/>
            </a:xfrm>
            <a:custGeom>
              <a:avLst/>
              <a:gdLst>
                <a:gd name="T0" fmla="*/ 65 w 520"/>
                <a:gd name="T1" fmla="*/ 8 h 191"/>
                <a:gd name="T2" fmla="*/ 65 w 520"/>
                <a:gd name="T3" fmla="*/ 8 h 191"/>
                <a:gd name="T4" fmla="*/ 62 w 520"/>
                <a:gd name="T5" fmla="*/ 8 h 191"/>
                <a:gd name="T6" fmla="*/ 60 w 520"/>
                <a:gd name="T7" fmla="*/ 2 h 191"/>
                <a:gd name="T8" fmla="*/ 54 w 520"/>
                <a:gd name="T9" fmla="*/ 2 h 191"/>
                <a:gd name="T10" fmla="*/ 47 w 520"/>
                <a:gd name="T11" fmla="*/ 4 h 191"/>
                <a:gd name="T12" fmla="*/ 39 w 520"/>
                <a:gd name="T13" fmla="*/ 4 h 191"/>
                <a:gd name="T14" fmla="*/ 33 w 520"/>
                <a:gd name="T15" fmla="*/ 0 h 191"/>
                <a:gd name="T16" fmla="*/ 26 w 520"/>
                <a:gd name="T17" fmla="*/ 0 h 191"/>
                <a:gd name="T18" fmla="*/ 19 w 520"/>
                <a:gd name="T19" fmla="*/ 4 h 191"/>
                <a:gd name="T20" fmla="*/ 15 w 520"/>
                <a:gd name="T21" fmla="*/ 4 h 191"/>
                <a:gd name="T22" fmla="*/ 11 w 520"/>
                <a:gd name="T23" fmla="*/ 4 h 191"/>
                <a:gd name="T24" fmla="*/ 8 w 520"/>
                <a:gd name="T25" fmla="*/ 0 h 191"/>
                <a:gd name="T26" fmla="*/ 4 w 520"/>
                <a:gd name="T27" fmla="*/ 0 h 191"/>
                <a:gd name="T28" fmla="*/ 2 w 520"/>
                <a:gd name="T29" fmla="*/ 2 h 191"/>
                <a:gd name="T30" fmla="*/ 0 w 520"/>
                <a:gd name="T31" fmla="*/ 6 h 191"/>
                <a:gd name="T32" fmla="*/ 2 w 520"/>
                <a:gd name="T33" fmla="*/ 6 h 191"/>
                <a:gd name="T34" fmla="*/ 2 w 520"/>
                <a:gd name="T35" fmla="*/ 8 h 191"/>
                <a:gd name="T36" fmla="*/ 6 w 520"/>
                <a:gd name="T37" fmla="*/ 4 h 191"/>
                <a:gd name="T38" fmla="*/ 11 w 520"/>
                <a:gd name="T39" fmla="*/ 4 h 191"/>
                <a:gd name="T40" fmla="*/ 13 w 520"/>
                <a:gd name="T41" fmla="*/ 6 h 191"/>
                <a:gd name="T42" fmla="*/ 11 w 520"/>
                <a:gd name="T43" fmla="*/ 6 h 191"/>
                <a:gd name="T44" fmla="*/ 11 w 520"/>
                <a:gd name="T45" fmla="*/ 8 h 191"/>
                <a:gd name="T46" fmla="*/ 4 w 520"/>
                <a:gd name="T47" fmla="*/ 8 h 191"/>
                <a:gd name="T48" fmla="*/ 2 w 520"/>
                <a:gd name="T49" fmla="*/ 8 h 191"/>
                <a:gd name="T50" fmla="*/ 2 w 520"/>
                <a:gd name="T51" fmla="*/ 12 h 191"/>
                <a:gd name="T52" fmla="*/ 4 w 520"/>
                <a:gd name="T53" fmla="*/ 10 h 191"/>
                <a:gd name="T54" fmla="*/ 4 w 520"/>
                <a:gd name="T55" fmla="*/ 14 h 191"/>
                <a:gd name="T56" fmla="*/ 2 w 520"/>
                <a:gd name="T57" fmla="*/ 14 h 191"/>
                <a:gd name="T58" fmla="*/ 2 w 520"/>
                <a:gd name="T59" fmla="*/ 16 h 191"/>
                <a:gd name="T60" fmla="*/ 4 w 520"/>
                <a:gd name="T61" fmla="*/ 16 h 191"/>
                <a:gd name="T62" fmla="*/ 4 w 520"/>
                <a:gd name="T63" fmla="*/ 18 h 191"/>
                <a:gd name="T64" fmla="*/ 6 w 520"/>
                <a:gd name="T65" fmla="*/ 20 h 191"/>
                <a:gd name="T66" fmla="*/ 4 w 520"/>
                <a:gd name="T67" fmla="*/ 20 h 191"/>
                <a:gd name="T68" fmla="*/ 8 w 520"/>
                <a:gd name="T69" fmla="*/ 20 h 191"/>
                <a:gd name="T70" fmla="*/ 8 w 520"/>
                <a:gd name="T71" fmla="*/ 22 h 191"/>
                <a:gd name="T72" fmla="*/ 13 w 520"/>
                <a:gd name="T73" fmla="*/ 24 h 191"/>
                <a:gd name="T74" fmla="*/ 17 w 520"/>
                <a:gd name="T75" fmla="*/ 22 h 191"/>
                <a:gd name="T76" fmla="*/ 19 w 520"/>
                <a:gd name="T77" fmla="*/ 22 h 191"/>
                <a:gd name="T78" fmla="*/ 24 w 520"/>
                <a:gd name="T79" fmla="*/ 24 h 191"/>
                <a:gd name="T80" fmla="*/ 26 w 520"/>
                <a:gd name="T81" fmla="*/ 24 h 191"/>
                <a:gd name="T82" fmla="*/ 30 w 520"/>
                <a:gd name="T83" fmla="*/ 22 h 191"/>
                <a:gd name="T84" fmla="*/ 34 w 520"/>
                <a:gd name="T85" fmla="*/ 22 h 191"/>
                <a:gd name="T86" fmla="*/ 34 w 520"/>
                <a:gd name="T87" fmla="*/ 20 h 191"/>
                <a:gd name="T88" fmla="*/ 34 w 520"/>
                <a:gd name="T89" fmla="*/ 24 h 191"/>
                <a:gd name="T90" fmla="*/ 36 w 520"/>
                <a:gd name="T91" fmla="*/ 24 h 191"/>
                <a:gd name="T92" fmla="*/ 36 w 520"/>
                <a:gd name="T93" fmla="*/ 22 h 191"/>
                <a:gd name="T94" fmla="*/ 43 w 520"/>
                <a:gd name="T95" fmla="*/ 20 h 191"/>
                <a:gd name="T96" fmla="*/ 45 w 520"/>
                <a:gd name="T97" fmla="*/ 22 h 191"/>
                <a:gd name="T98" fmla="*/ 52 w 520"/>
                <a:gd name="T99" fmla="*/ 20 h 191"/>
                <a:gd name="T100" fmla="*/ 58 w 520"/>
                <a:gd name="T101" fmla="*/ 20 h 191"/>
                <a:gd name="T102" fmla="*/ 58 w 520"/>
                <a:gd name="T103" fmla="*/ 18 h 191"/>
                <a:gd name="T104" fmla="*/ 65 w 520"/>
                <a:gd name="T105" fmla="*/ 20 h 191"/>
                <a:gd name="T106" fmla="*/ 62 w 520"/>
                <a:gd name="T107" fmla="*/ 10 h 191"/>
                <a:gd name="T108" fmla="*/ 65 w 520"/>
                <a:gd name="T109" fmla="*/ 8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605" name="Freeform 54"/>
            <p:cNvSpPr>
              <a:spLocks/>
            </p:cNvSpPr>
            <p:nvPr/>
          </p:nvSpPr>
          <p:spPr bwMode="auto">
            <a:xfrm>
              <a:off x="6214916" y="3920345"/>
              <a:ext cx="153473" cy="109412"/>
            </a:xfrm>
            <a:custGeom>
              <a:avLst/>
              <a:gdLst>
                <a:gd name="T0" fmla="*/ 4 w 175"/>
                <a:gd name="T1" fmla="*/ 2 h 128"/>
                <a:gd name="T2" fmla="*/ 4 w 175"/>
                <a:gd name="T3" fmla="*/ 2 h 128"/>
                <a:gd name="T4" fmla="*/ 11 w 175"/>
                <a:gd name="T5" fmla="*/ 0 h 128"/>
                <a:gd name="T6" fmla="*/ 15 w 175"/>
                <a:gd name="T7" fmla="*/ 0 h 128"/>
                <a:gd name="T8" fmla="*/ 19 w 175"/>
                <a:gd name="T9" fmla="*/ 2 h 128"/>
                <a:gd name="T10" fmla="*/ 21 w 175"/>
                <a:gd name="T11" fmla="*/ 0 h 128"/>
                <a:gd name="T12" fmla="*/ 19 w 175"/>
                <a:gd name="T13" fmla="*/ 4 h 128"/>
                <a:gd name="T14" fmla="*/ 15 w 175"/>
                <a:gd name="T15" fmla="*/ 2 h 128"/>
                <a:gd name="T16" fmla="*/ 13 w 175"/>
                <a:gd name="T17" fmla="*/ 4 h 128"/>
                <a:gd name="T18" fmla="*/ 13 w 175"/>
                <a:gd name="T19" fmla="*/ 6 h 128"/>
                <a:gd name="T20" fmla="*/ 11 w 175"/>
                <a:gd name="T21" fmla="*/ 6 h 128"/>
                <a:gd name="T22" fmla="*/ 8 w 175"/>
                <a:gd name="T23" fmla="*/ 4 h 128"/>
                <a:gd name="T24" fmla="*/ 8 w 175"/>
                <a:gd name="T25" fmla="*/ 6 h 128"/>
                <a:gd name="T26" fmla="*/ 11 w 175"/>
                <a:gd name="T27" fmla="*/ 10 h 128"/>
                <a:gd name="T28" fmla="*/ 15 w 175"/>
                <a:gd name="T29" fmla="*/ 14 h 128"/>
                <a:gd name="T30" fmla="*/ 13 w 175"/>
                <a:gd name="T31" fmla="*/ 14 h 128"/>
                <a:gd name="T32" fmla="*/ 13 w 175"/>
                <a:gd name="T33" fmla="*/ 16 h 128"/>
                <a:gd name="T34" fmla="*/ 8 w 175"/>
                <a:gd name="T35" fmla="*/ 14 h 128"/>
                <a:gd name="T36" fmla="*/ 4 w 175"/>
                <a:gd name="T37" fmla="*/ 14 h 128"/>
                <a:gd name="T38" fmla="*/ 0 w 175"/>
                <a:gd name="T39" fmla="*/ 8 h 128"/>
                <a:gd name="T40" fmla="*/ 4 w 175"/>
                <a:gd name="T41" fmla="*/ 4 h 128"/>
                <a:gd name="T42" fmla="*/ 4 w 175"/>
                <a:gd name="T43" fmla="*/ 2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6" name="Freeform 55"/>
            <p:cNvSpPr>
              <a:spLocks/>
            </p:cNvSpPr>
            <p:nvPr/>
          </p:nvSpPr>
          <p:spPr bwMode="auto">
            <a:xfrm>
              <a:off x="6581840" y="4043434"/>
              <a:ext cx="183462" cy="123089"/>
            </a:xfrm>
            <a:custGeom>
              <a:avLst/>
              <a:gdLst>
                <a:gd name="T0" fmla="*/ 0 w 207"/>
                <a:gd name="T1" fmla="*/ 18 h 144"/>
                <a:gd name="T2" fmla="*/ 0 w 207"/>
                <a:gd name="T3" fmla="*/ 18 h 144"/>
                <a:gd name="T4" fmla="*/ 3 w 207"/>
                <a:gd name="T5" fmla="*/ 16 h 144"/>
                <a:gd name="T6" fmla="*/ 5 w 207"/>
                <a:gd name="T7" fmla="*/ 12 h 144"/>
                <a:gd name="T8" fmla="*/ 3 w 207"/>
                <a:gd name="T9" fmla="*/ 10 h 144"/>
                <a:gd name="T10" fmla="*/ 3 w 207"/>
                <a:gd name="T11" fmla="*/ 4 h 144"/>
                <a:gd name="T12" fmla="*/ 5 w 207"/>
                <a:gd name="T13" fmla="*/ 4 h 144"/>
                <a:gd name="T14" fmla="*/ 5 w 207"/>
                <a:gd name="T15" fmla="*/ 2 h 144"/>
                <a:gd name="T16" fmla="*/ 11 w 207"/>
                <a:gd name="T17" fmla="*/ 0 h 144"/>
                <a:gd name="T18" fmla="*/ 13 w 207"/>
                <a:gd name="T19" fmla="*/ 2 h 144"/>
                <a:gd name="T20" fmla="*/ 20 w 207"/>
                <a:gd name="T21" fmla="*/ 0 h 144"/>
                <a:gd name="T22" fmla="*/ 26 w 207"/>
                <a:gd name="T23" fmla="*/ 0 h 144"/>
                <a:gd name="T24" fmla="*/ 22 w 207"/>
                <a:gd name="T25" fmla="*/ 2 h 144"/>
                <a:gd name="T26" fmla="*/ 20 w 207"/>
                <a:gd name="T27" fmla="*/ 10 h 144"/>
                <a:gd name="T28" fmla="*/ 13 w 207"/>
                <a:gd name="T29" fmla="*/ 14 h 144"/>
                <a:gd name="T30" fmla="*/ 11 w 207"/>
                <a:gd name="T31" fmla="*/ 14 h 144"/>
                <a:gd name="T32" fmla="*/ 5 w 207"/>
                <a:gd name="T33" fmla="*/ 18 h 144"/>
                <a:gd name="T34" fmla="*/ 0 w 207"/>
                <a:gd name="T35" fmla="*/ 18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7" name="Freeform 56"/>
            <p:cNvSpPr>
              <a:spLocks/>
            </p:cNvSpPr>
            <p:nvPr/>
          </p:nvSpPr>
          <p:spPr bwMode="auto">
            <a:xfrm>
              <a:off x="6569492" y="4140879"/>
              <a:ext cx="104079" cy="107703"/>
            </a:xfrm>
            <a:custGeom>
              <a:avLst/>
              <a:gdLst>
                <a:gd name="T0" fmla="*/ 14 w 119"/>
                <a:gd name="T1" fmla="*/ 3 h 127"/>
                <a:gd name="T2" fmla="*/ 14 w 119"/>
                <a:gd name="T3" fmla="*/ 3 h 127"/>
                <a:gd name="T4" fmla="*/ 14 w 119"/>
                <a:gd name="T5" fmla="*/ 0 h 127"/>
                <a:gd name="T6" fmla="*/ 12 w 119"/>
                <a:gd name="T7" fmla="*/ 0 h 127"/>
                <a:gd name="T8" fmla="*/ 6 w 119"/>
                <a:gd name="T9" fmla="*/ 3 h 127"/>
                <a:gd name="T10" fmla="*/ 1 w 119"/>
                <a:gd name="T11" fmla="*/ 3 h 127"/>
                <a:gd name="T12" fmla="*/ 1 w 119"/>
                <a:gd name="T13" fmla="*/ 6 h 127"/>
                <a:gd name="T14" fmla="*/ 1 w 119"/>
                <a:gd name="T15" fmla="*/ 9 h 127"/>
                <a:gd name="T16" fmla="*/ 0 w 119"/>
                <a:gd name="T17" fmla="*/ 15 h 127"/>
                <a:gd name="T18" fmla="*/ 4 w 119"/>
                <a:gd name="T19" fmla="*/ 15 h 127"/>
                <a:gd name="T20" fmla="*/ 6 w 119"/>
                <a:gd name="T21" fmla="*/ 13 h 127"/>
                <a:gd name="T22" fmla="*/ 8 w 119"/>
                <a:gd name="T23" fmla="*/ 13 h 127"/>
                <a:gd name="T24" fmla="*/ 10 w 119"/>
                <a:gd name="T25" fmla="*/ 9 h 127"/>
                <a:gd name="T26" fmla="*/ 8 w 119"/>
                <a:gd name="T27" fmla="*/ 7 h 127"/>
                <a:gd name="T28" fmla="*/ 14 w 119"/>
                <a:gd name="T29" fmla="*/ 3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08" name="Freeform 57"/>
            <p:cNvSpPr>
              <a:spLocks/>
            </p:cNvSpPr>
            <p:nvPr/>
          </p:nvSpPr>
          <p:spPr bwMode="auto">
            <a:xfrm>
              <a:off x="6581840" y="4111816"/>
              <a:ext cx="33517" cy="41030"/>
            </a:xfrm>
            <a:custGeom>
              <a:avLst/>
              <a:gdLst>
                <a:gd name="T0" fmla="*/ 3 w 36"/>
                <a:gd name="T1" fmla="*/ 6 h 48"/>
                <a:gd name="T2" fmla="*/ 3 w 36"/>
                <a:gd name="T3" fmla="*/ 6 h 48"/>
                <a:gd name="T4" fmla="*/ 0 w 36"/>
                <a:gd name="T5" fmla="*/ 6 h 48"/>
                <a:gd name="T6" fmla="*/ 3 w 36"/>
                <a:gd name="T7" fmla="*/ 0 h 48"/>
                <a:gd name="T8" fmla="*/ 5 w 36"/>
                <a:gd name="T9" fmla="*/ 2 h 48"/>
                <a:gd name="T10" fmla="*/ 3 w 36"/>
                <a:gd name="T11" fmla="*/ 6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09" name="Freeform 58"/>
            <p:cNvSpPr>
              <a:spLocks/>
            </p:cNvSpPr>
            <p:nvPr/>
          </p:nvSpPr>
          <p:spPr bwMode="auto">
            <a:xfrm>
              <a:off x="6551851" y="4152846"/>
              <a:ext cx="45866" cy="95736"/>
            </a:xfrm>
            <a:custGeom>
              <a:avLst/>
              <a:gdLst>
                <a:gd name="T0" fmla="*/ 5 w 52"/>
                <a:gd name="T1" fmla="*/ 2 h 112"/>
                <a:gd name="T2" fmla="*/ 5 w 52"/>
                <a:gd name="T3" fmla="*/ 2 h 112"/>
                <a:gd name="T4" fmla="*/ 5 w 52"/>
                <a:gd name="T5" fmla="*/ 5 h 112"/>
                <a:gd name="T6" fmla="*/ 5 w 52"/>
                <a:gd name="T7" fmla="*/ 8 h 112"/>
                <a:gd name="T8" fmla="*/ 3 w 52"/>
                <a:gd name="T9" fmla="*/ 14 h 112"/>
                <a:gd name="T10" fmla="*/ 0 w 52"/>
                <a:gd name="T11" fmla="*/ 6 h 112"/>
                <a:gd name="T12" fmla="*/ 3 w 52"/>
                <a:gd name="T13" fmla="*/ 5 h 112"/>
                <a:gd name="T14" fmla="*/ 5 w 52"/>
                <a:gd name="T15" fmla="*/ 0 h 112"/>
                <a:gd name="T16" fmla="*/ 7 w 52"/>
                <a:gd name="T17" fmla="*/ 0 h 112"/>
                <a:gd name="T18" fmla="*/ 5 w 52"/>
                <a:gd name="T19" fmla="*/ 2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10" name="Freeform 59"/>
            <p:cNvSpPr>
              <a:spLocks/>
            </p:cNvSpPr>
            <p:nvPr/>
          </p:nvSpPr>
          <p:spPr bwMode="auto">
            <a:xfrm>
              <a:off x="6673571" y="4029757"/>
              <a:ext cx="229327" cy="218825"/>
            </a:xfrm>
            <a:custGeom>
              <a:avLst/>
              <a:gdLst>
                <a:gd name="T0" fmla="*/ 20 w 259"/>
                <a:gd name="T1" fmla="*/ 2 h 256"/>
                <a:gd name="T2" fmla="*/ 20 w 259"/>
                <a:gd name="T3" fmla="*/ 2 h 256"/>
                <a:gd name="T4" fmla="*/ 22 w 259"/>
                <a:gd name="T5" fmla="*/ 6 h 256"/>
                <a:gd name="T6" fmla="*/ 24 w 259"/>
                <a:gd name="T7" fmla="*/ 6 h 256"/>
                <a:gd name="T8" fmla="*/ 24 w 259"/>
                <a:gd name="T9" fmla="*/ 10 h 256"/>
                <a:gd name="T10" fmla="*/ 22 w 259"/>
                <a:gd name="T11" fmla="*/ 14 h 256"/>
                <a:gd name="T12" fmla="*/ 24 w 259"/>
                <a:gd name="T13" fmla="*/ 18 h 256"/>
                <a:gd name="T14" fmla="*/ 28 w 259"/>
                <a:gd name="T15" fmla="*/ 20 h 256"/>
                <a:gd name="T16" fmla="*/ 31 w 259"/>
                <a:gd name="T17" fmla="*/ 26 h 256"/>
                <a:gd name="T18" fmla="*/ 33 w 259"/>
                <a:gd name="T19" fmla="*/ 28 h 256"/>
                <a:gd name="T20" fmla="*/ 33 w 259"/>
                <a:gd name="T21" fmla="*/ 30 h 256"/>
                <a:gd name="T22" fmla="*/ 28 w 259"/>
                <a:gd name="T23" fmla="*/ 30 h 256"/>
                <a:gd name="T24" fmla="*/ 26 w 259"/>
                <a:gd name="T25" fmla="*/ 32 h 256"/>
                <a:gd name="T26" fmla="*/ 22 w 259"/>
                <a:gd name="T27" fmla="*/ 30 h 256"/>
                <a:gd name="T28" fmla="*/ 20 w 259"/>
                <a:gd name="T29" fmla="*/ 32 h 256"/>
                <a:gd name="T30" fmla="*/ 15 w 259"/>
                <a:gd name="T31" fmla="*/ 30 h 256"/>
                <a:gd name="T32" fmla="*/ 15 w 259"/>
                <a:gd name="T33" fmla="*/ 28 h 256"/>
                <a:gd name="T34" fmla="*/ 13 w 259"/>
                <a:gd name="T35" fmla="*/ 26 h 256"/>
                <a:gd name="T36" fmla="*/ 7 w 259"/>
                <a:gd name="T37" fmla="*/ 22 h 256"/>
                <a:gd name="T38" fmla="*/ 0 w 259"/>
                <a:gd name="T39" fmla="*/ 20 h 256"/>
                <a:gd name="T40" fmla="*/ 0 w 259"/>
                <a:gd name="T41" fmla="*/ 16 h 256"/>
                <a:gd name="T42" fmla="*/ 7 w 259"/>
                <a:gd name="T43" fmla="*/ 12 h 256"/>
                <a:gd name="T44" fmla="*/ 9 w 259"/>
                <a:gd name="T45" fmla="*/ 4 h 256"/>
                <a:gd name="T46" fmla="*/ 13 w 259"/>
                <a:gd name="T47" fmla="*/ 2 h 256"/>
                <a:gd name="T48" fmla="*/ 13 w 259"/>
                <a:gd name="T49" fmla="*/ 0 h 256"/>
                <a:gd name="T50" fmla="*/ 20 w 259"/>
                <a:gd name="T51" fmla="*/ 2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1" name="Freeform 60"/>
            <p:cNvSpPr>
              <a:spLocks/>
            </p:cNvSpPr>
            <p:nvPr/>
          </p:nvSpPr>
          <p:spPr bwMode="auto">
            <a:xfrm>
              <a:off x="6811168" y="4234905"/>
              <a:ext cx="45866" cy="27353"/>
            </a:xfrm>
            <a:custGeom>
              <a:avLst/>
              <a:gdLst>
                <a:gd name="T0" fmla="*/ 0 w 52"/>
                <a:gd name="T1" fmla="*/ 2 h 33"/>
                <a:gd name="T2" fmla="*/ 0 w 52"/>
                <a:gd name="T3" fmla="*/ 2 h 33"/>
                <a:gd name="T4" fmla="*/ 3 w 52"/>
                <a:gd name="T5" fmla="*/ 0 h 33"/>
                <a:gd name="T6" fmla="*/ 7 w 52"/>
                <a:gd name="T7" fmla="*/ 2 h 33"/>
                <a:gd name="T8" fmla="*/ 3 w 52"/>
                <a:gd name="T9" fmla="*/ 4 h 33"/>
                <a:gd name="T10" fmla="*/ 0 w 52"/>
                <a:gd name="T11" fmla="*/ 2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2" name="Freeform 61"/>
            <p:cNvSpPr>
              <a:spLocks/>
            </p:cNvSpPr>
            <p:nvPr/>
          </p:nvSpPr>
          <p:spPr bwMode="auto">
            <a:xfrm>
              <a:off x="6857034" y="4234905"/>
              <a:ext cx="45866" cy="27353"/>
            </a:xfrm>
            <a:custGeom>
              <a:avLst/>
              <a:gdLst>
                <a:gd name="T0" fmla="*/ 0 w 52"/>
                <a:gd name="T1" fmla="*/ 2 h 33"/>
                <a:gd name="T2" fmla="*/ 0 w 52"/>
                <a:gd name="T3" fmla="*/ 2 h 33"/>
                <a:gd name="T4" fmla="*/ 3 w 52"/>
                <a:gd name="T5" fmla="*/ 0 h 33"/>
                <a:gd name="T6" fmla="*/ 7 w 52"/>
                <a:gd name="T7" fmla="*/ 0 h 33"/>
                <a:gd name="T8" fmla="*/ 5 w 52"/>
                <a:gd name="T9" fmla="*/ 2 h 33"/>
                <a:gd name="T10" fmla="*/ 7 w 52"/>
                <a:gd name="T11" fmla="*/ 4 h 33"/>
                <a:gd name="T12" fmla="*/ 0 w 52"/>
                <a:gd name="T13" fmla="*/ 2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3" name="Freeform 62"/>
            <p:cNvSpPr>
              <a:spLocks/>
            </p:cNvSpPr>
            <p:nvPr/>
          </p:nvSpPr>
          <p:spPr bwMode="auto">
            <a:xfrm>
              <a:off x="6569492" y="4166522"/>
              <a:ext cx="532747" cy="437649"/>
            </a:xfrm>
            <a:custGeom>
              <a:avLst/>
              <a:gdLst>
                <a:gd name="T0" fmla="*/ 62 w 604"/>
                <a:gd name="T1" fmla="*/ 52 h 512"/>
                <a:gd name="T2" fmla="*/ 62 w 604"/>
                <a:gd name="T3" fmla="*/ 52 h 512"/>
                <a:gd name="T4" fmla="*/ 65 w 604"/>
                <a:gd name="T5" fmla="*/ 50 h 512"/>
                <a:gd name="T6" fmla="*/ 67 w 604"/>
                <a:gd name="T7" fmla="*/ 48 h 512"/>
                <a:gd name="T8" fmla="*/ 69 w 604"/>
                <a:gd name="T9" fmla="*/ 46 h 512"/>
                <a:gd name="T10" fmla="*/ 72 w 604"/>
                <a:gd name="T11" fmla="*/ 44 h 512"/>
                <a:gd name="T12" fmla="*/ 74 w 604"/>
                <a:gd name="T13" fmla="*/ 42 h 512"/>
                <a:gd name="T14" fmla="*/ 76 w 604"/>
                <a:gd name="T15" fmla="*/ 42 h 512"/>
                <a:gd name="T16" fmla="*/ 76 w 604"/>
                <a:gd name="T17" fmla="*/ 40 h 512"/>
                <a:gd name="T18" fmla="*/ 76 w 604"/>
                <a:gd name="T19" fmla="*/ 38 h 512"/>
                <a:gd name="T20" fmla="*/ 76 w 604"/>
                <a:gd name="T21" fmla="*/ 36 h 512"/>
                <a:gd name="T22" fmla="*/ 74 w 604"/>
                <a:gd name="T23" fmla="*/ 34 h 512"/>
                <a:gd name="T24" fmla="*/ 72 w 604"/>
                <a:gd name="T25" fmla="*/ 32 h 512"/>
                <a:gd name="T26" fmla="*/ 69 w 604"/>
                <a:gd name="T27" fmla="*/ 32 h 512"/>
                <a:gd name="T28" fmla="*/ 67 w 604"/>
                <a:gd name="T29" fmla="*/ 32 h 512"/>
                <a:gd name="T30" fmla="*/ 67 w 604"/>
                <a:gd name="T31" fmla="*/ 34 h 512"/>
                <a:gd name="T32" fmla="*/ 65 w 604"/>
                <a:gd name="T33" fmla="*/ 34 h 512"/>
                <a:gd name="T34" fmla="*/ 62 w 604"/>
                <a:gd name="T35" fmla="*/ 34 h 512"/>
                <a:gd name="T36" fmla="*/ 60 w 604"/>
                <a:gd name="T37" fmla="*/ 34 h 512"/>
                <a:gd name="T38" fmla="*/ 58 w 604"/>
                <a:gd name="T39" fmla="*/ 34 h 512"/>
                <a:gd name="T40" fmla="*/ 56 w 604"/>
                <a:gd name="T41" fmla="*/ 34 h 512"/>
                <a:gd name="T42" fmla="*/ 53 w 604"/>
                <a:gd name="T43" fmla="*/ 32 h 512"/>
                <a:gd name="T44" fmla="*/ 56 w 604"/>
                <a:gd name="T45" fmla="*/ 30 h 512"/>
                <a:gd name="T46" fmla="*/ 53 w 604"/>
                <a:gd name="T47" fmla="*/ 26 h 512"/>
                <a:gd name="T48" fmla="*/ 53 w 604"/>
                <a:gd name="T49" fmla="*/ 20 h 512"/>
                <a:gd name="T50" fmla="*/ 47 w 604"/>
                <a:gd name="T51" fmla="*/ 14 h 512"/>
                <a:gd name="T52" fmla="*/ 41 w 604"/>
                <a:gd name="T53" fmla="*/ 12 h 512"/>
                <a:gd name="T54" fmla="*/ 37 w 604"/>
                <a:gd name="T55" fmla="*/ 14 h 512"/>
                <a:gd name="T56" fmla="*/ 35 w 604"/>
                <a:gd name="T57" fmla="*/ 12 h 512"/>
                <a:gd name="T58" fmla="*/ 30 w 604"/>
                <a:gd name="T59" fmla="*/ 10 h 512"/>
                <a:gd name="T60" fmla="*/ 30 w 604"/>
                <a:gd name="T61" fmla="*/ 8 h 512"/>
                <a:gd name="T62" fmla="*/ 28 w 604"/>
                <a:gd name="T63" fmla="*/ 6 h 512"/>
                <a:gd name="T64" fmla="*/ 21 w 604"/>
                <a:gd name="T65" fmla="*/ 2 h 512"/>
                <a:gd name="T66" fmla="*/ 15 w 604"/>
                <a:gd name="T67" fmla="*/ 0 h 512"/>
                <a:gd name="T68" fmla="*/ 9 w 604"/>
                <a:gd name="T69" fmla="*/ 4 h 512"/>
                <a:gd name="T70" fmla="*/ 10 w 604"/>
                <a:gd name="T71" fmla="*/ 6 h 512"/>
                <a:gd name="T72" fmla="*/ 9 w 604"/>
                <a:gd name="T73" fmla="*/ 10 h 512"/>
                <a:gd name="T74" fmla="*/ 6 w 604"/>
                <a:gd name="T75" fmla="*/ 10 h 512"/>
                <a:gd name="T76" fmla="*/ 5 w 604"/>
                <a:gd name="T77" fmla="*/ 12 h 512"/>
                <a:gd name="T78" fmla="*/ 0 w 604"/>
                <a:gd name="T79" fmla="*/ 12 h 512"/>
                <a:gd name="T80" fmla="*/ 0 w 604"/>
                <a:gd name="T81" fmla="*/ 16 h 512"/>
                <a:gd name="T82" fmla="*/ 2 w 604"/>
                <a:gd name="T83" fmla="*/ 16 h 512"/>
                <a:gd name="T84" fmla="*/ 10 w 604"/>
                <a:gd name="T85" fmla="*/ 28 h 512"/>
                <a:gd name="T86" fmla="*/ 12 w 604"/>
                <a:gd name="T87" fmla="*/ 30 h 512"/>
                <a:gd name="T88" fmla="*/ 15 w 604"/>
                <a:gd name="T89" fmla="*/ 34 h 512"/>
                <a:gd name="T90" fmla="*/ 15 w 604"/>
                <a:gd name="T91" fmla="*/ 40 h 512"/>
                <a:gd name="T92" fmla="*/ 21 w 604"/>
                <a:gd name="T93" fmla="*/ 44 h 512"/>
                <a:gd name="T94" fmla="*/ 25 w 604"/>
                <a:gd name="T95" fmla="*/ 54 h 512"/>
                <a:gd name="T96" fmla="*/ 28 w 604"/>
                <a:gd name="T97" fmla="*/ 56 h 512"/>
                <a:gd name="T98" fmla="*/ 30 w 604"/>
                <a:gd name="T99" fmla="*/ 54 h 512"/>
                <a:gd name="T100" fmla="*/ 37 w 604"/>
                <a:gd name="T101" fmla="*/ 59 h 512"/>
                <a:gd name="T102" fmla="*/ 38 w 604"/>
                <a:gd name="T103" fmla="*/ 64 h 512"/>
                <a:gd name="T104" fmla="*/ 53 w 604"/>
                <a:gd name="T105" fmla="*/ 54 h 512"/>
                <a:gd name="T106" fmla="*/ 62 w 604"/>
                <a:gd name="T107" fmla="*/ 52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614" name="Freeform 63"/>
            <p:cNvSpPr>
              <a:spLocks/>
            </p:cNvSpPr>
            <p:nvPr/>
          </p:nvSpPr>
          <p:spPr bwMode="auto">
            <a:xfrm>
              <a:off x="6950529" y="4330641"/>
              <a:ext cx="29989" cy="41030"/>
            </a:xfrm>
            <a:custGeom>
              <a:avLst/>
              <a:gdLst>
                <a:gd name="T0" fmla="*/ 2 w 35"/>
                <a:gd name="T1" fmla="*/ 6 h 48"/>
                <a:gd name="T2" fmla="*/ 2 w 35"/>
                <a:gd name="T3" fmla="*/ 6 h 48"/>
                <a:gd name="T4" fmla="*/ 0 w 35"/>
                <a:gd name="T5" fmla="*/ 3 h 48"/>
                <a:gd name="T6" fmla="*/ 2 w 35"/>
                <a:gd name="T7" fmla="*/ 0 h 48"/>
                <a:gd name="T8" fmla="*/ 4 w 35"/>
                <a:gd name="T9" fmla="*/ 0 h 48"/>
                <a:gd name="T10" fmla="*/ 2 w 35"/>
                <a:gd name="T11" fmla="*/ 6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5" name="Freeform 64"/>
            <p:cNvSpPr>
              <a:spLocks/>
            </p:cNvSpPr>
            <p:nvPr/>
          </p:nvSpPr>
          <p:spPr bwMode="auto">
            <a:xfrm>
              <a:off x="6950529" y="4330641"/>
              <a:ext cx="151710" cy="68383"/>
            </a:xfrm>
            <a:custGeom>
              <a:avLst/>
              <a:gdLst>
                <a:gd name="T0" fmla="*/ 17 w 173"/>
                <a:gd name="T1" fmla="*/ 9 h 80"/>
                <a:gd name="T2" fmla="*/ 17 w 173"/>
                <a:gd name="T3" fmla="*/ 9 h 80"/>
                <a:gd name="T4" fmla="*/ 21 w 173"/>
                <a:gd name="T5" fmla="*/ 4 h 80"/>
                <a:gd name="T6" fmla="*/ 21 w 173"/>
                <a:gd name="T7" fmla="*/ 3 h 80"/>
                <a:gd name="T8" fmla="*/ 19 w 173"/>
                <a:gd name="T9" fmla="*/ 0 h 80"/>
                <a:gd name="T10" fmla="*/ 13 w 173"/>
                <a:gd name="T11" fmla="*/ 6 h 80"/>
                <a:gd name="T12" fmla="*/ 6 w 173"/>
                <a:gd name="T13" fmla="*/ 6 h 80"/>
                <a:gd name="T14" fmla="*/ 2 w 173"/>
                <a:gd name="T15" fmla="*/ 6 h 80"/>
                <a:gd name="T16" fmla="*/ 0 w 173"/>
                <a:gd name="T17" fmla="*/ 9 h 80"/>
                <a:gd name="T18" fmla="*/ 2 w 173"/>
                <a:gd name="T19" fmla="*/ 10 h 80"/>
                <a:gd name="T20" fmla="*/ 4 w 173"/>
                <a:gd name="T21" fmla="*/ 10 h 80"/>
                <a:gd name="T22" fmla="*/ 6 w 173"/>
                <a:gd name="T23" fmla="*/ 10 h 80"/>
                <a:gd name="T24" fmla="*/ 8 w 173"/>
                <a:gd name="T25" fmla="*/ 10 h 80"/>
                <a:gd name="T26" fmla="*/ 10 w 173"/>
                <a:gd name="T27" fmla="*/ 10 h 80"/>
                <a:gd name="T28" fmla="*/ 13 w 173"/>
                <a:gd name="T29" fmla="*/ 10 h 80"/>
                <a:gd name="T30" fmla="*/ 13 w 173"/>
                <a:gd name="T31" fmla="*/ 9 h 80"/>
                <a:gd name="T32" fmla="*/ 15 w 173"/>
                <a:gd name="T33" fmla="*/ 9 h 80"/>
                <a:gd name="T34" fmla="*/ 17 w 173"/>
                <a:gd name="T35" fmla="*/ 9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616" name="Freeform 65"/>
            <p:cNvSpPr>
              <a:spLocks/>
            </p:cNvSpPr>
            <p:nvPr/>
          </p:nvSpPr>
          <p:spPr bwMode="auto">
            <a:xfrm>
              <a:off x="7086362" y="4316964"/>
              <a:ext cx="15877" cy="27353"/>
            </a:xfrm>
            <a:custGeom>
              <a:avLst/>
              <a:gdLst>
                <a:gd name="T0" fmla="*/ 3 w 17"/>
                <a:gd name="T1" fmla="*/ 4 h 33"/>
                <a:gd name="T2" fmla="*/ 3 w 17"/>
                <a:gd name="T3" fmla="*/ 4 h 33"/>
                <a:gd name="T4" fmla="*/ 0 w 17"/>
                <a:gd name="T5" fmla="*/ 2 h 33"/>
                <a:gd name="T6" fmla="*/ 0 w 17"/>
                <a:gd name="T7" fmla="*/ 0 h 33"/>
                <a:gd name="T8" fmla="*/ 3 w 17"/>
                <a:gd name="T9" fmla="*/ 0 h 33"/>
                <a:gd name="T10" fmla="*/ 3 w 17"/>
                <a:gd name="T11" fmla="*/ 4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7" name="Freeform 66"/>
            <p:cNvSpPr>
              <a:spLocks/>
            </p:cNvSpPr>
            <p:nvPr/>
          </p:nvSpPr>
          <p:spPr bwMode="auto">
            <a:xfrm>
              <a:off x="7086362" y="4316964"/>
              <a:ext cx="15877" cy="27353"/>
            </a:xfrm>
            <a:custGeom>
              <a:avLst/>
              <a:gdLst>
                <a:gd name="T0" fmla="*/ 3 w 17"/>
                <a:gd name="T1" fmla="*/ 4 h 33"/>
                <a:gd name="T2" fmla="*/ 3 w 17"/>
                <a:gd name="T3" fmla="*/ 4 h 33"/>
                <a:gd name="T4" fmla="*/ 0 w 17"/>
                <a:gd name="T5" fmla="*/ 2 h 33"/>
                <a:gd name="T6" fmla="*/ 0 w 17"/>
                <a:gd name="T7" fmla="*/ 0 h 33"/>
                <a:gd name="T8" fmla="*/ 3 w 17"/>
                <a:gd name="T9" fmla="*/ 0 h 33"/>
                <a:gd name="T10" fmla="*/ 3 w 17"/>
                <a:gd name="T11" fmla="*/ 4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8" name="Freeform 67"/>
            <p:cNvSpPr>
              <a:spLocks/>
            </p:cNvSpPr>
            <p:nvPr/>
          </p:nvSpPr>
          <p:spPr bwMode="auto">
            <a:xfrm>
              <a:off x="7010507" y="4357994"/>
              <a:ext cx="167586" cy="177795"/>
            </a:xfrm>
            <a:custGeom>
              <a:avLst/>
              <a:gdLst>
                <a:gd name="T0" fmla="*/ 0 w 190"/>
                <a:gd name="T1" fmla="*/ 26 h 208"/>
                <a:gd name="T2" fmla="*/ 0 w 190"/>
                <a:gd name="T3" fmla="*/ 26 h 208"/>
                <a:gd name="T4" fmla="*/ 6 w 190"/>
                <a:gd name="T5" fmla="*/ 26 h 208"/>
                <a:gd name="T6" fmla="*/ 9 w 190"/>
                <a:gd name="T7" fmla="*/ 24 h 208"/>
                <a:gd name="T8" fmla="*/ 11 w 190"/>
                <a:gd name="T9" fmla="*/ 23 h 208"/>
                <a:gd name="T10" fmla="*/ 15 w 190"/>
                <a:gd name="T11" fmla="*/ 20 h 208"/>
                <a:gd name="T12" fmla="*/ 18 w 190"/>
                <a:gd name="T13" fmla="*/ 18 h 208"/>
                <a:gd name="T14" fmla="*/ 18 w 190"/>
                <a:gd name="T15" fmla="*/ 17 h 208"/>
                <a:gd name="T16" fmla="*/ 22 w 190"/>
                <a:gd name="T17" fmla="*/ 11 h 208"/>
                <a:gd name="T18" fmla="*/ 24 w 190"/>
                <a:gd name="T19" fmla="*/ 8 h 208"/>
                <a:gd name="T20" fmla="*/ 20 w 190"/>
                <a:gd name="T21" fmla="*/ 5 h 208"/>
                <a:gd name="T22" fmla="*/ 15 w 190"/>
                <a:gd name="T23" fmla="*/ 2 h 208"/>
                <a:gd name="T24" fmla="*/ 12 w 190"/>
                <a:gd name="T25" fmla="*/ 0 h 208"/>
                <a:gd name="T26" fmla="*/ 9 w 190"/>
                <a:gd name="T27" fmla="*/ 5 h 208"/>
                <a:gd name="T28" fmla="*/ 11 w 190"/>
                <a:gd name="T29" fmla="*/ 6 h 208"/>
                <a:gd name="T30" fmla="*/ 12 w 190"/>
                <a:gd name="T31" fmla="*/ 8 h 208"/>
                <a:gd name="T32" fmla="*/ 12 w 190"/>
                <a:gd name="T33" fmla="*/ 11 h 208"/>
                <a:gd name="T34" fmla="*/ 12 w 190"/>
                <a:gd name="T35" fmla="*/ 12 h 208"/>
                <a:gd name="T36" fmla="*/ 12 w 190"/>
                <a:gd name="T37" fmla="*/ 14 h 208"/>
                <a:gd name="T38" fmla="*/ 11 w 190"/>
                <a:gd name="T39" fmla="*/ 14 h 208"/>
                <a:gd name="T40" fmla="*/ 9 w 190"/>
                <a:gd name="T41" fmla="*/ 17 h 208"/>
                <a:gd name="T42" fmla="*/ 6 w 190"/>
                <a:gd name="T43" fmla="*/ 18 h 208"/>
                <a:gd name="T44" fmla="*/ 5 w 190"/>
                <a:gd name="T45" fmla="*/ 20 h 208"/>
                <a:gd name="T46" fmla="*/ 3 w 190"/>
                <a:gd name="T47" fmla="*/ 23 h 208"/>
                <a:gd name="T48" fmla="*/ 0 w 190"/>
                <a:gd name="T49" fmla="*/ 24 h 208"/>
                <a:gd name="T50" fmla="*/ 0 w 190"/>
                <a:gd name="T51" fmla="*/ 26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19" name="Freeform 68"/>
            <p:cNvSpPr>
              <a:spLocks/>
            </p:cNvSpPr>
            <p:nvPr/>
          </p:nvSpPr>
          <p:spPr bwMode="auto">
            <a:xfrm>
              <a:off x="6765303" y="4522112"/>
              <a:ext cx="245204" cy="109412"/>
            </a:xfrm>
            <a:custGeom>
              <a:avLst/>
              <a:gdLst>
                <a:gd name="T0" fmla="*/ 0 w 279"/>
                <a:gd name="T1" fmla="*/ 4 h 129"/>
                <a:gd name="T2" fmla="*/ 0 w 279"/>
                <a:gd name="T3" fmla="*/ 4 h 129"/>
                <a:gd name="T4" fmla="*/ 2 w 279"/>
                <a:gd name="T5" fmla="*/ 2 h 129"/>
                <a:gd name="T6" fmla="*/ 8 w 279"/>
                <a:gd name="T7" fmla="*/ 7 h 129"/>
                <a:gd name="T8" fmla="*/ 10 w 279"/>
                <a:gd name="T9" fmla="*/ 12 h 129"/>
                <a:gd name="T10" fmla="*/ 26 w 279"/>
                <a:gd name="T11" fmla="*/ 2 h 129"/>
                <a:gd name="T12" fmla="*/ 34 w 279"/>
                <a:gd name="T13" fmla="*/ 0 h 129"/>
                <a:gd name="T14" fmla="*/ 34 w 279"/>
                <a:gd name="T15" fmla="*/ 2 h 129"/>
                <a:gd name="T16" fmla="*/ 32 w 279"/>
                <a:gd name="T17" fmla="*/ 4 h 129"/>
                <a:gd name="T18" fmla="*/ 32 w 279"/>
                <a:gd name="T19" fmla="*/ 6 h 129"/>
                <a:gd name="T20" fmla="*/ 24 w 279"/>
                <a:gd name="T21" fmla="*/ 7 h 129"/>
                <a:gd name="T22" fmla="*/ 15 w 279"/>
                <a:gd name="T23" fmla="*/ 13 h 129"/>
                <a:gd name="T24" fmla="*/ 10 w 279"/>
                <a:gd name="T25" fmla="*/ 13 h 129"/>
                <a:gd name="T26" fmla="*/ 6 w 279"/>
                <a:gd name="T27" fmla="*/ 16 h 129"/>
                <a:gd name="T28" fmla="*/ 2 w 279"/>
                <a:gd name="T29" fmla="*/ 16 h 129"/>
                <a:gd name="T30" fmla="*/ 0 w 279"/>
                <a:gd name="T31" fmla="*/ 4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0" name="Freeform 619"/>
            <p:cNvSpPr>
              <a:spLocks/>
            </p:cNvSpPr>
            <p:nvPr/>
          </p:nvSpPr>
          <p:spPr bwMode="auto">
            <a:xfrm>
              <a:off x="7668501" y="4222938"/>
              <a:ext cx="183462" cy="94026"/>
            </a:xfrm>
            <a:custGeom>
              <a:avLst/>
              <a:gdLst>
                <a:gd name="T0" fmla="*/ 2 w 210"/>
                <a:gd name="T1" fmla="*/ 0 h 111"/>
                <a:gd name="T2" fmla="*/ 2 w 210"/>
                <a:gd name="T3" fmla="*/ 0 h 111"/>
                <a:gd name="T4" fmla="*/ 0 w 210"/>
                <a:gd name="T5" fmla="*/ 6 h 111"/>
                <a:gd name="T6" fmla="*/ 4 w 210"/>
                <a:gd name="T7" fmla="*/ 7 h 111"/>
                <a:gd name="T8" fmla="*/ 23 w 210"/>
                <a:gd name="T9" fmla="*/ 13 h 111"/>
                <a:gd name="T10" fmla="*/ 26 w 210"/>
                <a:gd name="T11" fmla="*/ 13 h 111"/>
                <a:gd name="T12" fmla="*/ 26 w 210"/>
                <a:gd name="T13" fmla="*/ 12 h 111"/>
                <a:gd name="T14" fmla="*/ 26 w 210"/>
                <a:gd name="T15" fmla="*/ 7 h 111"/>
                <a:gd name="T16" fmla="*/ 19 w 210"/>
                <a:gd name="T17" fmla="*/ 7 h 111"/>
                <a:gd name="T18" fmla="*/ 15 w 210"/>
                <a:gd name="T19" fmla="*/ 6 h 111"/>
                <a:gd name="T20" fmla="*/ 13 w 210"/>
                <a:gd name="T21" fmla="*/ 3 h 111"/>
                <a:gd name="T22" fmla="*/ 10 w 210"/>
                <a:gd name="T23" fmla="*/ 3 h 111"/>
                <a:gd name="T24" fmla="*/ 6 w 210"/>
                <a:gd name="T25" fmla="*/ 0 h 111"/>
                <a:gd name="T26" fmla="*/ 2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1" name="Freeform 620"/>
            <p:cNvSpPr>
              <a:spLocks/>
            </p:cNvSpPr>
            <p:nvPr/>
          </p:nvSpPr>
          <p:spPr bwMode="auto">
            <a:xfrm>
              <a:off x="7850199" y="4316964"/>
              <a:ext cx="123484" cy="123089"/>
            </a:xfrm>
            <a:custGeom>
              <a:avLst/>
              <a:gdLst>
                <a:gd name="T0" fmla="*/ 18 w 140"/>
                <a:gd name="T1" fmla="*/ 17 h 144"/>
                <a:gd name="T2" fmla="*/ 18 w 140"/>
                <a:gd name="T3" fmla="*/ 17 h 144"/>
                <a:gd name="T4" fmla="*/ 15 w 140"/>
                <a:gd name="T5" fmla="*/ 10 h 144"/>
                <a:gd name="T6" fmla="*/ 15 w 140"/>
                <a:gd name="T7" fmla="*/ 8 h 144"/>
                <a:gd name="T8" fmla="*/ 13 w 140"/>
                <a:gd name="T9" fmla="*/ 10 h 144"/>
                <a:gd name="T10" fmla="*/ 11 w 140"/>
                <a:gd name="T11" fmla="*/ 10 h 144"/>
                <a:gd name="T12" fmla="*/ 11 w 140"/>
                <a:gd name="T13" fmla="*/ 8 h 144"/>
                <a:gd name="T14" fmla="*/ 15 w 140"/>
                <a:gd name="T15" fmla="*/ 5 h 144"/>
                <a:gd name="T16" fmla="*/ 6 w 140"/>
                <a:gd name="T17" fmla="*/ 5 h 144"/>
                <a:gd name="T18" fmla="*/ 6 w 140"/>
                <a:gd name="T19" fmla="*/ 0 h 144"/>
                <a:gd name="T20" fmla="*/ 4 w 140"/>
                <a:gd name="T21" fmla="*/ 0 h 144"/>
                <a:gd name="T22" fmla="*/ 2 w 140"/>
                <a:gd name="T23" fmla="*/ 0 h 144"/>
                <a:gd name="T24" fmla="*/ 2 w 140"/>
                <a:gd name="T25" fmla="*/ 2 h 144"/>
                <a:gd name="T26" fmla="*/ 0 w 140"/>
                <a:gd name="T27" fmla="*/ 6 h 144"/>
                <a:gd name="T28" fmla="*/ 2 w 140"/>
                <a:gd name="T29" fmla="*/ 6 h 144"/>
                <a:gd name="T30" fmla="*/ 4 w 140"/>
                <a:gd name="T31" fmla="*/ 17 h 144"/>
                <a:gd name="T32" fmla="*/ 9 w 140"/>
                <a:gd name="T33" fmla="*/ 17 h 144"/>
                <a:gd name="T34" fmla="*/ 13 w 140"/>
                <a:gd name="T35" fmla="*/ 12 h 144"/>
                <a:gd name="T36" fmla="*/ 15 w 140"/>
                <a:gd name="T37" fmla="*/ 18 h 144"/>
                <a:gd name="T38" fmla="*/ 18 w 140"/>
                <a:gd name="T39" fmla="*/ 17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2" name="Freeform 621"/>
            <p:cNvSpPr>
              <a:spLocks/>
            </p:cNvSpPr>
            <p:nvPr/>
          </p:nvSpPr>
          <p:spPr bwMode="auto">
            <a:xfrm>
              <a:off x="7959569" y="4275935"/>
              <a:ext cx="211687" cy="423973"/>
            </a:xfrm>
            <a:custGeom>
              <a:avLst/>
              <a:gdLst>
                <a:gd name="T0" fmla="*/ 22 w 240"/>
                <a:gd name="T1" fmla="*/ 62 h 495"/>
                <a:gd name="T2" fmla="*/ 22 w 240"/>
                <a:gd name="T3" fmla="*/ 62 h 495"/>
                <a:gd name="T4" fmla="*/ 26 w 240"/>
                <a:gd name="T5" fmla="*/ 54 h 495"/>
                <a:gd name="T6" fmla="*/ 24 w 240"/>
                <a:gd name="T7" fmla="*/ 48 h 495"/>
                <a:gd name="T8" fmla="*/ 22 w 240"/>
                <a:gd name="T9" fmla="*/ 44 h 495"/>
                <a:gd name="T10" fmla="*/ 22 w 240"/>
                <a:gd name="T11" fmla="*/ 41 h 495"/>
                <a:gd name="T12" fmla="*/ 20 w 240"/>
                <a:gd name="T13" fmla="*/ 35 h 495"/>
                <a:gd name="T14" fmla="*/ 20 w 240"/>
                <a:gd name="T15" fmla="*/ 30 h 495"/>
                <a:gd name="T16" fmla="*/ 28 w 240"/>
                <a:gd name="T17" fmla="*/ 26 h 495"/>
                <a:gd name="T18" fmla="*/ 30 w 240"/>
                <a:gd name="T19" fmla="*/ 23 h 495"/>
                <a:gd name="T20" fmla="*/ 28 w 240"/>
                <a:gd name="T21" fmla="*/ 23 h 495"/>
                <a:gd name="T22" fmla="*/ 24 w 240"/>
                <a:gd name="T23" fmla="*/ 20 h 495"/>
                <a:gd name="T24" fmla="*/ 24 w 240"/>
                <a:gd name="T25" fmla="*/ 18 h 495"/>
                <a:gd name="T26" fmla="*/ 24 w 240"/>
                <a:gd name="T27" fmla="*/ 17 h 495"/>
                <a:gd name="T28" fmla="*/ 22 w 240"/>
                <a:gd name="T29" fmla="*/ 14 h 495"/>
                <a:gd name="T30" fmla="*/ 20 w 240"/>
                <a:gd name="T31" fmla="*/ 14 h 495"/>
                <a:gd name="T32" fmla="*/ 22 w 240"/>
                <a:gd name="T33" fmla="*/ 5 h 495"/>
                <a:gd name="T34" fmla="*/ 20 w 240"/>
                <a:gd name="T35" fmla="*/ 0 h 495"/>
                <a:gd name="T36" fmla="*/ 18 w 240"/>
                <a:gd name="T37" fmla="*/ 0 h 495"/>
                <a:gd name="T38" fmla="*/ 18 w 240"/>
                <a:gd name="T39" fmla="*/ 5 h 495"/>
                <a:gd name="T40" fmla="*/ 13 w 240"/>
                <a:gd name="T41" fmla="*/ 5 h 495"/>
                <a:gd name="T42" fmla="*/ 11 w 240"/>
                <a:gd name="T43" fmla="*/ 6 h 495"/>
                <a:gd name="T44" fmla="*/ 7 w 240"/>
                <a:gd name="T45" fmla="*/ 14 h 495"/>
                <a:gd name="T46" fmla="*/ 5 w 240"/>
                <a:gd name="T47" fmla="*/ 17 h 495"/>
                <a:gd name="T48" fmla="*/ 3 w 240"/>
                <a:gd name="T49" fmla="*/ 20 h 495"/>
                <a:gd name="T50" fmla="*/ 3 w 240"/>
                <a:gd name="T51" fmla="*/ 23 h 495"/>
                <a:gd name="T52" fmla="*/ 0 w 240"/>
                <a:gd name="T53" fmla="*/ 24 h 495"/>
                <a:gd name="T54" fmla="*/ 5 w 240"/>
                <a:gd name="T55" fmla="*/ 29 h 495"/>
                <a:gd name="T56" fmla="*/ 7 w 240"/>
                <a:gd name="T57" fmla="*/ 32 h 495"/>
                <a:gd name="T58" fmla="*/ 9 w 240"/>
                <a:gd name="T59" fmla="*/ 38 h 495"/>
                <a:gd name="T60" fmla="*/ 7 w 240"/>
                <a:gd name="T61" fmla="*/ 41 h 495"/>
                <a:gd name="T62" fmla="*/ 11 w 240"/>
                <a:gd name="T63" fmla="*/ 42 h 495"/>
                <a:gd name="T64" fmla="*/ 15 w 240"/>
                <a:gd name="T65" fmla="*/ 38 h 495"/>
                <a:gd name="T66" fmla="*/ 18 w 240"/>
                <a:gd name="T67" fmla="*/ 41 h 495"/>
                <a:gd name="T68" fmla="*/ 22 w 240"/>
                <a:gd name="T69" fmla="*/ 53 h 495"/>
                <a:gd name="T70" fmla="*/ 22 w 240"/>
                <a:gd name="T71" fmla="*/ 62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3" name="Freeform 622"/>
            <p:cNvSpPr>
              <a:spLocks/>
            </p:cNvSpPr>
            <p:nvPr/>
          </p:nvSpPr>
          <p:spPr bwMode="auto">
            <a:xfrm>
              <a:off x="8097168" y="4453731"/>
              <a:ext cx="181698" cy="328237"/>
            </a:xfrm>
            <a:custGeom>
              <a:avLst/>
              <a:gdLst>
                <a:gd name="T0" fmla="*/ 8 w 207"/>
                <a:gd name="T1" fmla="*/ 0 h 383"/>
                <a:gd name="T2" fmla="*/ 8 w 207"/>
                <a:gd name="T3" fmla="*/ 0 h 383"/>
                <a:gd name="T4" fmla="*/ 0 w 207"/>
                <a:gd name="T5" fmla="*/ 4 h 383"/>
                <a:gd name="T6" fmla="*/ 0 w 207"/>
                <a:gd name="T7" fmla="*/ 9 h 383"/>
                <a:gd name="T8" fmla="*/ 2 w 207"/>
                <a:gd name="T9" fmla="*/ 15 h 383"/>
                <a:gd name="T10" fmla="*/ 2 w 207"/>
                <a:gd name="T11" fmla="*/ 18 h 383"/>
                <a:gd name="T12" fmla="*/ 4 w 207"/>
                <a:gd name="T13" fmla="*/ 22 h 383"/>
                <a:gd name="T14" fmla="*/ 6 w 207"/>
                <a:gd name="T15" fmla="*/ 28 h 383"/>
                <a:gd name="T16" fmla="*/ 2 w 207"/>
                <a:gd name="T17" fmla="*/ 36 h 383"/>
                <a:gd name="T18" fmla="*/ 2 w 207"/>
                <a:gd name="T19" fmla="*/ 39 h 383"/>
                <a:gd name="T20" fmla="*/ 2 w 207"/>
                <a:gd name="T21" fmla="*/ 40 h 383"/>
                <a:gd name="T22" fmla="*/ 8 w 207"/>
                <a:gd name="T23" fmla="*/ 46 h 383"/>
                <a:gd name="T24" fmla="*/ 8 w 207"/>
                <a:gd name="T25" fmla="*/ 45 h 383"/>
                <a:gd name="T26" fmla="*/ 10 w 207"/>
                <a:gd name="T27" fmla="*/ 46 h 383"/>
                <a:gd name="T28" fmla="*/ 13 w 207"/>
                <a:gd name="T29" fmla="*/ 48 h 383"/>
                <a:gd name="T30" fmla="*/ 15 w 207"/>
                <a:gd name="T31" fmla="*/ 46 h 383"/>
                <a:gd name="T32" fmla="*/ 13 w 207"/>
                <a:gd name="T33" fmla="*/ 45 h 383"/>
                <a:gd name="T34" fmla="*/ 8 w 207"/>
                <a:gd name="T35" fmla="*/ 45 h 383"/>
                <a:gd name="T36" fmla="*/ 6 w 207"/>
                <a:gd name="T37" fmla="*/ 36 h 383"/>
                <a:gd name="T38" fmla="*/ 4 w 207"/>
                <a:gd name="T39" fmla="*/ 36 h 383"/>
                <a:gd name="T40" fmla="*/ 4 w 207"/>
                <a:gd name="T41" fmla="*/ 34 h 383"/>
                <a:gd name="T42" fmla="*/ 6 w 207"/>
                <a:gd name="T43" fmla="*/ 28 h 383"/>
                <a:gd name="T44" fmla="*/ 6 w 207"/>
                <a:gd name="T45" fmla="*/ 24 h 383"/>
                <a:gd name="T46" fmla="*/ 10 w 207"/>
                <a:gd name="T47" fmla="*/ 24 h 383"/>
                <a:gd name="T48" fmla="*/ 10 w 207"/>
                <a:gd name="T49" fmla="*/ 27 h 383"/>
                <a:gd name="T50" fmla="*/ 13 w 207"/>
                <a:gd name="T51" fmla="*/ 27 h 383"/>
                <a:gd name="T52" fmla="*/ 17 w 207"/>
                <a:gd name="T53" fmla="*/ 30 h 383"/>
                <a:gd name="T54" fmla="*/ 17 w 207"/>
                <a:gd name="T55" fmla="*/ 28 h 383"/>
                <a:gd name="T56" fmla="*/ 15 w 207"/>
                <a:gd name="T57" fmla="*/ 24 h 383"/>
                <a:gd name="T58" fmla="*/ 17 w 207"/>
                <a:gd name="T59" fmla="*/ 21 h 383"/>
                <a:gd name="T60" fmla="*/ 25 w 207"/>
                <a:gd name="T61" fmla="*/ 21 h 383"/>
                <a:gd name="T62" fmla="*/ 25 w 207"/>
                <a:gd name="T63" fmla="*/ 16 h 383"/>
                <a:gd name="T64" fmla="*/ 23 w 207"/>
                <a:gd name="T65" fmla="*/ 15 h 383"/>
                <a:gd name="T66" fmla="*/ 21 w 207"/>
                <a:gd name="T67" fmla="*/ 10 h 383"/>
                <a:gd name="T68" fmla="*/ 19 w 207"/>
                <a:gd name="T69" fmla="*/ 6 h 383"/>
                <a:gd name="T70" fmla="*/ 15 w 207"/>
                <a:gd name="T71" fmla="*/ 9 h 383"/>
                <a:gd name="T72" fmla="*/ 10 w 207"/>
                <a:gd name="T73" fmla="*/ 10 h 383"/>
                <a:gd name="T74" fmla="*/ 10 w 207"/>
                <a:gd name="T75" fmla="*/ 4 h 383"/>
                <a:gd name="T76" fmla="*/ 8 w 207"/>
                <a:gd name="T77" fmla="*/ 3 h 383"/>
                <a:gd name="T78" fmla="*/ 8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624" name="Freeform 623"/>
            <p:cNvSpPr>
              <a:spLocks/>
            </p:cNvSpPr>
            <p:nvPr/>
          </p:nvSpPr>
          <p:spPr bwMode="auto">
            <a:xfrm>
              <a:off x="8157145" y="4412700"/>
              <a:ext cx="167586" cy="191471"/>
            </a:xfrm>
            <a:custGeom>
              <a:avLst/>
              <a:gdLst>
                <a:gd name="T0" fmla="*/ 24 w 190"/>
                <a:gd name="T1" fmla="*/ 27 h 224"/>
                <a:gd name="T2" fmla="*/ 24 w 190"/>
                <a:gd name="T3" fmla="*/ 27 h 224"/>
                <a:gd name="T4" fmla="*/ 24 w 190"/>
                <a:gd name="T5" fmla="*/ 22 h 224"/>
                <a:gd name="T6" fmla="*/ 20 w 190"/>
                <a:gd name="T7" fmla="*/ 18 h 224"/>
                <a:gd name="T8" fmla="*/ 20 w 190"/>
                <a:gd name="T9" fmla="*/ 16 h 224"/>
                <a:gd name="T10" fmla="*/ 11 w 190"/>
                <a:gd name="T11" fmla="*/ 10 h 224"/>
                <a:gd name="T12" fmla="*/ 15 w 190"/>
                <a:gd name="T13" fmla="*/ 9 h 224"/>
                <a:gd name="T14" fmla="*/ 13 w 190"/>
                <a:gd name="T15" fmla="*/ 6 h 224"/>
                <a:gd name="T16" fmla="*/ 9 w 190"/>
                <a:gd name="T17" fmla="*/ 4 h 224"/>
                <a:gd name="T18" fmla="*/ 6 w 190"/>
                <a:gd name="T19" fmla="*/ 0 h 224"/>
                <a:gd name="T20" fmla="*/ 5 w 190"/>
                <a:gd name="T21" fmla="*/ 0 h 224"/>
                <a:gd name="T22" fmla="*/ 5 w 190"/>
                <a:gd name="T23" fmla="*/ 4 h 224"/>
                <a:gd name="T24" fmla="*/ 3 w 190"/>
                <a:gd name="T25" fmla="*/ 4 h 224"/>
                <a:gd name="T26" fmla="*/ 3 w 190"/>
                <a:gd name="T27" fmla="*/ 3 h 224"/>
                <a:gd name="T28" fmla="*/ 0 w 190"/>
                <a:gd name="T29" fmla="*/ 6 h 224"/>
                <a:gd name="T30" fmla="*/ 0 w 190"/>
                <a:gd name="T31" fmla="*/ 9 h 224"/>
                <a:gd name="T32" fmla="*/ 3 w 190"/>
                <a:gd name="T33" fmla="*/ 10 h 224"/>
                <a:gd name="T34" fmla="*/ 3 w 190"/>
                <a:gd name="T35" fmla="*/ 16 h 224"/>
                <a:gd name="T36" fmla="*/ 6 w 190"/>
                <a:gd name="T37" fmla="*/ 14 h 224"/>
                <a:gd name="T38" fmla="*/ 11 w 190"/>
                <a:gd name="T39" fmla="*/ 12 h 224"/>
                <a:gd name="T40" fmla="*/ 13 w 190"/>
                <a:gd name="T41" fmla="*/ 16 h 224"/>
                <a:gd name="T42" fmla="*/ 15 w 190"/>
                <a:gd name="T43" fmla="*/ 21 h 224"/>
                <a:gd name="T44" fmla="*/ 18 w 190"/>
                <a:gd name="T45" fmla="*/ 22 h 224"/>
                <a:gd name="T46" fmla="*/ 18 w 190"/>
                <a:gd name="T47" fmla="*/ 27 h 224"/>
                <a:gd name="T48" fmla="*/ 20 w 190"/>
                <a:gd name="T49" fmla="*/ 28 h 224"/>
                <a:gd name="T50" fmla="*/ 20 w 190"/>
                <a:gd name="T51" fmla="*/ 27 h 224"/>
                <a:gd name="T52" fmla="*/ 24 w 190"/>
                <a:gd name="T53" fmla="*/ 27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5" name="Freeform 624"/>
            <p:cNvSpPr>
              <a:spLocks/>
            </p:cNvSpPr>
            <p:nvPr/>
          </p:nvSpPr>
          <p:spPr bwMode="auto">
            <a:xfrm>
              <a:off x="8203010" y="4399023"/>
              <a:ext cx="167586" cy="314560"/>
            </a:xfrm>
            <a:custGeom>
              <a:avLst/>
              <a:gdLst>
                <a:gd name="T0" fmla="*/ 0 w 190"/>
                <a:gd name="T1" fmla="*/ 2 h 369"/>
                <a:gd name="T2" fmla="*/ 0 w 190"/>
                <a:gd name="T3" fmla="*/ 2 h 369"/>
                <a:gd name="T4" fmla="*/ 0 w 190"/>
                <a:gd name="T5" fmla="*/ 0 h 369"/>
                <a:gd name="T6" fmla="*/ 3 w 190"/>
                <a:gd name="T7" fmla="*/ 2 h 369"/>
                <a:gd name="T8" fmla="*/ 11 w 190"/>
                <a:gd name="T9" fmla="*/ 0 h 369"/>
                <a:gd name="T10" fmla="*/ 15 w 190"/>
                <a:gd name="T11" fmla="*/ 0 h 369"/>
                <a:gd name="T12" fmla="*/ 15 w 190"/>
                <a:gd name="T13" fmla="*/ 4 h 369"/>
                <a:gd name="T14" fmla="*/ 20 w 190"/>
                <a:gd name="T15" fmla="*/ 4 h 369"/>
                <a:gd name="T16" fmla="*/ 15 w 190"/>
                <a:gd name="T17" fmla="*/ 6 h 369"/>
                <a:gd name="T18" fmla="*/ 13 w 190"/>
                <a:gd name="T19" fmla="*/ 10 h 369"/>
                <a:gd name="T20" fmla="*/ 11 w 190"/>
                <a:gd name="T21" fmla="*/ 12 h 369"/>
                <a:gd name="T22" fmla="*/ 22 w 190"/>
                <a:gd name="T23" fmla="*/ 25 h 369"/>
                <a:gd name="T24" fmla="*/ 24 w 190"/>
                <a:gd name="T25" fmla="*/ 30 h 369"/>
                <a:gd name="T26" fmla="*/ 22 w 190"/>
                <a:gd name="T27" fmla="*/ 37 h 369"/>
                <a:gd name="T28" fmla="*/ 18 w 190"/>
                <a:gd name="T29" fmla="*/ 40 h 369"/>
                <a:gd name="T30" fmla="*/ 15 w 190"/>
                <a:gd name="T31" fmla="*/ 40 h 369"/>
                <a:gd name="T32" fmla="*/ 13 w 190"/>
                <a:gd name="T33" fmla="*/ 43 h 369"/>
                <a:gd name="T34" fmla="*/ 9 w 190"/>
                <a:gd name="T35" fmla="*/ 46 h 369"/>
                <a:gd name="T36" fmla="*/ 9 w 190"/>
                <a:gd name="T37" fmla="*/ 42 h 369"/>
                <a:gd name="T38" fmla="*/ 6 w 190"/>
                <a:gd name="T39" fmla="*/ 40 h 369"/>
                <a:gd name="T40" fmla="*/ 11 w 190"/>
                <a:gd name="T41" fmla="*/ 37 h 369"/>
                <a:gd name="T42" fmla="*/ 13 w 190"/>
                <a:gd name="T43" fmla="*/ 36 h 369"/>
                <a:gd name="T44" fmla="*/ 18 w 190"/>
                <a:gd name="T45" fmla="*/ 34 h 369"/>
                <a:gd name="T46" fmla="*/ 18 w 190"/>
                <a:gd name="T47" fmla="*/ 28 h 369"/>
                <a:gd name="T48" fmla="*/ 18 w 190"/>
                <a:gd name="T49" fmla="*/ 24 h 369"/>
                <a:gd name="T50" fmla="*/ 13 w 190"/>
                <a:gd name="T51" fmla="*/ 20 h 369"/>
                <a:gd name="T52" fmla="*/ 13 w 190"/>
                <a:gd name="T53" fmla="*/ 18 h 369"/>
                <a:gd name="T54" fmla="*/ 5 w 190"/>
                <a:gd name="T55" fmla="*/ 12 h 369"/>
                <a:gd name="T56" fmla="*/ 9 w 190"/>
                <a:gd name="T57" fmla="*/ 10 h 369"/>
                <a:gd name="T58" fmla="*/ 6 w 190"/>
                <a:gd name="T59" fmla="*/ 8 h 369"/>
                <a:gd name="T60" fmla="*/ 3 w 190"/>
                <a:gd name="T61" fmla="*/ 6 h 369"/>
                <a:gd name="T62" fmla="*/ 0 w 190"/>
                <a:gd name="T63" fmla="*/ 2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626" name="Freeform 625"/>
            <p:cNvSpPr>
              <a:spLocks/>
            </p:cNvSpPr>
            <p:nvPr/>
          </p:nvSpPr>
          <p:spPr bwMode="auto">
            <a:xfrm>
              <a:off x="8157145" y="4754614"/>
              <a:ext cx="91731" cy="123089"/>
            </a:xfrm>
            <a:custGeom>
              <a:avLst/>
              <a:gdLst>
                <a:gd name="T0" fmla="*/ 7 w 104"/>
                <a:gd name="T1" fmla="*/ 1 h 144"/>
                <a:gd name="T2" fmla="*/ 7 w 104"/>
                <a:gd name="T3" fmla="*/ 1 h 144"/>
                <a:gd name="T4" fmla="*/ 5 w 104"/>
                <a:gd name="T5" fmla="*/ 3 h 144"/>
                <a:gd name="T6" fmla="*/ 3 w 104"/>
                <a:gd name="T7" fmla="*/ 1 h 144"/>
                <a:gd name="T8" fmla="*/ 0 w 104"/>
                <a:gd name="T9" fmla="*/ 0 h 144"/>
                <a:gd name="T10" fmla="*/ 0 w 104"/>
                <a:gd name="T11" fmla="*/ 1 h 144"/>
                <a:gd name="T12" fmla="*/ 0 w 104"/>
                <a:gd name="T13" fmla="*/ 7 h 144"/>
                <a:gd name="T14" fmla="*/ 5 w 104"/>
                <a:gd name="T15" fmla="*/ 12 h 144"/>
                <a:gd name="T16" fmla="*/ 11 w 104"/>
                <a:gd name="T17" fmla="*/ 18 h 144"/>
                <a:gd name="T18" fmla="*/ 13 w 104"/>
                <a:gd name="T19" fmla="*/ 18 h 144"/>
                <a:gd name="T20" fmla="*/ 11 w 104"/>
                <a:gd name="T21" fmla="*/ 12 h 144"/>
                <a:gd name="T22" fmla="*/ 11 w 104"/>
                <a:gd name="T23" fmla="*/ 6 h 144"/>
                <a:gd name="T24" fmla="*/ 7 w 104"/>
                <a:gd name="T25" fmla="*/ 1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627" name="Freeform 626"/>
            <p:cNvSpPr>
              <a:spLocks/>
            </p:cNvSpPr>
            <p:nvPr/>
          </p:nvSpPr>
          <p:spPr bwMode="auto">
            <a:xfrm>
              <a:off x="8370596" y="4754614"/>
              <a:ext cx="245204" cy="123089"/>
            </a:xfrm>
            <a:custGeom>
              <a:avLst/>
              <a:gdLst>
                <a:gd name="T0" fmla="*/ 19 w 278"/>
                <a:gd name="T1" fmla="*/ 6 h 144"/>
                <a:gd name="T2" fmla="*/ 19 w 278"/>
                <a:gd name="T3" fmla="*/ 6 h 144"/>
                <a:gd name="T4" fmla="*/ 21 w 278"/>
                <a:gd name="T5" fmla="*/ 6 h 144"/>
                <a:gd name="T6" fmla="*/ 19 w 278"/>
                <a:gd name="T7" fmla="*/ 7 h 144"/>
                <a:gd name="T8" fmla="*/ 17 w 278"/>
                <a:gd name="T9" fmla="*/ 7 h 144"/>
                <a:gd name="T10" fmla="*/ 15 w 278"/>
                <a:gd name="T11" fmla="*/ 7 h 144"/>
                <a:gd name="T12" fmla="*/ 11 w 278"/>
                <a:gd name="T13" fmla="*/ 12 h 144"/>
                <a:gd name="T14" fmla="*/ 6 w 278"/>
                <a:gd name="T15" fmla="*/ 12 h 144"/>
                <a:gd name="T16" fmla="*/ 6 w 278"/>
                <a:gd name="T17" fmla="*/ 15 h 144"/>
                <a:gd name="T18" fmla="*/ 0 w 278"/>
                <a:gd name="T19" fmla="*/ 15 h 144"/>
                <a:gd name="T20" fmla="*/ 4 w 278"/>
                <a:gd name="T21" fmla="*/ 18 h 144"/>
                <a:gd name="T22" fmla="*/ 9 w 278"/>
                <a:gd name="T23" fmla="*/ 18 h 144"/>
                <a:gd name="T24" fmla="*/ 11 w 278"/>
                <a:gd name="T25" fmla="*/ 15 h 144"/>
                <a:gd name="T26" fmla="*/ 15 w 278"/>
                <a:gd name="T27" fmla="*/ 18 h 144"/>
                <a:gd name="T28" fmla="*/ 17 w 278"/>
                <a:gd name="T29" fmla="*/ 15 h 144"/>
                <a:gd name="T30" fmla="*/ 24 w 278"/>
                <a:gd name="T31" fmla="*/ 7 h 144"/>
                <a:gd name="T32" fmla="*/ 30 w 278"/>
                <a:gd name="T33" fmla="*/ 7 h 144"/>
                <a:gd name="T34" fmla="*/ 33 w 278"/>
                <a:gd name="T35" fmla="*/ 7 h 144"/>
                <a:gd name="T36" fmla="*/ 30 w 278"/>
                <a:gd name="T37" fmla="*/ 6 h 144"/>
                <a:gd name="T38" fmla="*/ 35 w 278"/>
                <a:gd name="T39" fmla="*/ 6 h 144"/>
                <a:gd name="T40" fmla="*/ 28 w 278"/>
                <a:gd name="T41" fmla="*/ 3 h 144"/>
                <a:gd name="T42" fmla="*/ 28 w 278"/>
                <a:gd name="T43" fmla="*/ 1 h 144"/>
                <a:gd name="T44" fmla="*/ 26 w 278"/>
                <a:gd name="T45" fmla="*/ 0 h 144"/>
                <a:gd name="T46" fmla="*/ 21 w 278"/>
                <a:gd name="T47" fmla="*/ 3 h 144"/>
                <a:gd name="T48" fmla="*/ 19 w 278"/>
                <a:gd name="T49" fmla="*/ 6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8" name="Freeform 627"/>
            <p:cNvSpPr>
              <a:spLocks/>
            </p:cNvSpPr>
            <p:nvPr/>
          </p:nvSpPr>
          <p:spPr bwMode="auto">
            <a:xfrm>
              <a:off x="8478205" y="4795642"/>
              <a:ext cx="45866" cy="13677"/>
            </a:xfrm>
            <a:custGeom>
              <a:avLst/>
              <a:gdLst>
                <a:gd name="T0" fmla="*/ 0 w 52"/>
                <a:gd name="T1" fmla="*/ 2 h 15"/>
                <a:gd name="T2" fmla="*/ 0 w 52"/>
                <a:gd name="T3" fmla="*/ 2 h 15"/>
                <a:gd name="T4" fmla="*/ 3 w 52"/>
                <a:gd name="T5" fmla="*/ 2 h 15"/>
                <a:gd name="T6" fmla="*/ 5 w 52"/>
                <a:gd name="T7" fmla="*/ 2 h 15"/>
                <a:gd name="T8" fmla="*/ 7 w 52"/>
                <a:gd name="T9" fmla="*/ 0 h 15"/>
                <a:gd name="T10" fmla="*/ 5 w 52"/>
                <a:gd name="T11" fmla="*/ 0 h 15"/>
                <a:gd name="T12" fmla="*/ 0 w 52"/>
                <a:gd name="T13" fmla="*/ 2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29" name="Freeform 628"/>
            <p:cNvSpPr>
              <a:spLocks/>
            </p:cNvSpPr>
            <p:nvPr/>
          </p:nvSpPr>
          <p:spPr bwMode="auto">
            <a:xfrm>
              <a:off x="8478205" y="4795642"/>
              <a:ext cx="45866" cy="13677"/>
            </a:xfrm>
            <a:custGeom>
              <a:avLst/>
              <a:gdLst>
                <a:gd name="T0" fmla="*/ 0 w 52"/>
                <a:gd name="T1" fmla="*/ 2 h 15"/>
                <a:gd name="T2" fmla="*/ 0 w 52"/>
                <a:gd name="T3" fmla="*/ 2 h 15"/>
                <a:gd name="T4" fmla="*/ 3 w 52"/>
                <a:gd name="T5" fmla="*/ 2 h 15"/>
                <a:gd name="T6" fmla="*/ 5 w 52"/>
                <a:gd name="T7" fmla="*/ 2 h 15"/>
                <a:gd name="T8" fmla="*/ 7 w 52"/>
                <a:gd name="T9" fmla="*/ 0 h 15"/>
                <a:gd name="T10" fmla="*/ 5 w 52"/>
                <a:gd name="T11" fmla="*/ 0 h 15"/>
                <a:gd name="T12" fmla="*/ 0 w 52"/>
                <a:gd name="T13" fmla="*/ 2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0" name="Freeform 629"/>
            <p:cNvSpPr>
              <a:spLocks/>
            </p:cNvSpPr>
            <p:nvPr/>
          </p:nvSpPr>
          <p:spPr bwMode="auto">
            <a:xfrm>
              <a:off x="8354719" y="4809320"/>
              <a:ext cx="246968" cy="177795"/>
            </a:xfrm>
            <a:custGeom>
              <a:avLst/>
              <a:gdLst>
                <a:gd name="T0" fmla="*/ 3 w 278"/>
                <a:gd name="T1" fmla="*/ 8 h 207"/>
                <a:gd name="T2" fmla="*/ 3 w 278"/>
                <a:gd name="T3" fmla="*/ 8 h 207"/>
                <a:gd name="T4" fmla="*/ 7 w 278"/>
                <a:gd name="T5" fmla="*/ 11 h 207"/>
                <a:gd name="T6" fmla="*/ 11 w 278"/>
                <a:gd name="T7" fmla="*/ 11 h 207"/>
                <a:gd name="T8" fmla="*/ 13 w 278"/>
                <a:gd name="T9" fmla="*/ 8 h 207"/>
                <a:gd name="T10" fmla="*/ 18 w 278"/>
                <a:gd name="T11" fmla="*/ 11 h 207"/>
                <a:gd name="T12" fmla="*/ 20 w 278"/>
                <a:gd name="T13" fmla="*/ 8 h 207"/>
                <a:gd name="T14" fmla="*/ 26 w 278"/>
                <a:gd name="T15" fmla="*/ 0 h 207"/>
                <a:gd name="T16" fmla="*/ 33 w 278"/>
                <a:gd name="T17" fmla="*/ 0 h 207"/>
                <a:gd name="T18" fmla="*/ 31 w 278"/>
                <a:gd name="T19" fmla="*/ 5 h 207"/>
                <a:gd name="T20" fmla="*/ 33 w 278"/>
                <a:gd name="T21" fmla="*/ 6 h 207"/>
                <a:gd name="T22" fmla="*/ 31 w 278"/>
                <a:gd name="T23" fmla="*/ 8 h 207"/>
                <a:gd name="T24" fmla="*/ 36 w 278"/>
                <a:gd name="T25" fmla="*/ 11 h 207"/>
                <a:gd name="T26" fmla="*/ 33 w 278"/>
                <a:gd name="T27" fmla="*/ 12 h 207"/>
                <a:gd name="T28" fmla="*/ 29 w 278"/>
                <a:gd name="T29" fmla="*/ 17 h 207"/>
                <a:gd name="T30" fmla="*/ 26 w 278"/>
                <a:gd name="T31" fmla="*/ 20 h 207"/>
                <a:gd name="T32" fmla="*/ 29 w 278"/>
                <a:gd name="T33" fmla="*/ 20 h 207"/>
                <a:gd name="T34" fmla="*/ 26 w 278"/>
                <a:gd name="T35" fmla="*/ 24 h 207"/>
                <a:gd name="T36" fmla="*/ 22 w 278"/>
                <a:gd name="T37" fmla="*/ 26 h 207"/>
                <a:gd name="T38" fmla="*/ 20 w 278"/>
                <a:gd name="T39" fmla="*/ 24 h 207"/>
                <a:gd name="T40" fmla="*/ 16 w 278"/>
                <a:gd name="T41" fmla="*/ 24 h 207"/>
                <a:gd name="T42" fmla="*/ 11 w 278"/>
                <a:gd name="T43" fmla="*/ 24 h 207"/>
                <a:gd name="T44" fmla="*/ 11 w 278"/>
                <a:gd name="T45" fmla="*/ 22 h 207"/>
                <a:gd name="T46" fmla="*/ 7 w 278"/>
                <a:gd name="T47" fmla="*/ 22 h 207"/>
                <a:gd name="T48" fmla="*/ 5 w 278"/>
                <a:gd name="T49" fmla="*/ 18 h 207"/>
                <a:gd name="T50" fmla="*/ 3 w 278"/>
                <a:gd name="T51" fmla="*/ 14 h 207"/>
                <a:gd name="T52" fmla="*/ 0 w 278"/>
                <a:gd name="T53" fmla="*/ 11 h 207"/>
                <a:gd name="T54" fmla="*/ 3 w 278"/>
                <a:gd name="T55" fmla="*/ 8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1" name="Freeform 630"/>
            <p:cNvSpPr>
              <a:spLocks/>
            </p:cNvSpPr>
            <p:nvPr/>
          </p:nvSpPr>
          <p:spPr bwMode="auto">
            <a:xfrm>
              <a:off x="8892757" y="4905055"/>
              <a:ext cx="241676" cy="191471"/>
            </a:xfrm>
            <a:custGeom>
              <a:avLst/>
              <a:gdLst>
                <a:gd name="T0" fmla="*/ 34 w 275"/>
                <a:gd name="T1" fmla="*/ 8 h 225"/>
                <a:gd name="T2" fmla="*/ 34 w 275"/>
                <a:gd name="T3" fmla="*/ 8 h 225"/>
                <a:gd name="T4" fmla="*/ 34 w 275"/>
                <a:gd name="T5" fmla="*/ 16 h 225"/>
                <a:gd name="T6" fmla="*/ 34 w 275"/>
                <a:gd name="T7" fmla="*/ 28 h 225"/>
                <a:gd name="T8" fmla="*/ 30 w 275"/>
                <a:gd name="T9" fmla="*/ 24 h 225"/>
                <a:gd name="T10" fmla="*/ 23 w 275"/>
                <a:gd name="T11" fmla="*/ 26 h 225"/>
                <a:gd name="T12" fmla="*/ 25 w 275"/>
                <a:gd name="T13" fmla="*/ 22 h 225"/>
                <a:gd name="T14" fmla="*/ 23 w 275"/>
                <a:gd name="T15" fmla="*/ 18 h 225"/>
                <a:gd name="T16" fmla="*/ 8 w 275"/>
                <a:gd name="T17" fmla="*/ 10 h 225"/>
                <a:gd name="T18" fmla="*/ 6 w 275"/>
                <a:gd name="T19" fmla="*/ 12 h 225"/>
                <a:gd name="T20" fmla="*/ 6 w 275"/>
                <a:gd name="T21" fmla="*/ 10 h 225"/>
                <a:gd name="T22" fmla="*/ 4 w 275"/>
                <a:gd name="T23" fmla="*/ 8 h 225"/>
                <a:gd name="T24" fmla="*/ 8 w 275"/>
                <a:gd name="T25" fmla="*/ 8 h 225"/>
                <a:gd name="T26" fmla="*/ 10 w 275"/>
                <a:gd name="T27" fmla="*/ 6 h 225"/>
                <a:gd name="T28" fmla="*/ 4 w 275"/>
                <a:gd name="T29" fmla="*/ 6 h 225"/>
                <a:gd name="T30" fmla="*/ 2 w 275"/>
                <a:gd name="T31" fmla="*/ 4 h 225"/>
                <a:gd name="T32" fmla="*/ 0 w 275"/>
                <a:gd name="T33" fmla="*/ 4 h 225"/>
                <a:gd name="T34" fmla="*/ 4 w 275"/>
                <a:gd name="T35" fmla="*/ 0 h 225"/>
                <a:gd name="T36" fmla="*/ 6 w 275"/>
                <a:gd name="T37" fmla="*/ 0 h 225"/>
                <a:gd name="T38" fmla="*/ 10 w 275"/>
                <a:gd name="T39" fmla="*/ 2 h 225"/>
                <a:gd name="T40" fmla="*/ 10 w 275"/>
                <a:gd name="T41" fmla="*/ 6 h 225"/>
                <a:gd name="T42" fmla="*/ 14 w 275"/>
                <a:gd name="T43" fmla="*/ 10 h 225"/>
                <a:gd name="T44" fmla="*/ 19 w 275"/>
                <a:gd name="T45" fmla="*/ 6 h 225"/>
                <a:gd name="T46" fmla="*/ 23 w 275"/>
                <a:gd name="T47" fmla="*/ 4 h 225"/>
                <a:gd name="T48" fmla="*/ 34 w 275"/>
                <a:gd name="T49" fmla="*/ 8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2" name="Freeform 631"/>
            <p:cNvSpPr>
              <a:spLocks/>
            </p:cNvSpPr>
            <p:nvPr/>
          </p:nvSpPr>
          <p:spPr bwMode="auto">
            <a:xfrm>
              <a:off x="9134433" y="4959761"/>
              <a:ext cx="231092" cy="177795"/>
            </a:xfrm>
            <a:custGeom>
              <a:avLst/>
              <a:gdLst>
                <a:gd name="T0" fmla="*/ 0 w 261"/>
                <a:gd name="T1" fmla="*/ 20 h 208"/>
                <a:gd name="T2" fmla="*/ 0 w 261"/>
                <a:gd name="T3" fmla="*/ 20 h 208"/>
                <a:gd name="T4" fmla="*/ 0 w 261"/>
                <a:gd name="T5" fmla="*/ 8 h 208"/>
                <a:gd name="T6" fmla="*/ 0 w 261"/>
                <a:gd name="T7" fmla="*/ 0 h 208"/>
                <a:gd name="T8" fmla="*/ 9 w 261"/>
                <a:gd name="T9" fmla="*/ 2 h 208"/>
                <a:gd name="T10" fmla="*/ 16 w 261"/>
                <a:gd name="T11" fmla="*/ 6 h 208"/>
                <a:gd name="T12" fmla="*/ 16 w 261"/>
                <a:gd name="T13" fmla="*/ 8 h 208"/>
                <a:gd name="T14" fmla="*/ 24 w 261"/>
                <a:gd name="T15" fmla="*/ 12 h 208"/>
                <a:gd name="T16" fmla="*/ 20 w 261"/>
                <a:gd name="T17" fmla="*/ 14 h 208"/>
                <a:gd name="T18" fmla="*/ 22 w 261"/>
                <a:gd name="T19" fmla="*/ 14 h 208"/>
                <a:gd name="T20" fmla="*/ 24 w 261"/>
                <a:gd name="T21" fmla="*/ 15 h 208"/>
                <a:gd name="T22" fmla="*/ 27 w 261"/>
                <a:gd name="T23" fmla="*/ 20 h 208"/>
                <a:gd name="T24" fmla="*/ 29 w 261"/>
                <a:gd name="T25" fmla="*/ 20 h 208"/>
                <a:gd name="T26" fmla="*/ 29 w 261"/>
                <a:gd name="T27" fmla="*/ 22 h 208"/>
                <a:gd name="T28" fmla="*/ 33 w 261"/>
                <a:gd name="T29" fmla="*/ 24 h 208"/>
                <a:gd name="T30" fmla="*/ 33 w 261"/>
                <a:gd name="T31" fmla="*/ 26 h 208"/>
                <a:gd name="T32" fmla="*/ 22 w 261"/>
                <a:gd name="T33" fmla="*/ 24 h 208"/>
                <a:gd name="T34" fmla="*/ 18 w 261"/>
                <a:gd name="T35" fmla="*/ 15 h 208"/>
                <a:gd name="T36" fmla="*/ 13 w 261"/>
                <a:gd name="T37" fmla="*/ 15 h 208"/>
                <a:gd name="T38" fmla="*/ 11 w 261"/>
                <a:gd name="T39" fmla="*/ 15 h 208"/>
                <a:gd name="T40" fmla="*/ 7 w 261"/>
                <a:gd name="T41" fmla="*/ 18 h 208"/>
                <a:gd name="T42" fmla="*/ 9 w 261"/>
                <a:gd name="T43" fmla="*/ 20 h 208"/>
                <a:gd name="T44" fmla="*/ 5 w 261"/>
                <a:gd name="T45" fmla="*/ 20 h 208"/>
                <a:gd name="T46" fmla="*/ 0 w 261"/>
                <a:gd name="T47" fmla="*/ 20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3" name="Freeform 632"/>
            <p:cNvSpPr>
              <a:spLocks/>
            </p:cNvSpPr>
            <p:nvPr/>
          </p:nvSpPr>
          <p:spPr bwMode="auto">
            <a:xfrm>
              <a:off x="8783386" y="4002404"/>
              <a:ext cx="75855" cy="109412"/>
            </a:xfrm>
            <a:custGeom>
              <a:avLst/>
              <a:gdLst>
                <a:gd name="T0" fmla="*/ 0 w 86"/>
                <a:gd name="T1" fmla="*/ 4 h 128"/>
                <a:gd name="T2" fmla="*/ 0 w 86"/>
                <a:gd name="T3" fmla="*/ 4 h 128"/>
                <a:gd name="T4" fmla="*/ 6 w 86"/>
                <a:gd name="T5" fmla="*/ 0 h 128"/>
                <a:gd name="T6" fmla="*/ 9 w 86"/>
                <a:gd name="T7" fmla="*/ 4 h 128"/>
                <a:gd name="T8" fmla="*/ 11 w 86"/>
                <a:gd name="T9" fmla="*/ 10 h 128"/>
                <a:gd name="T10" fmla="*/ 9 w 86"/>
                <a:gd name="T11" fmla="*/ 14 h 128"/>
                <a:gd name="T12" fmla="*/ 0 w 86"/>
                <a:gd name="T13" fmla="*/ 16 h 128"/>
                <a:gd name="T14" fmla="*/ 0 w 86"/>
                <a:gd name="T15" fmla="*/ 14 h 128"/>
                <a:gd name="T16" fmla="*/ 0 w 86"/>
                <a:gd name="T17" fmla="*/ 12 h 128"/>
                <a:gd name="T18" fmla="*/ 0 w 86"/>
                <a:gd name="T19" fmla="*/ 6 h 128"/>
                <a:gd name="T20" fmla="*/ 0 w 86"/>
                <a:gd name="T21" fmla="*/ 4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634" name="Freeform 633"/>
            <p:cNvSpPr>
              <a:spLocks/>
            </p:cNvSpPr>
            <p:nvPr/>
          </p:nvSpPr>
          <p:spPr bwMode="auto">
            <a:xfrm>
              <a:off x="8737520" y="3894701"/>
              <a:ext cx="153473" cy="135056"/>
            </a:xfrm>
            <a:custGeom>
              <a:avLst/>
              <a:gdLst>
                <a:gd name="T0" fmla="*/ 22 w 172"/>
                <a:gd name="T1" fmla="*/ 0 h 159"/>
                <a:gd name="T2" fmla="*/ 22 w 172"/>
                <a:gd name="T3" fmla="*/ 0 h 159"/>
                <a:gd name="T4" fmla="*/ 20 w 172"/>
                <a:gd name="T5" fmla="*/ 0 h 159"/>
                <a:gd name="T6" fmla="*/ 16 w 172"/>
                <a:gd name="T7" fmla="*/ 2 h 159"/>
                <a:gd name="T8" fmla="*/ 13 w 172"/>
                <a:gd name="T9" fmla="*/ 2 h 159"/>
                <a:gd name="T10" fmla="*/ 11 w 172"/>
                <a:gd name="T11" fmla="*/ 3 h 159"/>
                <a:gd name="T12" fmla="*/ 9 w 172"/>
                <a:gd name="T13" fmla="*/ 3 h 159"/>
                <a:gd name="T14" fmla="*/ 0 w 172"/>
                <a:gd name="T15" fmla="*/ 9 h 159"/>
                <a:gd name="T16" fmla="*/ 0 w 172"/>
                <a:gd name="T17" fmla="*/ 12 h 159"/>
                <a:gd name="T18" fmla="*/ 3 w 172"/>
                <a:gd name="T19" fmla="*/ 12 h 159"/>
                <a:gd name="T20" fmla="*/ 0 w 172"/>
                <a:gd name="T21" fmla="*/ 18 h 159"/>
                <a:gd name="T22" fmla="*/ 3 w 172"/>
                <a:gd name="T23" fmla="*/ 19 h 159"/>
                <a:gd name="T24" fmla="*/ 5 w 172"/>
                <a:gd name="T25" fmla="*/ 19 h 159"/>
                <a:gd name="T26" fmla="*/ 7 w 172"/>
                <a:gd name="T27" fmla="*/ 19 h 159"/>
                <a:gd name="T28" fmla="*/ 13 w 172"/>
                <a:gd name="T29" fmla="*/ 15 h 159"/>
                <a:gd name="T30" fmla="*/ 9 w 172"/>
                <a:gd name="T31" fmla="*/ 14 h 159"/>
                <a:gd name="T32" fmla="*/ 9 w 172"/>
                <a:gd name="T33" fmla="*/ 12 h 159"/>
                <a:gd name="T34" fmla="*/ 18 w 172"/>
                <a:gd name="T35" fmla="*/ 8 h 159"/>
                <a:gd name="T36" fmla="*/ 18 w 172"/>
                <a:gd name="T37" fmla="*/ 3 h 159"/>
                <a:gd name="T38" fmla="*/ 22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5" name="Freeform 634"/>
            <p:cNvSpPr>
              <a:spLocks/>
            </p:cNvSpPr>
            <p:nvPr/>
          </p:nvSpPr>
          <p:spPr bwMode="auto">
            <a:xfrm>
              <a:off x="8434102" y="2443279"/>
              <a:ext cx="28225" cy="41030"/>
            </a:xfrm>
            <a:custGeom>
              <a:avLst/>
              <a:gdLst>
                <a:gd name="T0" fmla="*/ 4 w 33"/>
                <a:gd name="T1" fmla="*/ 6 h 48"/>
                <a:gd name="T2" fmla="*/ 4 w 33"/>
                <a:gd name="T3" fmla="*/ 6 h 48"/>
                <a:gd name="T4" fmla="*/ 4 w 33"/>
                <a:gd name="T5" fmla="*/ 3 h 48"/>
                <a:gd name="T6" fmla="*/ 0 w 33"/>
                <a:gd name="T7" fmla="*/ 0 h 48"/>
                <a:gd name="T8" fmla="*/ 0 w 33"/>
                <a:gd name="T9" fmla="*/ 3 h 48"/>
                <a:gd name="T10" fmla="*/ 4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6" name="Freeform 635"/>
            <p:cNvSpPr>
              <a:spLocks/>
            </p:cNvSpPr>
            <p:nvPr/>
          </p:nvSpPr>
          <p:spPr bwMode="auto">
            <a:xfrm>
              <a:off x="8434102" y="2443279"/>
              <a:ext cx="28225" cy="41030"/>
            </a:xfrm>
            <a:custGeom>
              <a:avLst/>
              <a:gdLst>
                <a:gd name="T0" fmla="*/ 4 w 33"/>
                <a:gd name="T1" fmla="*/ 6 h 48"/>
                <a:gd name="T2" fmla="*/ 4 w 33"/>
                <a:gd name="T3" fmla="*/ 6 h 48"/>
                <a:gd name="T4" fmla="*/ 4 w 33"/>
                <a:gd name="T5" fmla="*/ 3 h 48"/>
                <a:gd name="T6" fmla="*/ 0 w 33"/>
                <a:gd name="T7" fmla="*/ 0 h 48"/>
                <a:gd name="T8" fmla="*/ 0 w 33"/>
                <a:gd name="T9" fmla="*/ 3 h 48"/>
                <a:gd name="T10" fmla="*/ 4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7" name="Freeform 636"/>
            <p:cNvSpPr>
              <a:spLocks/>
            </p:cNvSpPr>
            <p:nvPr/>
          </p:nvSpPr>
          <p:spPr bwMode="auto">
            <a:xfrm>
              <a:off x="5419326" y="4084463"/>
              <a:ext cx="291070" cy="205148"/>
            </a:xfrm>
            <a:custGeom>
              <a:avLst/>
              <a:gdLst>
                <a:gd name="T0" fmla="*/ 37 w 330"/>
                <a:gd name="T1" fmla="*/ 3 h 240"/>
                <a:gd name="T2" fmla="*/ 37 w 330"/>
                <a:gd name="T3" fmla="*/ 3 h 240"/>
                <a:gd name="T4" fmla="*/ 40 w 330"/>
                <a:gd name="T5" fmla="*/ 3 h 240"/>
                <a:gd name="T6" fmla="*/ 41 w 330"/>
                <a:gd name="T7" fmla="*/ 12 h 240"/>
                <a:gd name="T8" fmla="*/ 33 w 330"/>
                <a:gd name="T9" fmla="*/ 15 h 240"/>
                <a:gd name="T10" fmla="*/ 33 w 330"/>
                <a:gd name="T11" fmla="*/ 16 h 240"/>
                <a:gd name="T12" fmla="*/ 26 w 330"/>
                <a:gd name="T13" fmla="*/ 21 h 240"/>
                <a:gd name="T14" fmla="*/ 18 w 330"/>
                <a:gd name="T15" fmla="*/ 24 h 240"/>
                <a:gd name="T16" fmla="*/ 15 w 330"/>
                <a:gd name="T17" fmla="*/ 27 h 240"/>
                <a:gd name="T18" fmla="*/ 15 w 330"/>
                <a:gd name="T19" fmla="*/ 30 h 240"/>
                <a:gd name="T20" fmla="*/ 0 w 330"/>
                <a:gd name="T21" fmla="*/ 28 h 240"/>
                <a:gd name="T22" fmla="*/ 5 w 330"/>
                <a:gd name="T23" fmla="*/ 28 h 240"/>
                <a:gd name="T24" fmla="*/ 9 w 330"/>
                <a:gd name="T25" fmla="*/ 24 h 240"/>
                <a:gd name="T26" fmla="*/ 11 w 330"/>
                <a:gd name="T27" fmla="*/ 21 h 240"/>
                <a:gd name="T28" fmla="*/ 11 w 330"/>
                <a:gd name="T29" fmla="*/ 16 h 240"/>
                <a:gd name="T30" fmla="*/ 13 w 330"/>
                <a:gd name="T31" fmla="*/ 12 h 240"/>
                <a:gd name="T32" fmla="*/ 15 w 330"/>
                <a:gd name="T33" fmla="*/ 9 h 240"/>
                <a:gd name="T34" fmla="*/ 21 w 330"/>
                <a:gd name="T35" fmla="*/ 6 h 240"/>
                <a:gd name="T36" fmla="*/ 24 w 330"/>
                <a:gd name="T37" fmla="*/ 0 h 240"/>
                <a:gd name="T38" fmla="*/ 26 w 330"/>
                <a:gd name="T39" fmla="*/ 0 h 240"/>
                <a:gd name="T40" fmla="*/ 28 w 330"/>
                <a:gd name="T41" fmla="*/ 3 h 240"/>
                <a:gd name="T42" fmla="*/ 35 w 330"/>
                <a:gd name="T43" fmla="*/ 3 h 240"/>
                <a:gd name="T44" fmla="*/ 37 w 330"/>
                <a:gd name="T45" fmla="*/ 3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38" name="Freeform 637"/>
            <p:cNvSpPr>
              <a:spLocks/>
            </p:cNvSpPr>
            <p:nvPr/>
          </p:nvSpPr>
          <p:spPr bwMode="auto">
            <a:xfrm>
              <a:off x="5526933" y="4043434"/>
              <a:ext cx="490408" cy="437649"/>
            </a:xfrm>
            <a:custGeom>
              <a:avLst/>
              <a:gdLst>
                <a:gd name="T0" fmla="*/ 22 w 555"/>
                <a:gd name="T1" fmla="*/ 8 h 512"/>
                <a:gd name="T2" fmla="*/ 22 w 555"/>
                <a:gd name="T3" fmla="*/ 8 h 512"/>
                <a:gd name="T4" fmla="*/ 24 w 555"/>
                <a:gd name="T5" fmla="*/ 8 h 512"/>
                <a:gd name="T6" fmla="*/ 27 w 555"/>
                <a:gd name="T7" fmla="*/ 18 h 512"/>
                <a:gd name="T8" fmla="*/ 18 w 555"/>
                <a:gd name="T9" fmla="*/ 20 h 512"/>
                <a:gd name="T10" fmla="*/ 18 w 555"/>
                <a:gd name="T11" fmla="*/ 22 h 512"/>
                <a:gd name="T12" fmla="*/ 11 w 555"/>
                <a:gd name="T13" fmla="*/ 26 h 512"/>
                <a:gd name="T14" fmla="*/ 3 w 555"/>
                <a:gd name="T15" fmla="*/ 30 h 512"/>
                <a:gd name="T16" fmla="*/ 0 w 555"/>
                <a:gd name="T17" fmla="*/ 32 h 512"/>
                <a:gd name="T18" fmla="*/ 0 w 555"/>
                <a:gd name="T19" fmla="*/ 36 h 512"/>
                <a:gd name="T20" fmla="*/ 13 w 555"/>
                <a:gd name="T21" fmla="*/ 44 h 512"/>
                <a:gd name="T22" fmla="*/ 33 w 555"/>
                <a:gd name="T23" fmla="*/ 58 h 512"/>
                <a:gd name="T24" fmla="*/ 35 w 555"/>
                <a:gd name="T25" fmla="*/ 60 h 512"/>
                <a:gd name="T26" fmla="*/ 40 w 555"/>
                <a:gd name="T27" fmla="*/ 62 h 512"/>
                <a:gd name="T28" fmla="*/ 42 w 555"/>
                <a:gd name="T29" fmla="*/ 64 h 512"/>
                <a:gd name="T30" fmla="*/ 44 w 555"/>
                <a:gd name="T31" fmla="*/ 64 h 512"/>
                <a:gd name="T32" fmla="*/ 48 w 555"/>
                <a:gd name="T33" fmla="*/ 64 h 512"/>
                <a:gd name="T34" fmla="*/ 70 w 555"/>
                <a:gd name="T35" fmla="*/ 50 h 512"/>
                <a:gd name="T36" fmla="*/ 68 w 555"/>
                <a:gd name="T37" fmla="*/ 46 h 512"/>
                <a:gd name="T38" fmla="*/ 65 w 555"/>
                <a:gd name="T39" fmla="*/ 46 h 512"/>
                <a:gd name="T40" fmla="*/ 61 w 555"/>
                <a:gd name="T41" fmla="*/ 40 h 512"/>
                <a:gd name="T42" fmla="*/ 63 w 555"/>
                <a:gd name="T43" fmla="*/ 38 h 512"/>
                <a:gd name="T44" fmla="*/ 63 w 555"/>
                <a:gd name="T45" fmla="*/ 34 h 512"/>
                <a:gd name="T46" fmla="*/ 63 w 555"/>
                <a:gd name="T47" fmla="*/ 30 h 512"/>
                <a:gd name="T48" fmla="*/ 61 w 555"/>
                <a:gd name="T49" fmla="*/ 28 h 512"/>
                <a:gd name="T50" fmla="*/ 61 w 555"/>
                <a:gd name="T51" fmla="*/ 26 h 512"/>
                <a:gd name="T52" fmla="*/ 61 w 555"/>
                <a:gd name="T53" fmla="*/ 20 h 512"/>
                <a:gd name="T54" fmla="*/ 57 w 555"/>
                <a:gd name="T55" fmla="*/ 18 h 512"/>
                <a:gd name="T56" fmla="*/ 55 w 555"/>
                <a:gd name="T57" fmla="*/ 14 h 512"/>
                <a:gd name="T58" fmla="*/ 59 w 555"/>
                <a:gd name="T59" fmla="*/ 10 h 512"/>
                <a:gd name="T60" fmla="*/ 57 w 555"/>
                <a:gd name="T61" fmla="*/ 2 h 512"/>
                <a:gd name="T62" fmla="*/ 59 w 555"/>
                <a:gd name="T63" fmla="*/ 0 h 512"/>
                <a:gd name="T64" fmla="*/ 57 w 555"/>
                <a:gd name="T65" fmla="*/ 2 h 512"/>
                <a:gd name="T66" fmla="*/ 50 w 555"/>
                <a:gd name="T67" fmla="*/ 0 h 512"/>
                <a:gd name="T68" fmla="*/ 48 w 555"/>
                <a:gd name="T69" fmla="*/ 2 h 512"/>
                <a:gd name="T70" fmla="*/ 44 w 555"/>
                <a:gd name="T71" fmla="*/ 0 h 512"/>
                <a:gd name="T72" fmla="*/ 40 w 555"/>
                <a:gd name="T73" fmla="*/ 2 h 512"/>
                <a:gd name="T74" fmla="*/ 33 w 555"/>
                <a:gd name="T75" fmla="*/ 2 h 512"/>
                <a:gd name="T76" fmla="*/ 22 w 555"/>
                <a:gd name="T77" fmla="*/ 8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39" name="Freeform 638"/>
            <p:cNvSpPr>
              <a:spLocks/>
            </p:cNvSpPr>
            <p:nvPr/>
          </p:nvSpPr>
          <p:spPr bwMode="auto">
            <a:xfrm>
              <a:off x="5907970" y="4043434"/>
              <a:ext cx="93495" cy="179505"/>
            </a:xfrm>
            <a:custGeom>
              <a:avLst/>
              <a:gdLst>
                <a:gd name="T0" fmla="*/ 14 w 105"/>
                <a:gd name="T1" fmla="*/ 16 h 209"/>
                <a:gd name="T2" fmla="*/ 14 w 105"/>
                <a:gd name="T3" fmla="*/ 16 h 209"/>
                <a:gd name="T4" fmla="*/ 14 w 105"/>
                <a:gd name="T5" fmla="*/ 18 h 209"/>
                <a:gd name="T6" fmla="*/ 9 w 105"/>
                <a:gd name="T7" fmla="*/ 22 h 209"/>
                <a:gd name="T8" fmla="*/ 9 w 105"/>
                <a:gd name="T9" fmla="*/ 24 h 209"/>
                <a:gd name="T10" fmla="*/ 7 w 105"/>
                <a:gd name="T11" fmla="*/ 27 h 209"/>
                <a:gd name="T12" fmla="*/ 7 w 105"/>
                <a:gd name="T13" fmla="*/ 21 h 209"/>
                <a:gd name="T14" fmla="*/ 3 w 105"/>
                <a:gd name="T15" fmla="*/ 18 h 209"/>
                <a:gd name="T16" fmla="*/ 0 w 105"/>
                <a:gd name="T17" fmla="*/ 15 h 209"/>
                <a:gd name="T18" fmla="*/ 5 w 105"/>
                <a:gd name="T19" fmla="*/ 10 h 209"/>
                <a:gd name="T20" fmla="*/ 3 w 105"/>
                <a:gd name="T21" fmla="*/ 3 h 209"/>
                <a:gd name="T22" fmla="*/ 5 w 105"/>
                <a:gd name="T23" fmla="*/ 0 h 209"/>
                <a:gd name="T24" fmla="*/ 9 w 105"/>
                <a:gd name="T25" fmla="*/ 0 h 209"/>
                <a:gd name="T26" fmla="*/ 11 w 105"/>
                <a:gd name="T27" fmla="*/ 3 h 209"/>
                <a:gd name="T28" fmla="*/ 14 w 105"/>
                <a:gd name="T29" fmla="*/ 0 h 209"/>
                <a:gd name="T30" fmla="*/ 11 w 105"/>
                <a:gd name="T31" fmla="*/ 4 h 209"/>
                <a:gd name="T32" fmla="*/ 14 w 105"/>
                <a:gd name="T33" fmla="*/ 9 h 209"/>
                <a:gd name="T34" fmla="*/ 9 w 105"/>
                <a:gd name="T35" fmla="*/ 12 h 209"/>
                <a:gd name="T36" fmla="*/ 9 w 105"/>
                <a:gd name="T37" fmla="*/ 15 h 209"/>
                <a:gd name="T38" fmla="*/ 14 w 105"/>
                <a:gd name="T39" fmla="*/ 15 h 209"/>
                <a:gd name="T40" fmla="*/ 14 w 105"/>
                <a:gd name="T41" fmla="*/ 16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0" name="Freeform 639"/>
            <p:cNvSpPr>
              <a:spLocks/>
            </p:cNvSpPr>
            <p:nvPr/>
          </p:nvSpPr>
          <p:spPr bwMode="auto">
            <a:xfrm>
              <a:off x="5953836" y="4152846"/>
              <a:ext cx="384565" cy="328237"/>
            </a:xfrm>
            <a:custGeom>
              <a:avLst/>
              <a:gdLst>
                <a:gd name="T0" fmla="*/ 9 w 435"/>
                <a:gd name="T1" fmla="*/ 35 h 384"/>
                <a:gd name="T2" fmla="*/ 9 w 435"/>
                <a:gd name="T3" fmla="*/ 35 h 384"/>
                <a:gd name="T4" fmla="*/ 7 w 435"/>
                <a:gd name="T5" fmla="*/ 30 h 384"/>
                <a:gd name="T6" fmla="*/ 5 w 435"/>
                <a:gd name="T7" fmla="*/ 30 h 384"/>
                <a:gd name="T8" fmla="*/ 0 w 435"/>
                <a:gd name="T9" fmla="*/ 24 h 384"/>
                <a:gd name="T10" fmla="*/ 3 w 435"/>
                <a:gd name="T11" fmla="*/ 23 h 384"/>
                <a:gd name="T12" fmla="*/ 3 w 435"/>
                <a:gd name="T13" fmla="*/ 18 h 384"/>
                <a:gd name="T14" fmla="*/ 3 w 435"/>
                <a:gd name="T15" fmla="*/ 14 h 384"/>
                <a:gd name="T16" fmla="*/ 0 w 435"/>
                <a:gd name="T17" fmla="*/ 12 h 384"/>
                <a:gd name="T18" fmla="*/ 0 w 435"/>
                <a:gd name="T19" fmla="*/ 11 h 384"/>
                <a:gd name="T20" fmla="*/ 3 w 435"/>
                <a:gd name="T21" fmla="*/ 8 h 384"/>
                <a:gd name="T22" fmla="*/ 3 w 435"/>
                <a:gd name="T23" fmla="*/ 6 h 384"/>
                <a:gd name="T24" fmla="*/ 7 w 435"/>
                <a:gd name="T25" fmla="*/ 2 h 384"/>
                <a:gd name="T26" fmla="*/ 7 w 435"/>
                <a:gd name="T27" fmla="*/ 0 h 384"/>
                <a:gd name="T28" fmla="*/ 11 w 435"/>
                <a:gd name="T29" fmla="*/ 0 h 384"/>
                <a:gd name="T30" fmla="*/ 18 w 435"/>
                <a:gd name="T31" fmla="*/ 2 h 384"/>
                <a:gd name="T32" fmla="*/ 22 w 435"/>
                <a:gd name="T33" fmla="*/ 2 h 384"/>
                <a:gd name="T34" fmla="*/ 22 w 435"/>
                <a:gd name="T35" fmla="*/ 6 h 384"/>
                <a:gd name="T36" fmla="*/ 35 w 435"/>
                <a:gd name="T37" fmla="*/ 11 h 384"/>
                <a:gd name="T38" fmla="*/ 37 w 435"/>
                <a:gd name="T39" fmla="*/ 8 h 384"/>
                <a:gd name="T40" fmla="*/ 37 w 435"/>
                <a:gd name="T41" fmla="*/ 5 h 384"/>
                <a:gd name="T42" fmla="*/ 44 w 435"/>
                <a:gd name="T43" fmla="*/ 0 h 384"/>
                <a:gd name="T44" fmla="*/ 48 w 435"/>
                <a:gd name="T45" fmla="*/ 2 h 384"/>
                <a:gd name="T46" fmla="*/ 48 w 435"/>
                <a:gd name="T47" fmla="*/ 5 h 384"/>
                <a:gd name="T48" fmla="*/ 55 w 435"/>
                <a:gd name="T49" fmla="*/ 5 h 384"/>
                <a:gd name="T50" fmla="*/ 53 w 435"/>
                <a:gd name="T51" fmla="*/ 12 h 384"/>
                <a:gd name="T52" fmla="*/ 55 w 435"/>
                <a:gd name="T53" fmla="*/ 17 h 384"/>
                <a:gd name="T54" fmla="*/ 55 w 435"/>
                <a:gd name="T55" fmla="*/ 38 h 384"/>
                <a:gd name="T56" fmla="*/ 55 w 435"/>
                <a:gd name="T57" fmla="*/ 44 h 384"/>
                <a:gd name="T58" fmla="*/ 53 w 435"/>
                <a:gd name="T59" fmla="*/ 47 h 384"/>
                <a:gd name="T60" fmla="*/ 51 w 435"/>
                <a:gd name="T61" fmla="*/ 48 h 384"/>
                <a:gd name="T62" fmla="*/ 24 w 435"/>
                <a:gd name="T63" fmla="*/ 35 h 384"/>
                <a:gd name="T64" fmla="*/ 20 w 435"/>
                <a:gd name="T65" fmla="*/ 36 h 384"/>
                <a:gd name="T66" fmla="*/ 18 w 435"/>
                <a:gd name="T67" fmla="*/ 35 h 384"/>
                <a:gd name="T68" fmla="*/ 9 w 435"/>
                <a:gd name="T69" fmla="*/ 35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1" name="Freeform 640"/>
            <p:cNvSpPr>
              <a:spLocks/>
            </p:cNvSpPr>
            <p:nvPr/>
          </p:nvSpPr>
          <p:spPr bwMode="auto">
            <a:xfrm>
              <a:off x="6324288" y="4181908"/>
              <a:ext cx="273430" cy="244468"/>
            </a:xfrm>
            <a:custGeom>
              <a:avLst/>
              <a:gdLst>
                <a:gd name="T0" fmla="*/ 38 w 311"/>
                <a:gd name="T1" fmla="*/ 31 h 288"/>
                <a:gd name="T2" fmla="*/ 38 w 311"/>
                <a:gd name="T3" fmla="*/ 31 h 288"/>
                <a:gd name="T4" fmla="*/ 32 w 311"/>
                <a:gd name="T5" fmla="*/ 35 h 288"/>
                <a:gd name="T6" fmla="*/ 30 w 311"/>
                <a:gd name="T7" fmla="*/ 33 h 288"/>
                <a:gd name="T8" fmla="*/ 2 w 311"/>
                <a:gd name="T9" fmla="*/ 33 h 288"/>
                <a:gd name="T10" fmla="*/ 2 w 311"/>
                <a:gd name="T11" fmla="*/ 12 h 288"/>
                <a:gd name="T12" fmla="*/ 0 w 311"/>
                <a:gd name="T13" fmla="*/ 7 h 288"/>
                <a:gd name="T14" fmla="*/ 2 w 311"/>
                <a:gd name="T15" fmla="*/ 0 h 288"/>
                <a:gd name="T16" fmla="*/ 2 w 311"/>
                <a:gd name="T17" fmla="*/ 1 h 288"/>
                <a:gd name="T18" fmla="*/ 8 w 311"/>
                <a:gd name="T19" fmla="*/ 1 h 288"/>
                <a:gd name="T20" fmla="*/ 15 w 311"/>
                <a:gd name="T21" fmla="*/ 3 h 288"/>
                <a:gd name="T22" fmla="*/ 23 w 311"/>
                <a:gd name="T23" fmla="*/ 1 h 288"/>
                <a:gd name="T24" fmla="*/ 25 w 311"/>
                <a:gd name="T25" fmla="*/ 1 h 288"/>
                <a:gd name="T26" fmla="*/ 25 w 311"/>
                <a:gd name="T27" fmla="*/ 3 h 288"/>
                <a:gd name="T28" fmla="*/ 28 w 311"/>
                <a:gd name="T29" fmla="*/ 1 h 288"/>
                <a:gd name="T30" fmla="*/ 28 w 311"/>
                <a:gd name="T31" fmla="*/ 3 h 288"/>
                <a:gd name="T32" fmla="*/ 32 w 311"/>
                <a:gd name="T33" fmla="*/ 1 h 288"/>
                <a:gd name="T34" fmla="*/ 34 w 311"/>
                <a:gd name="T35" fmla="*/ 9 h 288"/>
                <a:gd name="T36" fmla="*/ 32 w 311"/>
                <a:gd name="T37" fmla="*/ 15 h 288"/>
                <a:gd name="T38" fmla="*/ 30 w 311"/>
                <a:gd name="T39" fmla="*/ 12 h 288"/>
                <a:gd name="T40" fmla="*/ 28 w 311"/>
                <a:gd name="T41" fmla="*/ 6 h 288"/>
                <a:gd name="T42" fmla="*/ 28 w 311"/>
                <a:gd name="T43" fmla="*/ 7 h 288"/>
                <a:gd name="T44" fmla="*/ 28 w 311"/>
                <a:gd name="T45" fmla="*/ 9 h 288"/>
                <a:gd name="T46" fmla="*/ 38 w 311"/>
                <a:gd name="T47" fmla="*/ 31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2" name="Freeform 641"/>
            <p:cNvSpPr>
              <a:spLocks/>
            </p:cNvSpPr>
            <p:nvPr/>
          </p:nvSpPr>
          <p:spPr bwMode="auto">
            <a:xfrm>
              <a:off x="6751190" y="4631524"/>
              <a:ext cx="31753" cy="41030"/>
            </a:xfrm>
            <a:custGeom>
              <a:avLst/>
              <a:gdLst>
                <a:gd name="T0" fmla="*/ 3 w 34"/>
                <a:gd name="T1" fmla="*/ 6 h 48"/>
                <a:gd name="T2" fmla="*/ 3 w 34"/>
                <a:gd name="T3" fmla="*/ 6 h 48"/>
                <a:gd name="T4" fmla="*/ 0 w 34"/>
                <a:gd name="T5" fmla="*/ 6 h 48"/>
                <a:gd name="T6" fmla="*/ 0 w 34"/>
                <a:gd name="T7" fmla="*/ 3 h 48"/>
                <a:gd name="T8" fmla="*/ 0 w 34"/>
                <a:gd name="T9" fmla="*/ 0 h 48"/>
                <a:gd name="T10" fmla="*/ 3 w 34"/>
                <a:gd name="T11" fmla="*/ 0 h 48"/>
                <a:gd name="T12" fmla="*/ 5 w 34"/>
                <a:gd name="T13" fmla="*/ 0 h 48"/>
                <a:gd name="T14" fmla="*/ 5 w 34"/>
                <a:gd name="T15" fmla="*/ 2 h 48"/>
                <a:gd name="T16" fmla="*/ 3 w 34"/>
                <a:gd name="T17" fmla="*/ 2 h 48"/>
                <a:gd name="T18" fmla="*/ 5 w 34"/>
                <a:gd name="T19" fmla="*/ 3 h 48"/>
                <a:gd name="T20" fmla="*/ 3 w 34"/>
                <a:gd name="T21" fmla="*/ 6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3" name="Freeform 642"/>
            <p:cNvSpPr>
              <a:spLocks/>
            </p:cNvSpPr>
            <p:nvPr/>
          </p:nvSpPr>
          <p:spPr bwMode="auto">
            <a:xfrm>
              <a:off x="6719437" y="4645202"/>
              <a:ext cx="245204" cy="287207"/>
            </a:xfrm>
            <a:custGeom>
              <a:avLst/>
              <a:gdLst>
                <a:gd name="T0" fmla="*/ 4 w 279"/>
                <a:gd name="T1" fmla="*/ 25 h 336"/>
                <a:gd name="T2" fmla="*/ 4 w 279"/>
                <a:gd name="T3" fmla="*/ 25 h 336"/>
                <a:gd name="T4" fmla="*/ 0 w 279"/>
                <a:gd name="T5" fmla="*/ 30 h 336"/>
                <a:gd name="T6" fmla="*/ 0 w 279"/>
                <a:gd name="T7" fmla="*/ 41 h 336"/>
                <a:gd name="T8" fmla="*/ 2 w 279"/>
                <a:gd name="T9" fmla="*/ 42 h 336"/>
                <a:gd name="T10" fmla="*/ 8 w 279"/>
                <a:gd name="T11" fmla="*/ 36 h 336"/>
                <a:gd name="T12" fmla="*/ 17 w 279"/>
                <a:gd name="T13" fmla="*/ 30 h 336"/>
                <a:gd name="T14" fmla="*/ 24 w 279"/>
                <a:gd name="T15" fmla="*/ 24 h 336"/>
                <a:gd name="T16" fmla="*/ 28 w 279"/>
                <a:gd name="T17" fmla="*/ 20 h 336"/>
                <a:gd name="T18" fmla="*/ 34 w 279"/>
                <a:gd name="T19" fmla="*/ 5 h 336"/>
                <a:gd name="T20" fmla="*/ 34 w 279"/>
                <a:gd name="T21" fmla="*/ 0 h 336"/>
                <a:gd name="T22" fmla="*/ 32 w 279"/>
                <a:gd name="T23" fmla="*/ 0 h 336"/>
                <a:gd name="T24" fmla="*/ 28 w 279"/>
                <a:gd name="T25" fmla="*/ 1 h 336"/>
                <a:gd name="T26" fmla="*/ 13 w 279"/>
                <a:gd name="T27" fmla="*/ 6 h 336"/>
                <a:gd name="T28" fmla="*/ 10 w 279"/>
                <a:gd name="T29" fmla="*/ 5 h 336"/>
                <a:gd name="T30" fmla="*/ 8 w 279"/>
                <a:gd name="T31" fmla="*/ 1 h 336"/>
                <a:gd name="T32" fmla="*/ 6 w 279"/>
                <a:gd name="T33" fmla="*/ 5 h 336"/>
                <a:gd name="T34" fmla="*/ 6 w 279"/>
                <a:gd name="T35" fmla="*/ 6 h 336"/>
                <a:gd name="T36" fmla="*/ 10 w 279"/>
                <a:gd name="T37" fmla="*/ 11 h 336"/>
                <a:gd name="T38" fmla="*/ 21 w 279"/>
                <a:gd name="T39" fmla="*/ 12 h 336"/>
                <a:gd name="T40" fmla="*/ 24 w 279"/>
                <a:gd name="T41" fmla="*/ 12 h 336"/>
                <a:gd name="T42" fmla="*/ 15 w 279"/>
                <a:gd name="T43" fmla="*/ 22 h 336"/>
                <a:gd name="T44" fmla="*/ 8 w 279"/>
                <a:gd name="T45" fmla="*/ 22 h 336"/>
                <a:gd name="T46" fmla="*/ 4 w 279"/>
                <a:gd name="T47" fmla="*/ 25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4" name="Freeform 643"/>
            <p:cNvSpPr>
              <a:spLocks/>
            </p:cNvSpPr>
            <p:nvPr/>
          </p:nvSpPr>
          <p:spPr bwMode="auto">
            <a:xfrm>
              <a:off x="6551851" y="4809320"/>
              <a:ext cx="199339" cy="191471"/>
            </a:xfrm>
            <a:custGeom>
              <a:avLst/>
              <a:gdLst>
                <a:gd name="T0" fmla="*/ 28 w 227"/>
                <a:gd name="T1" fmla="*/ 2 h 224"/>
                <a:gd name="T2" fmla="*/ 28 w 227"/>
                <a:gd name="T3" fmla="*/ 2 h 224"/>
                <a:gd name="T4" fmla="*/ 24 w 227"/>
                <a:gd name="T5" fmla="*/ 0 h 224"/>
                <a:gd name="T6" fmla="*/ 17 w 227"/>
                <a:gd name="T7" fmla="*/ 2 h 224"/>
                <a:gd name="T8" fmla="*/ 6 w 227"/>
                <a:gd name="T9" fmla="*/ 0 h 224"/>
                <a:gd name="T10" fmla="*/ 2 w 227"/>
                <a:gd name="T11" fmla="*/ 0 h 224"/>
                <a:gd name="T12" fmla="*/ 0 w 227"/>
                <a:gd name="T13" fmla="*/ 0 h 224"/>
                <a:gd name="T14" fmla="*/ 2 w 227"/>
                <a:gd name="T15" fmla="*/ 2 h 224"/>
                <a:gd name="T16" fmla="*/ 4 w 227"/>
                <a:gd name="T17" fmla="*/ 7 h 224"/>
                <a:gd name="T18" fmla="*/ 0 w 227"/>
                <a:gd name="T19" fmla="*/ 14 h 224"/>
                <a:gd name="T20" fmla="*/ 0 w 227"/>
                <a:gd name="T21" fmla="*/ 17 h 224"/>
                <a:gd name="T22" fmla="*/ 2 w 227"/>
                <a:gd name="T23" fmla="*/ 17 h 224"/>
                <a:gd name="T24" fmla="*/ 13 w 227"/>
                <a:gd name="T25" fmla="*/ 22 h 224"/>
                <a:gd name="T26" fmla="*/ 13 w 227"/>
                <a:gd name="T27" fmla="*/ 26 h 224"/>
                <a:gd name="T28" fmla="*/ 19 w 227"/>
                <a:gd name="T29" fmla="*/ 28 h 224"/>
                <a:gd name="T30" fmla="*/ 21 w 227"/>
                <a:gd name="T31" fmla="*/ 22 h 224"/>
                <a:gd name="T32" fmla="*/ 24 w 227"/>
                <a:gd name="T33" fmla="*/ 22 h 224"/>
                <a:gd name="T34" fmla="*/ 26 w 227"/>
                <a:gd name="T35" fmla="*/ 18 h 224"/>
                <a:gd name="T36" fmla="*/ 24 w 227"/>
                <a:gd name="T37" fmla="*/ 17 h 224"/>
                <a:gd name="T38" fmla="*/ 24 w 227"/>
                <a:gd name="T39" fmla="*/ 6 h 224"/>
                <a:gd name="T40" fmla="*/ 28 w 227"/>
                <a:gd name="T41" fmla="*/ 2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5" name="Freeform 644"/>
            <p:cNvSpPr>
              <a:spLocks/>
            </p:cNvSpPr>
            <p:nvPr/>
          </p:nvSpPr>
          <p:spPr bwMode="auto">
            <a:xfrm>
              <a:off x="6446008" y="4809320"/>
              <a:ext cx="135833" cy="123089"/>
            </a:xfrm>
            <a:custGeom>
              <a:avLst/>
              <a:gdLst>
                <a:gd name="T0" fmla="*/ 15 w 156"/>
                <a:gd name="T1" fmla="*/ 0 h 144"/>
                <a:gd name="T2" fmla="*/ 15 w 156"/>
                <a:gd name="T3" fmla="*/ 0 h 144"/>
                <a:gd name="T4" fmla="*/ 17 w 156"/>
                <a:gd name="T5" fmla="*/ 1 h 144"/>
                <a:gd name="T6" fmla="*/ 19 w 156"/>
                <a:gd name="T7" fmla="*/ 7 h 144"/>
                <a:gd name="T8" fmla="*/ 15 w 156"/>
                <a:gd name="T9" fmla="*/ 13 h 144"/>
                <a:gd name="T10" fmla="*/ 15 w 156"/>
                <a:gd name="T11" fmla="*/ 17 h 144"/>
                <a:gd name="T12" fmla="*/ 8 w 156"/>
                <a:gd name="T13" fmla="*/ 17 h 144"/>
                <a:gd name="T14" fmla="*/ 4 w 156"/>
                <a:gd name="T15" fmla="*/ 17 h 144"/>
                <a:gd name="T16" fmla="*/ 0 w 156"/>
                <a:gd name="T17" fmla="*/ 18 h 144"/>
                <a:gd name="T18" fmla="*/ 2 w 156"/>
                <a:gd name="T19" fmla="*/ 12 h 144"/>
                <a:gd name="T20" fmla="*/ 4 w 156"/>
                <a:gd name="T21" fmla="*/ 10 h 144"/>
                <a:gd name="T22" fmla="*/ 6 w 156"/>
                <a:gd name="T23" fmla="*/ 6 h 144"/>
                <a:gd name="T24" fmla="*/ 4 w 156"/>
                <a:gd name="T25" fmla="*/ 6 h 144"/>
                <a:gd name="T26" fmla="*/ 4 w 156"/>
                <a:gd name="T27" fmla="*/ 1 h 144"/>
                <a:gd name="T28" fmla="*/ 8 w 156"/>
                <a:gd name="T29" fmla="*/ 1 h 144"/>
                <a:gd name="T30" fmla="*/ 15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6" name="Freeform 645"/>
            <p:cNvSpPr>
              <a:spLocks/>
            </p:cNvSpPr>
            <p:nvPr/>
          </p:nvSpPr>
          <p:spPr bwMode="auto">
            <a:xfrm>
              <a:off x="6077320" y="4658877"/>
              <a:ext cx="321059" cy="177795"/>
            </a:xfrm>
            <a:custGeom>
              <a:avLst/>
              <a:gdLst>
                <a:gd name="T0" fmla="*/ 28 w 363"/>
                <a:gd name="T1" fmla="*/ 0 h 210"/>
                <a:gd name="T2" fmla="*/ 28 w 363"/>
                <a:gd name="T3" fmla="*/ 0 h 210"/>
                <a:gd name="T4" fmla="*/ 33 w 363"/>
                <a:gd name="T5" fmla="*/ 4 h 210"/>
                <a:gd name="T6" fmla="*/ 33 w 363"/>
                <a:gd name="T7" fmla="*/ 8 h 210"/>
                <a:gd name="T8" fmla="*/ 37 w 363"/>
                <a:gd name="T9" fmla="*/ 10 h 210"/>
                <a:gd name="T10" fmla="*/ 46 w 363"/>
                <a:gd name="T11" fmla="*/ 20 h 210"/>
                <a:gd name="T12" fmla="*/ 31 w 363"/>
                <a:gd name="T13" fmla="*/ 20 h 210"/>
                <a:gd name="T14" fmla="*/ 28 w 363"/>
                <a:gd name="T15" fmla="*/ 22 h 210"/>
                <a:gd name="T16" fmla="*/ 22 w 363"/>
                <a:gd name="T17" fmla="*/ 22 h 210"/>
                <a:gd name="T18" fmla="*/ 20 w 363"/>
                <a:gd name="T19" fmla="*/ 20 h 210"/>
                <a:gd name="T20" fmla="*/ 18 w 363"/>
                <a:gd name="T21" fmla="*/ 20 h 210"/>
                <a:gd name="T22" fmla="*/ 16 w 363"/>
                <a:gd name="T23" fmla="*/ 23 h 210"/>
                <a:gd name="T24" fmla="*/ 9 w 363"/>
                <a:gd name="T25" fmla="*/ 26 h 210"/>
                <a:gd name="T26" fmla="*/ 7 w 363"/>
                <a:gd name="T27" fmla="*/ 26 h 210"/>
                <a:gd name="T28" fmla="*/ 3 w 363"/>
                <a:gd name="T29" fmla="*/ 20 h 210"/>
                <a:gd name="T30" fmla="*/ 0 w 363"/>
                <a:gd name="T31" fmla="*/ 17 h 210"/>
                <a:gd name="T32" fmla="*/ 5 w 363"/>
                <a:gd name="T33" fmla="*/ 12 h 210"/>
                <a:gd name="T34" fmla="*/ 16 w 363"/>
                <a:gd name="T35" fmla="*/ 10 h 210"/>
                <a:gd name="T36" fmla="*/ 18 w 363"/>
                <a:gd name="T37" fmla="*/ 8 h 210"/>
                <a:gd name="T38" fmla="*/ 16 w 363"/>
                <a:gd name="T39" fmla="*/ 8 h 210"/>
                <a:gd name="T40" fmla="*/ 22 w 363"/>
                <a:gd name="T41" fmla="*/ 6 h 210"/>
                <a:gd name="T42" fmla="*/ 26 w 363"/>
                <a:gd name="T43" fmla="*/ 2 h 210"/>
                <a:gd name="T44" fmla="*/ 28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7" name="Freeform 646"/>
            <p:cNvSpPr>
              <a:spLocks/>
            </p:cNvSpPr>
            <p:nvPr/>
          </p:nvSpPr>
          <p:spPr bwMode="auto">
            <a:xfrm>
              <a:off x="6064971" y="4385347"/>
              <a:ext cx="241676" cy="355590"/>
            </a:xfrm>
            <a:custGeom>
              <a:avLst/>
              <a:gdLst>
                <a:gd name="T0" fmla="*/ 4 w 275"/>
                <a:gd name="T1" fmla="*/ 2 h 414"/>
                <a:gd name="T2" fmla="*/ 4 w 275"/>
                <a:gd name="T3" fmla="*/ 2 h 414"/>
                <a:gd name="T4" fmla="*/ 4 w 275"/>
                <a:gd name="T5" fmla="*/ 6 h 414"/>
                <a:gd name="T6" fmla="*/ 8 w 275"/>
                <a:gd name="T7" fmla="*/ 10 h 414"/>
                <a:gd name="T8" fmla="*/ 6 w 275"/>
                <a:gd name="T9" fmla="*/ 22 h 414"/>
                <a:gd name="T10" fmla="*/ 0 w 275"/>
                <a:gd name="T11" fmla="*/ 31 h 414"/>
                <a:gd name="T12" fmla="*/ 0 w 275"/>
                <a:gd name="T13" fmla="*/ 32 h 414"/>
                <a:gd name="T14" fmla="*/ 2 w 275"/>
                <a:gd name="T15" fmla="*/ 34 h 414"/>
                <a:gd name="T16" fmla="*/ 2 w 275"/>
                <a:gd name="T17" fmla="*/ 37 h 414"/>
                <a:gd name="T18" fmla="*/ 6 w 275"/>
                <a:gd name="T19" fmla="*/ 44 h 414"/>
                <a:gd name="T20" fmla="*/ 2 w 275"/>
                <a:gd name="T21" fmla="*/ 44 h 414"/>
                <a:gd name="T22" fmla="*/ 2 w 275"/>
                <a:gd name="T23" fmla="*/ 46 h 414"/>
                <a:gd name="T24" fmla="*/ 4 w 275"/>
                <a:gd name="T25" fmla="*/ 49 h 414"/>
                <a:gd name="T26" fmla="*/ 6 w 275"/>
                <a:gd name="T27" fmla="*/ 53 h 414"/>
                <a:gd name="T28" fmla="*/ 17 w 275"/>
                <a:gd name="T29" fmla="*/ 50 h 414"/>
                <a:gd name="T30" fmla="*/ 19 w 275"/>
                <a:gd name="T31" fmla="*/ 49 h 414"/>
                <a:gd name="T32" fmla="*/ 17 w 275"/>
                <a:gd name="T33" fmla="*/ 49 h 414"/>
                <a:gd name="T34" fmla="*/ 23 w 275"/>
                <a:gd name="T35" fmla="*/ 46 h 414"/>
                <a:gd name="T36" fmla="*/ 27 w 275"/>
                <a:gd name="T37" fmla="*/ 43 h 414"/>
                <a:gd name="T38" fmla="*/ 30 w 275"/>
                <a:gd name="T39" fmla="*/ 40 h 414"/>
                <a:gd name="T40" fmla="*/ 32 w 275"/>
                <a:gd name="T41" fmla="*/ 40 h 414"/>
                <a:gd name="T42" fmla="*/ 27 w 275"/>
                <a:gd name="T43" fmla="*/ 34 h 414"/>
                <a:gd name="T44" fmla="*/ 32 w 275"/>
                <a:gd name="T45" fmla="*/ 26 h 414"/>
                <a:gd name="T46" fmla="*/ 34 w 275"/>
                <a:gd name="T47" fmla="*/ 26 h 414"/>
                <a:gd name="T48" fmla="*/ 34 w 275"/>
                <a:gd name="T49" fmla="*/ 24 h 414"/>
                <a:gd name="T50" fmla="*/ 34 w 275"/>
                <a:gd name="T51" fmla="*/ 14 h 414"/>
                <a:gd name="T52" fmla="*/ 8 w 275"/>
                <a:gd name="T53" fmla="*/ 0 h 414"/>
                <a:gd name="T54" fmla="*/ 4 w 275"/>
                <a:gd name="T55" fmla="*/ 2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8" name="Freeform 647"/>
            <p:cNvSpPr>
              <a:spLocks/>
            </p:cNvSpPr>
            <p:nvPr/>
          </p:nvSpPr>
          <p:spPr bwMode="auto">
            <a:xfrm>
              <a:off x="6615358" y="4508437"/>
              <a:ext cx="149945" cy="123089"/>
            </a:xfrm>
            <a:custGeom>
              <a:avLst/>
              <a:gdLst>
                <a:gd name="T0" fmla="*/ 19 w 171"/>
                <a:gd name="T1" fmla="*/ 18 h 144"/>
                <a:gd name="T2" fmla="*/ 19 w 171"/>
                <a:gd name="T3" fmla="*/ 18 h 144"/>
                <a:gd name="T4" fmla="*/ 21 w 171"/>
                <a:gd name="T5" fmla="*/ 18 h 144"/>
                <a:gd name="T6" fmla="*/ 14 w 171"/>
                <a:gd name="T7" fmla="*/ 12 h 144"/>
                <a:gd name="T8" fmla="*/ 10 w 171"/>
                <a:gd name="T9" fmla="*/ 7 h 144"/>
                <a:gd name="T10" fmla="*/ 6 w 171"/>
                <a:gd name="T11" fmla="*/ 0 h 144"/>
                <a:gd name="T12" fmla="*/ 6 w 171"/>
                <a:gd name="T13" fmla="*/ 1 h 144"/>
                <a:gd name="T14" fmla="*/ 2 w 171"/>
                <a:gd name="T15" fmla="*/ 3 h 144"/>
                <a:gd name="T16" fmla="*/ 0 w 171"/>
                <a:gd name="T17" fmla="*/ 12 h 144"/>
                <a:gd name="T18" fmla="*/ 2 w 171"/>
                <a:gd name="T19" fmla="*/ 12 h 144"/>
                <a:gd name="T20" fmla="*/ 4 w 171"/>
                <a:gd name="T21" fmla="*/ 13 h 144"/>
                <a:gd name="T22" fmla="*/ 4 w 171"/>
                <a:gd name="T23" fmla="*/ 9 h 144"/>
                <a:gd name="T24" fmla="*/ 6 w 171"/>
                <a:gd name="T25" fmla="*/ 12 h 144"/>
                <a:gd name="T26" fmla="*/ 12 w 171"/>
                <a:gd name="T27" fmla="*/ 12 h 144"/>
                <a:gd name="T28" fmla="*/ 19 w 171"/>
                <a:gd name="T29" fmla="*/ 18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49" name="Freeform 101"/>
            <p:cNvSpPr>
              <a:spLocks/>
            </p:cNvSpPr>
            <p:nvPr/>
          </p:nvSpPr>
          <p:spPr bwMode="auto">
            <a:xfrm>
              <a:off x="5740384" y="4385347"/>
              <a:ext cx="384565" cy="259854"/>
            </a:xfrm>
            <a:custGeom>
              <a:avLst/>
              <a:gdLst>
                <a:gd name="T0" fmla="*/ 46 w 436"/>
                <a:gd name="T1" fmla="*/ 32 h 303"/>
                <a:gd name="T2" fmla="*/ 46 w 436"/>
                <a:gd name="T3" fmla="*/ 32 h 303"/>
                <a:gd name="T4" fmla="*/ 46 w 436"/>
                <a:gd name="T5" fmla="*/ 30 h 303"/>
                <a:gd name="T6" fmla="*/ 53 w 436"/>
                <a:gd name="T7" fmla="*/ 22 h 303"/>
                <a:gd name="T8" fmla="*/ 55 w 436"/>
                <a:gd name="T9" fmla="*/ 10 h 303"/>
                <a:gd name="T10" fmla="*/ 51 w 436"/>
                <a:gd name="T11" fmla="*/ 6 h 303"/>
                <a:gd name="T12" fmla="*/ 51 w 436"/>
                <a:gd name="T13" fmla="*/ 2 h 303"/>
                <a:gd name="T14" fmla="*/ 48 w 436"/>
                <a:gd name="T15" fmla="*/ 0 h 303"/>
                <a:gd name="T16" fmla="*/ 40 w 436"/>
                <a:gd name="T17" fmla="*/ 0 h 303"/>
                <a:gd name="T18" fmla="*/ 18 w 436"/>
                <a:gd name="T19" fmla="*/ 14 h 303"/>
                <a:gd name="T20" fmla="*/ 14 w 436"/>
                <a:gd name="T21" fmla="*/ 14 h 303"/>
                <a:gd name="T22" fmla="*/ 14 w 436"/>
                <a:gd name="T23" fmla="*/ 24 h 303"/>
                <a:gd name="T24" fmla="*/ 11 w 436"/>
                <a:gd name="T25" fmla="*/ 26 h 303"/>
                <a:gd name="T26" fmla="*/ 0 w 436"/>
                <a:gd name="T27" fmla="*/ 28 h 303"/>
                <a:gd name="T28" fmla="*/ 0 w 436"/>
                <a:gd name="T29" fmla="*/ 32 h 303"/>
                <a:gd name="T30" fmla="*/ 5 w 436"/>
                <a:gd name="T31" fmla="*/ 36 h 303"/>
                <a:gd name="T32" fmla="*/ 7 w 436"/>
                <a:gd name="T33" fmla="*/ 36 h 303"/>
                <a:gd name="T34" fmla="*/ 7 w 436"/>
                <a:gd name="T35" fmla="*/ 38 h 303"/>
                <a:gd name="T36" fmla="*/ 7 w 436"/>
                <a:gd name="T37" fmla="*/ 36 h 303"/>
                <a:gd name="T38" fmla="*/ 9 w 436"/>
                <a:gd name="T39" fmla="*/ 36 h 303"/>
                <a:gd name="T40" fmla="*/ 11 w 436"/>
                <a:gd name="T41" fmla="*/ 38 h 303"/>
                <a:gd name="T42" fmla="*/ 11 w 436"/>
                <a:gd name="T43" fmla="*/ 36 h 303"/>
                <a:gd name="T44" fmla="*/ 15 w 436"/>
                <a:gd name="T45" fmla="*/ 32 h 303"/>
                <a:gd name="T46" fmla="*/ 18 w 436"/>
                <a:gd name="T47" fmla="*/ 32 h 303"/>
                <a:gd name="T48" fmla="*/ 24 w 436"/>
                <a:gd name="T49" fmla="*/ 34 h 303"/>
                <a:gd name="T50" fmla="*/ 27 w 436"/>
                <a:gd name="T51" fmla="*/ 34 h 303"/>
                <a:gd name="T52" fmla="*/ 30 w 436"/>
                <a:gd name="T53" fmla="*/ 36 h 303"/>
                <a:gd name="T54" fmla="*/ 35 w 436"/>
                <a:gd name="T55" fmla="*/ 34 h 303"/>
                <a:gd name="T56" fmla="*/ 42 w 436"/>
                <a:gd name="T57" fmla="*/ 34 h 303"/>
                <a:gd name="T58" fmla="*/ 44 w 436"/>
                <a:gd name="T59" fmla="*/ 32 h 303"/>
                <a:gd name="T60" fmla="*/ 46 w 436"/>
                <a:gd name="T61" fmla="*/ 32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0" name="Freeform 102"/>
            <p:cNvSpPr>
              <a:spLocks/>
            </p:cNvSpPr>
            <p:nvPr/>
          </p:nvSpPr>
          <p:spPr bwMode="auto">
            <a:xfrm>
              <a:off x="5436966" y="4344317"/>
              <a:ext cx="395148" cy="341913"/>
            </a:xfrm>
            <a:custGeom>
              <a:avLst/>
              <a:gdLst>
                <a:gd name="T0" fmla="*/ 26 w 449"/>
                <a:gd name="T1" fmla="*/ 0 h 399"/>
                <a:gd name="T2" fmla="*/ 26 w 449"/>
                <a:gd name="T3" fmla="*/ 0 h 399"/>
                <a:gd name="T4" fmla="*/ 45 w 449"/>
                <a:gd name="T5" fmla="*/ 14 h 399"/>
                <a:gd name="T6" fmla="*/ 47 w 449"/>
                <a:gd name="T7" fmla="*/ 16 h 399"/>
                <a:gd name="T8" fmla="*/ 51 w 449"/>
                <a:gd name="T9" fmla="*/ 18 h 399"/>
                <a:gd name="T10" fmla="*/ 54 w 449"/>
                <a:gd name="T11" fmla="*/ 20 h 399"/>
                <a:gd name="T12" fmla="*/ 56 w 449"/>
                <a:gd name="T13" fmla="*/ 20 h 399"/>
                <a:gd name="T14" fmla="*/ 56 w 449"/>
                <a:gd name="T15" fmla="*/ 30 h 399"/>
                <a:gd name="T16" fmla="*/ 54 w 449"/>
                <a:gd name="T17" fmla="*/ 32 h 399"/>
                <a:gd name="T18" fmla="*/ 43 w 449"/>
                <a:gd name="T19" fmla="*/ 34 h 399"/>
                <a:gd name="T20" fmla="*/ 38 w 449"/>
                <a:gd name="T21" fmla="*/ 34 h 399"/>
                <a:gd name="T22" fmla="*/ 34 w 449"/>
                <a:gd name="T23" fmla="*/ 38 h 399"/>
                <a:gd name="T24" fmla="*/ 30 w 449"/>
                <a:gd name="T25" fmla="*/ 40 h 399"/>
                <a:gd name="T26" fmla="*/ 26 w 449"/>
                <a:gd name="T27" fmla="*/ 46 h 399"/>
                <a:gd name="T28" fmla="*/ 23 w 449"/>
                <a:gd name="T29" fmla="*/ 48 h 399"/>
                <a:gd name="T30" fmla="*/ 21 w 449"/>
                <a:gd name="T31" fmla="*/ 50 h 399"/>
                <a:gd name="T32" fmla="*/ 19 w 449"/>
                <a:gd name="T33" fmla="*/ 48 h 399"/>
                <a:gd name="T34" fmla="*/ 17 w 449"/>
                <a:gd name="T35" fmla="*/ 50 h 399"/>
                <a:gd name="T36" fmla="*/ 15 w 449"/>
                <a:gd name="T37" fmla="*/ 50 h 399"/>
                <a:gd name="T38" fmla="*/ 10 w 449"/>
                <a:gd name="T39" fmla="*/ 42 h 399"/>
                <a:gd name="T40" fmla="*/ 6 w 449"/>
                <a:gd name="T41" fmla="*/ 44 h 399"/>
                <a:gd name="T42" fmla="*/ 2 w 449"/>
                <a:gd name="T43" fmla="*/ 44 h 399"/>
                <a:gd name="T44" fmla="*/ 4 w 449"/>
                <a:gd name="T45" fmla="*/ 42 h 399"/>
                <a:gd name="T46" fmla="*/ 0 w 449"/>
                <a:gd name="T47" fmla="*/ 34 h 399"/>
                <a:gd name="T48" fmla="*/ 4 w 449"/>
                <a:gd name="T49" fmla="*/ 32 h 399"/>
                <a:gd name="T50" fmla="*/ 6 w 449"/>
                <a:gd name="T51" fmla="*/ 34 h 399"/>
                <a:gd name="T52" fmla="*/ 8 w 449"/>
                <a:gd name="T53" fmla="*/ 32 h 399"/>
                <a:gd name="T54" fmla="*/ 23 w 449"/>
                <a:gd name="T55" fmla="*/ 32 h 399"/>
                <a:gd name="T56" fmla="*/ 19 w 449"/>
                <a:gd name="T57" fmla="*/ 0 h 399"/>
                <a:gd name="T58" fmla="*/ 26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1" name="Freeform 103"/>
            <p:cNvSpPr>
              <a:spLocks/>
            </p:cNvSpPr>
            <p:nvPr/>
          </p:nvSpPr>
          <p:spPr bwMode="auto">
            <a:xfrm>
              <a:off x="5327595" y="4289611"/>
              <a:ext cx="291070" cy="287207"/>
            </a:xfrm>
            <a:custGeom>
              <a:avLst/>
              <a:gdLst>
                <a:gd name="T0" fmla="*/ 0 w 331"/>
                <a:gd name="T1" fmla="*/ 22 h 335"/>
                <a:gd name="T2" fmla="*/ 0 w 331"/>
                <a:gd name="T3" fmla="*/ 22 h 335"/>
                <a:gd name="T4" fmla="*/ 2 w 331"/>
                <a:gd name="T5" fmla="*/ 21 h 335"/>
                <a:gd name="T6" fmla="*/ 13 w 331"/>
                <a:gd name="T7" fmla="*/ 21 h 335"/>
                <a:gd name="T8" fmla="*/ 13 w 331"/>
                <a:gd name="T9" fmla="*/ 16 h 335"/>
                <a:gd name="T10" fmla="*/ 17 w 331"/>
                <a:gd name="T11" fmla="*/ 15 h 335"/>
                <a:gd name="T12" fmla="*/ 17 w 331"/>
                <a:gd name="T13" fmla="*/ 4 h 335"/>
                <a:gd name="T14" fmla="*/ 28 w 331"/>
                <a:gd name="T15" fmla="*/ 4 h 335"/>
                <a:gd name="T16" fmla="*/ 28 w 331"/>
                <a:gd name="T17" fmla="*/ 0 h 335"/>
                <a:gd name="T18" fmla="*/ 41 w 331"/>
                <a:gd name="T19" fmla="*/ 9 h 335"/>
                <a:gd name="T20" fmla="*/ 34 w 331"/>
                <a:gd name="T21" fmla="*/ 9 h 335"/>
                <a:gd name="T22" fmla="*/ 39 w 331"/>
                <a:gd name="T23" fmla="*/ 40 h 335"/>
                <a:gd name="T24" fmla="*/ 24 w 331"/>
                <a:gd name="T25" fmla="*/ 40 h 335"/>
                <a:gd name="T26" fmla="*/ 21 w 331"/>
                <a:gd name="T27" fmla="*/ 42 h 335"/>
                <a:gd name="T28" fmla="*/ 19 w 331"/>
                <a:gd name="T29" fmla="*/ 40 h 335"/>
                <a:gd name="T30" fmla="*/ 15 w 331"/>
                <a:gd name="T31" fmla="*/ 42 h 335"/>
                <a:gd name="T32" fmla="*/ 13 w 331"/>
                <a:gd name="T33" fmla="*/ 39 h 335"/>
                <a:gd name="T34" fmla="*/ 6 w 331"/>
                <a:gd name="T35" fmla="*/ 36 h 335"/>
                <a:gd name="T36" fmla="*/ 2 w 331"/>
                <a:gd name="T37" fmla="*/ 36 h 335"/>
                <a:gd name="T38" fmla="*/ 0 w 331"/>
                <a:gd name="T39" fmla="*/ 39 h 335"/>
                <a:gd name="T40" fmla="*/ 2 w 331"/>
                <a:gd name="T41" fmla="*/ 30 h 335"/>
                <a:gd name="T42" fmla="*/ 0 w 331"/>
                <a:gd name="T43" fmla="*/ 28 h 335"/>
                <a:gd name="T44" fmla="*/ 2 w 331"/>
                <a:gd name="T45" fmla="*/ 24 h 335"/>
                <a:gd name="T46" fmla="*/ 0 w 331"/>
                <a:gd name="T47" fmla="*/ 22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2" name="Freeform 104"/>
            <p:cNvSpPr>
              <a:spLocks/>
            </p:cNvSpPr>
            <p:nvPr/>
          </p:nvSpPr>
          <p:spPr bwMode="auto">
            <a:xfrm>
              <a:off x="5327595" y="4275935"/>
              <a:ext cx="199339" cy="164118"/>
            </a:xfrm>
            <a:custGeom>
              <a:avLst/>
              <a:gdLst>
                <a:gd name="T0" fmla="*/ 0 w 227"/>
                <a:gd name="T1" fmla="*/ 24 h 192"/>
                <a:gd name="T2" fmla="*/ 0 w 227"/>
                <a:gd name="T3" fmla="*/ 24 h 192"/>
                <a:gd name="T4" fmla="*/ 2 w 227"/>
                <a:gd name="T5" fmla="*/ 23 h 192"/>
                <a:gd name="T6" fmla="*/ 13 w 227"/>
                <a:gd name="T7" fmla="*/ 23 h 192"/>
                <a:gd name="T8" fmla="*/ 13 w 227"/>
                <a:gd name="T9" fmla="*/ 18 h 192"/>
                <a:gd name="T10" fmla="*/ 17 w 227"/>
                <a:gd name="T11" fmla="*/ 17 h 192"/>
                <a:gd name="T12" fmla="*/ 17 w 227"/>
                <a:gd name="T13" fmla="*/ 6 h 192"/>
                <a:gd name="T14" fmla="*/ 28 w 227"/>
                <a:gd name="T15" fmla="*/ 6 h 192"/>
                <a:gd name="T16" fmla="*/ 28 w 227"/>
                <a:gd name="T17" fmla="*/ 2 h 192"/>
                <a:gd name="T18" fmla="*/ 13 w 227"/>
                <a:gd name="T19" fmla="*/ 0 h 192"/>
                <a:gd name="T20" fmla="*/ 11 w 227"/>
                <a:gd name="T21" fmla="*/ 5 h 192"/>
                <a:gd name="T22" fmla="*/ 8 w 227"/>
                <a:gd name="T23" fmla="*/ 6 h 192"/>
                <a:gd name="T24" fmla="*/ 6 w 227"/>
                <a:gd name="T25" fmla="*/ 12 h 192"/>
                <a:gd name="T26" fmla="*/ 0 w 227"/>
                <a:gd name="T27" fmla="*/ 20 h 192"/>
                <a:gd name="T28" fmla="*/ 0 w 227"/>
                <a:gd name="T29" fmla="*/ 24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3" name="Freeform 105"/>
            <p:cNvSpPr>
              <a:spLocks/>
            </p:cNvSpPr>
            <p:nvPr/>
          </p:nvSpPr>
          <p:spPr bwMode="auto">
            <a:xfrm>
              <a:off x="5313482" y="4535790"/>
              <a:ext cx="151710" cy="95736"/>
            </a:xfrm>
            <a:custGeom>
              <a:avLst/>
              <a:gdLst>
                <a:gd name="T0" fmla="*/ 2 w 173"/>
                <a:gd name="T1" fmla="*/ 11 h 113"/>
                <a:gd name="T2" fmla="*/ 2 w 173"/>
                <a:gd name="T3" fmla="*/ 11 h 113"/>
                <a:gd name="T4" fmla="*/ 4 w 173"/>
                <a:gd name="T5" fmla="*/ 11 h 113"/>
                <a:gd name="T6" fmla="*/ 8 w 173"/>
                <a:gd name="T7" fmla="*/ 10 h 113"/>
                <a:gd name="T8" fmla="*/ 10 w 173"/>
                <a:gd name="T9" fmla="*/ 11 h 113"/>
                <a:gd name="T10" fmla="*/ 13 w 173"/>
                <a:gd name="T11" fmla="*/ 10 h 113"/>
                <a:gd name="T12" fmla="*/ 8 w 173"/>
                <a:gd name="T13" fmla="*/ 10 h 113"/>
                <a:gd name="T14" fmla="*/ 2 w 173"/>
                <a:gd name="T15" fmla="*/ 10 h 113"/>
                <a:gd name="T16" fmla="*/ 0 w 173"/>
                <a:gd name="T17" fmla="*/ 5 h 113"/>
                <a:gd name="T18" fmla="*/ 2 w 173"/>
                <a:gd name="T19" fmla="*/ 2 h 113"/>
                <a:gd name="T20" fmla="*/ 4 w 173"/>
                <a:gd name="T21" fmla="*/ 0 h 113"/>
                <a:gd name="T22" fmla="*/ 8 w 173"/>
                <a:gd name="T23" fmla="*/ 0 h 113"/>
                <a:gd name="T24" fmla="*/ 15 w 173"/>
                <a:gd name="T25" fmla="*/ 2 h 113"/>
                <a:gd name="T26" fmla="*/ 17 w 173"/>
                <a:gd name="T27" fmla="*/ 5 h 113"/>
                <a:gd name="T28" fmla="*/ 21 w 173"/>
                <a:gd name="T29" fmla="*/ 14 h 113"/>
                <a:gd name="T30" fmla="*/ 13 w 173"/>
                <a:gd name="T31" fmla="*/ 14 h 113"/>
                <a:gd name="T32" fmla="*/ 2 w 173"/>
                <a:gd name="T33" fmla="*/ 14 h 113"/>
                <a:gd name="T34" fmla="*/ 2 w 173"/>
                <a:gd name="T35" fmla="*/ 11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4" name="Freeform 106"/>
            <p:cNvSpPr>
              <a:spLocks/>
            </p:cNvSpPr>
            <p:nvPr/>
          </p:nvSpPr>
          <p:spPr bwMode="auto">
            <a:xfrm>
              <a:off x="5313482" y="4535790"/>
              <a:ext cx="151710" cy="95736"/>
            </a:xfrm>
            <a:custGeom>
              <a:avLst/>
              <a:gdLst>
                <a:gd name="T0" fmla="*/ 2 w 173"/>
                <a:gd name="T1" fmla="*/ 11 h 113"/>
                <a:gd name="T2" fmla="*/ 2 w 173"/>
                <a:gd name="T3" fmla="*/ 11 h 113"/>
                <a:gd name="T4" fmla="*/ 4 w 173"/>
                <a:gd name="T5" fmla="*/ 11 h 113"/>
                <a:gd name="T6" fmla="*/ 8 w 173"/>
                <a:gd name="T7" fmla="*/ 10 h 113"/>
                <a:gd name="T8" fmla="*/ 10 w 173"/>
                <a:gd name="T9" fmla="*/ 11 h 113"/>
                <a:gd name="T10" fmla="*/ 13 w 173"/>
                <a:gd name="T11" fmla="*/ 10 h 113"/>
                <a:gd name="T12" fmla="*/ 8 w 173"/>
                <a:gd name="T13" fmla="*/ 10 h 113"/>
                <a:gd name="T14" fmla="*/ 2 w 173"/>
                <a:gd name="T15" fmla="*/ 10 h 113"/>
                <a:gd name="T16" fmla="*/ 0 w 173"/>
                <a:gd name="T17" fmla="*/ 5 h 113"/>
                <a:gd name="T18" fmla="*/ 2 w 173"/>
                <a:gd name="T19" fmla="*/ 2 h 113"/>
                <a:gd name="T20" fmla="*/ 4 w 173"/>
                <a:gd name="T21" fmla="*/ 0 h 113"/>
                <a:gd name="T22" fmla="*/ 8 w 173"/>
                <a:gd name="T23" fmla="*/ 0 h 113"/>
                <a:gd name="T24" fmla="*/ 15 w 173"/>
                <a:gd name="T25" fmla="*/ 2 h 113"/>
                <a:gd name="T26" fmla="*/ 17 w 173"/>
                <a:gd name="T27" fmla="*/ 5 h 113"/>
                <a:gd name="T28" fmla="*/ 21 w 173"/>
                <a:gd name="T29" fmla="*/ 14 h 113"/>
                <a:gd name="T30" fmla="*/ 13 w 173"/>
                <a:gd name="T31" fmla="*/ 14 h 113"/>
                <a:gd name="T32" fmla="*/ 2 w 173"/>
                <a:gd name="T33" fmla="*/ 14 h 113"/>
                <a:gd name="T34" fmla="*/ 2 w 173"/>
                <a:gd name="T35" fmla="*/ 11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5" name="Freeform 107"/>
            <p:cNvSpPr>
              <a:spLocks/>
            </p:cNvSpPr>
            <p:nvPr/>
          </p:nvSpPr>
          <p:spPr bwMode="auto">
            <a:xfrm>
              <a:off x="5327595" y="4604171"/>
              <a:ext cx="75855" cy="13677"/>
            </a:xfrm>
            <a:custGeom>
              <a:avLst/>
              <a:gdLst>
                <a:gd name="T0" fmla="*/ 0 w 87"/>
                <a:gd name="T1" fmla="*/ 2 h 15"/>
                <a:gd name="T2" fmla="*/ 0 w 87"/>
                <a:gd name="T3" fmla="*/ 2 h 15"/>
                <a:gd name="T4" fmla="*/ 2 w 87"/>
                <a:gd name="T5" fmla="*/ 2 h 15"/>
                <a:gd name="T6" fmla="*/ 6 w 87"/>
                <a:gd name="T7" fmla="*/ 0 h 15"/>
                <a:gd name="T8" fmla="*/ 8 w 87"/>
                <a:gd name="T9" fmla="*/ 2 h 15"/>
                <a:gd name="T10" fmla="*/ 10 w 87"/>
                <a:gd name="T11" fmla="*/ 0 h 15"/>
                <a:gd name="T12" fmla="*/ 6 w 87"/>
                <a:gd name="T13" fmla="*/ 0 h 15"/>
                <a:gd name="T14" fmla="*/ 0 w 87"/>
                <a:gd name="T15" fmla="*/ 0 h 15"/>
                <a:gd name="T16" fmla="*/ 0 w 87"/>
                <a:gd name="T17" fmla="*/ 2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6" name="Freeform 108"/>
            <p:cNvSpPr>
              <a:spLocks/>
            </p:cNvSpPr>
            <p:nvPr/>
          </p:nvSpPr>
          <p:spPr bwMode="auto">
            <a:xfrm>
              <a:off x="5327595" y="4604171"/>
              <a:ext cx="75855" cy="13677"/>
            </a:xfrm>
            <a:custGeom>
              <a:avLst/>
              <a:gdLst>
                <a:gd name="T0" fmla="*/ 0 w 87"/>
                <a:gd name="T1" fmla="*/ 2 h 15"/>
                <a:gd name="T2" fmla="*/ 0 w 87"/>
                <a:gd name="T3" fmla="*/ 2 h 15"/>
                <a:gd name="T4" fmla="*/ 2 w 87"/>
                <a:gd name="T5" fmla="*/ 2 h 15"/>
                <a:gd name="T6" fmla="*/ 6 w 87"/>
                <a:gd name="T7" fmla="*/ 0 h 15"/>
                <a:gd name="T8" fmla="*/ 8 w 87"/>
                <a:gd name="T9" fmla="*/ 2 h 15"/>
                <a:gd name="T10" fmla="*/ 10 w 87"/>
                <a:gd name="T11" fmla="*/ 0 h 15"/>
                <a:gd name="T12" fmla="*/ 6 w 87"/>
                <a:gd name="T13" fmla="*/ 0 h 15"/>
                <a:gd name="T14" fmla="*/ 0 w 87"/>
                <a:gd name="T15" fmla="*/ 0 h 15"/>
                <a:gd name="T16" fmla="*/ 0 w 87"/>
                <a:gd name="T17" fmla="*/ 2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7" name="Freeform 109"/>
            <p:cNvSpPr>
              <a:spLocks/>
            </p:cNvSpPr>
            <p:nvPr/>
          </p:nvSpPr>
          <p:spPr bwMode="auto">
            <a:xfrm>
              <a:off x="5327595" y="4631524"/>
              <a:ext cx="75855" cy="41030"/>
            </a:xfrm>
            <a:custGeom>
              <a:avLst/>
              <a:gdLst>
                <a:gd name="T0" fmla="*/ 6 w 87"/>
                <a:gd name="T1" fmla="*/ 6 h 48"/>
                <a:gd name="T2" fmla="*/ 6 w 87"/>
                <a:gd name="T3" fmla="*/ 6 h 48"/>
                <a:gd name="T4" fmla="*/ 10 w 87"/>
                <a:gd name="T5" fmla="*/ 2 h 48"/>
                <a:gd name="T6" fmla="*/ 10 w 87"/>
                <a:gd name="T7" fmla="*/ 0 h 48"/>
                <a:gd name="T8" fmla="*/ 0 w 87"/>
                <a:gd name="T9" fmla="*/ 0 h 48"/>
                <a:gd name="T10" fmla="*/ 4 w 87"/>
                <a:gd name="T11" fmla="*/ 2 h 48"/>
                <a:gd name="T12" fmla="*/ 4 w 87"/>
                <a:gd name="T13" fmla="*/ 3 h 48"/>
                <a:gd name="T14" fmla="*/ 6 w 87"/>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8" name="Freeform 110"/>
            <p:cNvSpPr>
              <a:spLocks/>
            </p:cNvSpPr>
            <p:nvPr/>
          </p:nvSpPr>
          <p:spPr bwMode="auto">
            <a:xfrm>
              <a:off x="5327595" y="4631524"/>
              <a:ext cx="75855" cy="41030"/>
            </a:xfrm>
            <a:custGeom>
              <a:avLst/>
              <a:gdLst>
                <a:gd name="T0" fmla="*/ 6 w 87"/>
                <a:gd name="T1" fmla="*/ 6 h 48"/>
                <a:gd name="T2" fmla="*/ 6 w 87"/>
                <a:gd name="T3" fmla="*/ 6 h 48"/>
                <a:gd name="T4" fmla="*/ 10 w 87"/>
                <a:gd name="T5" fmla="*/ 2 h 48"/>
                <a:gd name="T6" fmla="*/ 10 w 87"/>
                <a:gd name="T7" fmla="*/ 0 h 48"/>
                <a:gd name="T8" fmla="*/ 0 w 87"/>
                <a:gd name="T9" fmla="*/ 0 h 48"/>
                <a:gd name="T10" fmla="*/ 4 w 87"/>
                <a:gd name="T11" fmla="*/ 2 h 48"/>
                <a:gd name="T12" fmla="*/ 4 w 87"/>
                <a:gd name="T13" fmla="*/ 3 h 48"/>
                <a:gd name="T14" fmla="*/ 6 w 87"/>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59" name="Freeform 111"/>
            <p:cNvSpPr>
              <a:spLocks/>
            </p:cNvSpPr>
            <p:nvPr/>
          </p:nvSpPr>
          <p:spPr bwMode="auto">
            <a:xfrm>
              <a:off x="5373461" y="4631524"/>
              <a:ext cx="167586" cy="109412"/>
            </a:xfrm>
            <a:custGeom>
              <a:avLst/>
              <a:gdLst>
                <a:gd name="T0" fmla="*/ 22 w 190"/>
                <a:gd name="T1" fmla="*/ 17 h 126"/>
                <a:gd name="T2" fmla="*/ 22 w 190"/>
                <a:gd name="T3" fmla="*/ 17 h 126"/>
                <a:gd name="T4" fmla="*/ 24 w 190"/>
                <a:gd name="T5" fmla="*/ 17 h 126"/>
                <a:gd name="T6" fmla="*/ 24 w 190"/>
                <a:gd name="T7" fmla="*/ 14 h 126"/>
                <a:gd name="T8" fmla="*/ 24 w 190"/>
                <a:gd name="T9" fmla="*/ 13 h 126"/>
                <a:gd name="T10" fmla="*/ 24 w 190"/>
                <a:gd name="T11" fmla="*/ 10 h 126"/>
                <a:gd name="T12" fmla="*/ 24 w 190"/>
                <a:gd name="T13" fmla="*/ 8 h 126"/>
                <a:gd name="T14" fmla="*/ 20 w 190"/>
                <a:gd name="T15" fmla="*/ 0 h 126"/>
                <a:gd name="T16" fmla="*/ 15 w 190"/>
                <a:gd name="T17" fmla="*/ 2 h 126"/>
                <a:gd name="T18" fmla="*/ 11 w 190"/>
                <a:gd name="T19" fmla="*/ 2 h 126"/>
                <a:gd name="T20" fmla="*/ 13 w 190"/>
                <a:gd name="T21" fmla="*/ 0 h 126"/>
                <a:gd name="T22" fmla="*/ 5 w 190"/>
                <a:gd name="T23" fmla="*/ 0 h 126"/>
                <a:gd name="T24" fmla="*/ 5 w 190"/>
                <a:gd name="T25" fmla="*/ 2 h 126"/>
                <a:gd name="T26" fmla="*/ 0 w 190"/>
                <a:gd name="T27" fmla="*/ 6 h 126"/>
                <a:gd name="T28" fmla="*/ 6 w 190"/>
                <a:gd name="T29" fmla="*/ 10 h 126"/>
                <a:gd name="T30" fmla="*/ 9 w 190"/>
                <a:gd name="T31" fmla="*/ 8 h 126"/>
                <a:gd name="T32" fmla="*/ 11 w 190"/>
                <a:gd name="T33" fmla="*/ 8 h 126"/>
                <a:gd name="T34" fmla="*/ 15 w 190"/>
                <a:gd name="T35" fmla="*/ 13 h 126"/>
                <a:gd name="T36" fmla="*/ 15 w 190"/>
                <a:gd name="T37" fmla="*/ 14 h 126"/>
                <a:gd name="T38" fmla="*/ 18 w 190"/>
                <a:gd name="T39" fmla="*/ 13 h 126"/>
                <a:gd name="T40" fmla="*/ 20 w 190"/>
                <a:gd name="T41" fmla="*/ 17 h 126"/>
                <a:gd name="T42" fmla="*/ 22 w 190"/>
                <a:gd name="T43" fmla="*/ 1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0" name="Freeform 112"/>
            <p:cNvSpPr>
              <a:spLocks/>
            </p:cNvSpPr>
            <p:nvPr/>
          </p:nvSpPr>
          <p:spPr bwMode="auto">
            <a:xfrm>
              <a:off x="5373461" y="4631524"/>
              <a:ext cx="167586" cy="109412"/>
            </a:xfrm>
            <a:custGeom>
              <a:avLst/>
              <a:gdLst>
                <a:gd name="T0" fmla="*/ 22 w 190"/>
                <a:gd name="T1" fmla="*/ 17 h 126"/>
                <a:gd name="T2" fmla="*/ 22 w 190"/>
                <a:gd name="T3" fmla="*/ 17 h 126"/>
                <a:gd name="T4" fmla="*/ 24 w 190"/>
                <a:gd name="T5" fmla="*/ 17 h 126"/>
                <a:gd name="T6" fmla="*/ 24 w 190"/>
                <a:gd name="T7" fmla="*/ 14 h 126"/>
                <a:gd name="T8" fmla="*/ 24 w 190"/>
                <a:gd name="T9" fmla="*/ 13 h 126"/>
                <a:gd name="T10" fmla="*/ 24 w 190"/>
                <a:gd name="T11" fmla="*/ 10 h 126"/>
                <a:gd name="T12" fmla="*/ 24 w 190"/>
                <a:gd name="T13" fmla="*/ 8 h 126"/>
                <a:gd name="T14" fmla="*/ 20 w 190"/>
                <a:gd name="T15" fmla="*/ 0 h 126"/>
                <a:gd name="T16" fmla="*/ 15 w 190"/>
                <a:gd name="T17" fmla="*/ 2 h 126"/>
                <a:gd name="T18" fmla="*/ 11 w 190"/>
                <a:gd name="T19" fmla="*/ 2 h 126"/>
                <a:gd name="T20" fmla="*/ 13 w 190"/>
                <a:gd name="T21" fmla="*/ 0 h 126"/>
                <a:gd name="T22" fmla="*/ 5 w 190"/>
                <a:gd name="T23" fmla="*/ 0 h 126"/>
                <a:gd name="T24" fmla="*/ 5 w 190"/>
                <a:gd name="T25" fmla="*/ 2 h 126"/>
                <a:gd name="T26" fmla="*/ 0 w 190"/>
                <a:gd name="T27" fmla="*/ 6 h 126"/>
                <a:gd name="T28" fmla="*/ 6 w 190"/>
                <a:gd name="T29" fmla="*/ 10 h 126"/>
                <a:gd name="T30" fmla="*/ 9 w 190"/>
                <a:gd name="T31" fmla="*/ 8 h 126"/>
                <a:gd name="T32" fmla="*/ 11 w 190"/>
                <a:gd name="T33" fmla="*/ 8 h 126"/>
                <a:gd name="T34" fmla="*/ 15 w 190"/>
                <a:gd name="T35" fmla="*/ 13 h 126"/>
                <a:gd name="T36" fmla="*/ 15 w 190"/>
                <a:gd name="T37" fmla="*/ 14 h 126"/>
                <a:gd name="T38" fmla="*/ 18 w 190"/>
                <a:gd name="T39" fmla="*/ 13 h 126"/>
                <a:gd name="T40" fmla="*/ 20 w 190"/>
                <a:gd name="T41" fmla="*/ 17 h 126"/>
                <a:gd name="T42" fmla="*/ 22 w 190"/>
                <a:gd name="T43" fmla="*/ 1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1" name="Freeform 113"/>
            <p:cNvSpPr>
              <a:spLocks/>
            </p:cNvSpPr>
            <p:nvPr/>
          </p:nvSpPr>
          <p:spPr bwMode="auto">
            <a:xfrm>
              <a:off x="5419326" y="4686230"/>
              <a:ext cx="63507" cy="68383"/>
            </a:xfrm>
            <a:custGeom>
              <a:avLst/>
              <a:gdLst>
                <a:gd name="T0" fmla="*/ 0 w 71"/>
                <a:gd name="T1" fmla="*/ 1 h 81"/>
                <a:gd name="T2" fmla="*/ 0 w 71"/>
                <a:gd name="T3" fmla="*/ 1 h 81"/>
                <a:gd name="T4" fmla="*/ 3 w 71"/>
                <a:gd name="T5" fmla="*/ 0 h 81"/>
                <a:gd name="T6" fmla="*/ 5 w 71"/>
                <a:gd name="T7" fmla="*/ 0 h 81"/>
                <a:gd name="T8" fmla="*/ 9 w 71"/>
                <a:gd name="T9" fmla="*/ 4 h 81"/>
                <a:gd name="T10" fmla="*/ 9 w 71"/>
                <a:gd name="T11" fmla="*/ 6 h 81"/>
                <a:gd name="T12" fmla="*/ 5 w 71"/>
                <a:gd name="T13" fmla="*/ 10 h 81"/>
                <a:gd name="T14" fmla="*/ 3 w 71"/>
                <a:gd name="T15" fmla="*/ 7 h 81"/>
                <a:gd name="T16" fmla="*/ 0 w 71"/>
                <a:gd name="T17" fmla="*/ 7 h 81"/>
                <a:gd name="T18" fmla="*/ 0 w 71"/>
                <a:gd name="T19" fmla="*/ 1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2" name="Freeform 114"/>
            <p:cNvSpPr>
              <a:spLocks/>
            </p:cNvSpPr>
            <p:nvPr/>
          </p:nvSpPr>
          <p:spPr bwMode="auto">
            <a:xfrm>
              <a:off x="5419326" y="4686230"/>
              <a:ext cx="63507" cy="68383"/>
            </a:xfrm>
            <a:custGeom>
              <a:avLst/>
              <a:gdLst>
                <a:gd name="T0" fmla="*/ 0 w 71"/>
                <a:gd name="T1" fmla="*/ 1 h 81"/>
                <a:gd name="T2" fmla="*/ 0 w 71"/>
                <a:gd name="T3" fmla="*/ 1 h 81"/>
                <a:gd name="T4" fmla="*/ 3 w 71"/>
                <a:gd name="T5" fmla="*/ 0 h 81"/>
                <a:gd name="T6" fmla="*/ 5 w 71"/>
                <a:gd name="T7" fmla="*/ 0 h 81"/>
                <a:gd name="T8" fmla="*/ 9 w 71"/>
                <a:gd name="T9" fmla="*/ 4 h 81"/>
                <a:gd name="T10" fmla="*/ 9 w 71"/>
                <a:gd name="T11" fmla="*/ 6 h 81"/>
                <a:gd name="T12" fmla="*/ 5 w 71"/>
                <a:gd name="T13" fmla="*/ 10 h 81"/>
                <a:gd name="T14" fmla="*/ 3 w 71"/>
                <a:gd name="T15" fmla="*/ 7 h 81"/>
                <a:gd name="T16" fmla="*/ 0 w 71"/>
                <a:gd name="T17" fmla="*/ 7 h 81"/>
                <a:gd name="T18" fmla="*/ 0 w 71"/>
                <a:gd name="T19" fmla="*/ 1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3" name="Freeform 115"/>
            <p:cNvSpPr>
              <a:spLocks/>
            </p:cNvSpPr>
            <p:nvPr/>
          </p:nvSpPr>
          <p:spPr bwMode="auto">
            <a:xfrm>
              <a:off x="5449315" y="4713583"/>
              <a:ext cx="109372" cy="95736"/>
            </a:xfrm>
            <a:custGeom>
              <a:avLst/>
              <a:gdLst>
                <a:gd name="T0" fmla="*/ 16 w 122"/>
                <a:gd name="T1" fmla="*/ 14 h 111"/>
                <a:gd name="T2" fmla="*/ 16 w 122"/>
                <a:gd name="T3" fmla="*/ 14 h 111"/>
                <a:gd name="T4" fmla="*/ 16 w 122"/>
                <a:gd name="T5" fmla="*/ 10 h 111"/>
                <a:gd name="T6" fmla="*/ 11 w 122"/>
                <a:gd name="T7" fmla="*/ 8 h 111"/>
                <a:gd name="T8" fmla="*/ 11 w 122"/>
                <a:gd name="T9" fmla="*/ 4 h 111"/>
                <a:gd name="T10" fmla="*/ 9 w 122"/>
                <a:gd name="T11" fmla="*/ 4 h 111"/>
                <a:gd name="T12" fmla="*/ 7 w 122"/>
                <a:gd name="T13" fmla="*/ 0 h 111"/>
                <a:gd name="T14" fmla="*/ 5 w 122"/>
                <a:gd name="T15" fmla="*/ 2 h 111"/>
                <a:gd name="T16" fmla="*/ 0 w 122"/>
                <a:gd name="T17" fmla="*/ 6 h 111"/>
                <a:gd name="T18" fmla="*/ 11 w 122"/>
                <a:gd name="T19" fmla="*/ 14 h 111"/>
                <a:gd name="T20" fmla="*/ 16 w 122"/>
                <a:gd name="T21" fmla="*/ 14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4" name="Freeform 116"/>
            <p:cNvSpPr>
              <a:spLocks/>
            </p:cNvSpPr>
            <p:nvPr/>
          </p:nvSpPr>
          <p:spPr bwMode="auto">
            <a:xfrm>
              <a:off x="5449315" y="4713583"/>
              <a:ext cx="109372" cy="95736"/>
            </a:xfrm>
            <a:custGeom>
              <a:avLst/>
              <a:gdLst>
                <a:gd name="T0" fmla="*/ 16 w 122"/>
                <a:gd name="T1" fmla="*/ 14 h 111"/>
                <a:gd name="T2" fmla="*/ 16 w 122"/>
                <a:gd name="T3" fmla="*/ 14 h 111"/>
                <a:gd name="T4" fmla="*/ 16 w 122"/>
                <a:gd name="T5" fmla="*/ 10 h 111"/>
                <a:gd name="T6" fmla="*/ 11 w 122"/>
                <a:gd name="T7" fmla="*/ 8 h 111"/>
                <a:gd name="T8" fmla="*/ 11 w 122"/>
                <a:gd name="T9" fmla="*/ 4 h 111"/>
                <a:gd name="T10" fmla="*/ 9 w 122"/>
                <a:gd name="T11" fmla="*/ 4 h 111"/>
                <a:gd name="T12" fmla="*/ 7 w 122"/>
                <a:gd name="T13" fmla="*/ 0 h 111"/>
                <a:gd name="T14" fmla="*/ 5 w 122"/>
                <a:gd name="T15" fmla="*/ 2 h 111"/>
                <a:gd name="T16" fmla="*/ 0 w 122"/>
                <a:gd name="T17" fmla="*/ 6 h 111"/>
                <a:gd name="T18" fmla="*/ 11 w 122"/>
                <a:gd name="T19" fmla="*/ 14 h 111"/>
                <a:gd name="T20" fmla="*/ 16 w 122"/>
                <a:gd name="T21" fmla="*/ 14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5" name="Freeform 117"/>
            <p:cNvSpPr>
              <a:spLocks/>
            </p:cNvSpPr>
            <p:nvPr/>
          </p:nvSpPr>
          <p:spPr bwMode="auto">
            <a:xfrm>
              <a:off x="5526933" y="4672555"/>
              <a:ext cx="153473" cy="136765"/>
            </a:xfrm>
            <a:custGeom>
              <a:avLst/>
              <a:gdLst>
                <a:gd name="T0" fmla="*/ 20 w 173"/>
                <a:gd name="T1" fmla="*/ 18 h 159"/>
                <a:gd name="T2" fmla="*/ 20 w 173"/>
                <a:gd name="T3" fmla="*/ 18 h 159"/>
                <a:gd name="T4" fmla="*/ 20 w 173"/>
                <a:gd name="T5" fmla="*/ 12 h 159"/>
                <a:gd name="T6" fmla="*/ 22 w 173"/>
                <a:gd name="T7" fmla="*/ 8 h 159"/>
                <a:gd name="T8" fmla="*/ 20 w 173"/>
                <a:gd name="T9" fmla="*/ 4 h 159"/>
                <a:gd name="T10" fmla="*/ 18 w 173"/>
                <a:gd name="T11" fmla="*/ 2 h 159"/>
                <a:gd name="T12" fmla="*/ 13 w 173"/>
                <a:gd name="T13" fmla="*/ 2 h 159"/>
                <a:gd name="T14" fmla="*/ 11 w 173"/>
                <a:gd name="T15" fmla="*/ 0 h 159"/>
                <a:gd name="T16" fmla="*/ 9 w 173"/>
                <a:gd name="T17" fmla="*/ 2 h 159"/>
                <a:gd name="T18" fmla="*/ 7 w 173"/>
                <a:gd name="T19" fmla="*/ 0 h 159"/>
                <a:gd name="T20" fmla="*/ 5 w 173"/>
                <a:gd name="T21" fmla="*/ 2 h 159"/>
                <a:gd name="T22" fmla="*/ 3 w 173"/>
                <a:gd name="T23" fmla="*/ 2 h 159"/>
                <a:gd name="T24" fmla="*/ 3 w 173"/>
                <a:gd name="T25" fmla="*/ 4 h 159"/>
                <a:gd name="T26" fmla="*/ 3 w 173"/>
                <a:gd name="T27" fmla="*/ 6 h 159"/>
                <a:gd name="T28" fmla="*/ 3 w 173"/>
                <a:gd name="T29" fmla="*/ 8 h 159"/>
                <a:gd name="T30" fmla="*/ 3 w 173"/>
                <a:gd name="T31" fmla="*/ 10 h 159"/>
                <a:gd name="T32" fmla="*/ 0 w 173"/>
                <a:gd name="T33" fmla="*/ 10 h 159"/>
                <a:gd name="T34" fmla="*/ 0 w 173"/>
                <a:gd name="T35" fmla="*/ 14 h 159"/>
                <a:gd name="T36" fmla="*/ 5 w 173"/>
                <a:gd name="T37" fmla="*/ 16 h 159"/>
                <a:gd name="T38" fmla="*/ 5 w 173"/>
                <a:gd name="T39" fmla="*/ 20 h 159"/>
                <a:gd name="T40" fmla="*/ 9 w 173"/>
                <a:gd name="T41" fmla="*/ 18 h 159"/>
                <a:gd name="T42" fmla="*/ 16 w 173"/>
                <a:gd name="T43" fmla="*/ 18 h 159"/>
                <a:gd name="T44" fmla="*/ 20 w 173"/>
                <a:gd name="T45" fmla="*/ 1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6" name="Freeform 118"/>
            <p:cNvSpPr>
              <a:spLocks/>
            </p:cNvSpPr>
            <p:nvPr/>
          </p:nvSpPr>
          <p:spPr bwMode="auto">
            <a:xfrm>
              <a:off x="5526933" y="4672555"/>
              <a:ext cx="153473" cy="136765"/>
            </a:xfrm>
            <a:custGeom>
              <a:avLst/>
              <a:gdLst>
                <a:gd name="T0" fmla="*/ 20 w 173"/>
                <a:gd name="T1" fmla="*/ 18 h 159"/>
                <a:gd name="T2" fmla="*/ 20 w 173"/>
                <a:gd name="T3" fmla="*/ 18 h 159"/>
                <a:gd name="T4" fmla="*/ 20 w 173"/>
                <a:gd name="T5" fmla="*/ 12 h 159"/>
                <a:gd name="T6" fmla="*/ 22 w 173"/>
                <a:gd name="T7" fmla="*/ 8 h 159"/>
                <a:gd name="T8" fmla="*/ 20 w 173"/>
                <a:gd name="T9" fmla="*/ 4 h 159"/>
                <a:gd name="T10" fmla="*/ 18 w 173"/>
                <a:gd name="T11" fmla="*/ 2 h 159"/>
                <a:gd name="T12" fmla="*/ 13 w 173"/>
                <a:gd name="T13" fmla="*/ 2 h 159"/>
                <a:gd name="T14" fmla="*/ 11 w 173"/>
                <a:gd name="T15" fmla="*/ 0 h 159"/>
                <a:gd name="T16" fmla="*/ 9 w 173"/>
                <a:gd name="T17" fmla="*/ 2 h 159"/>
                <a:gd name="T18" fmla="*/ 7 w 173"/>
                <a:gd name="T19" fmla="*/ 0 h 159"/>
                <a:gd name="T20" fmla="*/ 5 w 173"/>
                <a:gd name="T21" fmla="*/ 2 h 159"/>
                <a:gd name="T22" fmla="*/ 3 w 173"/>
                <a:gd name="T23" fmla="*/ 2 h 159"/>
                <a:gd name="T24" fmla="*/ 3 w 173"/>
                <a:gd name="T25" fmla="*/ 4 h 159"/>
                <a:gd name="T26" fmla="*/ 3 w 173"/>
                <a:gd name="T27" fmla="*/ 6 h 159"/>
                <a:gd name="T28" fmla="*/ 3 w 173"/>
                <a:gd name="T29" fmla="*/ 8 h 159"/>
                <a:gd name="T30" fmla="*/ 3 w 173"/>
                <a:gd name="T31" fmla="*/ 10 h 159"/>
                <a:gd name="T32" fmla="*/ 0 w 173"/>
                <a:gd name="T33" fmla="*/ 10 h 159"/>
                <a:gd name="T34" fmla="*/ 0 w 173"/>
                <a:gd name="T35" fmla="*/ 14 h 159"/>
                <a:gd name="T36" fmla="*/ 5 w 173"/>
                <a:gd name="T37" fmla="*/ 16 h 159"/>
                <a:gd name="T38" fmla="*/ 5 w 173"/>
                <a:gd name="T39" fmla="*/ 20 h 159"/>
                <a:gd name="T40" fmla="*/ 9 w 173"/>
                <a:gd name="T41" fmla="*/ 18 h 159"/>
                <a:gd name="T42" fmla="*/ 16 w 173"/>
                <a:gd name="T43" fmla="*/ 18 h 159"/>
                <a:gd name="T44" fmla="*/ 20 w 173"/>
                <a:gd name="T45" fmla="*/ 1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7" name="Freeform 119"/>
            <p:cNvSpPr>
              <a:spLocks/>
            </p:cNvSpPr>
            <p:nvPr/>
          </p:nvSpPr>
          <p:spPr bwMode="auto">
            <a:xfrm>
              <a:off x="5604552" y="4576818"/>
              <a:ext cx="181698" cy="123089"/>
            </a:xfrm>
            <a:custGeom>
              <a:avLst/>
              <a:gdLst>
                <a:gd name="T0" fmla="*/ 0 w 208"/>
                <a:gd name="T1" fmla="*/ 14 h 144"/>
                <a:gd name="T2" fmla="*/ 0 w 208"/>
                <a:gd name="T3" fmla="*/ 14 h 144"/>
                <a:gd name="T4" fmla="*/ 2 w 208"/>
                <a:gd name="T5" fmla="*/ 12 h 144"/>
                <a:gd name="T6" fmla="*/ 6 w 208"/>
                <a:gd name="T7" fmla="*/ 6 h 144"/>
                <a:gd name="T8" fmla="*/ 10 w 208"/>
                <a:gd name="T9" fmla="*/ 5 h 144"/>
                <a:gd name="T10" fmla="*/ 15 w 208"/>
                <a:gd name="T11" fmla="*/ 0 h 144"/>
                <a:gd name="T12" fmla="*/ 19 w 208"/>
                <a:gd name="T13" fmla="*/ 0 h 144"/>
                <a:gd name="T14" fmla="*/ 19 w 208"/>
                <a:gd name="T15" fmla="*/ 5 h 144"/>
                <a:gd name="T16" fmla="*/ 23 w 208"/>
                <a:gd name="T17" fmla="*/ 9 h 144"/>
                <a:gd name="T18" fmla="*/ 25 w 208"/>
                <a:gd name="T19" fmla="*/ 9 h 144"/>
                <a:gd name="T20" fmla="*/ 25 w 208"/>
                <a:gd name="T21" fmla="*/ 10 h 144"/>
                <a:gd name="T22" fmla="*/ 21 w 208"/>
                <a:gd name="T23" fmla="*/ 12 h 144"/>
                <a:gd name="T24" fmla="*/ 17 w 208"/>
                <a:gd name="T25" fmla="*/ 12 h 144"/>
                <a:gd name="T26" fmla="*/ 8 w 208"/>
                <a:gd name="T27" fmla="*/ 12 h 144"/>
                <a:gd name="T28" fmla="*/ 8 w 208"/>
                <a:gd name="T29" fmla="*/ 14 h 144"/>
                <a:gd name="T30" fmla="*/ 8 w 208"/>
                <a:gd name="T31" fmla="*/ 18 h 144"/>
                <a:gd name="T32" fmla="*/ 6 w 208"/>
                <a:gd name="T33" fmla="*/ 17 h 144"/>
                <a:gd name="T34" fmla="*/ 2 w 208"/>
                <a:gd name="T35" fmla="*/ 17 h 144"/>
                <a:gd name="T36" fmla="*/ 0 w 208"/>
                <a:gd name="T37" fmla="*/ 14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8" name="Freeform 120"/>
            <p:cNvSpPr>
              <a:spLocks/>
            </p:cNvSpPr>
            <p:nvPr/>
          </p:nvSpPr>
          <p:spPr bwMode="auto">
            <a:xfrm>
              <a:off x="5604552" y="4576818"/>
              <a:ext cx="181698" cy="123089"/>
            </a:xfrm>
            <a:custGeom>
              <a:avLst/>
              <a:gdLst>
                <a:gd name="T0" fmla="*/ 0 w 208"/>
                <a:gd name="T1" fmla="*/ 14 h 144"/>
                <a:gd name="T2" fmla="*/ 0 w 208"/>
                <a:gd name="T3" fmla="*/ 14 h 144"/>
                <a:gd name="T4" fmla="*/ 2 w 208"/>
                <a:gd name="T5" fmla="*/ 12 h 144"/>
                <a:gd name="T6" fmla="*/ 6 w 208"/>
                <a:gd name="T7" fmla="*/ 6 h 144"/>
                <a:gd name="T8" fmla="*/ 10 w 208"/>
                <a:gd name="T9" fmla="*/ 5 h 144"/>
                <a:gd name="T10" fmla="*/ 15 w 208"/>
                <a:gd name="T11" fmla="*/ 0 h 144"/>
                <a:gd name="T12" fmla="*/ 19 w 208"/>
                <a:gd name="T13" fmla="*/ 0 h 144"/>
                <a:gd name="T14" fmla="*/ 19 w 208"/>
                <a:gd name="T15" fmla="*/ 5 h 144"/>
                <a:gd name="T16" fmla="*/ 23 w 208"/>
                <a:gd name="T17" fmla="*/ 9 h 144"/>
                <a:gd name="T18" fmla="*/ 25 w 208"/>
                <a:gd name="T19" fmla="*/ 9 h 144"/>
                <a:gd name="T20" fmla="*/ 25 w 208"/>
                <a:gd name="T21" fmla="*/ 10 h 144"/>
                <a:gd name="T22" fmla="*/ 21 w 208"/>
                <a:gd name="T23" fmla="*/ 12 h 144"/>
                <a:gd name="T24" fmla="*/ 17 w 208"/>
                <a:gd name="T25" fmla="*/ 12 h 144"/>
                <a:gd name="T26" fmla="*/ 8 w 208"/>
                <a:gd name="T27" fmla="*/ 12 h 144"/>
                <a:gd name="T28" fmla="*/ 8 w 208"/>
                <a:gd name="T29" fmla="*/ 14 h 144"/>
                <a:gd name="T30" fmla="*/ 8 w 208"/>
                <a:gd name="T31" fmla="*/ 18 h 144"/>
                <a:gd name="T32" fmla="*/ 6 w 208"/>
                <a:gd name="T33" fmla="*/ 17 h 144"/>
                <a:gd name="T34" fmla="*/ 2 w 208"/>
                <a:gd name="T35" fmla="*/ 17 h 144"/>
                <a:gd name="T36" fmla="*/ 0 w 208"/>
                <a:gd name="T37" fmla="*/ 14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69" name="Freeform 121"/>
            <p:cNvSpPr>
              <a:spLocks/>
            </p:cNvSpPr>
            <p:nvPr/>
          </p:nvSpPr>
          <p:spPr bwMode="auto">
            <a:xfrm>
              <a:off x="5664530" y="4658877"/>
              <a:ext cx="91731" cy="136765"/>
            </a:xfrm>
            <a:custGeom>
              <a:avLst/>
              <a:gdLst>
                <a:gd name="T0" fmla="*/ 0 w 104"/>
                <a:gd name="T1" fmla="*/ 6 h 162"/>
                <a:gd name="T2" fmla="*/ 0 w 104"/>
                <a:gd name="T3" fmla="*/ 6 h 162"/>
                <a:gd name="T4" fmla="*/ 0 w 104"/>
                <a:gd name="T5" fmla="*/ 2 h 162"/>
                <a:gd name="T6" fmla="*/ 0 w 104"/>
                <a:gd name="T7" fmla="*/ 0 h 162"/>
                <a:gd name="T8" fmla="*/ 9 w 104"/>
                <a:gd name="T9" fmla="*/ 0 h 162"/>
                <a:gd name="T10" fmla="*/ 11 w 104"/>
                <a:gd name="T11" fmla="*/ 8 h 162"/>
                <a:gd name="T12" fmla="*/ 13 w 104"/>
                <a:gd name="T13" fmla="*/ 14 h 162"/>
                <a:gd name="T14" fmla="*/ 13 w 104"/>
                <a:gd name="T15" fmla="*/ 16 h 162"/>
                <a:gd name="T16" fmla="*/ 3 w 104"/>
                <a:gd name="T17" fmla="*/ 20 h 162"/>
                <a:gd name="T18" fmla="*/ 0 w 104"/>
                <a:gd name="T19" fmla="*/ 20 h 162"/>
                <a:gd name="T20" fmla="*/ 0 w 104"/>
                <a:gd name="T21" fmla="*/ 14 h 162"/>
                <a:gd name="T22" fmla="*/ 3 w 104"/>
                <a:gd name="T23" fmla="*/ 10 h 162"/>
                <a:gd name="T24" fmla="*/ 0 w 104"/>
                <a:gd name="T25" fmla="*/ 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0" name="Freeform 122"/>
            <p:cNvSpPr>
              <a:spLocks/>
            </p:cNvSpPr>
            <p:nvPr/>
          </p:nvSpPr>
          <p:spPr bwMode="auto">
            <a:xfrm>
              <a:off x="5664530" y="4658877"/>
              <a:ext cx="91731" cy="136765"/>
            </a:xfrm>
            <a:custGeom>
              <a:avLst/>
              <a:gdLst>
                <a:gd name="T0" fmla="*/ 0 w 104"/>
                <a:gd name="T1" fmla="*/ 6 h 162"/>
                <a:gd name="T2" fmla="*/ 0 w 104"/>
                <a:gd name="T3" fmla="*/ 6 h 162"/>
                <a:gd name="T4" fmla="*/ 0 w 104"/>
                <a:gd name="T5" fmla="*/ 2 h 162"/>
                <a:gd name="T6" fmla="*/ 0 w 104"/>
                <a:gd name="T7" fmla="*/ 0 h 162"/>
                <a:gd name="T8" fmla="*/ 9 w 104"/>
                <a:gd name="T9" fmla="*/ 0 h 162"/>
                <a:gd name="T10" fmla="*/ 11 w 104"/>
                <a:gd name="T11" fmla="*/ 8 h 162"/>
                <a:gd name="T12" fmla="*/ 13 w 104"/>
                <a:gd name="T13" fmla="*/ 14 h 162"/>
                <a:gd name="T14" fmla="*/ 13 w 104"/>
                <a:gd name="T15" fmla="*/ 16 h 162"/>
                <a:gd name="T16" fmla="*/ 3 w 104"/>
                <a:gd name="T17" fmla="*/ 20 h 162"/>
                <a:gd name="T18" fmla="*/ 0 w 104"/>
                <a:gd name="T19" fmla="*/ 20 h 162"/>
                <a:gd name="T20" fmla="*/ 0 w 104"/>
                <a:gd name="T21" fmla="*/ 14 h 162"/>
                <a:gd name="T22" fmla="*/ 3 w 104"/>
                <a:gd name="T23" fmla="*/ 10 h 162"/>
                <a:gd name="T24" fmla="*/ 0 w 104"/>
                <a:gd name="T25" fmla="*/ 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1" name="Freeform 123"/>
            <p:cNvSpPr>
              <a:spLocks/>
            </p:cNvSpPr>
            <p:nvPr/>
          </p:nvSpPr>
          <p:spPr bwMode="auto">
            <a:xfrm>
              <a:off x="5726272" y="4658877"/>
              <a:ext cx="45866" cy="109412"/>
            </a:xfrm>
            <a:custGeom>
              <a:avLst/>
              <a:gdLst>
                <a:gd name="T0" fmla="*/ 5 w 52"/>
                <a:gd name="T1" fmla="*/ 0 h 129"/>
                <a:gd name="T2" fmla="*/ 5 w 52"/>
                <a:gd name="T3" fmla="*/ 0 h 129"/>
                <a:gd name="T4" fmla="*/ 0 w 52"/>
                <a:gd name="T5" fmla="*/ 0 h 129"/>
                <a:gd name="T6" fmla="*/ 3 w 52"/>
                <a:gd name="T7" fmla="*/ 8 h 129"/>
                <a:gd name="T8" fmla="*/ 5 w 52"/>
                <a:gd name="T9" fmla="*/ 14 h 129"/>
                <a:gd name="T10" fmla="*/ 5 w 52"/>
                <a:gd name="T11" fmla="*/ 16 h 129"/>
                <a:gd name="T12" fmla="*/ 7 w 52"/>
                <a:gd name="T13" fmla="*/ 16 h 129"/>
                <a:gd name="T14" fmla="*/ 7 w 52"/>
                <a:gd name="T15" fmla="*/ 8 h 129"/>
                <a:gd name="T16" fmla="*/ 7 w 52"/>
                <a:gd name="T17" fmla="*/ 4 h 129"/>
                <a:gd name="T18" fmla="*/ 5 w 52"/>
                <a:gd name="T19" fmla="*/ 2 h 129"/>
                <a:gd name="T20" fmla="*/ 5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2" name="Freeform 124"/>
            <p:cNvSpPr>
              <a:spLocks/>
            </p:cNvSpPr>
            <p:nvPr/>
          </p:nvSpPr>
          <p:spPr bwMode="auto">
            <a:xfrm>
              <a:off x="5726272" y="4658877"/>
              <a:ext cx="45866" cy="109412"/>
            </a:xfrm>
            <a:custGeom>
              <a:avLst/>
              <a:gdLst>
                <a:gd name="T0" fmla="*/ 5 w 52"/>
                <a:gd name="T1" fmla="*/ 0 h 129"/>
                <a:gd name="T2" fmla="*/ 5 w 52"/>
                <a:gd name="T3" fmla="*/ 0 h 129"/>
                <a:gd name="T4" fmla="*/ 0 w 52"/>
                <a:gd name="T5" fmla="*/ 0 h 129"/>
                <a:gd name="T6" fmla="*/ 3 w 52"/>
                <a:gd name="T7" fmla="*/ 8 h 129"/>
                <a:gd name="T8" fmla="*/ 5 w 52"/>
                <a:gd name="T9" fmla="*/ 14 h 129"/>
                <a:gd name="T10" fmla="*/ 5 w 52"/>
                <a:gd name="T11" fmla="*/ 16 h 129"/>
                <a:gd name="T12" fmla="*/ 7 w 52"/>
                <a:gd name="T13" fmla="*/ 16 h 129"/>
                <a:gd name="T14" fmla="*/ 7 w 52"/>
                <a:gd name="T15" fmla="*/ 8 h 129"/>
                <a:gd name="T16" fmla="*/ 7 w 52"/>
                <a:gd name="T17" fmla="*/ 4 h 129"/>
                <a:gd name="T18" fmla="*/ 5 w 52"/>
                <a:gd name="T19" fmla="*/ 2 h 129"/>
                <a:gd name="T20" fmla="*/ 5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3" name="Freeform 125"/>
            <p:cNvSpPr>
              <a:spLocks/>
            </p:cNvSpPr>
            <p:nvPr/>
          </p:nvSpPr>
          <p:spPr bwMode="auto">
            <a:xfrm>
              <a:off x="5756261" y="4631524"/>
              <a:ext cx="61742" cy="136765"/>
            </a:xfrm>
            <a:custGeom>
              <a:avLst/>
              <a:gdLst>
                <a:gd name="T0" fmla="*/ 5 w 69"/>
                <a:gd name="T1" fmla="*/ 2 h 159"/>
                <a:gd name="T2" fmla="*/ 5 w 69"/>
                <a:gd name="T3" fmla="*/ 2 h 159"/>
                <a:gd name="T4" fmla="*/ 0 w 69"/>
                <a:gd name="T5" fmla="*/ 4 h 159"/>
                <a:gd name="T6" fmla="*/ 0 w 69"/>
                <a:gd name="T7" fmla="*/ 6 h 159"/>
                <a:gd name="T8" fmla="*/ 3 w 69"/>
                <a:gd name="T9" fmla="*/ 8 h 159"/>
                <a:gd name="T10" fmla="*/ 3 w 69"/>
                <a:gd name="T11" fmla="*/ 12 h 159"/>
                <a:gd name="T12" fmla="*/ 3 w 69"/>
                <a:gd name="T13" fmla="*/ 20 h 159"/>
                <a:gd name="T14" fmla="*/ 7 w 69"/>
                <a:gd name="T15" fmla="*/ 20 h 159"/>
                <a:gd name="T16" fmla="*/ 7 w 69"/>
                <a:gd name="T17" fmla="*/ 14 h 159"/>
                <a:gd name="T18" fmla="*/ 9 w 69"/>
                <a:gd name="T19" fmla="*/ 6 h 159"/>
                <a:gd name="T20" fmla="*/ 9 w 69"/>
                <a:gd name="T21" fmla="*/ 2 h 159"/>
                <a:gd name="T22" fmla="*/ 7 w 69"/>
                <a:gd name="T23" fmla="*/ 0 h 159"/>
                <a:gd name="T24" fmla="*/ 5 w 69"/>
                <a:gd name="T25" fmla="*/ 0 h 159"/>
                <a:gd name="T26" fmla="*/ 5 w 69"/>
                <a:gd name="T27" fmla="*/ 2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4" name="Freeform 126"/>
            <p:cNvSpPr>
              <a:spLocks/>
            </p:cNvSpPr>
            <p:nvPr/>
          </p:nvSpPr>
          <p:spPr bwMode="auto">
            <a:xfrm>
              <a:off x="5756261" y="4631524"/>
              <a:ext cx="61742" cy="136765"/>
            </a:xfrm>
            <a:custGeom>
              <a:avLst/>
              <a:gdLst>
                <a:gd name="T0" fmla="*/ 5 w 69"/>
                <a:gd name="T1" fmla="*/ 2 h 159"/>
                <a:gd name="T2" fmla="*/ 5 w 69"/>
                <a:gd name="T3" fmla="*/ 2 h 159"/>
                <a:gd name="T4" fmla="*/ 0 w 69"/>
                <a:gd name="T5" fmla="*/ 4 h 159"/>
                <a:gd name="T6" fmla="*/ 0 w 69"/>
                <a:gd name="T7" fmla="*/ 6 h 159"/>
                <a:gd name="T8" fmla="*/ 3 w 69"/>
                <a:gd name="T9" fmla="*/ 8 h 159"/>
                <a:gd name="T10" fmla="*/ 3 w 69"/>
                <a:gd name="T11" fmla="*/ 12 h 159"/>
                <a:gd name="T12" fmla="*/ 3 w 69"/>
                <a:gd name="T13" fmla="*/ 20 h 159"/>
                <a:gd name="T14" fmla="*/ 7 w 69"/>
                <a:gd name="T15" fmla="*/ 20 h 159"/>
                <a:gd name="T16" fmla="*/ 7 w 69"/>
                <a:gd name="T17" fmla="*/ 14 h 159"/>
                <a:gd name="T18" fmla="*/ 9 w 69"/>
                <a:gd name="T19" fmla="*/ 6 h 159"/>
                <a:gd name="T20" fmla="*/ 9 w 69"/>
                <a:gd name="T21" fmla="*/ 2 h 159"/>
                <a:gd name="T22" fmla="*/ 7 w 69"/>
                <a:gd name="T23" fmla="*/ 0 h 159"/>
                <a:gd name="T24" fmla="*/ 5 w 69"/>
                <a:gd name="T25" fmla="*/ 0 h 159"/>
                <a:gd name="T26" fmla="*/ 5 w 69"/>
                <a:gd name="T27" fmla="*/ 2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5" name="Freeform 127"/>
            <p:cNvSpPr>
              <a:spLocks/>
            </p:cNvSpPr>
            <p:nvPr/>
          </p:nvSpPr>
          <p:spPr bwMode="auto">
            <a:xfrm>
              <a:off x="5800362" y="4604171"/>
              <a:ext cx="278721" cy="205148"/>
            </a:xfrm>
            <a:custGeom>
              <a:avLst/>
              <a:gdLst>
                <a:gd name="T0" fmla="*/ 19 w 317"/>
                <a:gd name="T1" fmla="*/ 29 h 240"/>
                <a:gd name="T2" fmla="*/ 19 w 317"/>
                <a:gd name="T3" fmla="*/ 29 h 240"/>
                <a:gd name="T4" fmla="*/ 24 w 317"/>
                <a:gd name="T5" fmla="*/ 23 h 240"/>
                <a:gd name="T6" fmla="*/ 26 w 317"/>
                <a:gd name="T7" fmla="*/ 23 h 240"/>
                <a:gd name="T8" fmla="*/ 28 w 317"/>
                <a:gd name="T9" fmla="*/ 24 h 240"/>
                <a:gd name="T10" fmla="*/ 30 w 317"/>
                <a:gd name="T11" fmla="*/ 23 h 240"/>
                <a:gd name="T12" fmla="*/ 35 w 317"/>
                <a:gd name="T13" fmla="*/ 17 h 240"/>
                <a:gd name="T14" fmla="*/ 37 w 317"/>
                <a:gd name="T15" fmla="*/ 11 h 240"/>
                <a:gd name="T16" fmla="*/ 39 w 317"/>
                <a:gd name="T17" fmla="*/ 6 h 240"/>
                <a:gd name="T18" fmla="*/ 39 w 317"/>
                <a:gd name="T19" fmla="*/ 5 h 240"/>
                <a:gd name="T20" fmla="*/ 39 w 317"/>
                <a:gd name="T21" fmla="*/ 2 h 240"/>
                <a:gd name="T22" fmla="*/ 37 w 317"/>
                <a:gd name="T23" fmla="*/ 0 h 240"/>
                <a:gd name="T24" fmla="*/ 35 w 317"/>
                <a:gd name="T25" fmla="*/ 0 h 240"/>
                <a:gd name="T26" fmla="*/ 33 w 317"/>
                <a:gd name="T27" fmla="*/ 2 h 240"/>
                <a:gd name="T28" fmla="*/ 26 w 317"/>
                <a:gd name="T29" fmla="*/ 2 h 240"/>
                <a:gd name="T30" fmla="*/ 22 w 317"/>
                <a:gd name="T31" fmla="*/ 5 h 240"/>
                <a:gd name="T32" fmla="*/ 17 w 317"/>
                <a:gd name="T33" fmla="*/ 2 h 240"/>
                <a:gd name="T34" fmla="*/ 15 w 317"/>
                <a:gd name="T35" fmla="*/ 2 h 240"/>
                <a:gd name="T36" fmla="*/ 8 w 317"/>
                <a:gd name="T37" fmla="*/ 0 h 240"/>
                <a:gd name="T38" fmla="*/ 6 w 317"/>
                <a:gd name="T39" fmla="*/ 0 h 240"/>
                <a:gd name="T40" fmla="*/ 2 w 317"/>
                <a:gd name="T41" fmla="*/ 5 h 240"/>
                <a:gd name="T42" fmla="*/ 2 w 317"/>
                <a:gd name="T43" fmla="*/ 6 h 240"/>
                <a:gd name="T44" fmla="*/ 2 w 317"/>
                <a:gd name="T45" fmla="*/ 11 h 240"/>
                <a:gd name="T46" fmla="*/ 0 w 317"/>
                <a:gd name="T47" fmla="*/ 18 h 240"/>
                <a:gd name="T48" fmla="*/ 0 w 317"/>
                <a:gd name="T49" fmla="*/ 24 h 240"/>
                <a:gd name="T50" fmla="*/ 6 w 317"/>
                <a:gd name="T51" fmla="*/ 24 h 240"/>
                <a:gd name="T52" fmla="*/ 6 w 317"/>
                <a:gd name="T53" fmla="*/ 26 h 240"/>
                <a:gd name="T54" fmla="*/ 8 w 317"/>
                <a:gd name="T55" fmla="*/ 30 h 240"/>
                <a:gd name="T56" fmla="*/ 11 w 317"/>
                <a:gd name="T57" fmla="*/ 30 h 240"/>
                <a:gd name="T58" fmla="*/ 19 w 317"/>
                <a:gd name="T59" fmla="*/ 30 h 240"/>
                <a:gd name="T60" fmla="*/ 19 w 317"/>
                <a:gd name="T61" fmla="*/ 29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76" name="Freeform 128"/>
            <p:cNvSpPr>
              <a:spLocks/>
            </p:cNvSpPr>
            <p:nvPr/>
          </p:nvSpPr>
          <p:spPr bwMode="auto">
            <a:xfrm>
              <a:off x="5939723" y="4617849"/>
              <a:ext cx="185225" cy="246178"/>
            </a:xfrm>
            <a:custGeom>
              <a:avLst/>
              <a:gdLst>
                <a:gd name="T0" fmla="*/ 0 w 212"/>
                <a:gd name="T1" fmla="*/ 26 h 288"/>
                <a:gd name="T2" fmla="*/ 0 w 212"/>
                <a:gd name="T3" fmla="*/ 26 h 288"/>
                <a:gd name="T4" fmla="*/ 4 w 212"/>
                <a:gd name="T5" fmla="*/ 20 h 288"/>
                <a:gd name="T6" fmla="*/ 6 w 212"/>
                <a:gd name="T7" fmla="*/ 20 h 288"/>
                <a:gd name="T8" fmla="*/ 8 w 212"/>
                <a:gd name="T9" fmla="*/ 22 h 288"/>
                <a:gd name="T10" fmla="*/ 11 w 212"/>
                <a:gd name="T11" fmla="*/ 20 h 288"/>
                <a:gd name="T12" fmla="*/ 15 w 212"/>
                <a:gd name="T13" fmla="*/ 14 h 288"/>
                <a:gd name="T14" fmla="*/ 17 w 212"/>
                <a:gd name="T15" fmla="*/ 9 h 288"/>
                <a:gd name="T16" fmla="*/ 19 w 212"/>
                <a:gd name="T17" fmla="*/ 5 h 288"/>
                <a:gd name="T18" fmla="*/ 19 w 212"/>
                <a:gd name="T19" fmla="*/ 2 h 288"/>
                <a:gd name="T20" fmla="*/ 19 w 212"/>
                <a:gd name="T21" fmla="*/ 0 h 288"/>
                <a:gd name="T22" fmla="*/ 19 w 212"/>
                <a:gd name="T23" fmla="*/ 2 h 288"/>
                <a:gd name="T24" fmla="*/ 24 w 212"/>
                <a:gd name="T25" fmla="*/ 10 h 288"/>
                <a:gd name="T26" fmla="*/ 19 w 212"/>
                <a:gd name="T27" fmla="*/ 10 h 288"/>
                <a:gd name="T28" fmla="*/ 19 w 212"/>
                <a:gd name="T29" fmla="*/ 12 h 288"/>
                <a:gd name="T30" fmla="*/ 22 w 212"/>
                <a:gd name="T31" fmla="*/ 14 h 288"/>
                <a:gd name="T32" fmla="*/ 24 w 212"/>
                <a:gd name="T33" fmla="*/ 18 h 288"/>
                <a:gd name="T34" fmla="*/ 19 w 212"/>
                <a:gd name="T35" fmla="*/ 24 h 288"/>
                <a:gd name="T36" fmla="*/ 22 w 212"/>
                <a:gd name="T37" fmla="*/ 26 h 288"/>
                <a:gd name="T38" fmla="*/ 26 w 212"/>
                <a:gd name="T39" fmla="*/ 33 h 288"/>
                <a:gd name="T40" fmla="*/ 26 w 212"/>
                <a:gd name="T41" fmla="*/ 36 h 288"/>
                <a:gd name="T42" fmla="*/ 15 w 212"/>
                <a:gd name="T43" fmla="*/ 35 h 288"/>
                <a:gd name="T44" fmla="*/ 8 w 212"/>
                <a:gd name="T45" fmla="*/ 35 h 288"/>
                <a:gd name="T46" fmla="*/ 4 w 212"/>
                <a:gd name="T47" fmla="*/ 35 h 288"/>
                <a:gd name="T48" fmla="*/ 4 w 212"/>
                <a:gd name="T49" fmla="*/ 33 h 288"/>
                <a:gd name="T50" fmla="*/ 2 w 212"/>
                <a:gd name="T51" fmla="*/ 30 h 288"/>
                <a:gd name="T52" fmla="*/ 0 w 212"/>
                <a:gd name="T53" fmla="*/ 28 h 288"/>
                <a:gd name="T54" fmla="*/ 0 w 212"/>
                <a:gd name="T55" fmla="*/ 26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7" name="Freeform 129"/>
            <p:cNvSpPr>
              <a:spLocks/>
            </p:cNvSpPr>
            <p:nvPr/>
          </p:nvSpPr>
          <p:spPr bwMode="auto">
            <a:xfrm>
              <a:off x="5953836" y="4850348"/>
              <a:ext cx="47630" cy="27353"/>
            </a:xfrm>
            <a:custGeom>
              <a:avLst/>
              <a:gdLst>
                <a:gd name="T0" fmla="*/ 7 w 53"/>
                <a:gd name="T1" fmla="*/ 0 h 33"/>
                <a:gd name="T2" fmla="*/ 7 w 53"/>
                <a:gd name="T3" fmla="*/ 0 h 33"/>
                <a:gd name="T4" fmla="*/ 7 w 53"/>
                <a:gd name="T5" fmla="*/ 4 h 33"/>
                <a:gd name="T6" fmla="*/ 3 w 53"/>
                <a:gd name="T7" fmla="*/ 4 h 33"/>
                <a:gd name="T8" fmla="*/ 0 w 53"/>
                <a:gd name="T9" fmla="*/ 4 h 33"/>
                <a:gd name="T10" fmla="*/ 3 w 53"/>
                <a:gd name="T11" fmla="*/ 0 h 33"/>
                <a:gd name="T12" fmla="*/ 7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8" name="Freeform 130"/>
            <p:cNvSpPr>
              <a:spLocks/>
            </p:cNvSpPr>
            <p:nvPr/>
          </p:nvSpPr>
          <p:spPr bwMode="auto">
            <a:xfrm>
              <a:off x="5939723" y="4850348"/>
              <a:ext cx="139361" cy="136765"/>
            </a:xfrm>
            <a:custGeom>
              <a:avLst/>
              <a:gdLst>
                <a:gd name="T0" fmla="*/ 4 w 160"/>
                <a:gd name="T1" fmla="*/ 5 h 159"/>
                <a:gd name="T2" fmla="*/ 4 w 160"/>
                <a:gd name="T3" fmla="*/ 5 h 159"/>
                <a:gd name="T4" fmla="*/ 8 w 160"/>
                <a:gd name="T5" fmla="*/ 5 h 159"/>
                <a:gd name="T6" fmla="*/ 8 w 160"/>
                <a:gd name="T7" fmla="*/ 0 h 159"/>
                <a:gd name="T8" fmla="*/ 15 w 160"/>
                <a:gd name="T9" fmla="*/ 0 h 159"/>
                <a:gd name="T10" fmla="*/ 15 w 160"/>
                <a:gd name="T11" fmla="*/ 5 h 159"/>
                <a:gd name="T12" fmla="*/ 17 w 160"/>
                <a:gd name="T13" fmla="*/ 2 h 159"/>
                <a:gd name="T14" fmla="*/ 19 w 160"/>
                <a:gd name="T15" fmla="*/ 5 h 159"/>
                <a:gd name="T16" fmla="*/ 19 w 160"/>
                <a:gd name="T17" fmla="*/ 6 h 159"/>
                <a:gd name="T18" fmla="*/ 19 w 160"/>
                <a:gd name="T19" fmla="*/ 14 h 159"/>
                <a:gd name="T20" fmla="*/ 13 w 160"/>
                <a:gd name="T21" fmla="*/ 14 h 159"/>
                <a:gd name="T22" fmla="*/ 11 w 160"/>
                <a:gd name="T23" fmla="*/ 16 h 159"/>
                <a:gd name="T24" fmla="*/ 11 w 160"/>
                <a:gd name="T25" fmla="*/ 18 h 159"/>
                <a:gd name="T26" fmla="*/ 8 w 160"/>
                <a:gd name="T27" fmla="*/ 18 h 159"/>
                <a:gd name="T28" fmla="*/ 8 w 160"/>
                <a:gd name="T29" fmla="*/ 20 h 159"/>
                <a:gd name="T30" fmla="*/ 4 w 160"/>
                <a:gd name="T31" fmla="*/ 16 h 159"/>
                <a:gd name="T32" fmla="*/ 0 w 160"/>
                <a:gd name="T33" fmla="*/ 11 h 159"/>
                <a:gd name="T34" fmla="*/ 2 w 160"/>
                <a:gd name="T35" fmla="*/ 8 h 159"/>
                <a:gd name="T36" fmla="*/ 2 w 160"/>
                <a:gd name="T37" fmla="*/ 6 h 159"/>
                <a:gd name="T38" fmla="*/ 4 w 160"/>
                <a:gd name="T39" fmla="*/ 5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79" name="Freeform 131"/>
            <p:cNvSpPr>
              <a:spLocks/>
            </p:cNvSpPr>
            <p:nvPr/>
          </p:nvSpPr>
          <p:spPr bwMode="auto">
            <a:xfrm>
              <a:off x="6001465" y="4822995"/>
              <a:ext cx="183462" cy="191471"/>
            </a:xfrm>
            <a:custGeom>
              <a:avLst/>
              <a:gdLst>
                <a:gd name="T0" fmla="*/ 18 w 208"/>
                <a:gd name="T1" fmla="*/ 2 h 225"/>
                <a:gd name="T2" fmla="*/ 18 w 208"/>
                <a:gd name="T3" fmla="*/ 2 h 225"/>
                <a:gd name="T4" fmla="*/ 18 w 208"/>
                <a:gd name="T5" fmla="*/ 6 h 225"/>
                <a:gd name="T6" fmla="*/ 7 w 208"/>
                <a:gd name="T7" fmla="*/ 4 h 225"/>
                <a:gd name="T8" fmla="*/ 7 w 208"/>
                <a:gd name="T9" fmla="*/ 8 h 225"/>
                <a:gd name="T10" fmla="*/ 9 w 208"/>
                <a:gd name="T11" fmla="*/ 6 h 225"/>
                <a:gd name="T12" fmla="*/ 11 w 208"/>
                <a:gd name="T13" fmla="*/ 8 h 225"/>
                <a:gd name="T14" fmla="*/ 11 w 208"/>
                <a:gd name="T15" fmla="*/ 10 h 225"/>
                <a:gd name="T16" fmla="*/ 11 w 208"/>
                <a:gd name="T17" fmla="*/ 18 h 225"/>
                <a:gd name="T18" fmla="*/ 5 w 208"/>
                <a:gd name="T19" fmla="*/ 18 h 225"/>
                <a:gd name="T20" fmla="*/ 3 w 208"/>
                <a:gd name="T21" fmla="*/ 20 h 225"/>
                <a:gd name="T22" fmla="*/ 3 w 208"/>
                <a:gd name="T23" fmla="*/ 22 h 225"/>
                <a:gd name="T24" fmla="*/ 0 w 208"/>
                <a:gd name="T25" fmla="*/ 22 h 225"/>
                <a:gd name="T26" fmla="*/ 0 w 208"/>
                <a:gd name="T27" fmla="*/ 24 h 225"/>
                <a:gd name="T28" fmla="*/ 5 w 208"/>
                <a:gd name="T29" fmla="*/ 28 h 225"/>
                <a:gd name="T30" fmla="*/ 5 w 208"/>
                <a:gd name="T31" fmla="*/ 26 h 225"/>
                <a:gd name="T32" fmla="*/ 7 w 208"/>
                <a:gd name="T33" fmla="*/ 26 h 225"/>
                <a:gd name="T34" fmla="*/ 11 w 208"/>
                <a:gd name="T35" fmla="*/ 26 h 225"/>
                <a:gd name="T36" fmla="*/ 15 w 208"/>
                <a:gd name="T37" fmla="*/ 24 h 225"/>
                <a:gd name="T38" fmla="*/ 18 w 208"/>
                <a:gd name="T39" fmla="*/ 18 h 225"/>
                <a:gd name="T40" fmla="*/ 22 w 208"/>
                <a:gd name="T41" fmla="*/ 14 h 225"/>
                <a:gd name="T42" fmla="*/ 26 w 208"/>
                <a:gd name="T43" fmla="*/ 0 h 225"/>
                <a:gd name="T44" fmla="*/ 20 w 208"/>
                <a:gd name="T45" fmla="*/ 2 h 225"/>
                <a:gd name="T46" fmla="*/ 18 w 208"/>
                <a:gd name="T47" fmla="*/ 2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0" name="Freeform 132"/>
            <p:cNvSpPr>
              <a:spLocks/>
            </p:cNvSpPr>
            <p:nvPr/>
          </p:nvSpPr>
          <p:spPr bwMode="auto">
            <a:xfrm>
              <a:off x="6031454" y="4795642"/>
              <a:ext cx="460419" cy="396620"/>
            </a:xfrm>
            <a:custGeom>
              <a:avLst/>
              <a:gdLst>
                <a:gd name="T0" fmla="*/ 53 w 520"/>
                <a:gd name="T1" fmla="*/ 0 h 462"/>
                <a:gd name="T2" fmla="*/ 53 w 520"/>
                <a:gd name="T3" fmla="*/ 0 h 462"/>
                <a:gd name="T4" fmla="*/ 37 w 520"/>
                <a:gd name="T5" fmla="*/ 0 h 462"/>
                <a:gd name="T6" fmla="*/ 35 w 520"/>
                <a:gd name="T7" fmla="*/ 2 h 462"/>
                <a:gd name="T8" fmla="*/ 29 w 520"/>
                <a:gd name="T9" fmla="*/ 2 h 462"/>
                <a:gd name="T10" fmla="*/ 26 w 520"/>
                <a:gd name="T11" fmla="*/ 0 h 462"/>
                <a:gd name="T12" fmla="*/ 24 w 520"/>
                <a:gd name="T13" fmla="*/ 0 h 462"/>
                <a:gd name="T14" fmla="*/ 22 w 520"/>
                <a:gd name="T15" fmla="*/ 4 h 462"/>
                <a:gd name="T16" fmla="*/ 18 w 520"/>
                <a:gd name="T17" fmla="*/ 18 h 462"/>
                <a:gd name="T18" fmla="*/ 13 w 520"/>
                <a:gd name="T19" fmla="*/ 22 h 462"/>
                <a:gd name="T20" fmla="*/ 11 w 520"/>
                <a:gd name="T21" fmla="*/ 28 h 462"/>
                <a:gd name="T22" fmla="*/ 7 w 520"/>
                <a:gd name="T23" fmla="*/ 30 h 462"/>
                <a:gd name="T24" fmla="*/ 3 w 520"/>
                <a:gd name="T25" fmla="*/ 30 h 462"/>
                <a:gd name="T26" fmla="*/ 0 w 520"/>
                <a:gd name="T27" fmla="*/ 34 h 462"/>
                <a:gd name="T28" fmla="*/ 0 w 520"/>
                <a:gd name="T29" fmla="*/ 36 h 462"/>
                <a:gd name="T30" fmla="*/ 5 w 520"/>
                <a:gd name="T31" fmla="*/ 34 h 462"/>
                <a:gd name="T32" fmla="*/ 13 w 520"/>
                <a:gd name="T33" fmla="*/ 34 h 462"/>
                <a:gd name="T34" fmla="*/ 16 w 520"/>
                <a:gd name="T35" fmla="*/ 34 h 462"/>
                <a:gd name="T36" fmla="*/ 16 w 520"/>
                <a:gd name="T37" fmla="*/ 38 h 462"/>
                <a:gd name="T38" fmla="*/ 20 w 520"/>
                <a:gd name="T39" fmla="*/ 42 h 462"/>
                <a:gd name="T40" fmla="*/ 24 w 520"/>
                <a:gd name="T41" fmla="*/ 40 h 462"/>
                <a:gd name="T42" fmla="*/ 24 w 520"/>
                <a:gd name="T43" fmla="*/ 38 h 462"/>
                <a:gd name="T44" fmla="*/ 29 w 520"/>
                <a:gd name="T45" fmla="*/ 38 h 462"/>
                <a:gd name="T46" fmla="*/ 33 w 520"/>
                <a:gd name="T47" fmla="*/ 40 h 462"/>
                <a:gd name="T48" fmla="*/ 33 w 520"/>
                <a:gd name="T49" fmla="*/ 46 h 462"/>
                <a:gd name="T50" fmla="*/ 35 w 520"/>
                <a:gd name="T51" fmla="*/ 48 h 462"/>
                <a:gd name="T52" fmla="*/ 33 w 520"/>
                <a:gd name="T53" fmla="*/ 50 h 462"/>
                <a:gd name="T54" fmla="*/ 33 w 520"/>
                <a:gd name="T55" fmla="*/ 52 h 462"/>
                <a:gd name="T56" fmla="*/ 39 w 520"/>
                <a:gd name="T57" fmla="*/ 50 h 462"/>
                <a:gd name="T58" fmla="*/ 48 w 520"/>
                <a:gd name="T59" fmla="*/ 54 h 462"/>
                <a:gd name="T60" fmla="*/ 50 w 520"/>
                <a:gd name="T61" fmla="*/ 52 h 462"/>
                <a:gd name="T62" fmla="*/ 57 w 520"/>
                <a:gd name="T63" fmla="*/ 56 h 462"/>
                <a:gd name="T64" fmla="*/ 59 w 520"/>
                <a:gd name="T65" fmla="*/ 59 h 462"/>
                <a:gd name="T66" fmla="*/ 59 w 520"/>
                <a:gd name="T67" fmla="*/ 54 h 462"/>
                <a:gd name="T68" fmla="*/ 57 w 520"/>
                <a:gd name="T69" fmla="*/ 54 h 462"/>
                <a:gd name="T70" fmla="*/ 57 w 520"/>
                <a:gd name="T71" fmla="*/ 52 h 462"/>
                <a:gd name="T72" fmla="*/ 57 w 520"/>
                <a:gd name="T73" fmla="*/ 44 h 462"/>
                <a:gd name="T74" fmla="*/ 57 w 520"/>
                <a:gd name="T75" fmla="*/ 42 h 462"/>
                <a:gd name="T76" fmla="*/ 63 w 520"/>
                <a:gd name="T77" fmla="*/ 42 h 462"/>
                <a:gd name="T78" fmla="*/ 59 w 520"/>
                <a:gd name="T79" fmla="*/ 36 h 462"/>
                <a:gd name="T80" fmla="*/ 59 w 520"/>
                <a:gd name="T81" fmla="*/ 30 h 462"/>
                <a:gd name="T82" fmla="*/ 59 w 520"/>
                <a:gd name="T83" fmla="*/ 26 h 462"/>
                <a:gd name="T84" fmla="*/ 59 w 520"/>
                <a:gd name="T85" fmla="*/ 24 h 462"/>
                <a:gd name="T86" fmla="*/ 57 w 520"/>
                <a:gd name="T87" fmla="*/ 24 h 462"/>
                <a:gd name="T88" fmla="*/ 59 w 520"/>
                <a:gd name="T89" fmla="*/ 20 h 462"/>
                <a:gd name="T90" fmla="*/ 61 w 520"/>
                <a:gd name="T91" fmla="*/ 14 h 462"/>
                <a:gd name="T92" fmla="*/ 63 w 520"/>
                <a:gd name="T93" fmla="*/ 12 h 462"/>
                <a:gd name="T94" fmla="*/ 66 w 520"/>
                <a:gd name="T95" fmla="*/ 8 h 462"/>
                <a:gd name="T96" fmla="*/ 63 w 520"/>
                <a:gd name="T97" fmla="*/ 8 h 462"/>
                <a:gd name="T98" fmla="*/ 63 w 520"/>
                <a:gd name="T99" fmla="*/ 4 h 462"/>
                <a:gd name="T100" fmla="*/ 61 w 520"/>
                <a:gd name="T101" fmla="*/ 2 h 462"/>
                <a:gd name="T102" fmla="*/ 55 w 520"/>
                <a:gd name="T103" fmla="*/ 2 h 462"/>
                <a:gd name="T104" fmla="*/ 53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1" name="Freeform 133"/>
            <p:cNvSpPr>
              <a:spLocks/>
            </p:cNvSpPr>
            <p:nvPr/>
          </p:nvSpPr>
          <p:spPr bwMode="auto">
            <a:xfrm>
              <a:off x="6430131" y="4918732"/>
              <a:ext cx="45866" cy="41030"/>
            </a:xfrm>
            <a:custGeom>
              <a:avLst/>
              <a:gdLst>
                <a:gd name="T0" fmla="*/ 7 w 52"/>
                <a:gd name="T1" fmla="*/ 6 h 47"/>
                <a:gd name="T2" fmla="*/ 7 w 52"/>
                <a:gd name="T3" fmla="*/ 6 h 47"/>
                <a:gd name="T4" fmla="*/ 3 w 52"/>
                <a:gd name="T5" fmla="*/ 6 h 47"/>
                <a:gd name="T6" fmla="*/ 0 w 52"/>
                <a:gd name="T7" fmla="*/ 6 h 47"/>
                <a:gd name="T8" fmla="*/ 3 w 52"/>
                <a:gd name="T9" fmla="*/ 2 h 47"/>
                <a:gd name="T10" fmla="*/ 7 w 52"/>
                <a:gd name="T11" fmla="*/ 0 h 47"/>
                <a:gd name="T12" fmla="*/ 7 w 52"/>
                <a:gd name="T13" fmla="*/ 4 h 47"/>
                <a:gd name="T14" fmla="*/ 7 w 52"/>
                <a:gd name="T15" fmla="*/ 6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2" name="Freeform 134"/>
            <p:cNvSpPr>
              <a:spLocks/>
            </p:cNvSpPr>
            <p:nvPr/>
          </p:nvSpPr>
          <p:spPr bwMode="auto">
            <a:xfrm>
              <a:off x="6446008" y="4959761"/>
              <a:ext cx="29989" cy="41030"/>
            </a:xfrm>
            <a:custGeom>
              <a:avLst/>
              <a:gdLst>
                <a:gd name="T0" fmla="*/ 4 w 35"/>
                <a:gd name="T1" fmla="*/ 0 h 48"/>
                <a:gd name="T2" fmla="*/ 4 w 35"/>
                <a:gd name="T3" fmla="*/ 0 h 48"/>
                <a:gd name="T4" fmla="*/ 4 w 35"/>
                <a:gd name="T5" fmla="*/ 2 h 48"/>
                <a:gd name="T6" fmla="*/ 0 w 35"/>
                <a:gd name="T7" fmla="*/ 6 h 48"/>
                <a:gd name="T8" fmla="*/ 0 w 35"/>
                <a:gd name="T9" fmla="*/ 2 h 48"/>
                <a:gd name="T10" fmla="*/ 0 w 35"/>
                <a:gd name="T11" fmla="*/ 0 h 48"/>
                <a:gd name="T12" fmla="*/ 4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3" name="Freeform 135"/>
            <p:cNvSpPr>
              <a:spLocks/>
            </p:cNvSpPr>
            <p:nvPr/>
          </p:nvSpPr>
          <p:spPr bwMode="auto">
            <a:xfrm>
              <a:off x="6260782" y="5082850"/>
              <a:ext cx="291070" cy="205148"/>
            </a:xfrm>
            <a:custGeom>
              <a:avLst/>
              <a:gdLst>
                <a:gd name="T0" fmla="*/ 6 w 330"/>
                <a:gd name="T1" fmla="*/ 8 h 240"/>
                <a:gd name="T2" fmla="*/ 6 w 330"/>
                <a:gd name="T3" fmla="*/ 8 h 240"/>
                <a:gd name="T4" fmla="*/ 15 w 330"/>
                <a:gd name="T5" fmla="*/ 12 h 240"/>
                <a:gd name="T6" fmla="*/ 18 w 330"/>
                <a:gd name="T7" fmla="*/ 10 h 240"/>
                <a:gd name="T8" fmla="*/ 24 w 330"/>
                <a:gd name="T9" fmla="*/ 14 h 240"/>
                <a:gd name="T10" fmla="*/ 26 w 330"/>
                <a:gd name="T11" fmla="*/ 15 h 240"/>
                <a:gd name="T12" fmla="*/ 26 w 330"/>
                <a:gd name="T13" fmla="*/ 12 h 240"/>
                <a:gd name="T14" fmla="*/ 24 w 330"/>
                <a:gd name="T15" fmla="*/ 12 h 240"/>
                <a:gd name="T16" fmla="*/ 24 w 330"/>
                <a:gd name="T17" fmla="*/ 10 h 240"/>
                <a:gd name="T18" fmla="*/ 24 w 330"/>
                <a:gd name="T19" fmla="*/ 2 h 240"/>
                <a:gd name="T20" fmla="*/ 24 w 330"/>
                <a:gd name="T21" fmla="*/ 0 h 240"/>
                <a:gd name="T22" fmla="*/ 30 w 330"/>
                <a:gd name="T23" fmla="*/ 0 h 240"/>
                <a:gd name="T24" fmla="*/ 33 w 330"/>
                <a:gd name="T25" fmla="*/ 0 h 240"/>
                <a:gd name="T26" fmla="*/ 40 w 330"/>
                <a:gd name="T27" fmla="*/ 4 h 240"/>
                <a:gd name="T28" fmla="*/ 41 w 330"/>
                <a:gd name="T29" fmla="*/ 8 h 240"/>
                <a:gd name="T30" fmla="*/ 40 w 330"/>
                <a:gd name="T31" fmla="*/ 10 h 240"/>
                <a:gd name="T32" fmla="*/ 40 w 330"/>
                <a:gd name="T33" fmla="*/ 12 h 240"/>
                <a:gd name="T34" fmla="*/ 37 w 330"/>
                <a:gd name="T35" fmla="*/ 15 h 240"/>
                <a:gd name="T36" fmla="*/ 40 w 330"/>
                <a:gd name="T37" fmla="*/ 18 h 240"/>
                <a:gd name="T38" fmla="*/ 28 w 330"/>
                <a:gd name="T39" fmla="*/ 22 h 240"/>
                <a:gd name="T40" fmla="*/ 28 w 330"/>
                <a:gd name="T41" fmla="*/ 24 h 240"/>
                <a:gd name="T42" fmla="*/ 24 w 330"/>
                <a:gd name="T43" fmla="*/ 24 h 240"/>
                <a:gd name="T44" fmla="*/ 24 w 330"/>
                <a:gd name="T45" fmla="*/ 26 h 240"/>
                <a:gd name="T46" fmla="*/ 18 w 330"/>
                <a:gd name="T47" fmla="*/ 30 h 240"/>
                <a:gd name="T48" fmla="*/ 11 w 330"/>
                <a:gd name="T49" fmla="*/ 30 h 240"/>
                <a:gd name="T50" fmla="*/ 6 w 330"/>
                <a:gd name="T51" fmla="*/ 28 h 240"/>
                <a:gd name="T52" fmla="*/ 5 w 330"/>
                <a:gd name="T53" fmla="*/ 30 h 240"/>
                <a:gd name="T54" fmla="*/ 0 w 330"/>
                <a:gd name="T55" fmla="*/ 26 h 240"/>
                <a:gd name="T56" fmla="*/ 0 w 330"/>
                <a:gd name="T57" fmla="*/ 15 h 240"/>
                <a:gd name="T58" fmla="*/ 9 w 330"/>
                <a:gd name="T59" fmla="*/ 14 h 240"/>
                <a:gd name="T60" fmla="*/ 6 w 330"/>
                <a:gd name="T61" fmla="*/ 8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4" name="Freeform 136"/>
            <p:cNvSpPr>
              <a:spLocks/>
            </p:cNvSpPr>
            <p:nvPr/>
          </p:nvSpPr>
          <p:spPr bwMode="auto">
            <a:xfrm>
              <a:off x="6019106" y="5274322"/>
              <a:ext cx="319295" cy="273531"/>
            </a:xfrm>
            <a:custGeom>
              <a:avLst/>
              <a:gdLst>
                <a:gd name="T0" fmla="*/ 15 w 362"/>
                <a:gd name="T1" fmla="*/ 40 h 320"/>
                <a:gd name="T2" fmla="*/ 15 w 362"/>
                <a:gd name="T3" fmla="*/ 40 h 320"/>
                <a:gd name="T4" fmla="*/ 12 w 362"/>
                <a:gd name="T5" fmla="*/ 36 h 320"/>
                <a:gd name="T6" fmla="*/ 9 w 362"/>
                <a:gd name="T7" fmla="*/ 24 h 320"/>
                <a:gd name="T8" fmla="*/ 9 w 362"/>
                <a:gd name="T9" fmla="*/ 18 h 320"/>
                <a:gd name="T10" fmla="*/ 0 w 362"/>
                <a:gd name="T11" fmla="*/ 3 h 320"/>
                <a:gd name="T12" fmla="*/ 0 w 362"/>
                <a:gd name="T13" fmla="*/ 0 h 320"/>
                <a:gd name="T14" fmla="*/ 5 w 362"/>
                <a:gd name="T15" fmla="*/ 0 h 320"/>
                <a:gd name="T16" fmla="*/ 9 w 362"/>
                <a:gd name="T17" fmla="*/ 0 h 320"/>
                <a:gd name="T18" fmla="*/ 22 w 362"/>
                <a:gd name="T19" fmla="*/ 3 h 320"/>
                <a:gd name="T20" fmla="*/ 25 w 362"/>
                <a:gd name="T21" fmla="*/ 3 h 320"/>
                <a:gd name="T22" fmla="*/ 35 w 362"/>
                <a:gd name="T23" fmla="*/ 5 h 320"/>
                <a:gd name="T24" fmla="*/ 39 w 362"/>
                <a:gd name="T25" fmla="*/ 3 h 320"/>
                <a:gd name="T26" fmla="*/ 41 w 362"/>
                <a:gd name="T27" fmla="*/ 0 h 320"/>
                <a:gd name="T28" fmla="*/ 45 w 362"/>
                <a:gd name="T29" fmla="*/ 3 h 320"/>
                <a:gd name="T30" fmla="*/ 41 w 362"/>
                <a:gd name="T31" fmla="*/ 6 h 320"/>
                <a:gd name="T32" fmla="*/ 39 w 362"/>
                <a:gd name="T33" fmla="*/ 5 h 320"/>
                <a:gd name="T34" fmla="*/ 33 w 362"/>
                <a:gd name="T35" fmla="*/ 5 h 320"/>
                <a:gd name="T36" fmla="*/ 30 w 362"/>
                <a:gd name="T37" fmla="*/ 17 h 320"/>
                <a:gd name="T38" fmla="*/ 28 w 362"/>
                <a:gd name="T39" fmla="*/ 18 h 320"/>
                <a:gd name="T40" fmla="*/ 28 w 362"/>
                <a:gd name="T41" fmla="*/ 26 h 320"/>
                <a:gd name="T42" fmla="*/ 28 w 362"/>
                <a:gd name="T43" fmla="*/ 39 h 320"/>
                <a:gd name="T44" fmla="*/ 23 w 362"/>
                <a:gd name="T45" fmla="*/ 40 h 320"/>
                <a:gd name="T46" fmla="*/ 20 w 362"/>
                <a:gd name="T47" fmla="*/ 40 h 320"/>
                <a:gd name="T48" fmla="*/ 18 w 362"/>
                <a:gd name="T49" fmla="*/ 39 h 320"/>
                <a:gd name="T50" fmla="*/ 15 w 362"/>
                <a:gd name="T51" fmla="*/ 40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5" name="Freeform 137"/>
            <p:cNvSpPr>
              <a:spLocks/>
            </p:cNvSpPr>
            <p:nvPr/>
          </p:nvSpPr>
          <p:spPr bwMode="auto">
            <a:xfrm>
              <a:off x="6031454" y="5000791"/>
              <a:ext cx="15877" cy="27353"/>
            </a:xfrm>
            <a:custGeom>
              <a:avLst/>
              <a:gdLst>
                <a:gd name="T0" fmla="*/ 3 w 17"/>
                <a:gd name="T1" fmla="*/ 0 h 31"/>
                <a:gd name="T2" fmla="*/ 3 w 17"/>
                <a:gd name="T3" fmla="*/ 0 h 31"/>
                <a:gd name="T4" fmla="*/ 0 w 17"/>
                <a:gd name="T5" fmla="*/ 4 h 31"/>
                <a:gd name="T6" fmla="*/ 0 w 17"/>
                <a:gd name="T7" fmla="*/ 2 h 31"/>
                <a:gd name="T8" fmla="*/ 0 w 17"/>
                <a:gd name="T9" fmla="*/ 0 h 31"/>
                <a:gd name="T10" fmla="*/ 3 w 17"/>
                <a:gd name="T11" fmla="*/ 0 h 31"/>
                <a:gd name="T12" fmla="*/ 0 60000 65536"/>
                <a:gd name="T13" fmla="*/ 0 60000 65536"/>
                <a:gd name="T14" fmla="*/ 0 60000 65536"/>
                <a:gd name="T15" fmla="*/ 0 60000 65536"/>
                <a:gd name="T16" fmla="*/ 0 60000 65536"/>
                <a:gd name="T17" fmla="*/ 0 60000 65536"/>
                <a:gd name="T18" fmla="*/ 0 w 17"/>
                <a:gd name="T19" fmla="*/ 0 h 31"/>
                <a:gd name="T20" fmla="*/ 17 w 1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7" h="31">
                  <a:moveTo>
                    <a:pt x="17" y="0"/>
                  </a:moveTo>
                  <a:lnTo>
                    <a:pt x="17" y="0"/>
                  </a:lnTo>
                  <a:lnTo>
                    <a:pt x="0" y="31"/>
                  </a:lnTo>
                  <a:lnTo>
                    <a:pt x="0" y="16"/>
                  </a:lnTo>
                  <a:lnTo>
                    <a:pt x="0" y="0"/>
                  </a:lnTo>
                  <a:lnTo>
                    <a:pt x="17"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6" name="Freeform 138"/>
            <p:cNvSpPr>
              <a:spLocks/>
            </p:cNvSpPr>
            <p:nvPr/>
          </p:nvSpPr>
          <p:spPr bwMode="auto">
            <a:xfrm>
              <a:off x="6031454" y="5000791"/>
              <a:ext cx="15877" cy="27353"/>
            </a:xfrm>
            <a:custGeom>
              <a:avLst/>
              <a:gdLst>
                <a:gd name="T0" fmla="*/ 3 w 17"/>
                <a:gd name="T1" fmla="*/ 0 h 31"/>
                <a:gd name="T2" fmla="*/ 3 w 17"/>
                <a:gd name="T3" fmla="*/ 0 h 31"/>
                <a:gd name="T4" fmla="*/ 0 w 17"/>
                <a:gd name="T5" fmla="*/ 4 h 31"/>
                <a:gd name="T6" fmla="*/ 0 w 17"/>
                <a:gd name="T7" fmla="*/ 2 h 31"/>
                <a:gd name="T8" fmla="*/ 0 w 17"/>
                <a:gd name="T9" fmla="*/ 0 h 31"/>
                <a:gd name="T10" fmla="*/ 3 w 17"/>
                <a:gd name="T11" fmla="*/ 0 h 31"/>
                <a:gd name="T12" fmla="*/ 0 60000 65536"/>
                <a:gd name="T13" fmla="*/ 0 60000 65536"/>
                <a:gd name="T14" fmla="*/ 0 60000 65536"/>
                <a:gd name="T15" fmla="*/ 0 60000 65536"/>
                <a:gd name="T16" fmla="*/ 0 60000 65536"/>
                <a:gd name="T17" fmla="*/ 0 60000 65536"/>
                <a:gd name="T18" fmla="*/ 0 w 17"/>
                <a:gd name="T19" fmla="*/ 0 h 31"/>
                <a:gd name="T20" fmla="*/ 17 w 1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7" h="31">
                  <a:moveTo>
                    <a:pt x="17" y="0"/>
                  </a:moveTo>
                  <a:lnTo>
                    <a:pt x="17" y="0"/>
                  </a:lnTo>
                  <a:lnTo>
                    <a:pt x="0" y="31"/>
                  </a:lnTo>
                  <a:lnTo>
                    <a:pt x="0" y="16"/>
                  </a:lnTo>
                  <a:lnTo>
                    <a:pt x="0" y="0"/>
                  </a:lnTo>
                  <a:lnTo>
                    <a:pt x="17"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7" name="Freeform 139"/>
            <p:cNvSpPr>
              <a:spLocks/>
            </p:cNvSpPr>
            <p:nvPr/>
          </p:nvSpPr>
          <p:spPr bwMode="auto">
            <a:xfrm>
              <a:off x="6123185" y="5383734"/>
              <a:ext cx="398677" cy="314560"/>
            </a:xfrm>
            <a:custGeom>
              <a:avLst/>
              <a:gdLst>
                <a:gd name="T0" fmla="*/ 52 w 451"/>
                <a:gd name="T1" fmla="*/ 1 h 368"/>
                <a:gd name="T2" fmla="*/ 52 w 451"/>
                <a:gd name="T3" fmla="*/ 1 h 368"/>
                <a:gd name="T4" fmla="*/ 55 w 451"/>
                <a:gd name="T5" fmla="*/ 13 h 368"/>
                <a:gd name="T6" fmla="*/ 52 w 451"/>
                <a:gd name="T7" fmla="*/ 13 h 368"/>
                <a:gd name="T8" fmla="*/ 50 w 451"/>
                <a:gd name="T9" fmla="*/ 16 h 368"/>
                <a:gd name="T10" fmla="*/ 52 w 451"/>
                <a:gd name="T11" fmla="*/ 18 h 368"/>
                <a:gd name="T12" fmla="*/ 55 w 451"/>
                <a:gd name="T13" fmla="*/ 16 h 368"/>
                <a:gd name="T14" fmla="*/ 57 w 451"/>
                <a:gd name="T15" fmla="*/ 16 h 368"/>
                <a:gd name="T16" fmla="*/ 57 w 451"/>
                <a:gd name="T17" fmla="*/ 18 h 368"/>
                <a:gd name="T18" fmla="*/ 57 w 451"/>
                <a:gd name="T19" fmla="*/ 23 h 368"/>
                <a:gd name="T20" fmla="*/ 52 w 451"/>
                <a:gd name="T21" fmla="*/ 25 h 368"/>
                <a:gd name="T22" fmla="*/ 48 w 451"/>
                <a:gd name="T23" fmla="*/ 31 h 368"/>
                <a:gd name="T24" fmla="*/ 42 w 451"/>
                <a:gd name="T25" fmla="*/ 38 h 368"/>
                <a:gd name="T26" fmla="*/ 37 w 451"/>
                <a:gd name="T27" fmla="*/ 42 h 368"/>
                <a:gd name="T28" fmla="*/ 31 w 451"/>
                <a:gd name="T29" fmla="*/ 44 h 368"/>
                <a:gd name="T30" fmla="*/ 27 w 451"/>
                <a:gd name="T31" fmla="*/ 44 h 368"/>
                <a:gd name="T32" fmla="*/ 20 w 451"/>
                <a:gd name="T33" fmla="*/ 44 h 368"/>
                <a:gd name="T34" fmla="*/ 13 w 451"/>
                <a:gd name="T35" fmla="*/ 46 h 368"/>
                <a:gd name="T36" fmla="*/ 11 w 451"/>
                <a:gd name="T37" fmla="*/ 46 h 368"/>
                <a:gd name="T38" fmla="*/ 9 w 451"/>
                <a:gd name="T39" fmla="*/ 44 h 368"/>
                <a:gd name="T40" fmla="*/ 7 w 451"/>
                <a:gd name="T41" fmla="*/ 38 h 368"/>
                <a:gd name="T42" fmla="*/ 7 w 451"/>
                <a:gd name="T43" fmla="*/ 36 h 368"/>
                <a:gd name="T44" fmla="*/ 3 w 451"/>
                <a:gd name="T45" fmla="*/ 23 h 368"/>
                <a:gd name="T46" fmla="*/ 0 w 451"/>
                <a:gd name="T47" fmla="*/ 23 h 368"/>
                <a:gd name="T48" fmla="*/ 3 w 451"/>
                <a:gd name="T49" fmla="*/ 22 h 368"/>
                <a:gd name="T50" fmla="*/ 5 w 451"/>
                <a:gd name="T51" fmla="*/ 23 h 368"/>
                <a:gd name="T52" fmla="*/ 9 w 451"/>
                <a:gd name="T53" fmla="*/ 23 h 368"/>
                <a:gd name="T54" fmla="*/ 13 w 451"/>
                <a:gd name="T55" fmla="*/ 22 h 368"/>
                <a:gd name="T56" fmla="*/ 13 w 451"/>
                <a:gd name="T57" fmla="*/ 10 h 368"/>
                <a:gd name="T58" fmla="*/ 16 w 451"/>
                <a:gd name="T59" fmla="*/ 12 h 368"/>
                <a:gd name="T60" fmla="*/ 16 w 451"/>
                <a:gd name="T61" fmla="*/ 16 h 368"/>
                <a:gd name="T62" fmla="*/ 20 w 451"/>
                <a:gd name="T63" fmla="*/ 16 h 368"/>
                <a:gd name="T64" fmla="*/ 27 w 451"/>
                <a:gd name="T65" fmla="*/ 12 h 368"/>
                <a:gd name="T66" fmla="*/ 29 w 451"/>
                <a:gd name="T67" fmla="*/ 13 h 368"/>
                <a:gd name="T68" fmla="*/ 31 w 451"/>
                <a:gd name="T69" fmla="*/ 12 h 368"/>
                <a:gd name="T70" fmla="*/ 40 w 451"/>
                <a:gd name="T71" fmla="*/ 4 h 368"/>
                <a:gd name="T72" fmla="*/ 46 w 451"/>
                <a:gd name="T73" fmla="*/ 0 h 368"/>
                <a:gd name="T74" fmla="*/ 50 w 451"/>
                <a:gd name="T75" fmla="*/ 1 h 368"/>
                <a:gd name="T76" fmla="*/ 52 w 451"/>
                <a:gd name="T77" fmla="*/ 1 h 3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1"/>
                <a:gd name="T118" fmla="*/ 0 h 368"/>
                <a:gd name="T119" fmla="*/ 451 w 451"/>
                <a:gd name="T120" fmla="*/ 368 h 3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1" h="368">
                  <a:moveTo>
                    <a:pt x="416" y="15"/>
                  </a:moveTo>
                  <a:lnTo>
                    <a:pt x="416" y="15"/>
                  </a:ln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688" name="Freeform 140"/>
            <p:cNvSpPr>
              <a:spLocks/>
            </p:cNvSpPr>
            <p:nvPr/>
          </p:nvSpPr>
          <p:spPr bwMode="auto">
            <a:xfrm>
              <a:off x="6214916" y="5287998"/>
              <a:ext cx="231092" cy="205148"/>
            </a:xfrm>
            <a:custGeom>
              <a:avLst/>
              <a:gdLst>
                <a:gd name="T0" fmla="*/ 0 w 261"/>
                <a:gd name="T1" fmla="*/ 24 h 240"/>
                <a:gd name="T2" fmla="*/ 0 w 261"/>
                <a:gd name="T3" fmla="*/ 24 h 240"/>
                <a:gd name="T4" fmla="*/ 3 w 261"/>
                <a:gd name="T5" fmla="*/ 26 h 240"/>
                <a:gd name="T6" fmla="*/ 3 w 261"/>
                <a:gd name="T7" fmla="*/ 30 h 240"/>
                <a:gd name="T8" fmla="*/ 7 w 261"/>
                <a:gd name="T9" fmla="*/ 30 h 240"/>
                <a:gd name="T10" fmla="*/ 13 w 261"/>
                <a:gd name="T11" fmla="*/ 26 h 240"/>
                <a:gd name="T12" fmla="*/ 16 w 261"/>
                <a:gd name="T13" fmla="*/ 28 h 240"/>
                <a:gd name="T14" fmla="*/ 18 w 261"/>
                <a:gd name="T15" fmla="*/ 26 h 240"/>
                <a:gd name="T16" fmla="*/ 27 w 261"/>
                <a:gd name="T17" fmla="*/ 18 h 240"/>
                <a:gd name="T18" fmla="*/ 33 w 261"/>
                <a:gd name="T19" fmla="*/ 14 h 240"/>
                <a:gd name="T20" fmla="*/ 29 w 261"/>
                <a:gd name="T21" fmla="*/ 14 h 240"/>
                <a:gd name="T22" fmla="*/ 27 w 261"/>
                <a:gd name="T23" fmla="*/ 10 h 240"/>
                <a:gd name="T24" fmla="*/ 22 w 261"/>
                <a:gd name="T25" fmla="*/ 6 h 240"/>
                <a:gd name="T26" fmla="*/ 18 w 261"/>
                <a:gd name="T27" fmla="*/ 0 h 240"/>
                <a:gd name="T28" fmla="*/ 13 w 261"/>
                <a:gd name="T29" fmla="*/ 4 h 240"/>
                <a:gd name="T30" fmla="*/ 11 w 261"/>
                <a:gd name="T31" fmla="*/ 2 h 240"/>
                <a:gd name="T32" fmla="*/ 5 w 261"/>
                <a:gd name="T33" fmla="*/ 2 h 240"/>
                <a:gd name="T34" fmla="*/ 3 w 261"/>
                <a:gd name="T35" fmla="*/ 14 h 240"/>
                <a:gd name="T36" fmla="*/ 0 w 261"/>
                <a:gd name="T37" fmla="*/ 15 h 240"/>
                <a:gd name="T38" fmla="*/ 0 w 261"/>
                <a:gd name="T39" fmla="*/ 24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89" name="Freeform 141"/>
            <p:cNvSpPr>
              <a:spLocks/>
            </p:cNvSpPr>
            <p:nvPr/>
          </p:nvSpPr>
          <p:spPr bwMode="auto">
            <a:xfrm>
              <a:off x="6338400" y="5246969"/>
              <a:ext cx="199339" cy="148732"/>
            </a:xfrm>
            <a:custGeom>
              <a:avLst/>
              <a:gdLst>
                <a:gd name="T0" fmla="*/ 18 w 225"/>
                <a:gd name="T1" fmla="*/ 0 h 175"/>
                <a:gd name="T2" fmla="*/ 18 w 225"/>
                <a:gd name="T3" fmla="*/ 0 h 175"/>
                <a:gd name="T4" fmla="*/ 13 w 225"/>
                <a:gd name="T5" fmla="*/ 0 h 175"/>
                <a:gd name="T6" fmla="*/ 13 w 225"/>
                <a:gd name="T7" fmla="*/ 2 h 175"/>
                <a:gd name="T8" fmla="*/ 7 w 225"/>
                <a:gd name="T9" fmla="*/ 6 h 175"/>
                <a:gd name="T10" fmla="*/ 0 w 225"/>
                <a:gd name="T11" fmla="*/ 6 h 175"/>
                <a:gd name="T12" fmla="*/ 5 w 225"/>
                <a:gd name="T13" fmla="*/ 12 h 175"/>
                <a:gd name="T14" fmla="*/ 9 w 225"/>
                <a:gd name="T15" fmla="*/ 15 h 175"/>
                <a:gd name="T16" fmla="*/ 11 w 225"/>
                <a:gd name="T17" fmla="*/ 20 h 175"/>
                <a:gd name="T18" fmla="*/ 16 w 225"/>
                <a:gd name="T19" fmla="*/ 20 h 175"/>
                <a:gd name="T20" fmla="*/ 20 w 225"/>
                <a:gd name="T21" fmla="*/ 21 h 175"/>
                <a:gd name="T22" fmla="*/ 22 w 225"/>
                <a:gd name="T23" fmla="*/ 21 h 175"/>
                <a:gd name="T24" fmla="*/ 26 w 225"/>
                <a:gd name="T25" fmla="*/ 14 h 175"/>
                <a:gd name="T26" fmla="*/ 29 w 225"/>
                <a:gd name="T27" fmla="*/ 6 h 175"/>
                <a:gd name="T28" fmla="*/ 26 w 225"/>
                <a:gd name="T29" fmla="*/ 2 h 175"/>
                <a:gd name="T30" fmla="*/ 22 w 225"/>
                <a:gd name="T31" fmla="*/ 0 h 175"/>
                <a:gd name="T32" fmla="*/ 18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0" name="Freeform 142"/>
            <p:cNvSpPr>
              <a:spLocks/>
            </p:cNvSpPr>
            <p:nvPr/>
          </p:nvSpPr>
          <p:spPr bwMode="auto">
            <a:xfrm>
              <a:off x="6460120" y="5123880"/>
              <a:ext cx="259317" cy="369266"/>
            </a:xfrm>
            <a:custGeom>
              <a:avLst/>
              <a:gdLst>
                <a:gd name="T0" fmla="*/ 9 w 293"/>
                <a:gd name="T1" fmla="*/ 54 h 432"/>
                <a:gd name="T2" fmla="*/ 9 w 293"/>
                <a:gd name="T3" fmla="*/ 54 h 432"/>
                <a:gd name="T4" fmla="*/ 9 w 293"/>
                <a:gd name="T5" fmla="*/ 52 h 432"/>
                <a:gd name="T6" fmla="*/ 9 w 293"/>
                <a:gd name="T7" fmla="*/ 50 h 432"/>
                <a:gd name="T8" fmla="*/ 18 w 293"/>
                <a:gd name="T9" fmla="*/ 48 h 432"/>
                <a:gd name="T10" fmla="*/ 20 w 293"/>
                <a:gd name="T11" fmla="*/ 46 h 432"/>
                <a:gd name="T12" fmla="*/ 20 w 293"/>
                <a:gd name="T13" fmla="*/ 40 h 432"/>
                <a:gd name="T14" fmla="*/ 16 w 293"/>
                <a:gd name="T15" fmla="*/ 32 h 432"/>
                <a:gd name="T16" fmla="*/ 24 w 293"/>
                <a:gd name="T17" fmla="*/ 24 h 432"/>
                <a:gd name="T18" fmla="*/ 31 w 293"/>
                <a:gd name="T19" fmla="*/ 22 h 432"/>
                <a:gd name="T20" fmla="*/ 37 w 293"/>
                <a:gd name="T21" fmla="*/ 15 h 432"/>
                <a:gd name="T22" fmla="*/ 35 w 293"/>
                <a:gd name="T23" fmla="*/ 0 h 432"/>
                <a:gd name="T24" fmla="*/ 31 w 293"/>
                <a:gd name="T25" fmla="*/ 3 h 432"/>
                <a:gd name="T26" fmla="*/ 22 w 293"/>
                <a:gd name="T27" fmla="*/ 3 h 432"/>
                <a:gd name="T28" fmla="*/ 18 w 293"/>
                <a:gd name="T29" fmla="*/ 3 h 432"/>
                <a:gd name="T30" fmla="*/ 16 w 293"/>
                <a:gd name="T31" fmla="*/ 6 h 432"/>
                <a:gd name="T32" fmla="*/ 18 w 293"/>
                <a:gd name="T33" fmla="*/ 10 h 432"/>
                <a:gd name="T34" fmla="*/ 20 w 293"/>
                <a:gd name="T35" fmla="*/ 14 h 432"/>
                <a:gd name="T36" fmla="*/ 20 w 293"/>
                <a:gd name="T37" fmla="*/ 18 h 432"/>
                <a:gd name="T38" fmla="*/ 18 w 293"/>
                <a:gd name="T39" fmla="*/ 22 h 432"/>
                <a:gd name="T40" fmla="*/ 16 w 293"/>
                <a:gd name="T41" fmla="*/ 18 h 432"/>
                <a:gd name="T42" fmla="*/ 16 w 293"/>
                <a:gd name="T43" fmla="*/ 14 h 432"/>
                <a:gd name="T44" fmla="*/ 13 w 293"/>
                <a:gd name="T45" fmla="*/ 14 h 432"/>
                <a:gd name="T46" fmla="*/ 11 w 293"/>
                <a:gd name="T47" fmla="*/ 12 h 432"/>
                <a:gd name="T48" fmla="*/ 0 w 293"/>
                <a:gd name="T49" fmla="*/ 15 h 432"/>
                <a:gd name="T50" fmla="*/ 0 w 293"/>
                <a:gd name="T51" fmla="*/ 18 h 432"/>
                <a:gd name="T52" fmla="*/ 5 w 293"/>
                <a:gd name="T53" fmla="*/ 18 h 432"/>
                <a:gd name="T54" fmla="*/ 9 w 293"/>
                <a:gd name="T55" fmla="*/ 20 h 432"/>
                <a:gd name="T56" fmla="*/ 11 w 293"/>
                <a:gd name="T57" fmla="*/ 24 h 432"/>
                <a:gd name="T58" fmla="*/ 9 w 293"/>
                <a:gd name="T59" fmla="*/ 32 h 432"/>
                <a:gd name="T60" fmla="*/ 5 w 293"/>
                <a:gd name="T61" fmla="*/ 40 h 432"/>
                <a:gd name="T62" fmla="*/ 7 w 293"/>
                <a:gd name="T63" fmla="*/ 52 h 432"/>
                <a:gd name="T64" fmla="*/ 7 w 293"/>
                <a:gd name="T65" fmla="*/ 54 h 432"/>
                <a:gd name="T66" fmla="*/ 9 w 293"/>
                <a:gd name="T67" fmla="*/ 54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1" name="Freeform 143"/>
            <p:cNvSpPr>
              <a:spLocks/>
            </p:cNvSpPr>
            <p:nvPr/>
          </p:nvSpPr>
          <p:spPr bwMode="auto">
            <a:xfrm>
              <a:off x="6521862" y="5110203"/>
              <a:ext cx="75855" cy="164118"/>
            </a:xfrm>
            <a:custGeom>
              <a:avLst/>
              <a:gdLst>
                <a:gd name="T0" fmla="*/ 3 w 86"/>
                <a:gd name="T1" fmla="*/ 14 h 192"/>
                <a:gd name="T2" fmla="*/ 3 w 86"/>
                <a:gd name="T3" fmla="*/ 14 h 192"/>
                <a:gd name="T4" fmla="*/ 0 w 86"/>
                <a:gd name="T5" fmla="*/ 12 h 192"/>
                <a:gd name="T6" fmla="*/ 3 w 86"/>
                <a:gd name="T7" fmla="*/ 9 h 192"/>
                <a:gd name="T8" fmla="*/ 3 w 86"/>
                <a:gd name="T9" fmla="*/ 6 h 192"/>
                <a:gd name="T10" fmla="*/ 5 w 86"/>
                <a:gd name="T11" fmla="*/ 5 h 192"/>
                <a:gd name="T12" fmla="*/ 3 w 86"/>
                <a:gd name="T13" fmla="*/ 0 h 192"/>
                <a:gd name="T14" fmla="*/ 5 w 86"/>
                <a:gd name="T15" fmla="*/ 0 h 192"/>
                <a:gd name="T16" fmla="*/ 6 w 86"/>
                <a:gd name="T17" fmla="*/ 0 h 192"/>
                <a:gd name="T18" fmla="*/ 9 w 86"/>
                <a:gd name="T19" fmla="*/ 6 h 192"/>
                <a:gd name="T20" fmla="*/ 6 w 86"/>
                <a:gd name="T21" fmla="*/ 9 h 192"/>
                <a:gd name="T22" fmla="*/ 9 w 86"/>
                <a:gd name="T23" fmla="*/ 12 h 192"/>
                <a:gd name="T24" fmla="*/ 11 w 86"/>
                <a:gd name="T25" fmla="*/ 17 h 192"/>
                <a:gd name="T26" fmla="*/ 11 w 86"/>
                <a:gd name="T27" fmla="*/ 21 h 192"/>
                <a:gd name="T28" fmla="*/ 9 w 86"/>
                <a:gd name="T29" fmla="*/ 24 h 192"/>
                <a:gd name="T30" fmla="*/ 6 w 86"/>
                <a:gd name="T31" fmla="*/ 21 h 192"/>
                <a:gd name="T32" fmla="*/ 6 w 86"/>
                <a:gd name="T33" fmla="*/ 17 h 192"/>
                <a:gd name="T34" fmla="*/ 5 w 86"/>
                <a:gd name="T35" fmla="*/ 17 h 192"/>
                <a:gd name="T36" fmla="*/ 3 w 86"/>
                <a:gd name="T37" fmla="*/ 14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2" name="Freeform 144"/>
            <p:cNvSpPr>
              <a:spLocks/>
            </p:cNvSpPr>
            <p:nvPr/>
          </p:nvSpPr>
          <p:spPr bwMode="auto">
            <a:xfrm>
              <a:off x="6475997" y="5477760"/>
              <a:ext cx="29989" cy="29063"/>
            </a:xfrm>
            <a:custGeom>
              <a:avLst/>
              <a:gdLst>
                <a:gd name="T0" fmla="*/ 4 w 34"/>
                <a:gd name="T1" fmla="*/ 3 h 32"/>
                <a:gd name="T2" fmla="*/ 4 w 34"/>
                <a:gd name="T3" fmla="*/ 3 h 32"/>
                <a:gd name="T4" fmla="*/ 4 w 34"/>
                <a:gd name="T5" fmla="*/ 0 h 32"/>
                <a:gd name="T6" fmla="*/ 2 w 34"/>
                <a:gd name="T7" fmla="*/ 0 h 32"/>
                <a:gd name="T8" fmla="*/ 0 w 34"/>
                <a:gd name="T9" fmla="*/ 3 h 32"/>
                <a:gd name="T10" fmla="*/ 2 w 34"/>
                <a:gd name="T11" fmla="*/ 5 h 32"/>
                <a:gd name="T12" fmla="*/ 4 w 34"/>
                <a:gd name="T13" fmla="*/ 3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3" name="Freeform 145"/>
            <p:cNvSpPr>
              <a:spLocks/>
            </p:cNvSpPr>
            <p:nvPr/>
          </p:nvSpPr>
          <p:spPr bwMode="auto">
            <a:xfrm>
              <a:off x="6782943" y="5164909"/>
              <a:ext cx="165822" cy="300884"/>
            </a:xfrm>
            <a:custGeom>
              <a:avLst/>
              <a:gdLst>
                <a:gd name="T0" fmla="*/ 0 w 189"/>
                <a:gd name="T1" fmla="*/ 32 h 352"/>
                <a:gd name="T2" fmla="*/ 0 w 189"/>
                <a:gd name="T3" fmla="*/ 32 h 352"/>
                <a:gd name="T4" fmla="*/ 2 w 189"/>
                <a:gd name="T5" fmla="*/ 40 h 352"/>
                <a:gd name="T6" fmla="*/ 4 w 189"/>
                <a:gd name="T7" fmla="*/ 44 h 352"/>
                <a:gd name="T8" fmla="*/ 10 w 189"/>
                <a:gd name="T9" fmla="*/ 44 h 352"/>
                <a:gd name="T10" fmla="*/ 13 w 189"/>
                <a:gd name="T11" fmla="*/ 42 h 352"/>
                <a:gd name="T12" fmla="*/ 19 w 189"/>
                <a:gd name="T13" fmla="*/ 20 h 352"/>
                <a:gd name="T14" fmla="*/ 21 w 189"/>
                <a:gd name="T15" fmla="*/ 10 h 352"/>
                <a:gd name="T16" fmla="*/ 23 w 189"/>
                <a:gd name="T17" fmla="*/ 12 h 352"/>
                <a:gd name="T18" fmla="*/ 23 w 189"/>
                <a:gd name="T19" fmla="*/ 10 h 352"/>
                <a:gd name="T20" fmla="*/ 21 w 189"/>
                <a:gd name="T21" fmla="*/ 2 h 352"/>
                <a:gd name="T22" fmla="*/ 19 w 189"/>
                <a:gd name="T23" fmla="*/ 0 h 352"/>
                <a:gd name="T24" fmla="*/ 17 w 189"/>
                <a:gd name="T25" fmla="*/ 3 h 352"/>
                <a:gd name="T26" fmla="*/ 15 w 189"/>
                <a:gd name="T27" fmla="*/ 3 h 352"/>
                <a:gd name="T28" fmla="*/ 15 w 189"/>
                <a:gd name="T29" fmla="*/ 8 h 352"/>
                <a:gd name="T30" fmla="*/ 4 w 189"/>
                <a:gd name="T31" fmla="*/ 14 h 352"/>
                <a:gd name="T32" fmla="*/ 2 w 189"/>
                <a:gd name="T33" fmla="*/ 18 h 352"/>
                <a:gd name="T34" fmla="*/ 4 w 189"/>
                <a:gd name="T35" fmla="*/ 26 h 352"/>
                <a:gd name="T36" fmla="*/ 0 w 189"/>
                <a:gd name="T37" fmla="*/ 32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4" name="Freeform 146"/>
            <p:cNvSpPr>
              <a:spLocks/>
            </p:cNvSpPr>
            <p:nvPr/>
          </p:nvSpPr>
          <p:spPr bwMode="auto">
            <a:xfrm>
              <a:off x="7119877" y="5342704"/>
              <a:ext cx="12348" cy="11967"/>
            </a:xfrm>
            <a:custGeom>
              <a:avLst/>
              <a:gdLst>
                <a:gd name="T0" fmla="*/ 0 w 16"/>
                <a:gd name="T1" fmla="*/ 1 h 15"/>
                <a:gd name="T2" fmla="*/ 0 w 16"/>
                <a:gd name="T3" fmla="*/ 1 h 15"/>
                <a:gd name="T4" fmla="*/ 1 w 16"/>
                <a:gd name="T5" fmla="*/ 1 h 15"/>
                <a:gd name="T6" fmla="*/ 0 w 16"/>
                <a:gd name="T7" fmla="*/ 0 h 15"/>
                <a:gd name="T8" fmla="*/ 0 w 16"/>
                <a:gd name="T9" fmla="*/ 1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5" name="Freeform 148"/>
            <p:cNvSpPr>
              <a:spLocks/>
            </p:cNvSpPr>
            <p:nvPr/>
          </p:nvSpPr>
          <p:spPr bwMode="auto">
            <a:xfrm>
              <a:off x="8079526" y="4864026"/>
              <a:ext cx="17641" cy="27353"/>
            </a:xfrm>
            <a:custGeom>
              <a:avLst/>
              <a:gdLst>
                <a:gd name="T0" fmla="*/ 0 w 19"/>
                <a:gd name="T1" fmla="*/ 2 h 33"/>
                <a:gd name="T2" fmla="*/ 0 w 19"/>
                <a:gd name="T3" fmla="*/ 2 h 33"/>
                <a:gd name="T4" fmla="*/ 3 w 19"/>
                <a:gd name="T5" fmla="*/ 4 h 33"/>
                <a:gd name="T6" fmla="*/ 0 w 19"/>
                <a:gd name="T7" fmla="*/ 0 h 33"/>
                <a:gd name="T8" fmla="*/ 0 w 19"/>
                <a:gd name="T9" fmla="*/ 2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6" name="Freeform 149"/>
            <p:cNvSpPr>
              <a:spLocks/>
            </p:cNvSpPr>
            <p:nvPr/>
          </p:nvSpPr>
          <p:spPr bwMode="auto">
            <a:xfrm>
              <a:off x="8111279" y="4918732"/>
              <a:ext cx="14111" cy="27353"/>
            </a:xfrm>
            <a:custGeom>
              <a:avLst/>
              <a:gdLst>
                <a:gd name="T0" fmla="*/ 0 w 16"/>
                <a:gd name="T1" fmla="*/ 0 h 30"/>
                <a:gd name="T2" fmla="*/ 0 w 16"/>
                <a:gd name="T3" fmla="*/ 0 h 30"/>
                <a:gd name="T4" fmla="*/ 2 w 16"/>
                <a:gd name="T5" fmla="*/ 5 h 30"/>
                <a:gd name="T6" fmla="*/ 2 w 16"/>
                <a:gd name="T7" fmla="*/ 2 h 30"/>
                <a:gd name="T8" fmla="*/ 2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7" name="Freeform 150"/>
            <p:cNvSpPr>
              <a:spLocks/>
            </p:cNvSpPr>
            <p:nvPr/>
          </p:nvSpPr>
          <p:spPr bwMode="auto">
            <a:xfrm>
              <a:off x="7652624" y="4686230"/>
              <a:ext cx="63507" cy="82059"/>
            </a:xfrm>
            <a:custGeom>
              <a:avLst/>
              <a:gdLst>
                <a:gd name="T0" fmla="*/ 0 w 71"/>
                <a:gd name="T1" fmla="*/ 6 h 96"/>
                <a:gd name="T2" fmla="*/ 0 w 71"/>
                <a:gd name="T3" fmla="*/ 6 h 96"/>
                <a:gd name="T4" fmla="*/ 3 w 71"/>
                <a:gd name="T5" fmla="*/ 12 h 96"/>
                <a:gd name="T6" fmla="*/ 7 w 71"/>
                <a:gd name="T7" fmla="*/ 12 h 96"/>
                <a:gd name="T8" fmla="*/ 9 w 71"/>
                <a:gd name="T9" fmla="*/ 7 h 96"/>
                <a:gd name="T10" fmla="*/ 5 w 71"/>
                <a:gd name="T11" fmla="*/ 2 h 96"/>
                <a:gd name="T12" fmla="*/ 3 w 71"/>
                <a:gd name="T13" fmla="*/ 0 h 96"/>
                <a:gd name="T14" fmla="*/ 0 w 71"/>
                <a:gd name="T15" fmla="*/ 6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8" name="Freeform 151"/>
            <p:cNvSpPr>
              <a:spLocks/>
            </p:cNvSpPr>
            <p:nvPr/>
          </p:nvSpPr>
          <p:spPr bwMode="auto">
            <a:xfrm>
              <a:off x="8354719" y="4467406"/>
              <a:ext cx="61742" cy="41030"/>
            </a:xfrm>
            <a:custGeom>
              <a:avLst/>
              <a:gdLst>
                <a:gd name="T0" fmla="*/ 0 w 69"/>
                <a:gd name="T1" fmla="*/ 2 h 48"/>
                <a:gd name="T2" fmla="*/ 0 w 69"/>
                <a:gd name="T3" fmla="*/ 2 h 48"/>
                <a:gd name="T4" fmla="*/ 0 w 69"/>
                <a:gd name="T5" fmla="*/ 3 h 48"/>
                <a:gd name="T6" fmla="*/ 5 w 69"/>
                <a:gd name="T7" fmla="*/ 6 h 48"/>
                <a:gd name="T8" fmla="*/ 7 w 69"/>
                <a:gd name="T9" fmla="*/ 3 h 48"/>
                <a:gd name="T10" fmla="*/ 9 w 69"/>
                <a:gd name="T11" fmla="*/ 0 h 48"/>
                <a:gd name="T12" fmla="*/ 3 w 69"/>
                <a:gd name="T13" fmla="*/ 0 h 48"/>
                <a:gd name="T14" fmla="*/ 0 w 69"/>
                <a:gd name="T15" fmla="*/ 2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699" name="Freeform 152"/>
            <p:cNvSpPr>
              <a:spLocks/>
            </p:cNvSpPr>
            <p:nvPr/>
          </p:nvSpPr>
          <p:spPr bwMode="auto">
            <a:xfrm>
              <a:off x="8629913" y="4344317"/>
              <a:ext cx="45866" cy="68383"/>
            </a:xfrm>
            <a:custGeom>
              <a:avLst/>
              <a:gdLst>
                <a:gd name="T0" fmla="*/ 0 w 52"/>
                <a:gd name="T1" fmla="*/ 6 h 79"/>
                <a:gd name="T2" fmla="*/ 0 w 52"/>
                <a:gd name="T3" fmla="*/ 6 h 79"/>
                <a:gd name="T4" fmla="*/ 0 w 52"/>
                <a:gd name="T5" fmla="*/ 8 h 79"/>
                <a:gd name="T6" fmla="*/ 3 w 52"/>
                <a:gd name="T7" fmla="*/ 10 h 79"/>
                <a:gd name="T8" fmla="*/ 7 w 52"/>
                <a:gd name="T9" fmla="*/ 0 h 79"/>
                <a:gd name="T10" fmla="*/ 5 w 52"/>
                <a:gd name="T11" fmla="*/ 0 h 79"/>
                <a:gd name="T12" fmla="*/ 0 w 52"/>
                <a:gd name="T13" fmla="*/ 6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close/>
                </a:path>
              </a:pathLst>
            </a:custGeom>
            <a:solidFill>
              <a:srgbClr val="6E6F73"/>
            </a:solidFill>
            <a:ln w="9525">
              <a:solidFill>
                <a:srgbClr val="F2F2F2"/>
              </a:solidFill>
              <a:round/>
              <a:headEnd/>
              <a:tailEnd/>
            </a:ln>
          </p:spPr>
          <p:txBody>
            <a:bodyPr/>
            <a:lstStyle/>
            <a:p>
              <a:endParaRPr lang="en-US" dirty="0">
                <a:solidFill>
                  <a:srgbClr val="575757"/>
                </a:solidFill>
              </a:endParaRPr>
            </a:p>
          </p:txBody>
        </p:sp>
        <p:sp>
          <p:nvSpPr>
            <p:cNvPr id="700" name="Freeform 153"/>
            <p:cNvSpPr>
              <a:spLocks/>
            </p:cNvSpPr>
            <p:nvPr/>
          </p:nvSpPr>
          <p:spPr bwMode="auto">
            <a:xfrm>
              <a:off x="8859240" y="4125493"/>
              <a:ext cx="61742" cy="82059"/>
            </a:xfrm>
            <a:custGeom>
              <a:avLst/>
              <a:gdLst>
                <a:gd name="T0" fmla="*/ 0 w 69"/>
                <a:gd name="T1" fmla="*/ 3 h 96"/>
                <a:gd name="T2" fmla="*/ 0 w 69"/>
                <a:gd name="T3" fmla="*/ 3 h 96"/>
                <a:gd name="T4" fmla="*/ 0 w 69"/>
                <a:gd name="T5" fmla="*/ 4 h 96"/>
                <a:gd name="T6" fmla="*/ 3 w 69"/>
                <a:gd name="T7" fmla="*/ 4 h 96"/>
                <a:gd name="T8" fmla="*/ 3 w 69"/>
                <a:gd name="T9" fmla="*/ 10 h 96"/>
                <a:gd name="T10" fmla="*/ 5 w 69"/>
                <a:gd name="T11" fmla="*/ 12 h 96"/>
                <a:gd name="T12" fmla="*/ 7 w 69"/>
                <a:gd name="T13" fmla="*/ 10 h 96"/>
                <a:gd name="T14" fmla="*/ 9 w 69"/>
                <a:gd name="T15" fmla="*/ 4 h 96"/>
                <a:gd name="T16" fmla="*/ 7 w 69"/>
                <a:gd name="T17" fmla="*/ 3 h 96"/>
                <a:gd name="T18" fmla="*/ 3 w 69"/>
                <a:gd name="T19" fmla="*/ 0 h 96"/>
                <a:gd name="T20" fmla="*/ 0 w 69"/>
                <a:gd name="T21" fmla="*/ 3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1" name="Freeform 154"/>
            <p:cNvSpPr>
              <a:spLocks/>
            </p:cNvSpPr>
            <p:nvPr/>
          </p:nvSpPr>
          <p:spPr bwMode="auto">
            <a:xfrm>
              <a:off x="8920981" y="4125493"/>
              <a:ext cx="63507" cy="27353"/>
            </a:xfrm>
            <a:custGeom>
              <a:avLst/>
              <a:gdLst>
                <a:gd name="T0" fmla="*/ 0 w 71"/>
                <a:gd name="T1" fmla="*/ 2 h 32"/>
                <a:gd name="T2" fmla="*/ 0 w 71"/>
                <a:gd name="T3" fmla="*/ 2 h 32"/>
                <a:gd name="T4" fmla="*/ 0 w 71"/>
                <a:gd name="T5" fmla="*/ 4 h 32"/>
                <a:gd name="T6" fmla="*/ 3 w 71"/>
                <a:gd name="T7" fmla="*/ 4 h 32"/>
                <a:gd name="T8" fmla="*/ 5 w 71"/>
                <a:gd name="T9" fmla="*/ 2 h 32"/>
                <a:gd name="T10" fmla="*/ 7 w 71"/>
                <a:gd name="T11" fmla="*/ 2 h 32"/>
                <a:gd name="T12" fmla="*/ 9 w 71"/>
                <a:gd name="T13" fmla="*/ 0 h 32"/>
                <a:gd name="T14" fmla="*/ 5 w 71"/>
                <a:gd name="T15" fmla="*/ 0 h 32"/>
                <a:gd name="T16" fmla="*/ 0 w 71"/>
                <a:gd name="T17" fmla="*/ 2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2" name="Freeform 155"/>
            <p:cNvSpPr>
              <a:spLocks/>
            </p:cNvSpPr>
            <p:nvPr/>
          </p:nvSpPr>
          <p:spPr bwMode="auto">
            <a:xfrm>
              <a:off x="8892757" y="3920345"/>
              <a:ext cx="259317" cy="220534"/>
            </a:xfrm>
            <a:custGeom>
              <a:avLst/>
              <a:gdLst>
                <a:gd name="T0" fmla="*/ 0 w 294"/>
                <a:gd name="T1" fmla="*/ 28 h 257"/>
                <a:gd name="T2" fmla="*/ 0 w 294"/>
                <a:gd name="T3" fmla="*/ 28 h 257"/>
                <a:gd name="T4" fmla="*/ 0 w 294"/>
                <a:gd name="T5" fmla="*/ 30 h 257"/>
                <a:gd name="T6" fmla="*/ 5 w 294"/>
                <a:gd name="T7" fmla="*/ 30 h 257"/>
                <a:gd name="T8" fmla="*/ 13 w 294"/>
                <a:gd name="T9" fmla="*/ 27 h 257"/>
                <a:gd name="T10" fmla="*/ 15 w 294"/>
                <a:gd name="T11" fmla="*/ 28 h 257"/>
                <a:gd name="T12" fmla="*/ 15 w 294"/>
                <a:gd name="T13" fmla="*/ 30 h 257"/>
                <a:gd name="T14" fmla="*/ 18 w 294"/>
                <a:gd name="T15" fmla="*/ 33 h 257"/>
                <a:gd name="T16" fmla="*/ 19 w 294"/>
                <a:gd name="T17" fmla="*/ 28 h 257"/>
                <a:gd name="T18" fmla="*/ 19 w 294"/>
                <a:gd name="T19" fmla="*/ 27 h 257"/>
                <a:gd name="T20" fmla="*/ 21 w 294"/>
                <a:gd name="T21" fmla="*/ 28 h 257"/>
                <a:gd name="T22" fmla="*/ 23 w 294"/>
                <a:gd name="T23" fmla="*/ 28 h 257"/>
                <a:gd name="T24" fmla="*/ 26 w 294"/>
                <a:gd name="T25" fmla="*/ 27 h 257"/>
                <a:gd name="T26" fmla="*/ 28 w 294"/>
                <a:gd name="T27" fmla="*/ 28 h 257"/>
                <a:gd name="T28" fmla="*/ 28 w 294"/>
                <a:gd name="T29" fmla="*/ 27 h 257"/>
                <a:gd name="T30" fmla="*/ 30 w 294"/>
                <a:gd name="T31" fmla="*/ 24 h 257"/>
                <a:gd name="T32" fmla="*/ 30 w 294"/>
                <a:gd name="T33" fmla="*/ 27 h 257"/>
                <a:gd name="T34" fmla="*/ 33 w 294"/>
                <a:gd name="T35" fmla="*/ 27 h 257"/>
                <a:gd name="T36" fmla="*/ 35 w 294"/>
                <a:gd name="T37" fmla="*/ 24 h 257"/>
                <a:gd name="T38" fmla="*/ 35 w 294"/>
                <a:gd name="T39" fmla="*/ 15 h 257"/>
                <a:gd name="T40" fmla="*/ 37 w 294"/>
                <a:gd name="T41" fmla="*/ 15 h 257"/>
                <a:gd name="T42" fmla="*/ 37 w 294"/>
                <a:gd name="T43" fmla="*/ 11 h 257"/>
                <a:gd name="T44" fmla="*/ 37 w 294"/>
                <a:gd name="T45" fmla="*/ 3 h 257"/>
                <a:gd name="T46" fmla="*/ 35 w 294"/>
                <a:gd name="T47" fmla="*/ 0 h 257"/>
                <a:gd name="T48" fmla="*/ 35 w 294"/>
                <a:gd name="T49" fmla="*/ 3 h 257"/>
                <a:gd name="T50" fmla="*/ 33 w 294"/>
                <a:gd name="T51" fmla="*/ 3 h 257"/>
                <a:gd name="T52" fmla="*/ 30 w 294"/>
                <a:gd name="T53" fmla="*/ 11 h 257"/>
                <a:gd name="T54" fmla="*/ 26 w 294"/>
                <a:gd name="T55" fmla="*/ 16 h 257"/>
                <a:gd name="T56" fmla="*/ 21 w 294"/>
                <a:gd name="T57" fmla="*/ 21 h 257"/>
                <a:gd name="T58" fmla="*/ 21 w 294"/>
                <a:gd name="T59" fmla="*/ 16 h 257"/>
                <a:gd name="T60" fmla="*/ 19 w 294"/>
                <a:gd name="T61" fmla="*/ 18 h 257"/>
                <a:gd name="T62" fmla="*/ 18 w 294"/>
                <a:gd name="T63" fmla="*/ 24 h 257"/>
                <a:gd name="T64" fmla="*/ 15 w 294"/>
                <a:gd name="T65" fmla="*/ 24 h 257"/>
                <a:gd name="T66" fmla="*/ 6 w 294"/>
                <a:gd name="T67" fmla="*/ 24 h 257"/>
                <a:gd name="T68" fmla="*/ 0 w 294"/>
                <a:gd name="T69" fmla="*/ 28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703" name="Freeform 156"/>
            <p:cNvSpPr>
              <a:spLocks/>
            </p:cNvSpPr>
            <p:nvPr/>
          </p:nvSpPr>
          <p:spPr bwMode="auto">
            <a:xfrm>
              <a:off x="9106208" y="3797256"/>
              <a:ext cx="151710" cy="123089"/>
            </a:xfrm>
            <a:custGeom>
              <a:avLst/>
              <a:gdLst>
                <a:gd name="T0" fmla="*/ 0 w 173"/>
                <a:gd name="T1" fmla="*/ 14 h 144"/>
                <a:gd name="T2" fmla="*/ 0 w 173"/>
                <a:gd name="T3" fmla="*/ 14 h 144"/>
                <a:gd name="T4" fmla="*/ 0 w 173"/>
                <a:gd name="T5" fmla="*/ 18 h 144"/>
                <a:gd name="T6" fmla="*/ 4 w 173"/>
                <a:gd name="T7" fmla="*/ 17 h 144"/>
                <a:gd name="T8" fmla="*/ 2 w 173"/>
                <a:gd name="T9" fmla="*/ 17 h 144"/>
                <a:gd name="T10" fmla="*/ 2 w 173"/>
                <a:gd name="T11" fmla="*/ 14 h 144"/>
                <a:gd name="T12" fmla="*/ 4 w 173"/>
                <a:gd name="T13" fmla="*/ 14 h 144"/>
                <a:gd name="T14" fmla="*/ 6 w 173"/>
                <a:gd name="T15" fmla="*/ 14 h 144"/>
                <a:gd name="T16" fmla="*/ 13 w 173"/>
                <a:gd name="T17" fmla="*/ 17 h 144"/>
                <a:gd name="T18" fmla="*/ 15 w 173"/>
                <a:gd name="T19" fmla="*/ 12 h 144"/>
                <a:gd name="T20" fmla="*/ 17 w 173"/>
                <a:gd name="T21" fmla="*/ 12 h 144"/>
                <a:gd name="T22" fmla="*/ 21 w 173"/>
                <a:gd name="T23" fmla="*/ 10 h 144"/>
                <a:gd name="T24" fmla="*/ 19 w 173"/>
                <a:gd name="T25" fmla="*/ 10 h 144"/>
                <a:gd name="T26" fmla="*/ 17 w 173"/>
                <a:gd name="T27" fmla="*/ 9 h 144"/>
                <a:gd name="T28" fmla="*/ 19 w 173"/>
                <a:gd name="T29" fmla="*/ 6 h 144"/>
                <a:gd name="T30" fmla="*/ 17 w 173"/>
                <a:gd name="T31" fmla="*/ 9 h 144"/>
                <a:gd name="T32" fmla="*/ 13 w 173"/>
                <a:gd name="T33" fmla="*/ 6 h 144"/>
                <a:gd name="T34" fmla="*/ 6 w 173"/>
                <a:gd name="T35" fmla="*/ 0 h 144"/>
                <a:gd name="T36" fmla="*/ 6 w 173"/>
                <a:gd name="T37" fmla="*/ 2 h 144"/>
                <a:gd name="T38" fmla="*/ 6 w 173"/>
                <a:gd name="T39" fmla="*/ 5 h 144"/>
                <a:gd name="T40" fmla="*/ 4 w 173"/>
                <a:gd name="T41" fmla="*/ 12 h 144"/>
                <a:gd name="T42" fmla="*/ 2 w 173"/>
                <a:gd name="T43" fmla="*/ 10 h 144"/>
                <a:gd name="T44" fmla="*/ 2 w 173"/>
                <a:gd name="T45" fmla="*/ 12 h 144"/>
                <a:gd name="T46" fmla="*/ 0 w 173"/>
                <a:gd name="T47" fmla="*/ 14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4" name="Freeform 157"/>
            <p:cNvSpPr>
              <a:spLocks/>
            </p:cNvSpPr>
            <p:nvPr/>
          </p:nvSpPr>
          <p:spPr bwMode="auto">
            <a:xfrm>
              <a:off x="9273794" y="3797256"/>
              <a:ext cx="45866" cy="41030"/>
            </a:xfrm>
            <a:custGeom>
              <a:avLst/>
              <a:gdLst>
                <a:gd name="T0" fmla="*/ 0 w 52"/>
                <a:gd name="T1" fmla="*/ 6 h 48"/>
                <a:gd name="T2" fmla="*/ 0 w 52"/>
                <a:gd name="T3" fmla="*/ 6 h 48"/>
                <a:gd name="T4" fmla="*/ 7 w 52"/>
                <a:gd name="T5" fmla="*/ 0 h 48"/>
                <a:gd name="T6" fmla="*/ 5 w 52"/>
                <a:gd name="T7" fmla="*/ 3 h 48"/>
                <a:gd name="T8" fmla="*/ 0 w 52"/>
                <a:gd name="T9" fmla="*/ 6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5" name="Freeform 158"/>
            <p:cNvSpPr>
              <a:spLocks/>
            </p:cNvSpPr>
            <p:nvPr/>
          </p:nvSpPr>
          <p:spPr bwMode="auto">
            <a:xfrm>
              <a:off x="9273794" y="3797256"/>
              <a:ext cx="45866" cy="41030"/>
            </a:xfrm>
            <a:custGeom>
              <a:avLst/>
              <a:gdLst>
                <a:gd name="T0" fmla="*/ 0 w 52"/>
                <a:gd name="T1" fmla="*/ 6 h 48"/>
                <a:gd name="T2" fmla="*/ 0 w 52"/>
                <a:gd name="T3" fmla="*/ 6 h 48"/>
                <a:gd name="T4" fmla="*/ 7 w 52"/>
                <a:gd name="T5" fmla="*/ 0 h 48"/>
                <a:gd name="T6" fmla="*/ 5 w 52"/>
                <a:gd name="T7" fmla="*/ 3 h 48"/>
                <a:gd name="T8" fmla="*/ 0 w 52"/>
                <a:gd name="T9" fmla="*/ 6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6" name="Freeform 159"/>
            <p:cNvSpPr>
              <a:spLocks/>
            </p:cNvSpPr>
            <p:nvPr/>
          </p:nvSpPr>
          <p:spPr bwMode="auto">
            <a:xfrm>
              <a:off x="9471369" y="3633137"/>
              <a:ext cx="29989" cy="27353"/>
            </a:xfrm>
            <a:custGeom>
              <a:avLst/>
              <a:gdLst>
                <a:gd name="T0" fmla="*/ 0 w 35"/>
                <a:gd name="T1" fmla="*/ 2 h 33"/>
                <a:gd name="T2" fmla="*/ 0 w 35"/>
                <a:gd name="T3" fmla="*/ 2 h 33"/>
                <a:gd name="T4" fmla="*/ 0 w 35"/>
                <a:gd name="T5" fmla="*/ 4 h 33"/>
                <a:gd name="T6" fmla="*/ 2 w 35"/>
                <a:gd name="T7" fmla="*/ 2 h 33"/>
                <a:gd name="T8" fmla="*/ 4 w 35"/>
                <a:gd name="T9" fmla="*/ 0 h 33"/>
                <a:gd name="T10" fmla="*/ 0 w 35"/>
                <a:gd name="T11" fmla="*/ 2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0" y="17"/>
                  </a:moveTo>
                  <a:lnTo>
                    <a:pt x="0" y="17"/>
                  </a:lnTo>
                  <a:lnTo>
                    <a:pt x="0" y="33"/>
                  </a:lnTo>
                  <a:lnTo>
                    <a:pt x="17" y="17"/>
                  </a:lnTo>
                  <a:lnTo>
                    <a:pt x="35"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7" name="Freeform 160"/>
            <p:cNvSpPr>
              <a:spLocks/>
            </p:cNvSpPr>
            <p:nvPr/>
          </p:nvSpPr>
          <p:spPr bwMode="auto">
            <a:xfrm>
              <a:off x="9042701" y="3484405"/>
              <a:ext cx="15877" cy="11967"/>
            </a:xfrm>
            <a:custGeom>
              <a:avLst/>
              <a:gdLst>
                <a:gd name="T0" fmla="*/ 0 w 18"/>
                <a:gd name="T1" fmla="*/ 0 h 15"/>
                <a:gd name="T2" fmla="*/ 0 w 18"/>
                <a:gd name="T3" fmla="*/ 0 h 15"/>
                <a:gd name="T4" fmla="*/ 2 w 18"/>
                <a:gd name="T5" fmla="*/ 1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8" name="Freeform 161"/>
            <p:cNvSpPr>
              <a:spLocks/>
            </p:cNvSpPr>
            <p:nvPr/>
          </p:nvSpPr>
          <p:spPr bwMode="auto">
            <a:xfrm>
              <a:off x="9042701" y="3484405"/>
              <a:ext cx="15877" cy="11967"/>
            </a:xfrm>
            <a:custGeom>
              <a:avLst/>
              <a:gdLst>
                <a:gd name="T0" fmla="*/ 0 w 18"/>
                <a:gd name="T1" fmla="*/ 0 h 15"/>
                <a:gd name="T2" fmla="*/ 0 w 18"/>
                <a:gd name="T3" fmla="*/ 0 h 15"/>
                <a:gd name="T4" fmla="*/ 2 w 18"/>
                <a:gd name="T5" fmla="*/ 1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09" name="Freeform 162"/>
            <p:cNvSpPr>
              <a:spLocks/>
            </p:cNvSpPr>
            <p:nvPr/>
          </p:nvSpPr>
          <p:spPr bwMode="auto">
            <a:xfrm>
              <a:off x="9152074" y="3510049"/>
              <a:ext cx="59978" cy="287207"/>
            </a:xfrm>
            <a:custGeom>
              <a:avLst/>
              <a:gdLst>
                <a:gd name="T0" fmla="*/ 0 w 69"/>
                <a:gd name="T1" fmla="*/ 5 h 336"/>
                <a:gd name="T2" fmla="*/ 0 w 69"/>
                <a:gd name="T3" fmla="*/ 5 h 336"/>
                <a:gd name="T4" fmla="*/ 0 w 69"/>
                <a:gd name="T5" fmla="*/ 14 h 336"/>
                <a:gd name="T6" fmla="*/ 2 w 69"/>
                <a:gd name="T7" fmla="*/ 17 h 336"/>
                <a:gd name="T8" fmla="*/ 0 w 69"/>
                <a:gd name="T9" fmla="*/ 28 h 336"/>
                <a:gd name="T10" fmla="*/ 2 w 69"/>
                <a:gd name="T11" fmla="*/ 33 h 336"/>
                <a:gd name="T12" fmla="*/ 0 w 69"/>
                <a:gd name="T13" fmla="*/ 39 h 336"/>
                <a:gd name="T14" fmla="*/ 2 w 69"/>
                <a:gd name="T15" fmla="*/ 42 h 336"/>
                <a:gd name="T16" fmla="*/ 2 w 69"/>
                <a:gd name="T17" fmla="*/ 39 h 336"/>
                <a:gd name="T18" fmla="*/ 6 w 69"/>
                <a:gd name="T19" fmla="*/ 41 h 336"/>
                <a:gd name="T20" fmla="*/ 6 w 69"/>
                <a:gd name="T21" fmla="*/ 39 h 336"/>
                <a:gd name="T22" fmla="*/ 2 w 69"/>
                <a:gd name="T23" fmla="*/ 33 h 336"/>
                <a:gd name="T24" fmla="*/ 4 w 69"/>
                <a:gd name="T25" fmla="*/ 26 h 336"/>
                <a:gd name="T26" fmla="*/ 6 w 69"/>
                <a:gd name="T27" fmla="*/ 26 h 336"/>
                <a:gd name="T28" fmla="*/ 8 w 69"/>
                <a:gd name="T29" fmla="*/ 26 h 336"/>
                <a:gd name="T30" fmla="*/ 4 w 69"/>
                <a:gd name="T31" fmla="*/ 12 h 336"/>
                <a:gd name="T32" fmla="*/ 4 w 69"/>
                <a:gd name="T33" fmla="*/ 3 h 336"/>
                <a:gd name="T34" fmla="*/ 4 w 69"/>
                <a:gd name="T35" fmla="*/ 0 h 336"/>
                <a:gd name="T36" fmla="*/ 2 w 69"/>
                <a:gd name="T37" fmla="*/ 0 h 336"/>
                <a:gd name="T38" fmla="*/ 2 w 69"/>
                <a:gd name="T39" fmla="*/ 3 h 336"/>
                <a:gd name="T40" fmla="*/ 0 w 69"/>
                <a:gd name="T41" fmla="*/ 5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0" name="Freeform 163"/>
            <p:cNvSpPr>
              <a:spLocks/>
            </p:cNvSpPr>
            <p:nvPr/>
          </p:nvSpPr>
          <p:spPr bwMode="auto">
            <a:xfrm>
              <a:off x="6980518" y="2226164"/>
              <a:ext cx="412790" cy="504323"/>
            </a:xfrm>
            <a:custGeom>
              <a:avLst/>
              <a:gdLst>
                <a:gd name="T0" fmla="*/ 0 w 468"/>
                <a:gd name="T1" fmla="*/ 64 h 591"/>
                <a:gd name="T2" fmla="*/ 0 w 468"/>
                <a:gd name="T3" fmla="*/ 64 h 591"/>
                <a:gd name="T4" fmla="*/ 7 w 468"/>
                <a:gd name="T5" fmla="*/ 71 h 591"/>
                <a:gd name="T6" fmla="*/ 18 w 468"/>
                <a:gd name="T7" fmla="*/ 73 h 591"/>
                <a:gd name="T8" fmla="*/ 20 w 468"/>
                <a:gd name="T9" fmla="*/ 71 h 591"/>
                <a:gd name="T10" fmla="*/ 15 w 468"/>
                <a:gd name="T11" fmla="*/ 67 h 591"/>
                <a:gd name="T12" fmla="*/ 13 w 468"/>
                <a:gd name="T13" fmla="*/ 64 h 591"/>
                <a:gd name="T14" fmla="*/ 13 w 468"/>
                <a:gd name="T15" fmla="*/ 53 h 591"/>
                <a:gd name="T16" fmla="*/ 15 w 468"/>
                <a:gd name="T17" fmla="*/ 49 h 591"/>
                <a:gd name="T18" fmla="*/ 30 w 468"/>
                <a:gd name="T19" fmla="*/ 25 h 591"/>
                <a:gd name="T20" fmla="*/ 42 w 468"/>
                <a:gd name="T21" fmla="*/ 18 h 591"/>
                <a:gd name="T22" fmla="*/ 59 w 468"/>
                <a:gd name="T23" fmla="*/ 10 h 591"/>
                <a:gd name="T24" fmla="*/ 59 w 468"/>
                <a:gd name="T25" fmla="*/ 1 h 591"/>
                <a:gd name="T26" fmla="*/ 55 w 468"/>
                <a:gd name="T27" fmla="*/ 0 h 591"/>
                <a:gd name="T28" fmla="*/ 50 w 468"/>
                <a:gd name="T29" fmla="*/ 4 h 591"/>
                <a:gd name="T30" fmla="*/ 46 w 468"/>
                <a:gd name="T31" fmla="*/ 7 h 591"/>
                <a:gd name="T32" fmla="*/ 40 w 468"/>
                <a:gd name="T33" fmla="*/ 10 h 591"/>
                <a:gd name="T34" fmla="*/ 33 w 468"/>
                <a:gd name="T35" fmla="*/ 10 h 591"/>
                <a:gd name="T36" fmla="*/ 27 w 468"/>
                <a:gd name="T37" fmla="*/ 13 h 591"/>
                <a:gd name="T38" fmla="*/ 20 w 468"/>
                <a:gd name="T39" fmla="*/ 22 h 591"/>
                <a:gd name="T40" fmla="*/ 13 w 468"/>
                <a:gd name="T41" fmla="*/ 25 h 591"/>
                <a:gd name="T42" fmla="*/ 13 w 468"/>
                <a:gd name="T43" fmla="*/ 30 h 591"/>
                <a:gd name="T44" fmla="*/ 11 w 468"/>
                <a:gd name="T45" fmla="*/ 36 h 591"/>
                <a:gd name="T46" fmla="*/ 7 w 468"/>
                <a:gd name="T47" fmla="*/ 40 h 591"/>
                <a:gd name="T48" fmla="*/ 9 w 468"/>
                <a:gd name="T49" fmla="*/ 43 h 591"/>
                <a:gd name="T50" fmla="*/ 7 w 468"/>
                <a:gd name="T51" fmla="*/ 48 h 591"/>
                <a:gd name="T52" fmla="*/ 3 w 468"/>
                <a:gd name="T53" fmla="*/ 52 h 591"/>
                <a:gd name="T54" fmla="*/ 5 w 468"/>
                <a:gd name="T55" fmla="*/ 55 h 591"/>
                <a:gd name="T56" fmla="*/ 0 w 468"/>
                <a:gd name="T57" fmla="*/ 58 h 591"/>
                <a:gd name="T58" fmla="*/ 0 w 468"/>
                <a:gd name="T59" fmla="*/ 64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8"/>
                <a:gd name="T91" fmla="*/ 0 h 591"/>
                <a:gd name="T92" fmla="*/ 468 w 46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8" h="591">
                  <a:moveTo>
                    <a:pt x="0" y="512"/>
                  </a:moveTo>
                  <a:lnTo>
                    <a:pt x="0" y="512"/>
                  </a:lnTo>
                  <a:lnTo>
                    <a:pt x="52" y="575"/>
                  </a:lnTo>
                  <a:lnTo>
                    <a:pt x="140" y="591"/>
                  </a:lnTo>
                  <a:lnTo>
                    <a:pt x="157" y="575"/>
                  </a:lnTo>
                  <a:lnTo>
                    <a:pt x="123" y="543"/>
                  </a:lnTo>
                  <a:lnTo>
                    <a:pt x="104" y="512"/>
                  </a:lnTo>
                  <a:lnTo>
                    <a:pt x="104" y="431"/>
                  </a:lnTo>
                  <a:lnTo>
                    <a:pt x="123" y="399"/>
                  </a:lnTo>
                  <a:lnTo>
                    <a:pt x="244" y="207"/>
                  </a:lnTo>
                  <a:lnTo>
                    <a:pt x="330" y="144"/>
                  </a:lnTo>
                  <a:lnTo>
                    <a:pt x="468" y="80"/>
                  </a:lnTo>
                  <a:lnTo>
                    <a:pt x="468" y="15"/>
                  </a:lnTo>
                  <a:lnTo>
                    <a:pt x="434" y="0"/>
                  </a:lnTo>
                  <a:lnTo>
                    <a:pt x="399" y="32"/>
                  </a:lnTo>
                  <a:lnTo>
                    <a:pt x="365" y="63"/>
                  </a:lnTo>
                  <a:lnTo>
                    <a:pt x="313" y="80"/>
                  </a:lnTo>
                  <a:lnTo>
                    <a:pt x="261" y="80"/>
                  </a:lnTo>
                  <a:lnTo>
                    <a:pt x="209" y="111"/>
                  </a:lnTo>
                  <a:lnTo>
                    <a:pt x="157" y="176"/>
                  </a:lnTo>
                  <a:lnTo>
                    <a:pt x="104" y="207"/>
                  </a:lnTo>
                  <a:lnTo>
                    <a:pt x="104" y="240"/>
                  </a:lnTo>
                  <a:lnTo>
                    <a:pt x="86" y="288"/>
                  </a:lnTo>
                  <a:lnTo>
                    <a:pt x="52" y="320"/>
                  </a:lnTo>
                  <a:lnTo>
                    <a:pt x="69" y="351"/>
                  </a:lnTo>
                  <a:lnTo>
                    <a:pt x="52" y="384"/>
                  </a:lnTo>
                  <a:lnTo>
                    <a:pt x="17" y="416"/>
                  </a:lnTo>
                  <a:lnTo>
                    <a:pt x="35" y="447"/>
                  </a:lnTo>
                  <a:lnTo>
                    <a:pt x="0" y="464"/>
                  </a:lnTo>
                  <a:lnTo>
                    <a:pt x="0" y="512"/>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1" name="Freeform 164"/>
            <p:cNvSpPr>
              <a:spLocks/>
            </p:cNvSpPr>
            <p:nvPr/>
          </p:nvSpPr>
          <p:spPr bwMode="auto">
            <a:xfrm>
              <a:off x="6902899" y="2786902"/>
              <a:ext cx="45866" cy="54706"/>
            </a:xfrm>
            <a:custGeom>
              <a:avLst/>
              <a:gdLst>
                <a:gd name="T0" fmla="*/ 0 w 52"/>
                <a:gd name="T1" fmla="*/ 8 h 63"/>
                <a:gd name="T2" fmla="*/ 0 w 52"/>
                <a:gd name="T3" fmla="*/ 8 h 63"/>
                <a:gd name="T4" fmla="*/ 5 w 52"/>
                <a:gd name="T5" fmla="*/ 6 h 63"/>
                <a:gd name="T6" fmla="*/ 7 w 52"/>
                <a:gd name="T7" fmla="*/ 4 h 63"/>
                <a:gd name="T8" fmla="*/ 3 w 52"/>
                <a:gd name="T9" fmla="*/ 0 h 63"/>
                <a:gd name="T10" fmla="*/ 0 w 52"/>
                <a:gd name="T11" fmla="*/ 4 h 63"/>
                <a:gd name="T12" fmla="*/ 0 w 52"/>
                <a:gd name="T13" fmla="*/ 8 h 63"/>
                <a:gd name="T14" fmla="*/ 0 60000 65536"/>
                <a:gd name="T15" fmla="*/ 0 60000 65536"/>
                <a:gd name="T16" fmla="*/ 0 60000 65536"/>
                <a:gd name="T17" fmla="*/ 0 60000 65536"/>
                <a:gd name="T18" fmla="*/ 0 60000 65536"/>
                <a:gd name="T19" fmla="*/ 0 60000 65536"/>
                <a:gd name="T20" fmla="*/ 0 60000 65536"/>
                <a:gd name="T21" fmla="*/ 0 w 52"/>
                <a:gd name="T22" fmla="*/ 0 h 63"/>
                <a:gd name="T23" fmla="*/ 52 w 52"/>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63">
                  <a:moveTo>
                    <a:pt x="0" y="63"/>
                  </a:moveTo>
                  <a:lnTo>
                    <a:pt x="0" y="63"/>
                  </a:lnTo>
                  <a:lnTo>
                    <a:pt x="34" y="48"/>
                  </a:lnTo>
                  <a:lnTo>
                    <a:pt x="52" y="31"/>
                  </a:lnTo>
                  <a:lnTo>
                    <a:pt x="17" y="0"/>
                  </a:lnTo>
                  <a:lnTo>
                    <a:pt x="0" y="31"/>
                  </a:lnTo>
                  <a:lnTo>
                    <a:pt x="0" y="6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2" name="Freeform 165"/>
            <p:cNvSpPr>
              <a:spLocks/>
            </p:cNvSpPr>
            <p:nvPr/>
          </p:nvSpPr>
          <p:spPr bwMode="auto">
            <a:xfrm>
              <a:off x="5558686" y="3345930"/>
              <a:ext cx="28225" cy="41030"/>
            </a:xfrm>
            <a:custGeom>
              <a:avLst/>
              <a:gdLst>
                <a:gd name="T0" fmla="*/ 0 w 33"/>
                <a:gd name="T1" fmla="*/ 6 h 48"/>
                <a:gd name="T2" fmla="*/ 0 w 33"/>
                <a:gd name="T3" fmla="*/ 6 h 48"/>
                <a:gd name="T4" fmla="*/ 2 w 33"/>
                <a:gd name="T5" fmla="*/ 3 h 48"/>
                <a:gd name="T6" fmla="*/ 4 w 33"/>
                <a:gd name="T7" fmla="*/ 0 h 48"/>
                <a:gd name="T8" fmla="*/ 0 w 33"/>
                <a:gd name="T9" fmla="*/ 3 h 48"/>
                <a:gd name="T10" fmla="*/ 0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0" y="48"/>
                  </a:moveTo>
                  <a:lnTo>
                    <a:pt x="0" y="48"/>
                  </a:lnTo>
                  <a:lnTo>
                    <a:pt x="18" y="18"/>
                  </a:lnTo>
                  <a:lnTo>
                    <a:pt x="33" y="0"/>
                  </a:lnTo>
                  <a:lnTo>
                    <a:pt x="0" y="18"/>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3" name="Freeform 166"/>
            <p:cNvSpPr>
              <a:spLocks/>
            </p:cNvSpPr>
            <p:nvPr/>
          </p:nvSpPr>
          <p:spPr bwMode="auto">
            <a:xfrm>
              <a:off x="5969712" y="3455342"/>
              <a:ext cx="17641" cy="29063"/>
            </a:xfrm>
            <a:custGeom>
              <a:avLst/>
              <a:gdLst>
                <a:gd name="T0" fmla="*/ 0 w 19"/>
                <a:gd name="T1" fmla="*/ 2 h 33"/>
                <a:gd name="T2" fmla="*/ 0 w 19"/>
                <a:gd name="T3" fmla="*/ 2 h 33"/>
                <a:gd name="T4" fmla="*/ 0 w 19"/>
                <a:gd name="T5" fmla="*/ 5 h 33"/>
                <a:gd name="T6" fmla="*/ 3 w 19"/>
                <a:gd name="T7" fmla="*/ 5 h 33"/>
                <a:gd name="T8" fmla="*/ 3 w 19"/>
                <a:gd name="T9" fmla="*/ 2 h 33"/>
                <a:gd name="T10" fmla="*/ 3 w 19"/>
                <a:gd name="T11" fmla="*/ 0 h 33"/>
                <a:gd name="T12" fmla="*/ 0 w 19"/>
                <a:gd name="T13" fmla="*/ 2 h 33"/>
                <a:gd name="T14" fmla="*/ 0 60000 65536"/>
                <a:gd name="T15" fmla="*/ 0 60000 65536"/>
                <a:gd name="T16" fmla="*/ 0 60000 65536"/>
                <a:gd name="T17" fmla="*/ 0 60000 65536"/>
                <a:gd name="T18" fmla="*/ 0 60000 65536"/>
                <a:gd name="T19" fmla="*/ 0 60000 65536"/>
                <a:gd name="T20" fmla="*/ 0 60000 65536"/>
                <a:gd name="T21" fmla="*/ 0 w 19"/>
                <a:gd name="T22" fmla="*/ 0 h 33"/>
                <a:gd name="T23" fmla="*/ 19 w 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3">
                  <a:moveTo>
                    <a:pt x="0" y="15"/>
                  </a:moveTo>
                  <a:lnTo>
                    <a:pt x="0" y="15"/>
                  </a:lnTo>
                  <a:lnTo>
                    <a:pt x="0" y="33"/>
                  </a:lnTo>
                  <a:lnTo>
                    <a:pt x="19" y="33"/>
                  </a:lnTo>
                  <a:lnTo>
                    <a:pt x="19" y="15"/>
                  </a:lnTo>
                  <a:lnTo>
                    <a:pt x="19" y="0"/>
                  </a:lnTo>
                  <a:lnTo>
                    <a:pt x="0" y="15"/>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4" name="Freeform 167"/>
            <p:cNvSpPr>
              <a:spLocks/>
            </p:cNvSpPr>
            <p:nvPr/>
          </p:nvSpPr>
          <p:spPr bwMode="auto">
            <a:xfrm>
              <a:off x="6001465" y="3443376"/>
              <a:ext cx="31753" cy="25644"/>
            </a:xfrm>
            <a:custGeom>
              <a:avLst/>
              <a:gdLst>
                <a:gd name="T0" fmla="*/ 0 w 37"/>
                <a:gd name="T1" fmla="*/ 2 h 30"/>
                <a:gd name="T2" fmla="*/ 0 w 37"/>
                <a:gd name="T3" fmla="*/ 2 h 30"/>
                <a:gd name="T4" fmla="*/ 0 w 37"/>
                <a:gd name="T5" fmla="*/ 4 h 30"/>
                <a:gd name="T6" fmla="*/ 4 w 37"/>
                <a:gd name="T7" fmla="*/ 4 h 30"/>
                <a:gd name="T8" fmla="*/ 4 w 37"/>
                <a:gd name="T9" fmla="*/ 2 h 30"/>
                <a:gd name="T10" fmla="*/ 4 w 37"/>
                <a:gd name="T11" fmla="*/ 0 h 30"/>
                <a:gd name="T12" fmla="*/ 0 w 37"/>
                <a:gd name="T13" fmla="*/ 2 h 30"/>
                <a:gd name="T14" fmla="*/ 0 60000 65536"/>
                <a:gd name="T15" fmla="*/ 0 60000 65536"/>
                <a:gd name="T16" fmla="*/ 0 60000 65536"/>
                <a:gd name="T17" fmla="*/ 0 60000 65536"/>
                <a:gd name="T18" fmla="*/ 0 60000 65536"/>
                <a:gd name="T19" fmla="*/ 0 60000 65536"/>
                <a:gd name="T20" fmla="*/ 0 60000 65536"/>
                <a:gd name="T21" fmla="*/ 0 w 37"/>
                <a:gd name="T22" fmla="*/ 0 h 30"/>
                <a:gd name="T23" fmla="*/ 37 w 37"/>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0">
                  <a:moveTo>
                    <a:pt x="0" y="15"/>
                  </a:moveTo>
                  <a:lnTo>
                    <a:pt x="0" y="15"/>
                  </a:lnTo>
                  <a:lnTo>
                    <a:pt x="0" y="30"/>
                  </a:lnTo>
                  <a:lnTo>
                    <a:pt x="37" y="30"/>
                  </a:lnTo>
                  <a:lnTo>
                    <a:pt x="37" y="15"/>
                  </a:lnTo>
                  <a:lnTo>
                    <a:pt x="37" y="0"/>
                  </a:lnTo>
                  <a:lnTo>
                    <a:pt x="0" y="15"/>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5" name="Freeform 168"/>
            <p:cNvSpPr>
              <a:spLocks/>
            </p:cNvSpPr>
            <p:nvPr/>
          </p:nvSpPr>
          <p:spPr bwMode="auto">
            <a:xfrm>
              <a:off x="6001465" y="3484405"/>
              <a:ext cx="31753" cy="11967"/>
            </a:xfrm>
            <a:custGeom>
              <a:avLst/>
              <a:gdLst>
                <a:gd name="T0" fmla="*/ 0 w 37"/>
                <a:gd name="T1" fmla="*/ 0 h 15"/>
                <a:gd name="T2" fmla="*/ 0 w 37"/>
                <a:gd name="T3" fmla="*/ 0 h 15"/>
                <a:gd name="T4" fmla="*/ 0 w 37"/>
                <a:gd name="T5" fmla="*/ 1 h 15"/>
                <a:gd name="T6" fmla="*/ 4 w 37"/>
                <a:gd name="T7" fmla="*/ 0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0" y="0"/>
                  </a:lnTo>
                  <a:lnTo>
                    <a:pt x="0" y="15"/>
                  </a:lnTo>
                  <a:lnTo>
                    <a:pt x="37" y="0"/>
                  </a:lnTo>
                  <a:lnTo>
                    <a:pt x="0" y="0"/>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16" name="Freeform 169"/>
            <p:cNvSpPr>
              <a:spLocks/>
            </p:cNvSpPr>
            <p:nvPr/>
          </p:nvSpPr>
          <p:spPr bwMode="auto">
            <a:xfrm>
              <a:off x="6169050" y="3373283"/>
              <a:ext cx="31753" cy="29063"/>
            </a:xfrm>
            <a:custGeom>
              <a:avLst/>
              <a:gdLst>
                <a:gd name="T0" fmla="*/ 0 w 37"/>
                <a:gd name="T1" fmla="*/ 2 h 33"/>
                <a:gd name="T2" fmla="*/ 0 w 37"/>
                <a:gd name="T3" fmla="*/ 2 h 33"/>
                <a:gd name="T4" fmla="*/ 0 w 37"/>
                <a:gd name="T5" fmla="*/ 5 h 33"/>
                <a:gd name="T6" fmla="*/ 2 w 37"/>
                <a:gd name="T7" fmla="*/ 5 h 33"/>
                <a:gd name="T8" fmla="*/ 2 w 37"/>
                <a:gd name="T9" fmla="*/ 0 h 33"/>
                <a:gd name="T10" fmla="*/ 4 w 37"/>
                <a:gd name="T11" fmla="*/ 0 h 33"/>
                <a:gd name="T12" fmla="*/ 0 w 37"/>
                <a:gd name="T13" fmla="*/ 2 h 33"/>
                <a:gd name="T14" fmla="*/ 0 60000 65536"/>
                <a:gd name="T15" fmla="*/ 0 60000 65536"/>
                <a:gd name="T16" fmla="*/ 0 60000 65536"/>
                <a:gd name="T17" fmla="*/ 0 60000 65536"/>
                <a:gd name="T18" fmla="*/ 0 60000 65536"/>
                <a:gd name="T19" fmla="*/ 0 60000 65536"/>
                <a:gd name="T20" fmla="*/ 0 60000 65536"/>
                <a:gd name="T21" fmla="*/ 0 w 37"/>
                <a:gd name="T22" fmla="*/ 0 h 33"/>
                <a:gd name="T23" fmla="*/ 37 w 3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3">
                  <a:moveTo>
                    <a:pt x="0" y="15"/>
                  </a:moveTo>
                  <a:lnTo>
                    <a:pt x="0" y="15"/>
                  </a:lnTo>
                  <a:lnTo>
                    <a:pt x="0" y="33"/>
                  </a:lnTo>
                  <a:lnTo>
                    <a:pt x="18" y="33"/>
                  </a:lnTo>
                  <a:lnTo>
                    <a:pt x="18" y="0"/>
                  </a:lnTo>
                  <a:lnTo>
                    <a:pt x="37"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7" name="Freeform 170"/>
            <p:cNvSpPr>
              <a:spLocks/>
            </p:cNvSpPr>
            <p:nvPr/>
          </p:nvSpPr>
          <p:spPr bwMode="auto">
            <a:xfrm>
              <a:off x="6260782" y="3345930"/>
              <a:ext cx="31753" cy="15386"/>
            </a:xfrm>
            <a:custGeom>
              <a:avLst/>
              <a:gdLst>
                <a:gd name="T0" fmla="*/ 0 w 37"/>
                <a:gd name="T1" fmla="*/ 0 h 18"/>
                <a:gd name="T2" fmla="*/ 0 w 37"/>
                <a:gd name="T3" fmla="*/ 0 h 18"/>
                <a:gd name="T4" fmla="*/ 0 w 37"/>
                <a:gd name="T5" fmla="*/ 2 h 18"/>
                <a:gd name="T6" fmla="*/ 4 w 37"/>
                <a:gd name="T7" fmla="*/ 0 h 18"/>
                <a:gd name="T8" fmla="*/ 2 w 37"/>
                <a:gd name="T9" fmla="*/ 0 h 18"/>
                <a:gd name="T10" fmla="*/ 0 w 37"/>
                <a:gd name="T11" fmla="*/ 0 h 18"/>
                <a:gd name="T12" fmla="*/ 0 60000 65536"/>
                <a:gd name="T13" fmla="*/ 0 60000 65536"/>
                <a:gd name="T14" fmla="*/ 0 60000 65536"/>
                <a:gd name="T15" fmla="*/ 0 60000 65536"/>
                <a:gd name="T16" fmla="*/ 0 60000 65536"/>
                <a:gd name="T17" fmla="*/ 0 60000 65536"/>
                <a:gd name="T18" fmla="*/ 0 w 37"/>
                <a:gd name="T19" fmla="*/ 0 h 18"/>
                <a:gd name="T20" fmla="*/ 37 w 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7" h="18">
                  <a:moveTo>
                    <a:pt x="0" y="0"/>
                  </a:moveTo>
                  <a:lnTo>
                    <a:pt x="0" y="0"/>
                  </a:lnTo>
                  <a:lnTo>
                    <a:pt x="0" y="18"/>
                  </a:lnTo>
                  <a:lnTo>
                    <a:pt x="37" y="0"/>
                  </a:lnTo>
                  <a:lnTo>
                    <a:pt x="19"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8" name="Freeform 171"/>
            <p:cNvSpPr>
              <a:spLocks/>
            </p:cNvSpPr>
            <p:nvPr/>
          </p:nvSpPr>
          <p:spPr bwMode="auto">
            <a:xfrm>
              <a:off x="6278422" y="3320287"/>
              <a:ext cx="14111" cy="11967"/>
            </a:xfrm>
            <a:custGeom>
              <a:avLst/>
              <a:gdLst>
                <a:gd name="T0" fmla="*/ 0 w 18"/>
                <a:gd name="T1" fmla="*/ 1 h 15"/>
                <a:gd name="T2" fmla="*/ 0 w 18"/>
                <a:gd name="T3" fmla="*/ 1 h 15"/>
                <a:gd name="T4" fmla="*/ 2 w 18"/>
                <a:gd name="T5" fmla="*/ 1 h 15"/>
                <a:gd name="T6" fmla="*/ 0 w 18"/>
                <a:gd name="T7" fmla="*/ 0 h 15"/>
                <a:gd name="T8" fmla="*/ 0 w 18"/>
                <a:gd name="T9" fmla="*/ 1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15"/>
                  </a:moveTo>
                  <a:lnTo>
                    <a:pt x="0" y="15"/>
                  </a:lnTo>
                  <a:lnTo>
                    <a:pt x="18" y="15"/>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19" name="Freeform 172"/>
            <p:cNvSpPr>
              <a:spLocks/>
            </p:cNvSpPr>
            <p:nvPr/>
          </p:nvSpPr>
          <p:spPr bwMode="auto">
            <a:xfrm>
              <a:off x="5572799" y="3345930"/>
              <a:ext cx="199339" cy="314560"/>
            </a:xfrm>
            <a:custGeom>
              <a:avLst/>
              <a:gdLst>
                <a:gd name="T0" fmla="*/ 5 w 224"/>
                <a:gd name="T1" fmla="*/ 46 h 369"/>
                <a:gd name="T2" fmla="*/ 5 w 224"/>
                <a:gd name="T3" fmla="*/ 46 h 369"/>
                <a:gd name="T4" fmla="*/ 7 w 224"/>
                <a:gd name="T5" fmla="*/ 44 h 369"/>
                <a:gd name="T6" fmla="*/ 11 w 224"/>
                <a:gd name="T7" fmla="*/ 46 h 369"/>
                <a:gd name="T8" fmla="*/ 11 w 224"/>
                <a:gd name="T9" fmla="*/ 44 h 369"/>
                <a:gd name="T10" fmla="*/ 13 w 224"/>
                <a:gd name="T11" fmla="*/ 42 h 369"/>
                <a:gd name="T12" fmla="*/ 16 w 224"/>
                <a:gd name="T13" fmla="*/ 44 h 369"/>
                <a:gd name="T14" fmla="*/ 18 w 224"/>
                <a:gd name="T15" fmla="*/ 42 h 369"/>
                <a:gd name="T16" fmla="*/ 26 w 224"/>
                <a:gd name="T17" fmla="*/ 42 h 369"/>
                <a:gd name="T18" fmla="*/ 29 w 224"/>
                <a:gd name="T19" fmla="*/ 40 h 369"/>
                <a:gd name="T20" fmla="*/ 24 w 224"/>
                <a:gd name="T21" fmla="*/ 40 h 369"/>
                <a:gd name="T22" fmla="*/ 29 w 224"/>
                <a:gd name="T23" fmla="*/ 34 h 369"/>
                <a:gd name="T24" fmla="*/ 26 w 224"/>
                <a:gd name="T25" fmla="*/ 32 h 369"/>
                <a:gd name="T26" fmla="*/ 24 w 224"/>
                <a:gd name="T27" fmla="*/ 32 h 369"/>
                <a:gd name="T28" fmla="*/ 22 w 224"/>
                <a:gd name="T29" fmla="*/ 32 h 369"/>
                <a:gd name="T30" fmla="*/ 24 w 224"/>
                <a:gd name="T31" fmla="*/ 30 h 369"/>
                <a:gd name="T32" fmla="*/ 24 w 224"/>
                <a:gd name="T33" fmla="*/ 28 h 369"/>
                <a:gd name="T34" fmla="*/ 22 w 224"/>
                <a:gd name="T35" fmla="*/ 24 h 369"/>
                <a:gd name="T36" fmla="*/ 20 w 224"/>
                <a:gd name="T37" fmla="*/ 22 h 369"/>
                <a:gd name="T38" fmla="*/ 16 w 224"/>
                <a:gd name="T39" fmla="*/ 16 h 369"/>
                <a:gd name="T40" fmla="*/ 11 w 224"/>
                <a:gd name="T41" fmla="*/ 14 h 369"/>
                <a:gd name="T42" fmla="*/ 18 w 224"/>
                <a:gd name="T43" fmla="*/ 6 h 369"/>
                <a:gd name="T44" fmla="*/ 16 w 224"/>
                <a:gd name="T45" fmla="*/ 4 h 369"/>
                <a:gd name="T46" fmla="*/ 9 w 224"/>
                <a:gd name="T47" fmla="*/ 6 h 369"/>
                <a:gd name="T48" fmla="*/ 9 w 224"/>
                <a:gd name="T49" fmla="*/ 2 h 369"/>
                <a:gd name="T50" fmla="*/ 13 w 224"/>
                <a:gd name="T51" fmla="*/ 0 h 369"/>
                <a:gd name="T52" fmla="*/ 11 w 224"/>
                <a:gd name="T53" fmla="*/ 0 h 369"/>
                <a:gd name="T54" fmla="*/ 7 w 224"/>
                <a:gd name="T55" fmla="*/ 0 h 369"/>
                <a:gd name="T56" fmla="*/ 3 w 224"/>
                <a:gd name="T57" fmla="*/ 6 h 369"/>
                <a:gd name="T58" fmla="*/ 0 w 224"/>
                <a:gd name="T59" fmla="*/ 6 h 369"/>
                <a:gd name="T60" fmla="*/ 3 w 224"/>
                <a:gd name="T61" fmla="*/ 8 h 369"/>
                <a:gd name="T62" fmla="*/ 5 w 224"/>
                <a:gd name="T63" fmla="*/ 8 h 369"/>
                <a:gd name="T64" fmla="*/ 3 w 224"/>
                <a:gd name="T65" fmla="*/ 12 h 369"/>
                <a:gd name="T66" fmla="*/ 5 w 224"/>
                <a:gd name="T67" fmla="*/ 12 h 369"/>
                <a:gd name="T68" fmla="*/ 5 w 224"/>
                <a:gd name="T69" fmla="*/ 14 h 369"/>
                <a:gd name="T70" fmla="*/ 3 w 224"/>
                <a:gd name="T71" fmla="*/ 16 h 369"/>
                <a:gd name="T72" fmla="*/ 5 w 224"/>
                <a:gd name="T73" fmla="*/ 16 h 369"/>
                <a:gd name="T74" fmla="*/ 5 w 224"/>
                <a:gd name="T75" fmla="*/ 18 h 369"/>
                <a:gd name="T76" fmla="*/ 5 w 224"/>
                <a:gd name="T77" fmla="*/ 16 h 369"/>
                <a:gd name="T78" fmla="*/ 7 w 224"/>
                <a:gd name="T79" fmla="*/ 18 h 369"/>
                <a:gd name="T80" fmla="*/ 5 w 224"/>
                <a:gd name="T81" fmla="*/ 20 h 369"/>
                <a:gd name="T82" fmla="*/ 7 w 224"/>
                <a:gd name="T83" fmla="*/ 22 h 369"/>
                <a:gd name="T84" fmla="*/ 11 w 224"/>
                <a:gd name="T85" fmla="*/ 20 h 369"/>
                <a:gd name="T86" fmla="*/ 11 w 224"/>
                <a:gd name="T87" fmla="*/ 22 h 369"/>
                <a:gd name="T88" fmla="*/ 11 w 224"/>
                <a:gd name="T89" fmla="*/ 24 h 369"/>
                <a:gd name="T90" fmla="*/ 13 w 224"/>
                <a:gd name="T91" fmla="*/ 24 h 369"/>
                <a:gd name="T92" fmla="*/ 13 w 224"/>
                <a:gd name="T93" fmla="*/ 28 h 369"/>
                <a:gd name="T94" fmla="*/ 7 w 224"/>
                <a:gd name="T95" fmla="*/ 28 h 369"/>
                <a:gd name="T96" fmla="*/ 9 w 224"/>
                <a:gd name="T97" fmla="*/ 30 h 369"/>
                <a:gd name="T98" fmla="*/ 7 w 224"/>
                <a:gd name="T99" fmla="*/ 32 h 369"/>
                <a:gd name="T100" fmla="*/ 9 w 224"/>
                <a:gd name="T101" fmla="*/ 32 h 369"/>
                <a:gd name="T102" fmla="*/ 9 w 224"/>
                <a:gd name="T103" fmla="*/ 34 h 369"/>
                <a:gd name="T104" fmla="*/ 5 w 224"/>
                <a:gd name="T105" fmla="*/ 36 h 369"/>
                <a:gd name="T106" fmla="*/ 7 w 224"/>
                <a:gd name="T107" fmla="*/ 38 h 369"/>
                <a:gd name="T108" fmla="*/ 9 w 224"/>
                <a:gd name="T109" fmla="*/ 38 h 369"/>
                <a:gd name="T110" fmla="*/ 11 w 224"/>
                <a:gd name="T111" fmla="*/ 40 h 369"/>
                <a:gd name="T112" fmla="*/ 13 w 224"/>
                <a:gd name="T113" fmla="*/ 38 h 369"/>
                <a:gd name="T114" fmla="*/ 13 w 224"/>
                <a:gd name="T115" fmla="*/ 40 h 369"/>
                <a:gd name="T116" fmla="*/ 9 w 224"/>
                <a:gd name="T117" fmla="*/ 40 h 369"/>
                <a:gd name="T118" fmla="*/ 5 w 224"/>
                <a:gd name="T119" fmla="*/ 46 h 3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4"/>
                <a:gd name="T181" fmla="*/ 0 h 369"/>
                <a:gd name="T182" fmla="*/ 224 w 224"/>
                <a:gd name="T183" fmla="*/ 369 h 3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4" h="369">
                  <a:moveTo>
                    <a:pt x="34" y="369"/>
                  </a:moveTo>
                  <a:lnTo>
                    <a:pt x="34" y="369"/>
                  </a:lnTo>
                  <a:lnTo>
                    <a:pt x="52" y="353"/>
                  </a:lnTo>
                  <a:lnTo>
                    <a:pt x="86" y="369"/>
                  </a:lnTo>
                  <a:lnTo>
                    <a:pt x="86" y="353"/>
                  </a:lnTo>
                  <a:lnTo>
                    <a:pt x="103" y="336"/>
                  </a:lnTo>
                  <a:lnTo>
                    <a:pt x="121" y="353"/>
                  </a:lnTo>
                  <a:lnTo>
                    <a:pt x="138" y="336"/>
                  </a:lnTo>
                  <a:lnTo>
                    <a:pt x="207" y="336"/>
                  </a:lnTo>
                  <a:lnTo>
                    <a:pt x="224" y="321"/>
                  </a:lnTo>
                  <a:lnTo>
                    <a:pt x="190" y="321"/>
                  </a:lnTo>
                  <a:lnTo>
                    <a:pt x="224" y="273"/>
                  </a:lnTo>
                  <a:lnTo>
                    <a:pt x="207" y="257"/>
                  </a:lnTo>
                  <a:lnTo>
                    <a:pt x="190" y="257"/>
                  </a:lnTo>
                  <a:lnTo>
                    <a:pt x="172" y="257"/>
                  </a:lnTo>
                  <a:lnTo>
                    <a:pt x="190" y="240"/>
                  </a:lnTo>
                  <a:lnTo>
                    <a:pt x="190" y="225"/>
                  </a:lnTo>
                  <a:lnTo>
                    <a:pt x="172" y="192"/>
                  </a:lnTo>
                  <a:lnTo>
                    <a:pt x="155" y="177"/>
                  </a:lnTo>
                  <a:lnTo>
                    <a:pt x="121" y="129"/>
                  </a:lnTo>
                  <a:lnTo>
                    <a:pt x="86" y="114"/>
                  </a:lnTo>
                  <a:lnTo>
                    <a:pt x="138" y="48"/>
                  </a:lnTo>
                  <a:lnTo>
                    <a:pt x="121" y="33"/>
                  </a:lnTo>
                  <a:lnTo>
                    <a:pt x="69" y="48"/>
                  </a:lnTo>
                  <a:lnTo>
                    <a:pt x="69" y="18"/>
                  </a:lnTo>
                  <a:lnTo>
                    <a:pt x="103" y="0"/>
                  </a:lnTo>
                  <a:lnTo>
                    <a:pt x="86" y="0"/>
                  </a:lnTo>
                  <a:lnTo>
                    <a:pt x="52" y="0"/>
                  </a:lnTo>
                  <a:lnTo>
                    <a:pt x="17" y="48"/>
                  </a:lnTo>
                  <a:lnTo>
                    <a:pt x="0" y="48"/>
                  </a:lnTo>
                  <a:lnTo>
                    <a:pt x="17" y="66"/>
                  </a:lnTo>
                  <a:lnTo>
                    <a:pt x="34" y="66"/>
                  </a:lnTo>
                  <a:lnTo>
                    <a:pt x="17" y="96"/>
                  </a:lnTo>
                  <a:lnTo>
                    <a:pt x="34" y="96"/>
                  </a:lnTo>
                  <a:lnTo>
                    <a:pt x="34" y="114"/>
                  </a:lnTo>
                  <a:lnTo>
                    <a:pt x="17" y="129"/>
                  </a:lnTo>
                  <a:lnTo>
                    <a:pt x="34" y="129"/>
                  </a:lnTo>
                  <a:lnTo>
                    <a:pt x="34" y="144"/>
                  </a:lnTo>
                  <a:lnTo>
                    <a:pt x="34" y="129"/>
                  </a:lnTo>
                  <a:lnTo>
                    <a:pt x="52" y="144"/>
                  </a:lnTo>
                  <a:lnTo>
                    <a:pt x="34" y="162"/>
                  </a:lnTo>
                  <a:lnTo>
                    <a:pt x="52" y="177"/>
                  </a:lnTo>
                  <a:lnTo>
                    <a:pt x="86" y="162"/>
                  </a:lnTo>
                  <a:lnTo>
                    <a:pt x="86" y="177"/>
                  </a:lnTo>
                  <a:lnTo>
                    <a:pt x="86" y="192"/>
                  </a:lnTo>
                  <a:lnTo>
                    <a:pt x="103" y="192"/>
                  </a:lnTo>
                  <a:lnTo>
                    <a:pt x="103" y="225"/>
                  </a:lnTo>
                  <a:lnTo>
                    <a:pt x="52" y="225"/>
                  </a:lnTo>
                  <a:lnTo>
                    <a:pt x="69" y="240"/>
                  </a:lnTo>
                  <a:lnTo>
                    <a:pt x="52" y="257"/>
                  </a:lnTo>
                  <a:lnTo>
                    <a:pt x="69" y="257"/>
                  </a:lnTo>
                  <a:lnTo>
                    <a:pt x="69" y="273"/>
                  </a:lnTo>
                  <a:lnTo>
                    <a:pt x="34" y="288"/>
                  </a:lnTo>
                  <a:lnTo>
                    <a:pt x="52" y="305"/>
                  </a:lnTo>
                  <a:lnTo>
                    <a:pt x="69" y="305"/>
                  </a:lnTo>
                  <a:lnTo>
                    <a:pt x="86" y="321"/>
                  </a:lnTo>
                  <a:lnTo>
                    <a:pt x="103" y="305"/>
                  </a:lnTo>
                  <a:lnTo>
                    <a:pt x="103" y="321"/>
                  </a:lnTo>
                  <a:lnTo>
                    <a:pt x="69" y="321"/>
                  </a:lnTo>
                  <a:lnTo>
                    <a:pt x="34" y="369"/>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720" name="Freeform 173"/>
            <p:cNvSpPr>
              <a:spLocks/>
            </p:cNvSpPr>
            <p:nvPr/>
          </p:nvSpPr>
          <p:spPr bwMode="auto">
            <a:xfrm>
              <a:off x="5939723" y="3879315"/>
              <a:ext cx="14111" cy="56416"/>
            </a:xfrm>
            <a:custGeom>
              <a:avLst/>
              <a:gdLst>
                <a:gd name="T0" fmla="*/ 0 w 18"/>
                <a:gd name="T1" fmla="*/ 3 h 65"/>
                <a:gd name="T2" fmla="*/ 0 w 18"/>
                <a:gd name="T3" fmla="*/ 3 h 65"/>
                <a:gd name="T4" fmla="*/ 0 w 18"/>
                <a:gd name="T5" fmla="*/ 6 h 65"/>
                <a:gd name="T6" fmla="*/ 2 w 18"/>
                <a:gd name="T7" fmla="*/ 9 h 65"/>
                <a:gd name="T8" fmla="*/ 2 w 18"/>
                <a:gd name="T9" fmla="*/ 0 h 65"/>
                <a:gd name="T10" fmla="*/ 0 w 18"/>
                <a:gd name="T11" fmla="*/ 3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1" name="Freeform 174"/>
            <p:cNvSpPr>
              <a:spLocks/>
            </p:cNvSpPr>
            <p:nvPr/>
          </p:nvSpPr>
          <p:spPr bwMode="auto">
            <a:xfrm>
              <a:off x="5923847" y="3935731"/>
              <a:ext cx="45866" cy="66673"/>
            </a:xfrm>
            <a:custGeom>
              <a:avLst/>
              <a:gdLst>
                <a:gd name="T0" fmla="*/ 0 w 52"/>
                <a:gd name="T1" fmla="*/ 0 h 79"/>
                <a:gd name="T2" fmla="*/ 0 w 52"/>
                <a:gd name="T3" fmla="*/ 0 h 79"/>
                <a:gd name="T4" fmla="*/ 3 w 52"/>
                <a:gd name="T5" fmla="*/ 8 h 79"/>
                <a:gd name="T6" fmla="*/ 3 w 52"/>
                <a:gd name="T7" fmla="*/ 9 h 79"/>
                <a:gd name="T8" fmla="*/ 5 w 52"/>
                <a:gd name="T9" fmla="*/ 8 h 79"/>
                <a:gd name="T10" fmla="*/ 7 w 52"/>
                <a:gd name="T11" fmla="*/ 2 h 79"/>
                <a:gd name="T12" fmla="*/ 5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2" name="Freeform 175"/>
            <p:cNvSpPr>
              <a:spLocks/>
            </p:cNvSpPr>
            <p:nvPr/>
          </p:nvSpPr>
          <p:spPr bwMode="auto">
            <a:xfrm>
              <a:off x="6031454" y="4017790"/>
              <a:ext cx="79383" cy="41030"/>
            </a:xfrm>
            <a:custGeom>
              <a:avLst/>
              <a:gdLst>
                <a:gd name="T0" fmla="*/ 0 w 88"/>
                <a:gd name="T1" fmla="*/ 0 h 48"/>
                <a:gd name="T2" fmla="*/ 0 w 88"/>
                <a:gd name="T3" fmla="*/ 0 h 48"/>
                <a:gd name="T4" fmla="*/ 0 w 88"/>
                <a:gd name="T5" fmla="*/ 2 h 48"/>
                <a:gd name="T6" fmla="*/ 9 w 88"/>
                <a:gd name="T7" fmla="*/ 6 h 48"/>
                <a:gd name="T8" fmla="*/ 12 w 88"/>
                <a:gd name="T9" fmla="*/ 0 h 48"/>
                <a:gd name="T10" fmla="*/ 7 w 88"/>
                <a:gd name="T11" fmla="*/ 0 h 48"/>
                <a:gd name="T12" fmla="*/ 3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3" name="Freeform 176"/>
            <p:cNvSpPr>
              <a:spLocks/>
            </p:cNvSpPr>
            <p:nvPr/>
          </p:nvSpPr>
          <p:spPr bwMode="auto">
            <a:xfrm>
              <a:off x="6246670" y="4017790"/>
              <a:ext cx="45866" cy="41030"/>
            </a:xfrm>
            <a:custGeom>
              <a:avLst/>
              <a:gdLst>
                <a:gd name="T0" fmla="*/ 0 w 52"/>
                <a:gd name="T1" fmla="*/ 2 h 48"/>
                <a:gd name="T2" fmla="*/ 0 w 52"/>
                <a:gd name="T3" fmla="*/ 2 h 48"/>
                <a:gd name="T4" fmla="*/ 3 w 52"/>
                <a:gd name="T5" fmla="*/ 2 h 48"/>
                <a:gd name="T6" fmla="*/ 3 w 52"/>
                <a:gd name="T7" fmla="*/ 6 h 48"/>
                <a:gd name="T8" fmla="*/ 5 w 52"/>
                <a:gd name="T9" fmla="*/ 6 h 48"/>
                <a:gd name="T10" fmla="*/ 7 w 52"/>
                <a:gd name="T11" fmla="*/ 6 h 48"/>
                <a:gd name="T12" fmla="*/ 5 w 52"/>
                <a:gd name="T13" fmla="*/ 2 h 48"/>
                <a:gd name="T14" fmla="*/ 7 w 52"/>
                <a:gd name="T15" fmla="*/ 3 h 48"/>
                <a:gd name="T16" fmla="*/ 7 w 52"/>
                <a:gd name="T17" fmla="*/ 2 h 48"/>
                <a:gd name="T18" fmla="*/ 3 w 52"/>
                <a:gd name="T19" fmla="*/ 0 h 48"/>
                <a:gd name="T20" fmla="*/ 0 w 52"/>
                <a:gd name="T21" fmla="*/ 2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24" name="Freeform 177"/>
            <p:cNvSpPr>
              <a:spLocks/>
            </p:cNvSpPr>
            <p:nvPr/>
          </p:nvSpPr>
          <p:spPr bwMode="auto">
            <a:xfrm>
              <a:off x="6306647" y="4084463"/>
              <a:ext cx="61742" cy="15386"/>
            </a:xfrm>
            <a:custGeom>
              <a:avLst/>
              <a:gdLst>
                <a:gd name="T0" fmla="*/ 0 w 71"/>
                <a:gd name="T1" fmla="*/ 3 h 17"/>
                <a:gd name="T2" fmla="*/ 0 w 71"/>
                <a:gd name="T3" fmla="*/ 3 h 17"/>
                <a:gd name="T4" fmla="*/ 4 w 71"/>
                <a:gd name="T5" fmla="*/ 3 h 17"/>
                <a:gd name="T6" fmla="*/ 8 w 71"/>
                <a:gd name="T7" fmla="*/ 3 h 17"/>
                <a:gd name="T8" fmla="*/ 6 w 71"/>
                <a:gd name="T9" fmla="*/ 3 h 17"/>
                <a:gd name="T10" fmla="*/ 0 w 71"/>
                <a:gd name="T11" fmla="*/ 0 h 17"/>
                <a:gd name="T12" fmla="*/ 0 w 71"/>
                <a:gd name="T13" fmla="*/ 3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5" name="Freeform 178"/>
            <p:cNvSpPr>
              <a:spLocks/>
            </p:cNvSpPr>
            <p:nvPr/>
          </p:nvSpPr>
          <p:spPr bwMode="auto">
            <a:xfrm>
              <a:off x="6505987" y="4084463"/>
              <a:ext cx="61742" cy="27353"/>
            </a:xfrm>
            <a:custGeom>
              <a:avLst/>
              <a:gdLst>
                <a:gd name="T0" fmla="*/ 0 w 70"/>
                <a:gd name="T1" fmla="*/ 2 h 32"/>
                <a:gd name="T2" fmla="*/ 0 w 70"/>
                <a:gd name="T3" fmla="*/ 2 h 32"/>
                <a:gd name="T4" fmla="*/ 2 w 70"/>
                <a:gd name="T5" fmla="*/ 4 h 32"/>
                <a:gd name="T6" fmla="*/ 4 w 70"/>
                <a:gd name="T7" fmla="*/ 4 h 32"/>
                <a:gd name="T8" fmla="*/ 6 w 70"/>
                <a:gd name="T9" fmla="*/ 2 h 32"/>
                <a:gd name="T10" fmla="*/ 9 w 70"/>
                <a:gd name="T11" fmla="*/ 0 h 32"/>
                <a:gd name="T12" fmla="*/ 0 w 70"/>
                <a:gd name="T13" fmla="*/ 2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6" name="Freeform 179"/>
            <p:cNvSpPr>
              <a:spLocks/>
            </p:cNvSpPr>
            <p:nvPr/>
          </p:nvSpPr>
          <p:spPr bwMode="auto">
            <a:xfrm>
              <a:off x="5786250" y="3961374"/>
              <a:ext cx="31753" cy="27353"/>
            </a:xfrm>
            <a:custGeom>
              <a:avLst/>
              <a:gdLst>
                <a:gd name="T0" fmla="*/ 0 w 34"/>
                <a:gd name="T1" fmla="*/ 2 h 33"/>
                <a:gd name="T2" fmla="*/ 0 w 34"/>
                <a:gd name="T3" fmla="*/ 2 h 33"/>
                <a:gd name="T4" fmla="*/ 3 w 34"/>
                <a:gd name="T5" fmla="*/ 4 h 33"/>
                <a:gd name="T6" fmla="*/ 5 w 34"/>
                <a:gd name="T7" fmla="*/ 2 h 33"/>
                <a:gd name="T8" fmla="*/ 3 w 34"/>
                <a:gd name="T9" fmla="*/ 0 h 33"/>
                <a:gd name="T10" fmla="*/ 0 w 34"/>
                <a:gd name="T11" fmla="*/ 2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7" name="Freeform 181"/>
            <p:cNvSpPr>
              <a:spLocks/>
            </p:cNvSpPr>
            <p:nvPr/>
          </p:nvSpPr>
          <p:spPr bwMode="auto">
            <a:xfrm>
              <a:off x="5327595" y="4262258"/>
              <a:ext cx="17641" cy="13677"/>
            </a:xfrm>
            <a:custGeom>
              <a:avLst/>
              <a:gdLst>
                <a:gd name="T0" fmla="*/ 0 w 20"/>
                <a:gd name="T1" fmla="*/ 0 h 15"/>
                <a:gd name="T2" fmla="*/ 0 w 20"/>
                <a:gd name="T3" fmla="*/ 0 h 15"/>
                <a:gd name="T4" fmla="*/ 0 w 20"/>
                <a:gd name="T5" fmla="*/ 2 h 15"/>
                <a:gd name="T6" fmla="*/ 3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8" name="Freeform 183"/>
            <p:cNvSpPr>
              <a:spLocks/>
            </p:cNvSpPr>
            <p:nvPr/>
          </p:nvSpPr>
          <p:spPr bwMode="auto">
            <a:xfrm>
              <a:off x="5939723" y="4822995"/>
              <a:ext cx="14111" cy="13677"/>
            </a:xfrm>
            <a:custGeom>
              <a:avLst/>
              <a:gdLst>
                <a:gd name="T0" fmla="*/ 0 w 18"/>
                <a:gd name="T1" fmla="*/ 2 h 18"/>
                <a:gd name="T2" fmla="*/ 0 w 18"/>
                <a:gd name="T3" fmla="*/ 2 h 18"/>
                <a:gd name="T4" fmla="*/ 2 w 18"/>
                <a:gd name="T5" fmla="*/ 0 h 18"/>
                <a:gd name="T6" fmla="*/ 0 w 18"/>
                <a:gd name="T7" fmla="*/ 0 h 18"/>
                <a:gd name="T8" fmla="*/ 0 w 18"/>
                <a:gd name="T9" fmla="*/ 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29" name="Freeform 184"/>
            <p:cNvSpPr>
              <a:spLocks/>
            </p:cNvSpPr>
            <p:nvPr/>
          </p:nvSpPr>
          <p:spPr bwMode="auto">
            <a:xfrm>
              <a:off x="5939723" y="4822995"/>
              <a:ext cx="14111" cy="13677"/>
            </a:xfrm>
            <a:custGeom>
              <a:avLst/>
              <a:gdLst>
                <a:gd name="T0" fmla="*/ 0 w 18"/>
                <a:gd name="T1" fmla="*/ 2 h 18"/>
                <a:gd name="T2" fmla="*/ 0 w 18"/>
                <a:gd name="T3" fmla="*/ 2 h 18"/>
                <a:gd name="T4" fmla="*/ 2 w 18"/>
                <a:gd name="T5" fmla="*/ 0 h 18"/>
                <a:gd name="T6" fmla="*/ 0 w 18"/>
                <a:gd name="T7" fmla="*/ 0 h 18"/>
                <a:gd name="T8" fmla="*/ 0 w 18"/>
                <a:gd name="T9" fmla="*/ 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0" name="Freeform 185"/>
            <p:cNvSpPr>
              <a:spLocks/>
            </p:cNvSpPr>
            <p:nvPr/>
          </p:nvSpPr>
          <p:spPr bwMode="auto">
            <a:xfrm>
              <a:off x="8462326" y="5137556"/>
              <a:ext cx="979053" cy="683827"/>
            </a:xfrm>
            <a:custGeom>
              <a:avLst/>
              <a:gdLst>
                <a:gd name="T0" fmla="*/ 7 w 1109"/>
                <a:gd name="T1" fmla="*/ 80 h 800"/>
                <a:gd name="T2" fmla="*/ 18 w 1109"/>
                <a:gd name="T3" fmla="*/ 84 h 800"/>
                <a:gd name="T4" fmla="*/ 35 w 1109"/>
                <a:gd name="T5" fmla="*/ 78 h 800"/>
                <a:gd name="T6" fmla="*/ 46 w 1109"/>
                <a:gd name="T7" fmla="*/ 72 h 800"/>
                <a:gd name="T8" fmla="*/ 72 w 1109"/>
                <a:gd name="T9" fmla="*/ 74 h 800"/>
                <a:gd name="T10" fmla="*/ 74 w 1109"/>
                <a:gd name="T11" fmla="*/ 76 h 800"/>
                <a:gd name="T12" fmla="*/ 85 w 1109"/>
                <a:gd name="T13" fmla="*/ 74 h 800"/>
                <a:gd name="T14" fmla="*/ 83 w 1109"/>
                <a:gd name="T15" fmla="*/ 84 h 800"/>
                <a:gd name="T16" fmla="*/ 85 w 1109"/>
                <a:gd name="T17" fmla="*/ 80 h 800"/>
                <a:gd name="T18" fmla="*/ 85 w 1109"/>
                <a:gd name="T19" fmla="*/ 86 h 800"/>
                <a:gd name="T20" fmla="*/ 92 w 1109"/>
                <a:gd name="T21" fmla="*/ 90 h 800"/>
                <a:gd name="T22" fmla="*/ 94 w 1109"/>
                <a:gd name="T23" fmla="*/ 94 h 800"/>
                <a:gd name="T24" fmla="*/ 102 w 1109"/>
                <a:gd name="T25" fmla="*/ 96 h 800"/>
                <a:gd name="T26" fmla="*/ 109 w 1109"/>
                <a:gd name="T27" fmla="*/ 94 h 800"/>
                <a:gd name="T28" fmla="*/ 111 w 1109"/>
                <a:gd name="T29" fmla="*/ 96 h 800"/>
                <a:gd name="T30" fmla="*/ 115 w 1109"/>
                <a:gd name="T31" fmla="*/ 100 h 800"/>
                <a:gd name="T32" fmla="*/ 126 w 1109"/>
                <a:gd name="T33" fmla="*/ 94 h 800"/>
                <a:gd name="T34" fmla="*/ 137 w 1109"/>
                <a:gd name="T35" fmla="*/ 68 h 800"/>
                <a:gd name="T36" fmla="*/ 137 w 1109"/>
                <a:gd name="T37" fmla="*/ 50 h 800"/>
                <a:gd name="T38" fmla="*/ 130 w 1109"/>
                <a:gd name="T39" fmla="*/ 42 h 800"/>
                <a:gd name="T40" fmla="*/ 126 w 1109"/>
                <a:gd name="T41" fmla="*/ 36 h 800"/>
                <a:gd name="T42" fmla="*/ 122 w 1109"/>
                <a:gd name="T43" fmla="*/ 31 h 800"/>
                <a:gd name="T44" fmla="*/ 113 w 1109"/>
                <a:gd name="T45" fmla="*/ 20 h 800"/>
                <a:gd name="T46" fmla="*/ 111 w 1109"/>
                <a:gd name="T47" fmla="*/ 13 h 800"/>
                <a:gd name="T48" fmla="*/ 105 w 1109"/>
                <a:gd name="T49" fmla="*/ 12 h 800"/>
                <a:gd name="T50" fmla="*/ 100 w 1109"/>
                <a:gd name="T51" fmla="*/ 0 h 800"/>
                <a:gd name="T52" fmla="*/ 98 w 1109"/>
                <a:gd name="T53" fmla="*/ 13 h 800"/>
                <a:gd name="T54" fmla="*/ 92 w 1109"/>
                <a:gd name="T55" fmla="*/ 22 h 800"/>
                <a:gd name="T56" fmla="*/ 81 w 1109"/>
                <a:gd name="T57" fmla="*/ 16 h 800"/>
                <a:gd name="T58" fmla="*/ 76 w 1109"/>
                <a:gd name="T59" fmla="*/ 13 h 800"/>
                <a:gd name="T60" fmla="*/ 81 w 1109"/>
                <a:gd name="T61" fmla="*/ 7 h 800"/>
                <a:gd name="T62" fmla="*/ 81 w 1109"/>
                <a:gd name="T63" fmla="*/ 4 h 800"/>
                <a:gd name="T64" fmla="*/ 79 w 1109"/>
                <a:gd name="T65" fmla="*/ 4 h 800"/>
                <a:gd name="T66" fmla="*/ 65 w 1109"/>
                <a:gd name="T67" fmla="*/ 2 h 800"/>
                <a:gd name="T68" fmla="*/ 65 w 1109"/>
                <a:gd name="T69" fmla="*/ 4 h 800"/>
                <a:gd name="T70" fmla="*/ 59 w 1109"/>
                <a:gd name="T71" fmla="*/ 6 h 800"/>
                <a:gd name="T72" fmla="*/ 57 w 1109"/>
                <a:gd name="T73" fmla="*/ 7 h 800"/>
                <a:gd name="T74" fmla="*/ 57 w 1109"/>
                <a:gd name="T75" fmla="*/ 13 h 800"/>
                <a:gd name="T76" fmla="*/ 52 w 1109"/>
                <a:gd name="T77" fmla="*/ 13 h 800"/>
                <a:gd name="T78" fmla="*/ 50 w 1109"/>
                <a:gd name="T79" fmla="*/ 10 h 800"/>
                <a:gd name="T80" fmla="*/ 44 w 1109"/>
                <a:gd name="T81" fmla="*/ 12 h 800"/>
                <a:gd name="T82" fmla="*/ 40 w 1109"/>
                <a:gd name="T83" fmla="*/ 18 h 800"/>
                <a:gd name="T84" fmla="*/ 35 w 1109"/>
                <a:gd name="T85" fmla="*/ 18 h 800"/>
                <a:gd name="T86" fmla="*/ 35 w 1109"/>
                <a:gd name="T87" fmla="*/ 22 h 800"/>
                <a:gd name="T88" fmla="*/ 31 w 1109"/>
                <a:gd name="T89" fmla="*/ 22 h 800"/>
                <a:gd name="T90" fmla="*/ 27 w 1109"/>
                <a:gd name="T91" fmla="*/ 28 h 800"/>
                <a:gd name="T92" fmla="*/ 5 w 1109"/>
                <a:gd name="T93" fmla="*/ 38 h 800"/>
                <a:gd name="T94" fmla="*/ 3 w 1109"/>
                <a:gd name="T95" fmla="*/ 38 h 800"/>
                <a:gd name="T96" fmla="*/ 0 w 1109"/>
                <a:gd name="T97" fmla="*/ 42 h 800"/>
                <a:gd name="T98" fmla="*/ 3 w 1109"/>
                <a:gd name="T99" fmla="*/ 48 h 800"/>
                <a:gd name="T100" fmla="*/ 0 w 1109"/>
                <a:gd name="T101" fmla="*/ 50 h 800"/>
                <a:gd name="T102" fmla="*/ 9 w 1109"/>
                <a:gd name="T103" fmla="*/ 70 h 800"/>
                <a:gd name="T104" fmla="*/ 7 w 1109"/>
                <a:gd name="T105" fmla="*/ 78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731" name="Freeform 186"/>
            <p:cNvSpPr>
              <a:spLocks/>
            </p:cNvSpPr>
            <p:nvPr/>
          </p:nvSpPr>
          <p:spPr bwMode="auto">
            <a:xfrm>
              <a:off x="8875117" y="5151233"/>
              <a:ext cx="29989" cy="13677"/>
            </a:xfrm>
            <a:custGeom>
              <a:avLst/>
              <a:gdLst>
                <a:gd name="T0" fmla="*/ 0 w 35"/>
                <a:gd name="T1" fmla="*/ 2 h 17"/>
                <a:gd name="T2" fmla="*/ 0 w 35"/>
                <a:gd name="T3" fmla="*/ 2 h 17"/>
                <a:gd name="T4" fmla="*/ 2 w 35"/>
                <a:gd name="T5" fmla="*/ 2 h 17"/>
                <a:gd name="T6" fmla="*/ 4 w 35"/>
                <a:gd name="T7" fmla="*/ 0 h 17"/>
                <a:gd name="T8" fmla="*/ 0 w 35"/>
                <a:gd name="T9" fmla="*/ 0 h 17"/>
                <a:gd name="T10" fmla="*/ 0 w 35"/>
                <a:gd name="T11" fmla="*/ 2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2" name="Freeform 187"/>
            <p:cNvSpPr>
              <a:spLocks/>
            </p:cNvSpPr>
            <p:nvPr/>
          </p:nvSpPr>
          <p:spPr bwMode="auto">
            <a:xfrm>
              <a:off x="9028590" y="5723938"/>
              <a:ext cx="29989" cy="15386"/>
            </a:xfrm>
            <a:custGeom>
              <a:avLst/>
              <a:gdLst>
                <a:gd name="T0" fmla="*/ 0 w 33"/>
                <a:gd name="T1" fmla="*/ 0 h 17"/>
                <a:gd name="T2" fmla="*/ 0 w 33"/>
                <a:gd name="T3" fmla="*/ 0 h 17"/>
                <a:gd name="T4" fmla="*/ 5 w 33"/>
                <a:gd name="T5" fmla="*/ 3 h 17"/>
                <a:gd name="T6" fmla="*/ 5 w 33"/>
                <a:gd name="T7" fmla="*/ 0 h 17"/>
                <a:gd name="T8" fmla="*/ 3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3" name="Freeform 188"/>
            <p:cNvSpPr>
              <a:spLocks/>
            </p:cNvSpPr>
            <p:nvPr/>
          </p:nvSpPr>
          <p:spPr bwMode="auto">
            <a:xfrm>
              <a:off x="9226164" y="5862413"/>
              <a:ext cx="93495" cy="82059"/>
            </a:xfrm>
            <a:custGeom>
              <a:avLst/>
              <a:gdLst>
                <a:gd name="T0" fmla="*/ 0 w 105"/>
                <a:gd name="T1" fmla="*/ 0 h 96"/>
                <a:gd name="T2" fmla="*/ 0 w 105"/>
                <a:gd name="T3" fmla="*/ 0 h 96"/>
                <a:gd name="T4" fmla="*/ 3 w 105"/>
                <a:gd name="T5" fmla="*/ 10 h 96"/>
                <a:gd name="T6" fmla="*/ 7 w 105"/>
                <a:gd name="T7" fmla="*/ 12 h 96"/>
                <a:gd name="T8" fmla="*/ 9 w 105"/>
                <a:gd name="T9" fmla="*/ 7 h 96"/>
                <a:gd name="T10" fmla="*/ 11 w 105"/>
                <a:gd name="T11" fmla="*/ 10 h 96"/>
                <a:gd name="T12" fmla="*/ 14 w 105"/>
                <a:gd name="T13" fmla="*/ 0 h 96"/>
                <a:gd name="T14" fmla="*/ 11 w 105"/>
                <a:gd name="T15" fmla="*/ 0 h 96"/>
                <a:gd name="T16" fmla="*/ 5 w 105"/>
                <a:gd name="T17" fmla="*/ 2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4" name="Freeform 189"/>
            <p:cNvSpPr>
              <a:spLocks/>
            </p:cNvSpPr>
            <p:nvPr/>
          </p:nvSpPr>
          <p:spPr bwMode="auto">
            <a:xfrm>
              <a:off x="9898271" y="5698294"/>
              <a:ext cx="139361" cy="189762"/>
            </a:xfrm>
            <a:custGeom>
              <a:avLst/>
              <a:gdLst>
                <a:gd name="T0" fmla="*/ 5 w 157"/>
                <a:gd name="T1" fmla="*/ 18 h 223"/>
                <a:gd name="T2" fmla="*/ 5 w 157"/>
                <a:gd name="T3" fmla="*/ 18 h 223"/>
                <a:gd name="T4" fmla="*/ 9 w 157"/>
                <a:gd name="T5" fmla="*/ 19 h 223"/>
                <a:gd name="T6" fmla="*/ 7 w 157"/>
                <a:gd name="T7" fmla="*/ 25 h 223"/>
                <a:gd name="T8" fmla="*/ 9 w 157"/>
                <a:gd name="T9" fmla="*/ 27 h 223"/>
                <a:gd name="T10" fmla="*/ 11 w 157"/>
                <a:gd name="T11" fmla="*/ 25 h 223"/>
                <a:gd name="T12" fmla="*/ 16 w 157"/>
                <a:gd name="T13" fmla="*/ 18 h 223"/>
                <a:gd name="T14" fmla="*/ 18 w 157"/>
                <a:gd name="T15" fmla="*/ 18 h 223"/>
                <a:gd name="T16" fmla="*/ 20 w 157"/>
                <a:gd name="T17" fmla="*/ 15 h 223"/>
                <a:gd name="T18" fmla="*/ 20 w 157"/>
                <a:gd name="T19" fmla="*/ 12 h 223"/>
                <a:gd name="T20" fmla="*/ 18 w 157"/>
                <a:gd name="T21" fmla="*/ 9 h 223"/>
                <a:gd name="T22" fmla="*/ 16 w 157"/>
                <a:gd name="T23" fmla="*/ 12 h 223"/>
                <a:gd name="T24" fmla="*/ 11 w 157"/>
                <a:gd name="T25" fmla="*/ 12 h 223"/>
                <a:gd name="T26" fmla="*/ 11 w 157"/>
                <a:gd name="T27" fmla="*/ 7 h 223"/>
                <a:gd name="T28" fmla="*/ 9 w 157"/>
                <a:gd name="T29" fmla="*/ 7 h 223"/>
                <a:gd name="T30" fmla="*/ 9 w 157"/>
                <a:gd name="T31" fmla="*/ 9 h 223"/>
                <a:gd name="T32" fmla="*/ 7 w 157"/>
                <a:gd name="T33" fmla="*/ 7 h 223"/>
                <a:gd name="T34" fmla="*/ 7 w 157"/>
                <a:gd name="T35" fmla="*/ 1 h 223"/>
                <a:gd name="T36" fmla="*/ 0 w 157"/>
                <a:gd name="T37" fmla="*/ 0 h 223"/>
                <a:gd name="T38" fmla="*/ 7 w 157"/>
                <a:gd name="T39" fmla="*/ 7 h 223"/>
                <a:gd name="T40" fmla="*/ 7 w 157"/>
                <a:gd name="T41" fmla="*/ 15 h 223"/>
                <a:gd name="T42" fmla="*/ 5 w 157"/>
                <a:gd name="T43" fmla="*/ 18 h 2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7"/>
                <a:gd name="T67" fmla="*/ 0 h 223"/>
                <a:gd name="T68" fmla="*/ 157 w 157"/>
                <a:gd name="T69" fmla="*/ 223 h 2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7" h="223">
                  <a:moveTo>
                    <a:pt x="34" y="144"/>
                  </a:moveTo>
                  <a:lnTo>
                    <a:pt x="34" y="144"/>
                  </a:lnTo>
                  <a:lnTo>
                    <a:pt x="69" y="159"/>
                  </a:lnTo>
                  <a:lnTo>
                    <a:pt x="52" y="207"/>
                  </a:lnTo>
                  <a:lnTo>
                    <a:pt x="69" y="223"/>
                  </a:lnTo>
                  <a:lnTo>
                    <a:pt x="86" y="207"/>
                  </a:lnTo>
                  <a:lnTo>
                    <a:pt x="121" y="144"/>
                  </a:lnTo>
                  <a:lnTo>
                    <a:pt x="140" y="144"/>
                  </a:lnTo>
                  <a:lnTo>
                    <a:pt x="157" y="127"/>
                  </a:lnTo>
                  <a:lnTo>
                    <a:pt x="157" y="96"/>
                  </a:lnTo>
                  <a:lnTo>
                    <a:pt x="140" y="79"/>
                  </a:lnTo>
                  <a:lnTo>
                    <a:pt x="121" y="96"/>
                  </a:lnTo>
                  <a:lnTo>
                    <a:pt x="86" y="96"/>
                  </a:lnTo>
                  <a:lnTo>
                    <a:pt x="86" y="63"/>
                  </a:lnTo>
                  <a:lnTo>
                    <a:pt x="69" y="63"/>
                  </a:lnTo>
                  <a:lnTo>
                    <a:pt x="69" y="79"/>
                  </a:lnTo>
                  <a:lnTo>
                    <a:pt x="52" y="63"/>
                  </a:lnTo>
                  <a:lnTo>
                    <a:pt x="52" y="15"/>
                  </a:lnTo>
                  <a:lnTo>
                    <a:pt x="0" y="0"/>
                  </a:lnTo>
                  <a:lnTo>
                    <a:pt x="52" y="63"/>
                  </a:lnTo>
                  <a:lnTo>
                    <a:pt x="52" y="127"/>
                  </a:lnTo>
                  <a:lnTo>
                    <a:pt x="34" y="144"/>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735" name="Freeform 190"/>
            <p:cNvSpPr>
              <a:spLocks/>
            </p:cNvSpPr>
            <p:nvPr/>
          </p:nvSpPr>
          <p:spPr bwMode="auto">
            <a:xfrm>
              <a:off x="9746562" y="5862413"/>
              <a:ext cx="197575" cy="177795"/>
            </a:xfrm>
            <a:custGeom>
              <a:avLst/>
              <a:gdLst>
                <a:gd name="T0" fmla="*/ 0 w 223"/>
                <a:gd name="T1" fmla="*/ 22 h 207"/>
                <a:gd name="T2" fmla="*/ 0 w 223"/>
                <a:gd name="T3" fmla="*/ 22 h 207"/>
                <a:gd name="T4" fmla="*/ 3 w 223"/>
                <a:gd name="T5" fmla="*/ 24 h 207"/>
                <a:gd name="T6" fmla="*/ 5 w 223"/>
                <a:gd name="T7" fmla="*/ 24 h 207"/>
                <a:gd name="T8" fmla="*/ 9 w 223"/>
                <a:gd name="T9" fmla="*/ 26 h 207"/>
                <a:gd name="T10" fmla="*/ 13 w 223"/>
                <a:gd name="T11" fmla="*/ 24 h 207"/>
                <a:gd name="T12" fmla="*/ 16 w 223"/>
                <a:gd name="T13" fmla="*/ 20 h 207"/>
                <a:gd name="T14" fmla="*/ 18 w 223"/>
                <a:gd name="T15" fmla="*/ 16 h 207"/>
                <a:gd name="T16" fmla="*/ 22 w 223"/>
                <a:gd name="T17" fmla="*/ 12 h 207"/>
                <a:gd name="T18" fmla="*/ 24 w 223"/>
                <a:gd name="T19" fmla="*/ 12 h 207"/>
                <a:gd name="T20" fmla="*/ 22 w 223"/>
                <a:gd name="T21" fmla="*/ 10 h 207"/>
                <a:gd name="T22" fmla="*/ 28 w 223"/>
                <a:gd name="T23" fmla="*/ 4 h 207"/>
                <a:gd name="T24" fmla="*/ 28 w 223"/>
                <a:gd name="T25" fmla="*/ 2 h 207"/>
                <a:gd name="T26" fmla="*/ 26 w 223"/>
                <a:gd name="T27" fmla="*/ 2 h 207"/>
                <a:gd name="T28" fmla="*/ 26 w 223"/>
                <a:gd name="T29" fmla="*/ 0 h 207"/>
                <a:gd name="T30" fmla="*/ 24 w 223"/>
                <a:gd name="T31" fmla="*/ 2 h 207"/>
                <a:gd name="T32" fmla="*/ 24 w 223"/>
                <a:gd name="T33" fmla="*/ 0 h 207"/>
                <a:gd name="T34" fmla="*/ 22 w 223"/>
                <a:gd name="T35" fmla="*/ 0 h 207"/>
                <a:gd name="T36" fmla="*/ 20 w 223"/>
                <a:gd name="T37" fmla="*/ 0 h 207"/>
                <a:gd name="T38" fmla="*/ 20 w 223"/>
                <a:gd name="T39" fmla="*/ 4 h 207"/>
                <a:gd name="T40" fmla="*/ 18 w 223"/>
                <a:gd name="T41" fmla="*/ 4 h 207"/>
                <a:gd name="T42" fmla="*/ 16 w 223"/>
                <a:gd name="T43" fmla="*/ 8 h 207"/>
                <a:gd name="T44" fmla="*/ 7 w 223"/>
                <a:gd name="T45" fmla="*/ 14 h 207"/>
                <a:gd name="T46" fmla="*/ 0 w 223"/>
                <a:gd name="T47" fmla="*/ 22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3"/>
                <a:gd name="T73" fmla="*/ 0 h 207"/>
                <a:gd name="T74" fmla="*/ 223 w 22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3" h="207">
                  <a:moveTo>
                    <a:pt x="0" y="174"/>
                  </a:moveTo>
                  <a:lnTo>
                    <a:pt x="0" y="174"/>
                  </a:lnTo>
                  <a:lnTo>
                    <a:pt x="17" y="192"/>
                  </a:lnTo>
                  <a:lnTo>
                    <a:pt x="34" y="192"/>
                  </a:lnTo>
                  <a:lnTo>
                    <a:pt x="69" y="207"/>
                  </a:lnTo>
                  <a:lnTo>
                    <a:pt x="104" y="192"/>
                  </a:lnTo>
                  <a:lnTo>
                    <a:pt x="121" y="159"/>
                  </a:lnTo>
                  <a:lnTo>
                    <a:pt x="138" y="127"/>
                  </a:lnTo>
                  <a:lnTo>
                    <a:pt x="171" y="96"/>
                  </a:lnTo>
                  <a:lnTo>
                    <a:pt x="188" y="96"/>
                  </a:lnTo>
                  <a:lnTo>
                    <a:pt x="171" y="79"/>
                  </a:lnTo>
                  <a:lnTo>
                    <a:pt x="223" y="31"/>
                  </a:lnTo>
                  <a:lnTo>
                    <a:pt x="223" y="15"/>
                  </a:lnTo>
                  <a:lnTo>
                    <a:pt x="205" y="15"/>
                  </a:lnTo>
                  <a:lnTo>
                    <a:pt x="205" y="0"/>
                  </a:lnTo>
                  <a:lnTo>
                    <a:pt x="188" y="15"/>
                  </a:lnTo>
                  <a:lnTo>
                    <a:pt x="188" y="0"/>
                  </a:lnTo>
                  <a:lnTo>
                    <a:pt x="171" y="0"/>
                  </a:lnTo>
                  <a:lnTo>
                    <a:pt x="153" y="0"/>
                  </a:lnTo>
                  <a:lnTo>
                    <a:pt x="153" y="31"/>
                  </a:lnTo>
                  <a:lnTo>
                    <a:pt x="138" y="31"/>
                  </a:lnTo>
                  <a:lnTo>
                    <a:pt x="121" y="63"/>
                  </a:lnTo>
                  <a:lnTo>
                    <a:pt x="52" y="111"/>
                  </a:lnTo>
                  <a:lnTo>
                    <a:pt x="0" y="17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6" name="Freeform 191"/>
            <p:cNvSpPr>
              <a:spLocks/>
            </p:cNvSpPr>
            <p:nvPr/>
          </p:nvSpPr>
          <p:spPr bwMode="auto">
            <a:xfrm>
              <a:off x="9776551" y="6040208"/>
              <a:ext cx="15877" cy="11967"/>
            </a:xfrm>
            <a:custGeom>
              <a:avLst/>
              <a:gdLst>
                <a:gd name="T0" fmla="*/ 0 w 19"/>
                <a:gd name="T1" fmla="*/ 1 h 15"/>
                <a:gd name="T2" fmla="*/ 0 w 19"/>
                <a:gd name="T3" fmla="*/ 1 h 15"/>
                <a:gd name="T4" fmla="*/ 2 w 19"/>
                <a:gd name="T5" fmla="*/ 1 h 15"/>
                <a:gd name="T6" fmla="*/ 2 w 19"/>
                <a:gd name="T7" fmla="*/ 0 h 15"/>
                <a:gd name="T8" fmla="*/ 0 w 19"/>
                <a:gd name="T9" fmla="*/ 1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0" y="15"/>
                  </a:moveTo>
                  <a:lnTo>
                    <a:pt x="0" y="15"/>
                  </a:lnTo>
                  <a:lnTo>
                    <a:pt x="19" y="15"/>
                  </a:lnTo>
                  <a:lnTo>
                    <a:pt x="19"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7" name="Freeform 192"/>
            <p:cNvSpPr>
              <a:spLocks/>
            </p:cNvSpPr>
            <p:nvPr/>
          </p:nvSpPr>
          <p:spPr bwMode="auto">
            <a:xfrm>
              <a:off x="8033661" y="4781967"/>
              <a:ext cx="261081" cy="246178"/>
            </a:xfrm>
            <a:custGeom>
              <a:avLst/>
              <a:gdLst>
                <a:gd name="T0" fmla="*/ 0 w 296"/>
                <a:gd name="T1" fmla="*/ 0 h 288"/>
                <a:gd name="T2" fmla="*/ 0 w 296"/>
                <a:gd name="T3" fmla="*/ 0 h 288"/>
                <a:gd name="T4" fmla="*/ 0 w 296"/>
                <a:gd name="T5" fmla="*/ 2 h 288"/>
                <a:gd name="T6" fmla="*/ 5 w 296"/>
                <a:gd name="T7" fmla="*/ 6 h 288"/>
                <a:gd name="T8" fmla="*/ 9 w 296"/>
                <a:gd name="T9" fmla="*/ 10 h 288"/>
                <a:gd name="T10" fmla="*/ 11 w 296"/>
                <a:gd name="T11" fmla="*/ 12 h 288"/>
                <a:gd name="T12" fmla="*/ 13 w 296"/>
                <a:gd name="T13" fmla="*/ 17 h 288"/>
                <a:gd name="T14" fmla="*/ 18 w 296"/>
                <a:gd name="T15" fmla="*/ 20 h 288"/>
                <a:gd name="T16" fmla="*/ 21 w 296"/>
                <a:gd name="T17" fmla="*/ 28 h 288"/>
                <a:gd name="T18" fmla="*/ 30 w 296"/>
                <a:gd name="T19" fmla="*/ 36 h 288"/>
                <a:gd name="T20" fmla="*/ 35 w 296"/>
                <a:gd name="T21" fmla="*/ 36 h 288"/>
                <a:gd name="T22" fmla="*/ 37 w 296"/>
                <a:gd name="T23" fmla="*/ 28 h 288"/>
                <a:gd name="T24" fmla="*/ 35 w 296"/>
                <a:gd name="T25" fmla="*/ 24 h 288"/>
                <a:gd name="T26" fmla="*/ 33 w 296"/>
                <a:gd name="T27" fmla="*/ 24 h 288"/>
                <a:gd name="T28" fmla="*/ 30 w 296"/>
                <a:gd name="T29" fmla="*/ 20 h 288"/>
                <a:gd name="T30" fmla="*/ 28 w 296"/>
                <a:gd name="T31" fmla="*/ 20 h 288"/>
                <a:gd name="T32" fmla="*/ 28 w 296"/>
                <a:gd name="T33" fmla="*/ 18 h 288"/>
                <a:gd name="T34" fmla="*/ 26 w 296"/>
                <a:gd name="T35" fmla="*/ 17 h 288"/>
                <a:gd name="T36" fmla="*/ 26 w 296"/>
                <a:gd name="T37" fmla="*/ 14 h 288"/>
                <a:gd name="T38" fmla="*/ 19 w 296"/>
                <a:gd name="T39" fmla="*/ 10 h 288"/>
                <a:gd name="T40" fmla="*/ 18 w 296"/>
                <a:gd name="T41" fmla="*/ 10 h 288"/>
                <a:gd name="T42" fmla="*/ 6 w 296"/>
                <a:gd name="T43" fmla="*/ 2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38" name="Freeform 193"/>
            <p:cNvSpPr>
              <a:spLocks/>
            </p:cNvSpPr>
            <p:nvPr/>
          </p:nvSpPr>
          <p:spPr bwMode="auto">
            <a:xfrm>
              <a:off x="8278865" y="5028144"/>
              <a:ext cx="213451" cy="54706"/>
            </a:xfrm>
            <a:custGeom>
              <a:avLst/>
              <a:gdLst>
                <a:gd name="T0" fmla="*/ 0 w 242"/>
                <a:gd name="T1" fmla="*/ 2 h 65"/>
                <a:gd name="T2" fmla="*/ 0 w 242"/>
                <a:gd name="T3" fmla="*/ 2 h 65"/>
                <a:gd name="T4" fmla="*/ 9 w 242"/>
                <a:gd name="T5" fmla="*/ 6 h 65"/>
                <a:gd name="T6" fmla="*/ 30 w 242"/>
                <a:gd name="T7" fmla="*/ 8 h 65"/>
                <a:gd name="T8" fmla="*/ 30 w 242"/>
                <a:gd name="T9" fmla="*/ 6 h 65"/>
                <a:gd name="T10" fmla="*/ 26 w 242"/>
                <a:gd name="T11" fmla="*/ 6 h 65"/>
                <a:gd name="T12" fmla="*/ 24 w 242"/>
                <a:gd name="T13" fmla="*/ 4 h 65"/>
                <a:gd name="T14" fmla="*/ 18 w 242"/>
                <a:gd name="T15" fmla="*/ 2 h 65"/>
                <a:gd name="T16" fmla="*/ 18 w 242"/>
                <a:gd name="T17" fmla="*/ 4 h 65"/>
                <a:gd name="T18" fmla="*/ 13 w 242"/>
                <a:gd name="T19" fmla="*/ 2 h 65"/>
                <a:gd name="T20" fmla="*/ 7 w 242"/>
                <a:gd name="T21" fmla="*/ 0 h 65"/>
                <a:gd name="T22" fmla="*/ 3 w 242"/>
                <a:gd name="T23" fmla="*/ 0 h 65"/>
                <a:gd name="T24" fmla="*/ 0 w 242"/>
                <a:gd name="T25" fmla="*/ 2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739" name="Freeform 194"/>
            <p:cNvSpPr>
              <a:spLocks/>
            </p:cNvSpPr>
            <p:nvPr/>
          </p:nvSpPr>
          <p:spPr bwMode="auto">
            <a:xfrm>
              <a:off x="8492316" y="5082850"/>
              <a:ext cx="31753" cy="0"/>
            </a:xfrm>
            <a:custGeom>
              <a:avLst/>
              <a:gdLst>
                <a:gd name="T0" fmla="*/ 0 w 37"/>
                <a:gd name="T1" fmla="*/ 0 w 37"/>
                <a:gd name="T2" fmla="*/ 2 w 37"/>
                <a:gd name="T3" fmla="*/ 4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0" name="Freeform 195"/>
            <p:cNvSpPr>
              <a:spLocks/>
            </p:cNvSpPr>
            <p:nvPr/>
          </p:nvSpPr>
          <p:spPr bwMode="auto">
            <a:xfrm>
              <a:off x="8538181" y="5082850"/>
              <a:ext cx="183462" cy="13677"/>
            </a:xfrm>
            <a:custGeom>
              <a:avLst/>
              <a:gdLst>
                <a:gd name="T0" fmla="*/ 0 w 208"/>
                <a:gd name="T1" fmla="*/ 2 h 16"/>
                <a:gd name="T2" fmla="*/ 0 w 208"/>
                <a:gd name="T3" fmla="*/ 2 h 16"/>
                <a:gd name="T4" fmla="*/ 3 w 208"/>
                <a:gd name="T5" fmla="*/ 2 h 16"/>
                <a:gd name="T6" fmla="*/ 11 w 208"/>
                <a:gd name="T7" fmla="*/ 0 h 16"/>
                <a:gd name="T8" fmla="*/ 20 w 208"/>
                <a:gd name="T9" fmla="*/ 2 h 16"/>
                <a:gd name="T10" fmla="*/ 26 w 208"/>
                <a:gd name="T11" fmla="*/ 0 h 16"/>
                <a:gd name="T12" fmla="*/ 22 w 208"/>
                <a:gd name="T13" fmla="*/ 0 h 16"/>
                <a:gd name="T14" fmla="*/ 15 w 208"/>
                <a:gd name="T15" fmla="*/ 0 h 16"/>
                <a:gd name="T16" fmla="*/ 11 w 208"/>
                <a:gd name="T17" fmla="*/ 0 h 16"/>
                <a:gd name="T18" fmla="*/ 5 w 208"/>
                <a:gd name="T19" fmla="*/ 0 h 16"/>
                <a:gd name="T20" fmla="*/ 7 w 208"/>
                <a:gd name="T21" fmla="*/ 0 h 16"/>
                <a:gd name="T22" fmla="*/ 0 w 208"/>
                <a:gd name="T23" fmla="*/ 0 h 16"/>
                <a:gd name="T24" fmla="*/ 0 w 208"/>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1" name="Freeform 196"/>
            <p:cNvSpPr>
              <a:spLocks/>
            </p:cNvSpPr>
            <p:nvPr/>
          </p:nvSpPr>
          <p:spPr bwMode="auto">
            <a:xfrm>
              <a:off x="8601688" y="5110203"/>
              <a:ext cx="45866" cy="13677"/>
            </a:xfrm>
            <a:custGeom>
              <a:avLst/>
              <a:gdLst>
                <a:gd name="T0" fmla="*/ 0 w 52"/>
                <a:gd name="T1" fmla="*/ 0 h 17"/>
                <a:gd name="T2" fmla="*/ 0 w 52"/>
                <a:gd name="T3" fmla="*/ 0 h 17"/>
                <a:gd name="T4" fmla="*/ 5 w 52"/>
                <a:gd name="T5" fmla="*/ 2 h 17"/>
                <a:gd name="T6" fmla="*/ 7 w 52"/>
                <a:gd name="T7" fmla="*/ 2 h 17"/>
                <a:gd name="T8" fmla="*/ 5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2" name="Freeform 197"/>
            <p:cNvSpPr>
              <a:spLocks/>
            </p:cNvSpPr>
            <p:nvPr/>
          </p:nvSpPr>
          <p:spPr bwMode="auto">
            <a:xfrm>
              <a:off x="8707531" y="5082850"/>
              <a:ext cx="91731" cy="41030"/>
            </a:xfrm>
            <a:custGeom>
              <a:avLst/>
              <a:gdLst>
                <a:gd name="T0" fmla="*/ 0 w 104"/>
                <a:gd name="T1" fmla="*/ 6 h 48"/>
                <a:gd name="T2" fmla="*/ 0 w 104"/>
                <a:gd name="T3" fmla="*/ 6 h 48"/>
                <a:gd name="T4" fmla="*/ 5 w 104"/>
                <a:gd name="T5" fmla="*/ 6 h 48"/>
                <a:gd name="T6" fmla="*/ 13 w 104"/>
                <a:gd name="T7" fmla="*/ 0 h 48"/>
                <a:gd name="T8" fmla="*/ 7 w 104"/>
                <a:gd name="T9" fmla="*/ 0 h 48"/>
                <a:gd name="T10" fmla="*/ 3 w 104"/>
                <a:gd name="T11" fmla="*/ 3 h 48"/>
                <a:gd name="T12" fmla="*/ 0 w 104"/>
                <a:gd name="T13" fmla="*/ 6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3" name="Freeform 198"/>
            <p:cNvSpPr>
              <a:spLocks/>
            </p:cNvSpPr>
            <p:nvPr/>
          </p:nvSpPr>
          <p:spPr bwMode="auto">
            <a:xfrm>
              <a:off x="8966848" y="5014468"/>
              <a:ext cx="17641" cy="41030"/>
            </a:xfrm>
            <a:custGeom>
              <a:avLst/>
              <a:gdLst>
                <a:gd name="T0" fmla="*/ 0 w 19"/>
                <a:gd name="T1" fmla="*/ 6 h 48"/>
                <a:gd name="T2" fmla="*/ 0 w 19"/>
                <a:gd name="T3" fmla="*/ 6 h 48"/>
                <a:gd name="T4" fmla="*/ 3 w 19"/>
                <a:gd name="T5" fmla="*/ 2 h 48"/>
                <a:gd name="T6" fmla="*/ 3 w 19"/>
                <a:gd name="T7" fmla="*/ 0 h 48"/>
                <a:gd name="T8" fmla="*/ 0 w 19"/>
                <a:gd name="T9" fmla="*/ 6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4" name="Freeform 199"/>
            <p:cNvSpPr>
              <a:spLocks/>
            </p:cNvSpPr>
            <p:nvPr/>
          </p:nvSpPr>
          <p:spPr bwMode="auto">
            <a:xfrm>
              <a:off x="8278865" y="4932408"/>
              <a:ext cx="31753" cy="41030"/>
            </a:xfrm>
            <a:custGeom>
              <a:avLst/>
              <a:gdLst>
                <a:gd name="T0" fmla="*/ 0 w 35"/>
                <a:gd name="T1" fmla="*/ 2 h 48"/>
                <a:gd name="T2" fmla="*/ 0 w 35"/>
                <a:gd name="T3" fmla="*/ 2 h 48"/>
                <a:gd name="T4" fmla="*/ 3 w 35"/>
                <a:gd name="T5" fmla="*/ 4 h 48"/>
                <a:gd name="T6" fmla="*/ 5 w 35"/>
                <a:gd name="T7" fmla="*/ 6 h 48"/>
                <a:gd name="T8" fmla="*/ 5 w 35"/>
                <a:gd name="T9" fmla="*/ 4 h 48"/>
                <a:gd name="T10" fmla="*/ 3 w 35"/>
                <a:gd name="T11" fmla="*/ 0 h 48"/>
                <a:gd name="T12" fmla="*/ 0 w 35"/>
                <a:gd name="T13" fmla="*/ 2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5" name="Freeform 200"/>
            <p:cNvSpPr>
              <a:spLocks/>
            </p:cNvSpPr>
            <p:nvPr/>
          </p:nvSpPr>
          <p:spPr bwMode="auto">
            <a:xfrm>
              <a:off x="8324730" y="4959761"/>
              <a:ext cx="15877" cy="13677"/>
            </a:xfrm>
            <a:custGeom>
              <a:avLst/>
              <a:gdLst>
                <a:gd name="T0" fmla="*/ 0 w 18"/>
                <a:gd name="T1" fmla="*/ 2 h 16"/>
                <a:gd name="T2" fmla="*/ 0 w 18"/>
                <a:gd name="T3" fmla="*/ 2 h 16"/>
                <a:gd name="T4" fmla="*/ 2 w 18"/>
                <a:gd name="T5" fmla="*/ 2 h 16"/>
                <a:gd name="T6" fmla="*/ 2 w 18"/>
                <a:gd name="T7" fmla="*/ 0 h 16"/>
                <a:gd name="T8" fmla="*/ 0 w 18"/>
                <a:gd name="T9" fmla="*/ 0 h 16"/>
                <a:gd name="T10" fmla="*/ 0 w 18"/>
                <a:gd name="T11" fmla="*/ 2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6" name="Freeform 201"/>
            <p:cNvSpPr>
              <a:spLocks/>
            </p:cNvSpPr>
            <p:nvPr/>
          </p:nvSpPr>
          <p:spPr bwMode="auto">
            <a:xfrm>
              <a:off x="8601688" y="4864026"/>
              <a:ext cx="151710" cy="164118"/>
            </a:xfrm>
            <a:custGeom>
              <a:avLst/>
              <a:gdLst>
                <a:gd name="T0" fmla="*/ 0 w 173"/>
                <a:gd name="T1" fmla="*/ 14 h 192"/>
                <a:gd name="T2" fmla="*/ 0 w 173"/>
                <a:gd name="T3" fmla="*/ 14 h 192"/>
                <a:gd name="T4" fmla="*/ 0 w 173"/>
                <a:gd name="T5" fmla="*/ 17 h 192"/>
                <a:gd name="T6" fmla="*/ 2 w 173"/>
                <a:gd name="T7" fmla="*/ 17 h 192"/>
                <a:gd name="T8" fmla="*/ 2 w 173"/>
                <a:gd name="T9" fmla="*/ 18 h 192"/>
                <a:gd name="T10" fmla="*/ 2 w 173"/>
                <a:gd name="T11" fmla="*/ 24 h 192"/>
                <a:gd name="T12" fmla="*/ 4 w 173"/>
                <a:gd name="T13" fmla="*/ 23 h 192"/>
                <a:gd name="T14" fmla="*/ 4 w 173"/>
                <a:gd name="T15" fmla="*/ 17 h 192"/>
                <a:gd name="T16" fmla="*/ 6 w 173"/>
                <a:gd name="T17" fmla="*/ 14 h 192"/>
                <a:gd name="T18" fmla="*/ 8 w 173"/>
                <a:gd name="T19" fmla="*/ 14 h 192"/>
                <a:gd name="T20" fmla="*/ 6 w 173"/>
                <a:gd name="T21" fmla="*/ 17 h 192"/>
                <a:gd name="T22" fmla="*/ 8 w 173"/>
                <a:gd name="T23" fmla="*/ 18 h 192"/>
                <a:gd name="T24" fmla="*/ 8 w 173"/>
                <a:gd name="T25" fmla="*/ 21 h 192"/>
                <a:gd name="T26" fmla="*/ 13 w 173"/>
                <a:gd name="T27" fmla="*/ 21 h 192"/>
                <a:gd name="T28" fmla="*/ 13 w 173"/>
                <a:gd name="T29" fmla="*/ 24 h 192"/>
                <a:gd name="T30" fmla="*/ 15 w 173"/>
                <a:gd name="T31" fmla="*/ 23 h 192"/>
                <a:gd name="T32" fmla="*/ 15 w 173"/>
                <a:gd name="T33" fmla="*/ 21 h 192"/>
                <a:gd name="T34" fmla="*/ 10 w 173"/>
                <a:gd name="T35" fmla="*/ 17 h 192"/>
                <a:gd name="T36" fmla="*/ 13 w 173"/>
                <a:gd name="T37" fmla="*/ 17 h 192"/>
                <a:gd name="T38" fmla="*/ 8 w 173"/>
                <a:gd name="T39" fmla="*/ 12 h 192"/>
                <a:gd name="T40" fmla="*/ 13 w 173"/>
                <a:gd name="T41" fmla="*/ 9 h 192"/>
                <a:gd name="T42" fmla="*/ 15 w 173"/>
                <a:gd name="T43" fmla="*/ 9 h 192"/>
                <a:gd name="T44" fmla="*/ 6 w 173"/>
                <a:gd name="T45" fmla="*/ 11 h 192"/>
                <a:gd name="T46" fmla="*/ 4 w 173"/>
                <a:gd name="T47" fmla="*/ 9 h 192"/>
                <a:gd name="T48" fmla="*/ 4 w 173"/>
                <a:gd name="T49" fmla="*/ 6 h 192"/>
                <a:gd name="T50" fmla="*/ 6 w 173"/>
                <a:gd name="T51" fmla="*/ 5 h 192"/>
                <a:gd name="T52" fmla="*/ 19 w 173"/>
                <a:gd name="T53" fmla="*/ 5 h 192"/>
                <a:gd name="T54" fmla="*/ 21 w 173"/>
                <a:gd name="T55" fmla="*/ 0 h 192"/>
                <a:gd name="T56" fmla="*/ 17 w 173"/>
                <a:gd name="T57" fmla="*/ 3 h 192"/>
                <a:gd name="T58" fmla="*/ 13 w 173"/>
                <a:gd name="T59" fmla="*/ 5 h 192"/>
                <a:gd name="T60" fmla="*/ 6 w 173"/>
                <a:gd name="T61" fmla="*/ 3 h 192"/>
                <a:gd name="T62" fmla="*/ 6 w 173"/>
                <a:gd name="T63" fmla="*/ 5 h 192"/>
                <a:gd name="T64" fmla="*/ 4 w 173"/>
                <a:gd name="T65" fmla="*/ 5 h 192"/>
                <a:gd name="T66" fmla="*/ 4 w 173"/>
                <a:gd name="T67" fmla="*/ 9 h 192"/>
                <a:gd name="T68" fmla="*/ 0 w 173"/>
                <a:gd name="T69" fmla="*/ 14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7" name="Freeform 202"/>
            <p:cNvSpPr>
              <a:spLocks/>
            </p:cNvSpPr>
            <p:nvPr/>
          </p:nvSpPr>
          <p:spPr bwMode="auto">
            <a:xfrm>
              <a:off x="8799263" y="4850348"/>
              <a:ext cx="29989" cy="68383"/>
            </a:xfrm>
            <a:custGeom>
              <a:avLst/>
              <a:gdLst>
                <a:gd name="T0" fmla="*/ 0 w 34"/>
                <a:gd name="T1" fmla="*/ 4 h 81"/>
                <a:gd name="T2" fmla="*/ 0 w 34"/>
                <a:gd name="T3" fmla="*/ 4 h 81"/>
                <a:gd name="T4" fmla="*/ 2 w 34"/>
                <a:gd name="T5" fmla="*/ 7 h 81"/>
                <a:gd name="T6" fmla="*/ 4 w 34"/>
                <a:gd name="T7" fmla="*/ 10 h 81"/>
                <a:gd name="T8" fmla="*/ 2 w 34"/>
                <a:gd name="T9" fmla="*/ 7 h 81"/>
                <a:gd name="T10" fmla="*/ 2 w 34"/>
                <a:gd name="T11" fmla="*/ 6 h 81"/>
                <a:gd name="T12" fmla="*/ 4 w 34"/>
                <a:gd name="T13" fmla="*/ 6 h 81"/>
                <a:gd name="T14" fmla="*/ 4 w 34"/>
                <a:gd name="T15" fmla="*/ 4 h 81"/>
                <a:gd name="T16" fmla="*/ 4 w 34"/>
                <a:gd name="T17" fmla="*/ 1 h 81"/>
                <a:gd name="T18" fmla="*/ 4 w 34"/>
                <a:gd name="T19" fmla="*/ 4 h 81"/>
                <a:gd name="T20" fmla="*/ 2 w 34"/>
                <a:gd name="T21" fmla="*/ 0 h 81"/>
                <a:gd name="T22" fmla="*/ 0 w 34"/>
                <a:gd name="T23" fmla="*/ 4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8" name="Freeform 203"/>
            <p:cNvSpPr>
              <a:spLocks/>
            </p:cNvSpPr>
            <p:nvPr/>
          </p:nvSpPr>
          <p:spPr bwMode="auto">
            <a:xfrm>
              <a:off x="8769273" y="4973438"/>
              <a:ext cx="29989" cy="13677"/>
            </a:xfrm>
            <a:custGeom>
              <a:avLst/>
              <a:gdLst>
                <a:gd name="T0" fmla="*/ 0 w 35"/>
                <a:gd name="T1" fmla="*/ 0 h 15"/>
                <a:gd name="T2" fmla="*/ 0 w 35"/>
                <a:gd name="T3" fmla="*/ 0 h 15"/>
                <a:gd name="T4" fmla="*/ 4 w 35"/>
                <a:gd name="T5" fmla="*/ 2 h 15"/>
                <a:gd name="T6" fmla="*/ 4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49" name="Freeform 204"/>
            <p:cNvSpPr>
              <a:spLocks/>
            </p:cNvSpPr>
            <p:nvPr/>
          </p:nvSpPr>
          <p:spPr bwMode="auto">
            <a:xfrm>
              <a:off x="8815139" y="4959761"/>
              <a:ext cx="75855" cy="27353"/>
            </a:xfrm>
            <a:custGeom>
              <a:avLst/>
              <a:gdLst>
                <a:gd name="T0" fmla="*/ 0 w 86"/>
                <a:gd name="T1" fmla="*/ 2 h 31"/>
                <a:gd name="T2" fmla="*/ 0 w 86"/>
                <a:gd name="T3" fmla="*/ 2 h 31"/>
                <a:gd name="T4" fmla="*/ 11 w 86"/>
                <a:gd name="T5" fmla="*/ 4 h 31"/>
                <a:gd name="T6" fmla="*/ 9 w 86"/>
                <a:gd name="T7" fmla="*/ 2 h 31"/>
                <a:gd name="T8" fmla="*/ 6 w 86"/>
                <a:gd name="T9" fmla="*/ 0 h 31"/>
                <a:gd name="T10" fmla="*/ 3 w 86"/>
                <a:gd name="T11" fmla="*/ 0 h 31"/>
                <a:gd name="T12" fmla="*/ 0 w 86"/>
                <a:gd name="T13" fmla="*/ 2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0" name="Freeform 205"/>
            <p:cNvSpPr>
              <a:spLocks/>
            </p:cNvSpPr>
            <p:nvPr/>
          </p:nvSpPr>
          <p:spPr bwMode="auto">
            <a:xfrm>
              <a:off x="8799263" y="4932408"/>
              <a:ext cx="29989" cy="0"/>
            </a:xfrm>
            <a:custGeom>
              <a:avLst/>
              <a:gdLst>
                <a:gd name="T0" fmla="*/ 0 w 34"/>
                <a:gd name="T1" fmla="*/ 0 w 34"/>
                <a:gd name="T2" fmla="*/ 4 w 34"/>
                <a:gd name="T3" fmla="*/ 2 w 34"/>
                <a:gd name="T4" fmla="*/ 0 w 34"/>
                <a:gd name="T5" fmla="*/ 0 60000 65536"/>
                <a:gd name="T6" fmla="*/ 0 60000 65536"/>
                <a:gd name="T7" fmla="*/ 0 60000 65536"/>
                <a:gd name="T8" fmla="*/ 0 60000 65536"/>
                <a:gd name="T9" fmla="*/ 0 60000 65536"/>
                <a:gd name="T10" fmla="*/ 0 w 34"/>
                <a:gd name="T11" fmla="*/ 34 w 34"/>
              </a:gdLst>
              <a:ahLst/>
              <a:cxnLst>
                <a:cxn ang="T5">
                  <a:pos x="T0" y="0"/>
                </a:cxn>
                <a:cxn ang="T6">
                  <a:pos x="T1" y="0"/>
                </a:cxn>
                <a:cxn ang="T7">
                  <a:pos x="T2" y="0"/>
                </a:cxn>
                <a:cxn ang="T8">
                  <a:pos x="T3" y="0"/>
                </a:cxn>
                <a:cxn ang="T9">
                  <a:pos x="T4" y="0"/>
                </a:cxn>
              </a:cxnLst>
              <a:rect l="T10" t="0" r="T11" b="0"/>
              <a:pathLst>
                <a:path w="34">
                  <a:moveTo>
                    <a:pt x="0" y="0"/>
                  </a:moveTo>
                  <a:lnTo>
                    <a:pt x="0" y="0"/>
                  </a:lnTo>
                  <a:lnTo>
                    <a:pt x="34" y="0"/>
                  </a:lnTo>
                  <a:lnTo>
                    <a:pt x="1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1" name="Freeform 206"/>
            <p:cNvSpPr>
              <a:spLocks/>
            </p:cNvSpPr>
            <p:nvPr/>
          </p:nvSpPr>
          <p:spPr bwMode="auto">
            <a:xfrm>
              <a:off x="8996837" y="4918732"/>
              <a:ext cx="15877" cy="13677"/>
            </a:xfrm>
            <a:custGeom>
              <a:avLst/>
              <a:gdLst>
                <a:gd name="T0" fmla="*/ 0 w 18"/>
                <a:gd name="T1" fmla="*/ 0 h 15"/>
                <a:gd name="T2" fmla="*/ 0 w 18"/>
                <a:gd name="T3" fmla="*/ 0 h 15"/>
                <a:gd name="T4" fmla="*/ 2 w 18"/>
                <a:gd name="T5" fmla="*/ 2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2" name="Freeform 207"/>
            <p:cNvSpPr>
              <a:spLocks/>
            </p:cNvSpPr>
            <p:nvPr/>
          </p:nvSpPr>
          <p:spPr bwMode="auto">
            <a:xfrm>
              <a:off x="8629913" y="4494759"/>
              <a:ext cx="91731" cy="123089"/>
            </a:xfrm>
            <a:custGeom>
              <a:avLst/>
              <a:gdLst>
                <a:gd name="T0" fmla="*/ 0 w 104"/>
                <a:gd name="T1" fmla="*/ 9 h 143"/>
                <a:gd name="T2" fmla="*/ 0 w 104"/>
                <a:gd name="T3" fmla="*/ 9 h 143"/>
                <a:gd name="T4" fmla="*/ 0 w 104"/>
                <a:gd name="T5" fmla="*/ 12 h 143"/>
                <a:gd name="T6" fmla="*/ 3 w 104"/>
                <a:gd name="T7" fmla="*/ 15 h 143"/>
                <a:gd name="T8" fmla="*/ 3 w 104"/>
                <a:gd name="T9" fmla="*/ 16 h 143"/>
                <a:gd name="T10" fmla="*/ 5 w 104"/>
                <a:gd name="T11" fmla="*/ 16 h 143"/>
                <a:gd name="T12" fmla="*/ 7 w 104"/>
                <a:gd name="T13" fmla="*/ 16 h 143"/>
                <a:gd name="T14" fmla="*/ 9 w 104"/>
                <a:gd name="T15" fmla="*/ 18 h 143"/>
                <a:gd name="T16" fmla="*/ 9 w 104"/>
                <a:gd name="T17" fmla="*/ 16 h 143"/>
                <a:gd name="T18" fmla="*/ 11 w 104"/>
                <a:gd name="T19" fmla="*/ 18 h 143"/>
                <a:gd name="T20" fmla="*/ 13 w 104"/>
                <a:gd name="T21" fmla="*/ 18 h 143"/>
                <a:gd name="T22" fmla="*/ 11 w 104"/>
                <a:gd name="T23" fmla="*/ 16 h 143"/>
                <a:gd name="T24" fmla="*/ 13 w 104"/>
                <a:gd name="T25" fmla="*/ 16 h 143"/>
                <a:gd name="T26" fmla="*/ 9 w 104"/>
                <a:gd name="T27" fmla="*/ 15 h 143"/>
                <a:gd name="T28" fmla="*/ 7 w 104"/>
                <a:gd name="T29" fmla="*/ 16 h 143"/>
                <a:gd name="T30" fmla="*/ 5 w 104"/>
                <a:gd name="T31" fmla="*/ 12 h 143"/>
                <a:gd name="T32" fmla="*/ 9 w 104"/>
                <a:gd name="T33" fmla="*/ 6 h 143"/>
                <a:gd name="T34" fmla="*/ 7 w 104"/>
                <a:gd name="T35" fmla="*/ 4 h 143"/>
                <a:gd name="T36" fmla="*/ 9 w 104"/>
                <a:gd name="T37" fmla="*/ 0 h 143"/>
                <a:gd name="T38" fmla="*/ 7 w 104"/>
                <a:gd name="T39" fmla="*/ 3 h 143"/>
                <a:gd name="T40" fmla="*/ 3 w 104"/>
                <a:gd name="T41" fmla="*/ 0 h 143"/>
                <a:gd name="T42" fmla="*/ 0 w 104"/>
                <a:gd name="T43" fmla="*/ 9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3" name="Freeform 208"/>
            <p:cNvSpPr>
              <a:spLocks/>
            </p:cNvSpPr>
            <p:nvPr/>
          </p:nvSpPr>
          <p:spPr bwMode="auto">
            <a:xfrm>
              <a:off x="8629913" y="4494759"/>
              <a:ext cx="91731" cy="123089"/>
            </a:xfrm>
            <a:custGeom>
              <a:avLst/>
              <a:gdLst>
                <a:gd name="T0" fmla="*/ 0 w 104"/>
                <a:gd name="T1" fmla="*/ 9 h 143"/>
                <a:gd name="T2" fmla="*/ 0 w 104"/>
                <a:gd name="T3" fmla="*/ 9 h 143"/>
                <a:gd name="T4" fmla="*/ 0 w 104"/>
                <a:gd name="T5" fmla="*/ 12 h 143"/>
                <a:gd name="T6" fmla="*/ 3 w 104"/>
                <a:gd name="T7" fmla="*/ 15 h 143"/>
                <a:gd name="T8" fmla="*/ 3 w 104"/>
                <a:gd name="T9" fmla="*/ 16 h 143"/>
                <a:gd name="T10" fmla="*/ 5 w 104"/>
                <a:gd name="T11" fmla="*/ 16 h 143"/>
                <a:gd name="T12" fmla="*/ 7 w 104"/>
                <a:gd name="T13" fmla="*/ 16 h 143"/>
                <a:gd name="T14" fmla="*/ 9 w 104"/>
                <a:gd name="T15" fmla="*/ 18 h 143"/>
                <a:gd name="T16" fmla="*/ 9 w 104"/>
                <a:gd name="T17" fmla="*/ 16 h 143"/>
                <a:gd name="T18" fmla="*/ 11 w 104"/>
                <a:gd name="T19" fmla="*/ 18 h 143"/>
                <a:gd name="T20" fmla="*/ 13 w 104"/>
                <a:gd name="T21" fmla="*/ 18 h 143"/>
                <a:gd name="T22" fmla="*/ 11 w 104"/>
                <a:gd name="T23" fmla="*/ 16 h 143"/>
                <a:gd name="T24" fmla="*/ 13 w 104"/>
                <a:gd name="T25" fmla="*/ 16 h 143"/>
                <a:gd name="T26" fmla="*/ 9 w 104"/>
                <a:gd name="T27" fmla="*/ 15 h 143"/>
                <a:gd name="T28" fmla="*/ 7 w 104"/>
                <a:gd name="T29" fmla="*/ 16 h 143"/>
                <a:gd name="T30" fmla="*/ 5 w 104"/>
                <a:gd name="T31" fmla="*/ 12 h 143"/>
                <a:gd name="T32" fmla="*/ 9 w 104"/>
                <a:gd name="T33" fmla="*/ 6 h 143"/>
                <a:gd name="T34" fmla="*/ 7 w 104"/>
                <a:gd name="T35" fmla="*/ 4 h 143"/>
                <a:gd name="T36" fmla="*/ 9 w 104"/>
                <a:gd name="T37" fmla="*/ 0 h 143"/>
                <a:gd name="T38" fmla="*/ 7 w 104"/>
                <a:gd name="T39" fmla="*/ 3 h 143"/>
                <a:gd name="T40" fmla="*/ 3 w 104"/>
                <a:gd name="T41" fmla="*/ 0 h 143"/>
                <a:gd name="T42" fmla="*/ 0 w 104"/>
                <a:gd name="T43" fmla="*/ 9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4" name="Freeform 209"/>
            <p:cNvSpPr>
              <a:spLocks/>
            </p:cNvSpPr>
            <p:nvPr/>
          </p:nvSpPr>
          <p:spPr bwMode="auto">
            <a:xfrm>
              <a:off x="8555822" y="4658877"/>
              <a:ext cx="59978" cy="68383"/>
            </a:xfrm>
            <a:custGeom>
              <a:avLst/>
              <a:gdLst>
                <a:gd name="T0" fmla="*/ 0 w 69"/>
                <a:gd name="T1" fmla="*/ 10 h 81"/>
                <a:gd name="T2" fmla="*/ 0 w 69"/>
                <a:gd name="T3" fmla="*/ 10 h 81"/>
                <a:gd name="T4" fmla="*/ 8 w 69"/>
                <a:gd name="T5" fmla="*/ 2 h 81"/>
                <a:gd name="T6" fmla="*/ 8 w 69"/>
                <a:gd name="T7" fmla="*/ 0 h 81"/>
                <a:gd name="T8" fmla="*/ 0 w 69"/>
                <a:gd name="T9" fmla="*/ 10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5" name="Freeform 210"/>
            <p:cNvSpPr>
              <a:spLocks/>
            </p:cNvSpPr>
            <p:nvPr/>
          </p:nvSpPr>
          <p:spPr bwMode="auto">
            <a:xfrm>
              <a:off x="8629913" y="4617849"/>
              <a:ext cx="31753" cy="27353"/>
            </a:xfrm>
            <a:custGeom>
              <a:avLst/>
              <a:gdLst>
                <a:gd name="T0" fmla="*/ 0 w 36"/>
                <a:gd name="T1" fmla="*/ 0 h 33"/>
                <a:gd name="T2" fmla="*/ 0 w 36"/>
                <a:gd name="T3" fmla="*/ 0 h 33"/>
                <a:gd name="T4" fmla="*/ 5 w 36"/>
                <a:gd name="T5" fmla="*/ 4 h 33"/>
                <a:gd name="T6" fmla="*/ 5 w 36"/>
                <a:gd name="T7" fmla="*/ 2 h 33"/>
                <a:gd name="T8" fmla="*/ 5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6" name="Freeform 211"/>
            <p:cNvSpPr>
              <a:spLocks/>
            </p:cNvSpPr>
            <p:nvPr/>
          </p:nvSpPr>
          <p:spPr bwMode="auto">
            <a:xfrm>
              <a:off x="8737520" y="4631524"/>
              <a:ext cx="31753" cy="54706"/>
            </a:xfrm>
            <a:custGeom>
              <a:avLst/>
              <a:gdLst>
                <a:gd name="T0" fmla="*/ 0 w 34"/>
                <a:gd name="T1" fmla="*/ 0 h 63"/>
                <a:gd name="T2" fmla="*/ 0 w 34"/>
                <a:gd name="T3" fmla="*/ 0 h 63"/>
                <a:gd name="T4" fmla="*/ 3 w 34"/>
                <a:gd name="T5" fmla="*/ 2 h 63"/>
                <a:gd name="T6" fmla="*/ 0 w 34"/>
                <a:gd name="T7" fmla="*/ 4 h 63"/>
                <a:gd name="T8" fmla="*/ 0 w 34"/>
                <a:gd name="T9" fmla="*/ 6 h 63"/>
                <a:gd name="T10" fmla="*/ 0 w 34"/>
                <a:gd name="T11" fmla="*/ 8 h 63"/>
                <a:gd name="T12" fmla="*/ 3 w 34"/>
                <a:gd name="T13" fmla="*/ 8 h 63"/>
                <a:gd name="T14" fmla="*/ 3 w 34"/>
                <a:gd name="T15" fmla="*/ 4 h 63"/>
                <a:gd name="T16" fmla="*/ 5 w 34"/>
                <a:gd name="T17" fmla="*/ 4 h 63"/>
                <a:gd name="T18" fmla="*/ 3 w 34"/>
                <a:gd name="T19" fmla="*/ 2 h 63"/>
                <a:gd name="T20" fmla="*/ 3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7" name="Freeform 212"/>
            <p:cNvSpPr>
              <a:spLocks/>
            </p:cNvSpPr>
            <p:nvPr/>
          </p:nvSpPr>
          <p:spPr bwMode="auto">
            <a:xfrm>
              <a:off x="8675778" y="4645202"/>
              <a:ext cx="61742" cy="68383"/>
            </a:xfrm>
            <a:custGeom>
              <a:avLst/>
              <a:gdLst>
                <a:gd name="T0" fmla="*/ 0 w 71"/>
                <a:gd name="T1" fmla="*/ 4 h 81"/>
                <a:gd name="T2" fmla="*/ 0 w 71"/>
                <a:gd name="T3" fmla="*/ 4 h 81"/>
                <a:gd name="T4" fmla="*/ 2 w 71"/>
                <a:gd name="T5" fmla="*/ 4 h 81"/>
                <a:gd name="T6" fmla="*/ 2 w 71"/>
                <a:gd name="T7" fmla="*/ 6 h 81"/>
                <a:gd name="T8" fmla="*/ 4 w 71"/>
                <a:gd name="T9" fmla="*/ 10 h 81"/>
                <a:gd name="T10" fmla="*/ 4 w 71"/>
                <a:gd name="T11" fmla="*/ 7 h 81"/>
                <a:gd name="T12" fmla="*/ 4 w 71"/>
                <a:gd name="T13" fmla="*/ 6 h 81"/>
                <a:gd name="T14" fmla="*/ 8 w 71"/>
                <a:gd name="T15" fmla="*/ 7 h 81"/>
                <a:gd name="T16" fmla="*/ 8 w 71"/>
                <a:gd name="T17" fmla="*/ 6 h 81"/>
                <a:gd name="T18" fmla="*/ 6 w 71"/>
                <a:gd name="T19" fmla="*/ 6 h 81"/>
                <a:gd name="T20" fmla="*/ 6 w 71"/>
                <a:gd name="T21" fmla="*/ 1 h 81"/>
                <a:gd name="T22" fmla="*/ 4 w 71"/>
                <a:gd name="T23" fmla="*/ 4 h 81"/>
                <a:gd name="T24" fmla="*/ 4 w 71"/>
                <a:gd name="T25" fmla="*/ 1 h 81"/>
                <a:gd name="T26" fmla="*/ 2 w 71"/>
                <a:gd name="T27" fmla="*/ 0 h 81"/>
                <a:gd name="T28" fmla="*/ 0 w 71"/>
                <a:gd name="T29" fmla="*/ 0 h 81"/>
                <a:gd name="T30" fmla="*/ 0 w 71"/>
                <a:gd name="T31" fmla="*/ 4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8" name="Freeform 213"/>
            <p:cNvSpPr>
              <a:spLocks/>
            </p:cNvSpPr>
            <p:nvPr/>
          </p:nvSpPr>
          <p:spPr bwMode="auto">
            <a:xfrm>
              <a:off x="8675778" y="4686230"/>
              <a:ext cx="107607" cy="95736"/>
            </a:xfrm>
            <a:custGeom>
              <a:avLst/>
              <a:gdLst>
                <a:gd name="T0" fmla="*/ 0 w 123"/>
                <a:gd name="T1" fmla="*/ 11 h 111"/>
                <a:gd name="T2" fmla="*/ 0 w 123"/>
                <a:gd name="T3" fmla="*/ 11 h 111"/>
                <a:gd name="T4" fmla="*/ 2 w 123"/>
                <a:gd name="T5" fmla="*/ 8 h 111"/>
                <a:gd name="T6" fmla="*/ 4 w 123"/>
                <a:gd name="T7" fmla="*/ 8 h 111"/>
                <a:gd name="T8" fmla="*/ 6 w 123"/>
                <a:gd name="T9" fmla="*/ 8 h 111"/>
                <a:gd name="T10" fmla="*/ 8 w 123"/>
                <a:gd name="T11" fmla="*/ 8 h 111"/>
                <a:gd name="T12" fmla="*/ 6 w 123"/>
                <a:gd name="T13" fmla="*/ 12 h 111"/>
                <a:gd name="T14" fmla="*/ 11 w 123"/>
                <a:gd name="T15" fmla="*/ 14 h 111"/>
                <a:gd name="T16" fmla="*/ 13 w 123"/>
                <a:gd name="T17" fmla="*/ 12 h 111"/>
                <a:gd name="T18" fmla="*/ 11 w 123"/>
                <a:gd name="T19" fmla="*/ 11 h 111"/>
                <a:gd name="T20" fmla="*/ 13 w 123"/>
                <a:gd name="T21" fmla="*/ 8 h 111"/>
                <a:gd name="T22" fmla="*/ 15 w 123"/>
                <a:gd name="T23" fmla="*/ 12 h 111"/>
                <a:gd name="T24" fmla="*/ 15 w 123"/>
                <a:gd name="T25" fmla="*/ 8 h 111"/>
                <a:gd name="T26" fmla="*/ 15 w 123"/>
                <a:gd name="T27" fmla="*/ 5 h 111"/>
                <a:gd name="T28" fmla="*/ 11 w 123"/>
                <a:gd name="T29" fmla="*/ 0 h 111"/>
                <a:gd name="T30" fmla="*/ 11 w 123"/>
                <a:gd name="T31" fmla="*/ 5 h 111"/>
                <a:gd name="T32" fmla="*/ 8 w 123"/>
                <a:gd name="T33" fmla="*/ 5 h 111"/>
                <a:gd name="T34" fmla="*/ 6 w 123"/>
                <a:gd name="T35" fmla="*/ 6 h 111"/>
                <a:gd name="T36" fmla="*/ 4 w 123"/>
                <a:gd name="T37" fmla="*/ 5 h 111"/>
                <a:gd name="T38" fmla="*/ 0 w 123"/>
                <a:gd name="T39" fmla="*/ 8 h 111"/>
                <a:gd name="T40" fmla="*/ 0 w 123"/>
                <a:gd name="T41" fmla="*/ 11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59" name="Freeform 214"/>
            <p:cNvSpPr>
              <a:spLocks/>
            </p:cNvSpPr>
            <p:nvPr/>
          </p:nvSpPr>
          <p:spPr bwMode="auto">
            <a:xfrm>
              <a:off x="9302018" y="4987114"/>
              <a:ext cx="107607" cy="54706"/>
            </a:xfrm>
            <a:custGeom>
              <a:avLst/>
              <a:gdLst>
                <a:gd name="T0" fmla="*/ 0 w 123"/>
                <a:gd name="T1" fmla="*/ 4 h 65"/>
                <a:gd name="T2" fmla="*/ 0 w 123"/>
                <a:gd name="T3" fmla="*/ 4 h 65"/>
                <a:gd name="T4" fmla="*/ 4 w 123"/>
                <a:gd name="T5" fmla="*/ 8 h 65"/>
                <a:gd name="T6" fmla="*/ 8 w 123"/>
                <a:gd name="T7" fmla="*/ 8 h 65"/>
                <a:gd name="T8" fmla="*/ 13 w 123"/>
                <a:gd name="T9" fmla="*/ 6 h 65"/>
                <a:gd name="T10" fmla="*/ 15 w 123"/>
                <a:gd name="T11" fmla="*/ 2 h 65"/>
                <a:gd name="T12" fmla="*/ 15 w 123"/>
                <a:gd name="T13" fmla="*/ 0 h 65"/>
                <a:gd name="T14" fmla="*/ 13 w 123"/>
                <a:gd name="T15" fmla="*/ 0 h 65"/>
                <a:gd name="T16" fmla="*/ 13 w 123"/>
                <a:gd name="T17" fmla="*/ 4 h 65"/>
                <a:gd name="T18" fmla="*/ 11 w 123"/>
                <a:gd name="T19" fmla="*/ 4 h 65"/>
                <a:gd name="T20" fmla="*/ 8 w 123"/>
                <a:gd name="T21" fmla="*/ 4 h 65"/>
                <a:gd name="T22" fmla="*/ 0 w 123"/>
                <a:gd name="T23" fmla="*/ 4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0" name="Freeform 215"/>
            <p:cNvSpPr>
              <a:spLocks/>
            </p:cNvSpPr>
            <p:nvPr/>
          </p:nvSpPr>
          <p:spPr bwMode="auto">
            <a:xfrm>
              <a:off x="9379638" y="4973438"/>
              <a:ext cx="45866" cy="27353"/>
            </a:xfrm>
            <a:custGeom>
              <a:avLst/>
              <a:gdLst>
                <a:gd name="T0" fmla="*/ 0 w 52"/>
                <a:gd name="T1" fmla="*/ 0 h 32"/>
                <a:gd name="T2" fmla="*/ 0 w 52"/>
                <a:gd name="T3" fmla="*/ 0 h 32"/>
                <a:gd name="T4" fmla="*/ 5 w 52"/>
                <a:gd name="T5" fmla="*/ 1 h 32"/>
                <a:gd name="T6" fmla="*/ 7 w 52"/>
                <a:gd name="T7" fmla="*/ 4 h 32"/>
                <a:gd name="T8" fmla="*/ 7 w 52"/>
                <a:gd name="T9" fmla="*/ 1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1" name="Freeform 216"/>
            <p:cNvSpPr>
              <a:spLocks/>
            </p:cNvSpPr>
            <p:nvPr/>
          </p:nvSpPr>
          <p:spPr bwMode="auto">
            <a:xfrm>
              <a:off x="9471369" y="5014468"/>
              <a:ext cx="29989" cy="41030"/>
            </a:xfrm>
            <a:custGeom>
              <a:avLst/>
              <a:gdLst>
                <a:gd name="T0" fmla="*/ 0 w 35"/>
                <a:gd name="T1" fmla="*/ 0 h 48"/>
                <a:gd name="T2" fmla="*/ 0 w 35"/>
                <a:gd name="T3" fmla="*/ 0 h 48"/>
                <a:gd name="T4" fmla="*/ 2 w 35"/>
                <a:gd name="T5" fmla="*/ 6 h 48"/>
                <a:gd name="T6" fmla="*/ 4 w 35"/>
                <a:gd name="T7" fmla="*/ 4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2" name="Freeform 217"/>
            <p:cNvSpPr>
              <a:spLocks/>
            </p:cNvSpPr>
            <p:nvPr/>
          </p:nvSpPr>
          <p:spPr bwMode="auto">
            <a:xfrm>
              <a:off x="9577212" y="5096527"/>
              <a:ext cx="31753" cy="13677"/>
            </a:xfrm>
            <a:custGeom>
              <a:avLst/>
              <a:gdLst>
                <a:gd name="T0" fmla="*/ 0 w 34"/>
                <a:gd name="T1" fmla="*/ 0 h 15"/>
                <a:gd name="T2" fmla="*/ 0 w 34"/>
                <a:gd name="T3" fmla="*/ 0 h 15"/>
                <a:gd name="T4" fmla="*/ 0 w 34"/>
                <a:gd name="T5" fmla="*/ 2 h 15"/>
                <a:gd name="T6" fmla="*/ 5 w 34"/>
                <a:gd name="T7" fmla="*/ 2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3" name="Freeform 218"/>
            <p:cNvSpPr>
              <a:spLocks/>
            </p:cNvSpPr>
            <p:nvPr/>
          </p:nvSpPr>
          <p:spPr bwMode="auto">
            <a:xfrm>
              <a:off x="9760675" y="5219616"/>
              <a:ext cx="15877" cy="27353"/>
            </a:xfrm>
            <a:custGeom>
              <a:avLst/>
              <a:gdLst>
                <a:gd name="T0" fmla="*/ 0 w 18"/>
                <a:gd name="T1" fmla="*/ 0 h 32"/>
                <a:gd name="T2" fmla="*/ 0 w 18"/>
                <a:gd name="T3" fmla="*/ 0 h 32"/>
                <a:gd name="T4" fmla="*/ 0 w 18"/>
                <a:gd name="T5" fmla="*/ 4 h 32"/>
                <a:gd name="T6" fmla="*/ 2 w 18"/>
                <a:gd name="T7" fmla="*/ 1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4" name="Freeform 219"/>
            <p:cNvSpPr>
              <a:spLocks/>
            </p:cNvSpPr>
            <p:nvPr/>
          </p:nvSpPr>
          <p:spPr bwMode="auto">
            <a:xfrm>
              <a:off x="9702460" y="5342704"/>
              <a:ext cx="58213" cy="52997"/>
            </a:xfrm>
            <a:custGeom>
              <a:avLst/>
              <a:gdLst>
                <a:gd name="T0" fmla="*/ 0 w 67"/>
                <a:gd name="T1" fmla="*/ 0 h 63"/>
                <a:gd name="T2" fmla="*/ 0 w 67"/>
                <a:gd name="T3" fmla="*/ 0 h 63"/>
                <a:gd name="T4" fmla="*/ 2 w 67"/>
                <a:gd name="T5" fmla="*/ 4 h 63"/>
                <a:gd name="T6" fmla="*/ 6 w 67"/>
                <a:gd name="T7" fmla="*/ 7 h 63"/>
                <a:gd name="T8" fmla="*/ 8 w 67"/>
                <a:gd name="T9" fmla="*/ 7 h 63"/>
                <a:gd name="T10" fmla="*/ 2 w 67"/>
                <a:gd name="T11" fmla="*/ 1 h 63"/>
                <a:gd name="T12" fmla="*/ 0 w 67"/>
                <a:gd name="T13" fmla="*/ 0 h 63"/>
                <a:gd name="T14" fmla="*/ 0 60000 65536"/>
                <a:gd name="T15" fmla="*/ 0 60000 65536"/>
                <a:gd name="T16" fmla="*/ 0 60000 65536"/>
                <a:gd name="T17" fmla="*/ 0 60000 65536"/>
                <a:gd name="T18" fmla="*/ 0 60000 65536"/>
                <a:gd name="T19" fmla="*/ 0 60000 65536"/>
                <a:gd name="T20" fmla="*/ 0 60000 65536"/>
                <a:gd name="T21" fmla="*/ 0 w 67"/>
                <a:gd name="T22" fmla="*/ 0 h 63"/>
                <a:gd name="T23" fmla="*/ 67 w 67"/>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3">
                  <a:moveTo>
                    <a:pt x="0" y="0"/>
                  </a:moveTo>
                  <a:lnTo>
                    <a:pt x="0" y="0"/>
                  </a:lnTo>
                  <a:lnTo>
                    <a:pt x="17" y="32"/>
                  </a:lnTo>
                  <a:lnTo>
                    <a:pt x="50" y="63"/>
                  </a:lnTo>
                  <a:lnTo>
                    <a:pt x="67" y="63"/>
                  </a:lnTo>
                  <a:lnTo>
                    <a:pt x="17"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5" name="Freeform 220"/>
            <p:cNvSpPr>
              <a:spLocks/>
            </p:cNvSpPr>
            <p:nvPr/>
          </p:nvSpPr>
          <p:spPr bwMode="auto">
            <a:xfrm>
              <a:off x="10005878" y="5274322"/>
              <a:ext cx="31753" cy="27353"/>
            </a:xfrm>
            <a:custGeom>
              <a:avLst/>
              <a:gdLst>
                <a:gd name="T0" fmla="*/ 0 w 34"/>
                <a:gd name="T1" fmla="*/ 4 h 33"/>
                <a:gd name="T2" fmla="*/ 0 w 34"/>
                <a:gd name="T3" fmla="*/ 4 h 33"/>
                <a:gd name="T4" fmla="*/ 5 w 34"/>
                <a:gd name="T5" fmla="*/ 4 h 33"/>
                <a:gd name="T6" fmla="*/ 5 w 34"/>
                <a:gd name="T7" fmla="*/ 2 h 33"/>
                <a:gd name="T8" fmla="*/ 3 w 34"/>
                <a:gd name="T9" fmla="*/ 0 h 33"/>
                <a:gd name="T10" fmla="*/ 0 w 34"/>
                <a:gd name="T11" fmla="*/ 4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6" name="Freeform 221"/>
            <p:cNvSpPr>
              <a:spLocks/>
            </p:cNvSpPr>
            <p:nvPr/>
          </p:nvSpPr>
          <p:spPr bwMode="auto">
            <a:xfrm>
              <a:off x="10037631" y="5260645"/>
              <a:ext cx="29989" cy="13677"/>
            </a:xfrm>
            <a:custGeom>
              <a:avLst/>
              <a:gdLst>
                <a:gd name="T0" fmla="*/ 0 w 35"/>
                <a:gd name="T1" fmla="*/ 0 h 15"/>
                <a:gd name="T2" fmla="*/ 0 w 35"/>
                <a:gd name="T3" fmla="*/ 0 h 15"/>
                <a:gd name="T4" fmla="*/ 2 w 35"/>
                <a:gd name="T5" fmla="*/ 2 h 15"/>
                <a:gd name="T6" fmla="*/ 4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7" name="Freeform 222"/>
            <p:cNvSpPr>
              <a:spLocks/>
            </p:cNvSpPr>
            <p:nvPr/>
          </p:nvSpPr>
          <p:spPr bwMode="auto">
            <a:xfrm>
              <a:off x="6384266" y="5534176"/>
              <a:ext cx="61742" cy="54706"/>
            </a:xfrm>
            <a:custGeom>
              <a:avLst/>
              <a:gdLst>
                <a:gd name="T0" fmla="*/ 9 w 69"/>
                <a:gd name="T1" fmla="*/ 4 h 63"/>
                <a:gd name="T2" fmla="*/ 9 w 69"/>
                <a:gd name="T3" fmla="*/ 4 h 63"/>
                <a:gd name="T4" fmla="*/ 7 w 69"/>
                <a:gd name="T5" fmla="*/ 6 h 63"/>
                <a:gd name="T6" fmla="*/ 3 w 69"/>
                <a:gd name="T7" fmla="*/ 8 h 63"/>
                <a:gd name="T8" fmla="*/ 0 w 69"/>
                <a:gd name="T9" fmla="*/ 6 h 63"/>
                <a:gd name="T10" fmla="*/ 5 w 69"/>
                <a:gd name="T11" fmla="*/ 0 h 63"/>
                <a:gd name="T12" fmla="*/ 7 w 69"/>
                <a:gd name="T13" fmla="*/ 2 h 63"/>
                <a:gd name="T14" fmla="*/ 9 w 69"/>
                <a:gd name="T15" fmla="*/ 4 h 63"/>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63"/>
                <a:gd name="T26" fmla="*/ 69 w 69"/>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63">
                  <a:moveTo>
                    <a:pt x="69" y="31"/>
                  </a:moveTo>
                  <a:lnTo>
                    <a:pt x="69" y="31"/>
                  </a:lnTo>
                  <a:lnTo>
                    <a:pt x="52" y="48"/>
                  </a:lnTo>
                  <a:lnTo>
                    <a:pt x="18" y="63"/>
                  </a:lnTo>
                  <a:lnTo>
                    <a:pt x="0" y="48"/>
                  </a:lnTo>
                  <a:lnTo>
                    <a:pt x="35" y="0"/>
                  </a:lnTo>
                  <a:lnTo>
                    <a:pt x="52" y="15"/>
                  </a:lnTo>
                  <a:lnTo>
                    <a:pt x="69" y="3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8" name="Freeform 223"/>
            <p:cNvSpPr>
              <a:spLocks/>
            </p:cNvSpPr>
            <p:nvPr/>
          </p:nvSpPr>
          <p:spPr bwMode="auto">
            <a:xfrm>
              <a:off x="6200804" y="3894701"/>
              <a:ext cx="45866" cy="82059"/>
            </a:xfrm>
            <a:custGeom>
              <a:avLst/>
              <a:gdLst>
                <a:gd name="T0" fmla="*/ 0 w 52"/>
                <a:gd name="T1" fmla="*/ 0 h 96"/>
                <a:gd name="T2" fmla="*/ 0 w 52"/>
                <a:gd name="T3" fmla="*/ 0 h 96"/>
                <a:gd name="T4" fmla="*/ 3 w 52"/>
                <a:gd name="T5" fmla="*/ 0 h 96"/>
                <a:gd name="T6" fmla="*/ 5 w 52"/>
                <a:gd name="T7" fmla="*/ 2 h 96"/>
                <a:gd name="T8" fmla="*/ 5 w 52"/>
                <a:gd name="T9" fmla="*/ 3 h 96"/>
                <a:gd name="T10" fmla="*/ 7 w 52"/>
                <a:gd name="T11" fmla="*/ 6 h 96"/>
                <a:gd name="T12" fmla="*/ 7 w 52"/>
                <a:gd name="T13" fmla="*/ 8 h 96"/>
                <a:gd name="T14" fmla="*/ 3 w 52"/>
                <a:gd name="T15" fmla="*/ 12 h 96"/>
                <a:gd name="T16" fmla="*/ 0 w 52"/>
                <a:gd name="T17" fmla="*/ 10 h 96"/>
                <a:gd name="T18" fmla="*/ 0 w 52"/>
                <a:gd name="T19" fmla="*/ 3 h 96"/>
                <a:gd name="T20" fmla="*/ 0 w 52"/>
                <a:gd name="T21" fmla="*/ 2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69" name="Freeform 224"/>
            <p:cNvSpPr>
              <a:spLocks/>
            </p:cNvSpPr>
            <p:nvPr/>
          </p:nvSpPr>
          <p:spPr bwMode="auto">
            <a:xfrm>
              <a:off x="6278422" y="3838285"/>
              <a:ext cx="151710" cy="97445"/>
            </a:xfrm>
            <a:custGeom>
              <a:avLst/>
              <a:gdLst>
                <a:gd name="T0" fmla="*/ 21 w 173"/>
                <a:gd name="T1" fmla="*/ 3 h 113"/>
                <a:gd name="T2" fmla="*/ 21 w 173"/>
                <a:gd name="T3" fmla="*/ 3 h 113"/>
                <a:gd name="T4" fmla="*/ 21 w 173"/>
                <a:gd name="T5" fmla="*/ 5 h 113"/>
                <a:gd name="T6" fmla="*/ 19 w 173"/>
                <a:gd name="T7" fmla="*/ 5 h 113"/>
                <a:gd name="T8" fmla="*/ 17 w 173"/>
                <a:gd name="T9" fmla="*/ 9 h 113"/>
                <a:gd name="T10" fmla="*/ 19 w 173"/>
                <a:gd name="T11" fmla="*/ 11 h 113"/>
                <a:gd name="T12" fmla="*/ 15 w 173"/>
                <a:gd name="T13" fmla="*/ 11 h 113"/>
                <a:gd name="T14" fmla="*/ 13 w 173"/>
                <a:gd name="T15" fmla="*/ 12 h 113"/>
                <a:gd name="T16" fmla="*/ 10 w 173"/>
                <a:gd name="T17" fmla="*/ 15 h 113"/>
                <a:gd name="T18" fmla="*/ 6 w 173"/>
                <a:gd name="T19" fmla="*/ 12 h 113"/>
                <a:gd name="T20" fmla="*/ 2 w 173"/>
                <a:gd name="T21" fmla="*/ 12 h 113"/>
                <a:gd name="T22" fmla="*/ 2 w 173"/>
                <a:gd name="T23" fmla="*/ 11 h 113"/>
                <a:gd name="T24" fmla="*/ 0 w 173"/>
                <a:gd name="T25" fmla="*/ 9 h 113"/>
                <a:gd name="T26" fmla="*/ 2 w 173"/>
                <a:gd name="T27" fmla="*/ 6 h 113"/>
                <a:gd name="T28" fmla="*/ 0 w 173"/>
                <a:gd name="T29" fmla="*/ 3 h 113"/>
                <a:gd name="T30" fmla="*/ 0 w 173"/>
                <a:gd name="T31" fmla="*/ 0 h 113"/>
                <a:gd name="T32" fmla="*/ 2 w 173"/>
                <a:gd name="T33" fmla="*/ 3 h 113"/>
                <a:gd name="T34" fmla="*/ 4 w 173"/>
                <a:gd name="T35" fmla="*/ 3 h 113"/>
                <a:gd name="T36" fmla="*/ 10 w 173"/>
                <a:gd name="T37" fmla="*/ 5 h 113"/>
                <a:gd name="T38" fmla="*/ 15 w 173"/>
                <a:gd name="T39" fmla="*/ 0 h 113"/>
                <a:gd name="T40" fmla="*/ 21 w 173"/>
                <a:gd name="T41" fmla="*/ 3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0" name="Freeform 225"/>
            <p:cNvSpPr>
              <a:spLocks/>
            </p:cNvSpPr>
            <p:nvPr/>
          </p:nvSpPr>
          <p:spPr bwMode="auto">
            <a:xfrm>
              <a:off x="6123185" y="3701520"/>
              <a:ext cx="155237" cy="95736"/>
            </a:xfrm>
            <a:custGeom>
              <a:avLst/>
              <a:gdLst>
                <a:gd name="T0" fmla="*/ 9 w 174"/>
                <a:gd name="T1" fmla="*/ 14 h 111"/>
                <a:gd name="T2" fmla="*/ 9 w 174"/>
                <a:gd name="T3" fmla="*/ 14 h 111"/>
                <a:gd name="T4" fmla="*/ 13 w 174"/>
                <a:gd name="T5" fmla="*/ 12 h 111"/>
                <a:gd name="T6" fmla="*/ 18 w 174"/>
                <a:gd name="T7" fmla="*/ 12 h 111"/>
                <a:gd name="T8" fmla="*/ 20 w 174"/>
                <a:gd name="T9" fmla="*/ 4 h 111"/>
                <a:gd name="T10" fmla="*/ 23 w 174"/>
                <a:gd name="T11" fmla="*/ 4 h 111"/>
                <a:gd name="T12" fmla="*/ 20 w 174"/>
                <a:gd name="T13" fmla="*/ 2 h 111"/>
                <a:gd name="T14" fmla="*/ 16 w 174"/>
                <a:gd name="T15" fmla="*/ 0 h 111"/>
                <a:gd name="T16" fmla="*/ 7 w 174"/>
                <a:gd name="T17" fmla="*/ 4 h 111"/>
                <a:gd name="T18" fmla="*/ 3 w 174"/>
                <a:gd name="T19" fmla="*/ 4 h 111"/>
                <a:gd name="T20" fmla="*/ 0 w 174"/>
                <a:gd name="T21" fmla="*/ 8 h 111"/>
                <a:gd name="T22" fmla="*/ 0 w 174"/>
                <a:gd name="T23" fmla="*/ 10 h 111"/>
                <a:gd name="T24" fmla="*/ 7 w 174"/>
                <a:gd name="T25" fmla="*/ 14 h 111"/>
                <a:gd name="T26" fmla="*/ 9 w 174"/>
                <a:gd name="T27" fmla="*/ 14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71" name="Freeform 226"/>
            <p:cNvSpPr>
              <a:spLocks/>
            </p:cNvSpPr>
            <p:nvPr/>
          </p:nvSpPr>
          <p:spPr bwMode="auto">
            <a:xfrm>
              <a:off x="6064971" y="3756226"/>
              <a:ext cx="59978" cy="41030"/>
            </a:xfrm>
            <a:custGeom>
              <a:avLst/>
              <a:gdLst>
                <a:gd name="T0" fmla="*/ 8 w 70"/>
                <a:gd name="T1" fmla="*/ 3 h 48"/>
                <a:gd name="T2" fmla="*/ 8 w 70"/>
                <a:gd name="T3" fmla="*/ 3 h 48"/>
                <a:gd name="T4" fmla="*/ 6 w 70"/>
                <a:gd name="T5" fmla="*/ 3 h 48"/>
                <a:gd name="T6" fmla="*/ 4 w 70"/>
                <a:gd name="T7" fmla="*/ 6 h 48"/>
                <a:gd name="T8" fmla="*/ 2 w 70"/>
                <a:gd name="T9" fmla="*/ 6 h 48"/>
                <a:gd name="T10" fmla="*/ 0 w 70"/>
                <a:gd name="T11" fmla="*/ 6 h 48"/>
                <a:gd name="T12" fmla="*/ 0 w 70"/>
                <a:gd name="T13" fmla="*/ 5 h 48"/>
                <a:gd name="T14" fmla="*/ 0 w 70"/>
                <a:gd name="T15" fmla="*/ 3 h 48"/>
                <a:gd name="T16" fmla="*/ 8 w 70"/>
                <a:gd name="T17" fmla="*/ 0 h 48"/>
                <a:gd name="T18" fmla="*/ 8 w 70"/>
                <a:gd name="T19" fmla="*/ 3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2" name="Freeform 227"/>
            <p:cNvSpPr>
              <a:spLocks/>
            </p:cNvSpPr>
            <p:nvPr/>
          </p:nvSpPr>
          <p:spPr bwMode="auto">
            <a:xfrm>
              <a:off x="6064971" y="3771612"/>
              <a:ext cx="135833" cy="123089"/>
            </a:xfrm>
            <a:custGeom>
              <a:avLst/>
              <a:gdLst>
                <a:gd name="T0" fmla="*/ 8 w 156"/>
                <a:gd name="T1" fmla="*/ 0 h 144"/>
                <a:gd name="T2" fmla="*/ 8 w 156"/>
                <a:gd name="T3" fmla="*/ 0 h 144"/>
                <a:gd name="T4" fmla="*/ 15 w 156"/>
                <a:gd name="T5" fmla="*/ 3 h 144"/>
                <a:gd name="T6" fmla="*/ 17 w 156"/>
                <a:gd name="T7" fmla="*/ 3 h 144"/>
                <a:gd name="T8" fmla="*/ 19 w 156"/>
                <a:gd name="T9" fmla="*/ 6 h 144"/>
                <a:gd name="T10" fmla="*/ 19 w 156"/>
                <a:gd name="T11" fmla="*/ 8 h 144"/>
                <a:gd name="T12" fmla="*/ 17 w 156"/>
                <a:gd name="T13" fmla="*/ 8 h 144"/>
                <a:gd name="T14" fmla="*/ 17 w 156"/>
                <a:gd name="T15" fmla="*/ 6 h 144"/>
                <a:gd name="T16" fmla="*/ 10 w 156"/>
                <a:gd name="T17" fmla="*/ 3 h 144"/>
                <a:gd name="T18" fmla="*/ 8 w 156"/>
                <a:gd name="T19" fmla="*/ 6 h 144"/>
                <a:gd name="T20" fmla="*/ 8 w 156"/>
                <a:gd name="T21" fmla="*/ 3 h 144"/>
                <a:gd name="T22" fmla="*/ 6 w 156"/>
                <a:gd name="T23" fmla="*/ 6 h 144"/>
                <a:gd name="T24" fmla="*/ 8 w 156"/>
                <a:gd name="T25" fmla="*/ 8 h 144"/>
                <a:gd name="T26" fmla="*/ 12 w 156"/>
                <a:gd name="T27" fmla="*/ 14 h 144"/>
                <a:gd name="T28" fmla="*/ 17 w 156"/>
                <a:gd name="T29" fmla="*/ 15 h 144"/>
                <a:gd name="T30" fmla="*/ 15 w 156"/>
                <a:gd name="T31" fmla="*/ 18 h 144"/>
                <a:gd name="T32" fmla="*/ 10 w 156"/>
                <a:gd name="T33" fmla="*/ 14 h 144"/>
                <a:gd name="T34" fmla="*/ 8 w 156"/>
                <a:gd name="T35" fmla="*/ 14 h 144"/>
                <a:gd name="T36" fmla="*/ 4 w 156"/>
                <a:gd name="T37" fmla="*/ 9 h 144"/>
                <a:gd name="T38" fmla="*/ 6 w 156"/>
                <a:gd name="T39" fmla="*/ 9 h 144"/>
                <a:gd name="T40" fmla="*/ 4 w 156"/>
                <a:gd name="T41" fmla="*/ 9 h 144"/>
                <a:gd name="T42" fmla="*/ 4 w 156"/>
                <a:gd name="T43" fmla="*/ 6 h 144"/>
                <a:gd name="T44" fmla="*/ 2 w 156"/>
                <a:gd name="T45" fmla="*/ 6 h 144"/>
                <a:gd name="T46" fmla="*/ 0 w 156"/>
                <a:gd name="T47" fmla="*/ 8 h 144"/>
                <a:gd name="T48" fmla="*/ 0 w 156"/>
                <a:gd name="T49" fmla="*/ 6 h 144"/>
                <a:gd name="T50" fmla="*/ 0 w 156"/>
                <a:gd name="T51" fmla="*/ 3 h 144"/>
                <a:gd name="T52" fmla="*/ 2 w 156"/>
                <a:gd name="T53" fmla="*/ 3 h 144"/>
                <a:gd name="T54" fmla="*/ 4 w 156"/>
                <a:gd name="T55" fmla="*/ 3 h 144"/>
                <a:gd name="T56" fmla="*/ 6 w 156"/>
                <a:gd name="T57" fmla="*/ 0 h 144"/>
                <a:gd name="T58" fmla="*/ 8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3" name="Freeform 228"/>
            <p:cNvSpPr>
              <a:spLocks/>
            </p:cNvSpPr>
            <p:nvPr/>
          </p:nvSpPr>
          <p:spPr bwMode="auto">
            <a:xfrm>
              <a:off x="6110837" y="3797256"/>
              <a:ext cx="89967" cy="82059"/>
            </a:xfrm>
            <a:custGeom>
              <a:avLst/>
              <a:gdLst>
                <a:gd name="T0" fmla="*/ 10 w 104"/>
                <a:gd name="T1" fmla="*/ 12 h 96"/>
                <a:gd name="T2" fmla="*/ 10 w 104"/>
                <a:gd name="T3" fmla="*/ 12 h 96"/>
                <a:gd name="T4" fmla="*/ 8 w 104"/>
                <a:gd name="T5" fmla="*/ 12 h 96"/>
                <a:gd name="T6" fmla="*/ 10 w 104"/>
                <a:gd name="T7" fmla="*/ 11 h 96"/>
                <a:gd name="T8" fmla="*/ 12 w 104"/>
                <a:gd name="T9" fmla="*/ 11 h 96"/>
                <a:gd name="T10" fmla="*/ 12 w 104"/>
                <a:gd name="T11" fmla="*/ 9 h 96"/>
                <a:gd name="T12" fmla="*/ 12 w 104"/>
                <a:gd name="T13" fmla="*/ 6 h 96"/>
                <a:gd name="T14" fmla="*/ 12 w 104"/>
                <a:gd name="T15" fmla="*/ 5 h 96"/>
                <a:gd name="T16" fmla="*/ 10 w 104"/>
                <a:gd name="T17" fmla="*/ 5 h 96"/>
                <a:gd name="T18" fmla="*/ 10 w 104"/>
                <a:gd name="T19" fmla="*/ 3 h 96"/>
                <a:gd name="T20" fmla="*/ 4 w 104"/>
                <a:gd name="T21" fmla="*/ 0 h 96"/>
                <a:gd name="T22" fmla="*/ 2 w 104"/>
                <a:gd name="T23" fmla="*/ 3 h 96"/>
                <a:gd name="T24" fmla="*/ 2 w 104"/>
                <a:gd name="T25" fmla="*/ 0 h 96"/>
                <a:gd name="T26" fmla="*/ 0 w 104"/>
                <a:gd name="T27" fmla="*/ 3 h 96"/>
                <a:gd name="T28" fmla="*/ 2 w 104"/>
                <a:gd name="T29" fmla="*/ 5 h 96"/>
                <a:gd name="T30" fmla="*/ 6 w 104"/>
                <a:gd name="T31" fmla="*/ 11 h 96"/>
                <a:gd name="T32" fmla="*/ 10 w 104"/>
                <a:gd name="T33" fmla="*/ 12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4" name="Freeform 229"/>
            <p:cNvSpPr>
              <a:spLocks/>
            </p:cNvSpPr>
            <p:nvPr/>
          </p:nvSpPr>
          <p:spPr bwMode="auto">
            <a:xfrm>
              <a:off x="6169050" y="3865639"/>
              <a:ext cx="45866" cy="41030"/>
            </a:xfrm>
            <a:custGeom>
              <a:avLst/>
              <a:gdLst>
                <a:gd name="T0" fmla="*/ 0 w 52"/>
                <a:gd name="T1" fmla="*/ 4 h 48"/>
                <a:gd name="T2" fmla="*/ 0 w 52"/>
                <a:gd name="T3" fmla="*/ 4 h 48"/>
                <a:gd name="T4" fmla="*/ 5 w 52"/>
                <a:gd name="T5" fmla="*/ 6 h 48"/>
                <a:gd name="T6" fmla="*/ 5 w 52"/>
                <a:gd name="T7" fmla="*/ 4 h 48"/>
                <a:gd name="T8" fmla="*/ 7 w 52"/>
                <a:gd name="T9" fmla="*/ 4 h 48"/>
                <a:gd name="T10" fmla="*/ 7 w 52"/>
                <a:gd name="T11" fmla="*/ 2 h 48"/>
                <a:gd name="T12" fmla="*/ 5 w 52"/>
                <a:gd name="T13" fmla="*/ 0 h 48"/>
                <a:gd name="T14" fmla="*/ 3 w 52"/>
                <a:gd name="T15" fmla="*/ 0 h 48"/>
                <a:gd name="T16" fmla="*/ 0 w 52"/>
                <a:gd name="T17" fmla="*/ 2 h 48"/>
                <a:gd name="T18" fmla="*/ 3 w 52"/>
                <a:gd name="T19" fmla="*/ 2 h 48"/>
                <a:gd name="T20" fmla="*/ 0 w 52"/>
                <a:gd name="T21" fmla="*/ 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5" name="Freeform 230"/>
            <p:cNvSpPr>
              <a:spLocks/>
            </p:cNvSpPr>
            <p:nvPr/>
          </p:nvSpPr>
          <p:spPr bwMode="auto">
            <a:xfrm>
              <a:off x="6186691" y="3783579"/>
              <a:ext cx="105844" cy="123089"/>
            </a:xfrm>
            <a:custGeom>
              <a:avLst/>
              <a:gdLst>
                <a:gd name="T0" fmla="*/ 2 w 121"/>
                <a:gd name="T1" fmla="*/ 6 h 144"/>
                <a:gd name="T2" fmla="*/ 2 w 121"/>
                <a:gd name="T3" fmla="*/ 6 h 144"/>
                <a:gd name="T4" fmla="*/ 2 w 121"/>
                <a:gd name="T5" fmla="*/ 4 h 144"/>
                <a:gd name="T6" fmla="*/ 0 w 121"/>
                <a:gd name="T7" fmla="*/ 1 h 144"/>
                <a:gd name="T8" fmla="*/ 4 w 121"/>
                <a:gd name="T9" fmla="*/ 0 h 144"/>
                <a:gd name="T10" fmla="*/ 8 w 121"/>
                <a:gd name="T11" fmla="*/ 6 h 144"/>
                <a:gd name="T12" fmla="*/ 12 w 121"/>
                <a:gd name="T13" fmla="*/ 6 h 144"/>
                <a:gd name="T14" fmla="*/ 12 w 121"/>
                <a:gd name="T15" fmla="*/ 7 h 144"/>
                <a:gd name="T16" fmla="*/ 12 w 121"/>
                <a:gd name="T17" fmla="*/ 10 h 144"/>
                <a:gd name="T18" fmla="*/ 15 w 121"/>
                <a:gd name="T19" fmla="*/ 13 h 144"/>
                <a:gd name="T20" fmla="*/ 12 w 121"/>
                <a:gd name="T21" fmla="*/ 16 h 144"/>
                <a:gd name="T22" fmla="*/ 8 w 121"/>
                <a:gd name="T23" fmla="*/ 16 h 144"/>
                <a:gd name="T24" fmla="*/ 6 w 121"/>
                <a:gd name="T25" fmla="*/ 18 h 144"/>
                <a:gd name="T26" fmla="*/ 4 w 121"/>
                <a:gd name="T27" fmla="*/ 16 h 144"/>
                <a:gd name="T28" fmla="*/ 4 w 121"/>
                <a:gd name="T29" fmla="*/ 13 h 144"/>
                <a:gd name="T30" fmla="*/ 2 w 121"/>
                <a:gd name="T31" fmla="*/ 12 h 144"/>
                <a:gd name="T32" fmla="*/ 2 w 121"/>
                <a:gd name="T33" fmla="*/ 10 h 144"/>
                <a:gd name="T34" fmla="*/ 2 w 121"/>
                <a:gd name="T35" fmla="*/ 7 h 144"/>
                <a:gd name="T36" fmla="*/ 2 w 121"/>
                <a:gd name="T37" fmla="*/ 6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6" name="Freeform 231"/>
            <p:cNvSpPr>
              <a:spLocks/>
            </p:cNvSpPr>
            <p:nvPr/>
          </p:nvSpPr>
          <p:spPr bwMode="auto">
            <a:xfrm>
              <a:off x="6232557" y="3894701"/>
              <a:ext cx="59978" cy="41030"/>
            </a:xfrm>
            <a:custGeom>
              <a:avLst/>
              <a:gdLst>
                <a:gd name="T0" fmla="*/ 2 w 70"/>
                <a:gd name="T1" fmla="*/ 6 h 48"/>
                <a:gd name="T2" fmla="*/ 2 w 70"/>
                <a:gd name="T3" fmla="*/ 6 h 48"/>
                <a:gd name="T4" fmla="*/ 0 w 70"/>
                <a:gd name="T5" fmla="*/ 3 h 48"/>
                <a:gd name="T6" fmla="*/ 0 w 70"/>
                <a:gd name="T7" fmla="*/ 2 h 48"/>
                <a:gd name="T8" fmla="*/ 2 w 70"/>
                <a:gd name="T9" fmla="*/ 0 h 48"/>
                <a:gd name="T10" fmla="*/ 6 w 70"/>
                <a:gd name="T11" fmla="*/ 0 h 48"/>
                <a:gd name="T12" fmla="*/ 8 w 70"/>
                <a:gd name="T13" fmla="*/ 2 h 48"/>
                <a:gd name="T14" fmla="*/ 8 w 70"/>
                <a:gd name="T15" fmla="*/ 3 h 48"/>
                <a:gd name="T16" fmla="*/ 2 w 70"/>
                <a:gd name="T17" fmla="*/ 6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7" name="Freeform 232"/>
            <p:cNvSpPr>
              <a:spLocks/>
            </p:cNvSpPr>
            <p:nvPr/>
          </p:nvSpPr>
          <p:spPr bwMode="auto">
            <a:xfrm>
              <a:off x="6019106" y="3619461"/>
              <a:ext cx="165822" cy="82059"/>
            </a:xfrm>
            <a:custGeom>
              <a:avLst/>
              <a:gdLst>
                <a:gd name="T0" fmla="*/ 24 w 188"/>
                <a:gd name="T1" fmla="*/ 7 h 96"/>
                <a:gd name="T2" fmla="*/ 24 w 188"/>
                <a:gd name="T3" fmla="*/ 7 h 96"/>
                <a:gd name="T4" fmla="*/ 20 w 188"/>
                <a:gd name="T5" fmla="*/ 4 h 96"/>
                <a:gd name="T6" fmla="*/ 17 w 188"/>
                <a:gd name="T7" fmla="*/ 4 h 96"/>
                <a:gd name="T8" fmla="*/ 12 w 188"/>
                <a:gd name="T9" fmla="*/ 2 h 96"/>
                <a:gd name="T10" fmla="*/ 11 w 188"/>
                <a:gd name="T11" fmla="*/ 0 h 96"/>
                <a:gd name="T12" fmla="*/ 11 w 188"/>
                <a:gd name="T13" fmla="*/ 2 h 96"/>
                <a:gd name="T14" fmla="*/ 9 w 188"/>
                <a:gd name="T15" fmla="*/ 0 h 96"/>
                <a:gd name="T16" fmla="*/ 5 w 188"/>
                <a:gd name="T17" fmla="*/ 2 h 96"/>
                <a:gd name="T18" fmla="*/ 0 w 188"/>
                <a:gd name="T19" fmla="*/ 4 h 96"/>
                <a:gd name="T20" fmla="*/ 3 w 188"/>
                <a:gd name="T21" fmla="*/ 7 h 96"/>
                <a:gd name="T22" fmla="*/ 6 w 188"/>
                <a:gd name="T23" fmla="*/ 12 h 96"/>
                <a:gd name="T24" fmla="*/ 11 w 188"/>
                <a:gd name="T25" fmla="*/ 12 h 96"/>
                <a:gd name="T26" fmla="*/ 11 w 188"/>
                <a:gd name="T27" fmla="*/ 10 h 96"/>
                <a:gd name="T28" fmla="*/ 17 w 188"/>
                <a:gd name="T29" fmla="*/ 12 h 96"/>
                <a:gd name="T30" fmla="*/ 24 w 188"/>
                <a:gd name="T31" fmla="*/ 7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778" name="Freeform 233"/>
            <p:cNvSpPr>
              <a:spLocks/>
            </p:cNvSpPr>
            <p:nvPr/>
          </p:nvSpPr>
          <p:spPr bwMode="auto">
            <a:xfrm>
              <a:off x="6139062" y="3674167"/>
              <a:ext cx="139361" cy="56416"/>
            </a:xfrm>
            <a:custGeom>
              <a:avLst/>
              <a:gdLst>
                <a:gd name="T0" fmla="*/ 0 w 157"/>
                <a:gd name="T1" fmla="*/ 5 h 65"/>
                <a:gd name="T2" fmla="*/ 0 w 157"/>
                <a:gd name="T3" fmla="*/ 5 h 65"/>
                <a:gd name="T4" fmla="*/ 0 w 157"/>
                <a:gd name="T5" fmla="*/ 9 h 65"/>
                <a:gd name="T6" fmla="*/ 5 w 157"/>
                <a:gd name="T7" fmla="*/ 9 h 65"/>
                <a:gd name="T8" fmla="*/ 14 w 157"/>
                <a:gd name="T9" fmla="*/ 5 h 65"/>
                <a:gd name="T10" fmla="*/ 18 w 157"/>
                <a:gd name="T11" fmla="*/ 6 h 65"/>
                <a:gd name="T12" fmla="*/ 20 w 157"/>
                <a:gd name="T13" fmla="*/ 3 h 65"/>
                <a:gd name="T14" fmla="*/ 16 w 157"/>
                <a:gd name="T15" fmla="*/ 0 h 65"/>
                <a:gd name="T16" fmla="*/ 11 w 157"/>
                <a:gd name="T17" fmla="*/ 3 h 65"/>
                <a:gd name="T18" fmla="*/ 9 w 157"/>
                <a:gd name="T19" fmla="*/ 0 h 65"/>
                <a:gd name="T20" fmla="*/ 7 w 157"/>
                <a:gd name="T21" fmla="*/ 0 h 65"/>
                <a:gd name="T22" fmla="*/ 0 w 157"/>
                <a:gd name="T23" fmla="*/ 5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79" name="Freeform 234"/>
            <p:cNvSpPr>
              <a:spLocks/>
            </p:cNvSpPr>
            <p:nvPr/>
          </p:nvSpPr>
          <p:spPr bwMode="auto">
            <a:xfrm>
              <a:off x="6047332" y="4590496"/>
              <a:ext cx="63507" cy="41030"/>
            </a:xfrm>
            <a:custGeom>
              <a:avLst/>
              <a:gdLst>
                <a:gd name="T0" fmla="*/ 0 w 71"/>
                <a:gd name="T1" fmla="*/ 2 h 48"/>
                <a:gd name="T2" fmla="*/ 0 w 71"/>
                <a:gd name="T3" fmla="*/ 2 h 48"/>
                <a:gd name="T4" fmla="*/ 5 w 71"/>
                <a:gd name="T5" fmla="*/ 6 h 48"/>
                <a:gd name="T6" fmla="*/ 7 w 71"/>
                <a:gd name="T7" fmla="*/ 3 h 48"/>
                <a:gd name="T8" fmla="*/ 9 w 71"/>
                <a:gd name="T9" fmla="*/ 3 h 48"/>
                <a:gd name="T10" fmla="*/ 5 w 71"/>
                <a:gd name="T11" fmla="*/ 2 h 48"/>
                <a:gd name="T12" fmla="*/ 3 w 71"/>
                <a:gd name="T13" fmla="*/ 0 h 48"/>
                <a:gd name="T14" fmla="*/ 0 w 71"/>
                <a:gd name="T15" fmla="*/ 2 h 48"/>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48"/>
                <a:gd name="T26" fmla="*/ 71 w 71"/>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48">
                  <a:moveTo>
                    <a:pt x="0" y="15"/>
                  </a:moveTo>
                  <a:lnTo>
                    <a:pt x="0" y="15"/>
                  </a:lnTo>
                  <a:lnTo>
                    <a:pt x="35" y="48"/>
                  </a:lnTo>
                  <a:lnTo>
                    <a:pt x="54" y="30"/>
                  </a:lnTo>
                  <a:lnTo>
                    <a:pt x="71" y="30"/>
                  </a:lnTo>
                  <a:lnTo>
                    <a:pt x="35" y="15"/>
                  </a:lnTo>
                  <a:lnTo>
                    <a:pt x="18"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0" name="Freeform 235"/>
            <p:cNvSpPr>
              <a:spLocks/>
            </p:cNvSpPr>
            <p:nvPr/>
          </p:nvSpPr>
          <p:spPr bwMode="auto">
            <a:xfrm>
              <a:off x="6551851" y="5110203"/>
              <a:ext cx="29989" cy="109412"/>
            </a:xfrm>
            <a:custGeom>
              <a:avLst/>
              <a:gdLst>
                <a:gd name="T0" fmla="*/ 0 w 35"/>
                <a:gd name="T1" fmla="*/ 8 h 129"/>
                <a:gd name="T2" fmla="*/ 0 w 35"/>
                <a:gd name="T3" fmla="*/ 8 h 129"/>
                <a:gd name="T4" fmla="*/ 2 w 35"/>
                <a:gd name="T5" fmla="*/ 12 h 129"/>
                <a:gd name="T6" fmla="*/ 4 w 35"/>
                <a:gd name="T7" fmla="*/ 16 h 129"/>
                <a:gd name="T8" fmla="*/ 2 w 35"/>
                <a:gd name="T9" fmla="*/ 0 h 129"/>
                <a:gd name="T10" fmla="*/ 0 w 35"/>
                <a:gd name="T11" fmla="*/ 0 h 129"/>
                <a:gd name="T12" fmla="*/ 2 w 35"/>
                <a:gd name="T13" fmla="*/ 6 h 129"/>
                <a:gd name="T14" fmla="*/ 0 w 35"/>
                <a:gd name="T15" fmla="*/ 8 h 12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29"/>
                <a:gd name="T26" fmla="*/ 35 w 35"/>
                <a:gd name="T27" fmla="*/ 129 h 1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29">
                  <a:moveTo>
                    <a:pt x="0" y="65"/>
                  </a:moveTo>
                  <a:lnTo>
                    <a:pt x="0" y="65"/>
                  </a:lnTo>
                  <a:lnTo>
                    <a:pt x="18" y="96"/>
                  </a:lnTo>
                  <a:lnTo>
                    <a:pt x="35" y="129"/>
                  </a:lnTo>
                  <a:lnTo>
                    <a:pt x="18" y="0"/>
                  </a:lnTo>
                  <a:lnTo>
                    <a:pt x="0" y="0"/>
                  </a:lnTo>
                  <a:lnTo>
                    <a:pt x="18" y="48"/>
                  </a:lnTo>
                  <a:lnTo>
                    <a:pt x="0"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1" name="Freeform 236"/>
            <p:cNvSpPr>
              <a:spLocks/>
            </p:cNvSpPr>
            <p:nvPr/>
          </p:nvSpPr>
          <p:spPr bwMode="auto">
            <a:xfrm>
              <a:off x="6430131" y="4973438"/>
              <a:ext cx="61742" cy="123089"/>
            </a:xfrm>
            <a:custGeom>
              <a:avLst/>
              <a:gdLst>
                <a:gd name="T0" fmla="*/ 3 w 69"/>
                <a:gd name="T1" fmla="*/ 7 h 144"/>
                <a:gd name="T2" fmla="*/ 3 w 69"/>
                <a:gd name="T3" fmla="*/ 7 h 144"/>
                <a:gd name="T4" fmla="*/ 5 w 69"/>
                <a:gd name="T5" fmla="*/ 12 h 144"/>
                <a:gd name="T6" fmla="*/ 7 w 69"/>
                <a:gd name="T7" fmla="*/ 16 h 144"/>
                <a:gd name="T8" fmla="*/ 9 w 69"/>
                <a:gd name="T9" fmla="*/ 18 h 144"/>
                <a:gd name="T10" fmla="*/ 7 w 69"/>
                <a:gd name="T11" fmla="*/ 12 h 144"/>
                <a:gd name="T12" fmla="*/ 3 w 69"/>
                <a:gd name="T13" fmla="*/ 10 h 144"/>
                <a:gd name="T14" fmla="*/ 5 w 69"/>
                <a:gd name="T15" fmla="*/ 7 h 144"/>
                <a:gd name="T16" fmla="*/ 3 w 69"/>
                <a:gd name="T17" fmla="*/ 0 h 144"/>
                <a:gd name="T18" fmla="*/ 0 w 69"/>
                <a:gd name="T19" fmla="*/ 1 h 144"/>
                <a:gd name="T20" fmla="*/ 3 w 69"/>
                <a:gd name="T21" fmla="*/ 7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144"/>
                <a:gd name="T35" fmla="*/ 69 w 69"/>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144">
                  <a:moveTo>
                    <a:pt x="17" y="63"/>
                  </a:moveTo>
                  <a:lnTo>
                    <a:pt x="17" y="63"/>
                  </a:lnTo>
                  <a:lnTo>
                    <a:pt x="35" y="96"/>
                  </a:lnTo>
                  <a:lnTo>
                    <a:pt x="52" y="128"/>
                  </a:lnTo>
                  <a:lnTo>
                    <a:pt x="69" y="144"/>
                  </a:lnTo>
                  <a:lnTo>
                    <a:pt x="52" y="96"/>
                  </a:lnTo>
                  <a:lnTo>
                    <a:pt x="17" y="80"/>
                  </a:lnTo>
                  <a:lnTo>
                    <a:pt x="35" y="63"/>
                  </a:lnTo>
                  <a:lnTo>
                    <a:pt x="17" y="0"/>
                  </a:lnTo>
                  <a:lnTo>
                    <a:pt x="0" y="15"/>
                  </a:lnTo>
                  <a:lnTo>
                    <a:pt x="17"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2" name="Freeform 242"/>
            <p:cNvSpPr>
              <a:spLocks/>
            </p:cNvSpPr>
            <p:nvPr/>
          </p:nvSpPr>
          <p:spPr bwMode="auto">
            <a:xfrm>
              <a:off x="5694519" y="3263871"/>
              <a:ext cx="15877" cy="15386"/>
            </a:xfrm>
            <a:custGeom>
              <a:avLst/>
              <a:gdLst>
                <a:gd name="T0" fmla="*/ 0 w 17"/>
                <a:gd name="T1" fmla="*/ 2 h 18"/>
                <a:gd name="T2" fmla="*/ 0 w 17"/>
                <a:gd name="T3" fmla="*/ 2 h 18"/>
                <a:gd name="T4" fmla="*/ 3 w 17"/>
                <a:gd name="T5" fmla="*/ 0 h 18"/>
                <a:gd name="T6" fmla="*/ 3 w 17"/>
                <a:gd name="T7" fmla="*/ 2 h 18"/>
                <a:gd name="T8" fmla="*/ 0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0" y="18"/>
                  </a:lnTo>
                  <a:lnTo>
                    <a:pt x="17" y="0"/>
                  </a:lnTo>
                  <a:lnTo>
                    <a:pt x="17" y="18"/>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3" name="Freeform 251"/>
            <p:cNvSpPr>
              <a:spLocks/>
            </p:cNvSpPr>
            <p:nvPr/>
          </p:nvSpPr>
          <p:spPr bwMode="auto">
            <a:xfrm>
              <a:off x="7132227" y="3771612"/>
              <a:ext cx="91731" cy="94026"/>
            </a:xfrm>
            <a:custGeom>
              <a:avLst/>
              <a:gdLst>
                <a:gd name="T0" fmla="*/ 0 w 103"/>
                <a:gd name="T1" fmla="*/ 7 h 112"/>
                <a:gd name="T2" fmla="*/ 0 w 103"/>
                <a:gd name="T3" fmla="*/ 7 h 112"/>
                <a:gd name="T4" fmla="*/ 3 w 103"/>
                <a:gd name="T5" fmla="*/ 13 h 112"/>
                <a:gd name="T6" fmla="*/ 7 w 103"/>
                <a:gd name="T7" fmla="*/ 13 h 112"/>
                <a:gd name="T8" fmla="*/ 9 w 103"/>
                <a:gd name="T9" fmla="*/ 13 h 112"/>
                <a:gd name="T10" fmla="*/ 11 w 103"/>
                <a:gd name="T11" fmla="*/ 9 h 112"/>
                <a:gd name="T12" fmla="*/ 11 w 103"/>
                <a:gd name="T13" fmla="*/ 7 h 112"/>
                <a:gd name="T14" fmla="*/ 13 w 103"/>
                <a:gd name="T15" fmla="*/ 7 h 112"/>
                <a:gd name="T16" fmla="*/ 11 w 103"/>
                <a:gd name="T17" fmla="*/ 3 h 112"/>
                <a:gd name="T18" fmla="*/ 13 w 103"/>
                <a:gd name="T19" fmla="*/ 0 h 112"/>
                <a:gd name="T20" fmla="*/ 7 w 103"/>
                <a:gd name="T21" fmla="*/ 0 h 112"/>
                <a:gd name="T22" fmla="*/ 7 w 103"/>
                <a:gd name="T23" fmla="*/ 2 h 112"/>
                <a:gd name="T24" fmla="*/ 5 w 103"/>
                <a:gd name="T25" fmla="*/ 3 h 112"/>
                <a:gd name="T26" fmla="*/ 3 w 103"/>
                <a:gd name="T27" fmla="*/ 3 h 112"/>
                <a:gd name="T28" fmla="*/ 0 w 103"/>
                <a:gd name="T29" fmla="*/ 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3"/>
                <a:gd name="T46" fmla="*/ 0 h 112"/>
                <a:gd name="T47" fmla="*/ 103 w 103"/>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3" h="112">
                  <a:moveTo>
                    <a:pt x="0" y="64"/>
                  </a:moveTo>
                  <a:lnTo>
                    <a:pt x="0" y="64"/>
                  </a:lnTo>
                  <a:lnTo>
                    <a:pt x="17" y="112"/>
                  </a:lnTo>
                  <a:lnTo>
                    <a:pt x="52" y="112"/>
                  </a:lnTo>
                  <a:lnTo>
                    <a:pt x="69" y="112"/>
                  </a:lnTo>
                  <a:lnTo>
                    <a:pt x="86" y="79"/>
                  </a:lnTo>
                  <a:lnTo>
                    <a:pt x="86" y="64"/>
                  </a:lnTo>
                  <a:lnTo>
                    <a:pt x="103" y="64"/>
                  </a:lnTo>
                  <a:lnTo>
                    <a:pt x="86" y="31"/>
                  </a:lnTo>
                  <a:lnTo>
                    <a:pt x="103" y="0"/>
                  </a:lnTo>
                  <a:lnTo>
                    <a:pt x="52" y="0"/>
                  </a:lnTo>
                  <a:lnTo>
                    <a:pt x="52" y="16"/>
                  </a:lnTo>
                  <a:lnTo>
                    <a:pt x="34" y="31"/>
                  </a:lnTo>
                  <a:lnTo>
                    <a:pt x="17" y="31"/>
                  </a:lnTo>
                  <a:lnTo>
                    <a:pt x="0" y="6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4" name="Freeform 252"/>
            <p:cNvSpPr>
              <a:spLocks/>
            </p:cNvSpPr>
            <p:nvPr/>
          </p:nvSpPr>
          <p:spPr bwMode="auto">
            <a:xfrm>
              <a:off x="7500914" y="3771612"/>
              <a:ext cx="151710" cy="52997"/>
            </a:xfrm>
            <a:custGeom>
              <a:avLst/>
              <a:gdLst>
                <a:gd name="T0" fmla="*/ 0 w 173"/>
                <a:gd name="T1" fmla="*/ 3 h 64"/>
                <a:gd name="T2" fmla="*/ 0 w 173"/>
                <a:gd name="T3" fmla="*/ 3 h 64"/>
                <a:gd name="T4" fmla="*/ 2 w 173"/>
                <a:gd name="T5" fmla="*/ 7 h 64"/>
                <a:gd name="T6" fmla="*/ 4 w 173"/>
                <a:gd name="T7" fmla="*/ 2 h 64"/>
                <a:gd name="T8" fmla="*/ 6 w 173"/>
                <a:gd name="T9" fmla="*/ 0 h 64"/>
                <a:gd name="T10" fmla="*/ 15 w 173"/>
                <a:gd name="T11" fmla="*/ 0 h 64"/>
                <a:gd name="T12" fmla="*/ 17 w 173"/>
                <a:gd name="T13" fmla="*/ 2 h 64"/>
                <a:gd name="T14" fmla="*/ 21 w 173"/>
                <a:gd name="T15" fmla="*/ 0 h 64"/>
                <a:gd name="T16" fmla="*/ 15 w 173"/>
                <a:gd name="T17" fmla="*/ 0 h 64"/>
                <a:gd name="T18" fmla="*/ 4 w 173"/>
                <a:gd name="T19" fmla="*/ 0 h 64"/>
                <a:gd name="T20" fmla="*/ 2 w 173"/>
                <a:gd name="T21" fmla="*/ 2 h 64"/>
                <a:gd name="T22" fmla="*/ 0 w 173"/>
                <a:gd name="T23" fmla="*/ 3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3"/>
                <a:gd name="T37" fmla="*/ 0 h 64"/>
                <a:gd name="T38" fmla="*/ 173 w 173"/>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3" h="64">
                  <a:moveTo>
                    <a:pt x="0" y="31"/>
                  </a:moveTo>
                  <a:lnTo>
                    <a:pt x="0" y="31"/>
                  </a:lnTo>
                  <a:lnTo>
                    <a:pt x="18" y="64"/>
                  </a:lnTo>
                  <a:lnTo>
                    <a:pt x="35" y="16"/>
                  </a:lnTo>
                  <a:lnTo>
                    <a:pt x="52" y="0"/>
                  </a:lnTo>
                  <a:lnTo>
                    <a:pt x="121" y="0"/>
                  </a:lnTo>
                  <a:lnTo>
                    <a:pt x="139" y="16"/>
                  </a:lnTo>
                  <a:lnTo>
                    <a:pt x="173" y="0"/>
                  </a:lnTo>
                  <a:lnTo>
                    <a:pt x="121" y="0"/>
                  </a:lnTo>
                  <a:lnTo>
                    <a:pt x="35" y="0"/>
                  </a:lnTo>
                  <a:lnTo>
                    <a:pt x="18" y="16"/>
                  </a:lnTo>
                  <a:lnTo>
                    <a:pt x="0" y="3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5" name="Freeform 253"/>
            <p:cNvSpPr>
              <a:spLocks/>
            </p:cNvSpPr>
            <p:nvPr/>
          </p:nvSpPr>
          <p:spPr bwMode="auto">
            <a:xfrm>
              <a:off x="8232999" y="3455342"/>
              <a:ext cx="155237" cy="164118"/>
            </a:xfrm>
            <a:custGeom>
              <a:avLst/>
              <a:gdLst>
                <a:gd name="T0" fmla="*/ 0 w 174"/>
                <a:gd name="T1" fmla="*/ 22 h 192"/>
                <a:gd name="T2" fmla="*/ 0 w 174"/>
                <a:gd name="T3" fmla="*/ 22 h 192"/>
                <a:gd name="T4" fmla="*/ 3 w 174"/>
                <a:gd name="T5" fmla="*/ 24 h 192"/>
                <a:gd name="T6" fmla="*/ 9 w 174"/>
                <a:gd name="T7" fmla="*/ 22 h 192"/>
                <a:gd name="T8" fmla="*/ 9 w 174"/>
                <a:gd name="T9" fmla="*/ 20 h 192"/>
                <a:gd name="T10" fmla="*/ 16 w 174"/>
                <a:gd name="T11" fmla="*/ 16 h 192"/>
                <a:gd name="T12" fmla="*/ 20 w 174"/>
                <a:gd name="T13" fmla="*/ 10 h 192"/>
                <a:gd name="T14" fmla="*/ 23 w 174"/>
                <a:gd name="T15" fmla="*/ 0 h 192"/>
                <a:gd name="T16" fmla="*/ 20 w 174"/>
                <a:gd name="T17" fmla="*/ 0 h 192"/>
                <a:gd name="T18" fmla="*/ 16 w 174"/>
                <a:gd name="T19" fmla="*/ 10 h 192"/>
                <a:gd name="T20" fmla="*/ 7 w 174"/>
                <a:gd name="T21" fmla="*/ 20 h 192"/>
                <a:gd name="T22" fmla="*/ 0 w 174"/>
                <a:gd name="T23" fmla="*/ 22 h 1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192"/>
                <a:gd name="T38" fmla="*/ 174 w 174"/>
                <a:gd name="T39" fmla="*/ 192 h 1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192">
                  <a:moveTo>
                    <a:pt x="0" y="176"/>
                  </a:moveTo>
                  <a:lnTo>
                    <a:pt x="0" y="176"/>
                  </a:lnTo>
                  <a:lnTo>
                    <a:pt x="17" y="192"/>
                  </a:lnTo>
                  <a:lnTo>
                    <a:pt x="69" y="176"/>
                  </a:lnTo>
                  <a:lnTo>
                    <a:pt x="69" y="159"/>
                  </a:lnTo>
                  <a:lnTo>
                    <a:pt x="121" y="128"/>
                  </a:lnTo>
                  <a:lnTo>
                    <a:pt x="157" y="80"/>
                  </a:lnTo>
                  <a:lnTo>
                    <a:pt x="174" y="0"/>
                  </a:lnTo>
                  <a:lnTo>
                    <a:pt x="157" y="0"/>
                  </a:lnTo>
                  <a:lnTo>
                    <a:pt x="121" y="80"/>
                  </a:lnTo>
                  <a:lnTo>
                    <a:pt x="51" y="159"/>
                  </a:lnTo>
                  <a:lnTo>
                    <a:pt x="0" y="17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6" name="Freeform 254"/>
            <p:cNvSpPr>
              <a:spLocks/>
            </p:cNvSpPr>
            <p:nvPr/>
          </p:nvSpPr>
          <p:spPr bwMode="auto">
            <a:xfrm>
              <a:off x="6460120" y="3210874"/>
              <a:ext cx="61742" cy="80350"/>
            </a:xfrm>
            <a:custGeom>
              <a:avLst/>
              <a:gdLst>
                <a:gd name="T0" fmla="*/ 0 w 69"/>
                <a:gd name="T1" fmla="*/ 4 h 96"/>
                <a:gd name="T2" fmla="*/ 0 w 69"/>
                <a:gd name="T3" fmla="*/ 4 h 96"/>
                <a:gd name="T4" fmla="*/ 3 w 69"/>
                <a:gd name="T5" fmla="*/ 6 h 96"/>
                <a:gd name="T6" fmla="*/ 5 w 69"/>
                <a:gd name="T7" fmla="*/ 11 h 96"/>
                <a:gd name="T8" fmla="*/ 7 w 69"/>
                <a:gd name="T9" fmla="*/ 10 h 96"/>
                <a:gd name="T10" fmla="*/ 9 w 69"/>
                <a:gd name="T11" fmla="*/ 10 h 96"/>
                <a:gd name="T12" fmla="*/ 9 w 69"/>
                <a:gd name="T13" fmla="*/ 6 h 96"/>
                <a:gd name="T14" fmla="*/ 5 w 69"/>
                <a:gd name="T15" fmla="*/ 0 h 96"/>
                <a:gd name="T16" fmla="*/ 3 w 69"/>
                <a:gd name="T17" fmla="*/ 0 h 96"/>
                <a:gd name="T18" fmla="*/ 0 w 69"/>
                <a:gd name="T19" fmla="*/ 4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7" name="Freeform 255"/>
            <p:cNvSpPr>
              <a:spLocks/>
            </p:cNvSpPr>
            <p:nvPr/>
          </p:nvSpPr>
          <p:spPr bwMode="auto">
            <a:xfrm>
              <a:off x="6460120" y="3210874"/>
              <a:ext cx="61742" cy="80350"/>
            </a:xfrm>
            <a:custGeom>
              <a:avLst/>
              <a:gdLst>
                <a:gd name="T0" fmla="*/ 0 w 69"/>
                <a:gd name="T1" fmla="*/ 4 h 96"/>
                <a:gd name="T2" fmla="*/ 0 w 69"/>
                <a:gd name="T3" fmla="*/ 4 h 96"/>
                <a:gd name="T4" fmla="*/ 3 w 69"/>
                <a:gd name="T5" fmla="*/ 6 h 96"/>
                <a:gd name="T6" fmla="*/ 5 w 69"/>
                <a:gd name="T7" fmla="*/ 11 h 96"/>
                <a:gd name="T8" fmla="*/ 7 w 69"/>
                <a:gd name="T9" fmla="*/ 10 h 96"/>
                <a:gd name="T10" fmla="*/ 9 w 69"/>
                <a:gd name="T11" fmla="*/ 10 h 96"/>
                <a:gd name="T12" fmla="*/ 9 w 69"/>
                <a:gd name="T13" fmla="*/ 6 h 96"/>
                <a:gd name="T14" fmla="*/ 5 w 69"/>
                <a:gd name="T15" fmla="*/ 0 h 96"/>
                <a:gd name="T16" fmla="*/ 3 w 69"/>
                <a:gd name="T17" fmla="*/ 0 h 96"/>
                <a:gd name="T18" fmla="*/ 0 w 69"/>
                <a:gd name="T19" fmla="*/ 4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8" name="Freeform 256"/>
            <p:cNvSpPr>
              <a:spLocks/>
            </p:cNvSpPr>
            <p:nvPr/>
          </p:nvSpPr>
          <p:spPr bwMode="auto">
            <a:xfrm>
              <a:off x="6569492" y="3156168"/>
              <a:ext cx="45866" cy="82059"/>
            </a:xfrm>
            <a:custGeom>
              <a:avLst/>
              <a:gdLst>
                <a:gd name="T0" fmla="*/ 0 w 51"/>
                <a:gd name="T1" fmla="*/ 7 h 96"/>
                <a:gd name="T2" fmla="*/ 0 w 51"/>
                <a:gd name="T3" fmla="*/ 7 h 96"/>
                <a:gd name="T4" fmla="*/ 5 w 51"/>
                <a:gd name="T5" fmla="*/ 10 h 96"/>
                <a:gd name="T6" fmla="*/ 5 w 51"/>
                <a:gd name="T7" fmla="*/ 12 h 96"/>
                <a:gd name="T8" fmla="*/ 7 w 51"/>
                <a:gd name="T9" fmla="*/ 12 h 96"/>
                <a:gd name="T10" fmla="*/ 5 w 51"/>
                <a:gd name="T11" fmla="*/ 6 h 96"/>
                <a:gd name="T12" fmla="*/ 5 w 51"/>
                <a:gd name="T13" fmla="*/ 2 h 96"/>
                <a:gd name="T14" fmla="*/ 3 w 51"/>
                <a:gd name="T15" fmla="*/ 2 h 96"/>
                <a:gd name="T16" fmla="*/ 0 w 51"/>
                <a:gd name="T17" fmla="*/ 0 h 96"/>
                <a:gd name="T18" fmla="*/ 3 w 51"/>
                <a:gd name="T19" fmla="*/ 2 h 96"/>
                <a:gd name="T20" fmla="*/ 3 w 51"/>
                <a:gd name="T21" fmla="*/ 3 h 96"/>
                <a:gd name="T22" fmla="*/ 0 w 51"/>
                <a:gd name="T23" fmla="*/ 3 h 96"/>
                <a:gd name="T24" fmla="*/ 0 w 51"/>
                <a:gd name="T25" fmla="*/ 7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89" name="Freeform 257"/>
            <p:cNvSpPr>
              <a:spLocks/>
            </p:cNvSpPr>
            <p:nvPr/>
          </p:nvSpPr>
          <p:spPr bwMode="auto">
            <a:xfrm>
              <a:off x="6569492" y="3156168"/>
              <a:ext cx="45866" cy="82059"/>
            </a:xfrm>
            <a:custGeom>
              <a:avLst/>
              <a:gdLst>
                <a:gd name="T0" fmla="*/ 0 w 51"/>
                <a:gd name="T1" fmla="*/ 7 h 96"/>
                <a:gd name="T2" fmla="*/ 0 w 51"/>
                <a:gd name="T3" fmla="*/ 7 h 96"/>
                <a:gd name="T4" fmla="*/ 5 w 51"/>
                <a:gd name="T5" fmla="*/ 10 h 96"/>
                <a:gd name="T6" fmla="*/ 5 w 51"/>
                <a:gd name="T7" fmla="*/ 12 h 96"/>
                <a:gd name="T8" fmla="*/ 7 w 51"/>
                <a:gd name="T9" fmla="*/ 12 h 96"/>
                <a:gd name="T10" fmla="*/ 5 w 51"/>
                <a:gd name="T11" fmla="*/ 6 h 96"/>
                <a:gd name="T12" fmla="*/ 5 w 51"/>
                <a:gd name="T13" fmla="*/ 2 h 96"/>
                <a:gd name="T14" fmla="*/ 3 w 51"/>
                <a:gd name="T15" fmla="*/ 2 h 96"/>
                <a:gd name="T16" fmla="*/ 0 w 51"/>
                <a:gd name="T17" fmla="*/ 0 h 96"/>
                <a:gd name="T18" fmla="*/ 3 w 51"/>
                <a:gd name="T19" fmla="*/ 2 h 96"/>
                <a:gd name="T20" fmla="*/ 3 w 51"/>
                <a:gd name="T21" fmla="*/ 3 h 96"/>
                <a:gd name="T22" fmla="*/ 0 w 51"/>
                <a:gd name="T23" fmla="*/ 3 h 96"/>
                <a:gd name="T24" fmla="*/ 0 w 51"/>
                <a:gd name="T25" fmla="*/ 7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0" name="Freeform 258"/>
            <p:cNvSpPr>
              <a:spLocks/>
            </p:cNvSpPr>
            <p:nvPr/>
          </p:nvSpPr>
          <p:spPr bwMode="auto">
            <a:xfrm>
              <a:off x="1690106" y="2677490"/>
              <a:ext cx="903199" cy="832559"/>
            </a:xfrm>
            <a:custGeom>
              <a:avLst/>
              <a:gdLst>
                <a:gd name="T0" fmla="*/ 128 w 1023"/>
                <a:gd name="T1" fmla="*/ 118 h 975"/>
                <a:gd name="T2" fmla="*/ 122 w 1023"/>
                <a:gd name="T3" fmla="*/ 108 h 975"/>
                <a:gd name="T4" fmla="*/ 113 w 1023"/>
                <a:gd name="T5" fmla="*/ 96 h 975"/>
                <a:gd name="T6" fmla="*/ 106 w 1023"/>
                <a:gd name="T7" fmla="*/ 91 h 975"/>
                <a:gd name="T8" fmla="*/ 98 w 1023"/>
                <a:gd name="T9" fmla="*/ 88 h 975"/>
                <a:gd name="T10" fmla="*/ 91 w 1023"/>
                <a:gd name="T11" fmla="*/ 88 h 975"/>
                <a:gd name="T12" fmla="*/ 91 w 1023"/>
                <a:gd name="T13" fmla="*/ 16 h 975"/>
                <a:gd name="T14" fmla="*/ 78 w 1023"/>
                <a:gd name="T15" fmla="*/ 14 h 975"/>
                <a:gd name="T16" fmla="*/ 70 w 1023"/>
                <a:gd name="T17" fmla="*/ 12 h 975"/>
                <a:gd name="T18" fmla="*/ 55 w 1023"/>
                <a:gd name="T19" fmla="*/ 8 h 975"/>
                <a:gd name="T20" fmla="*/ 46 w 1023"/>
                <a:gd name="T21" fmla="*/ 4 h 975"/>
                <a:gd name="T22" fmla="*/ 40 w 1023"/>
                <a:gd name="T23" fmla="*/ 0 h 975"/>
                <a:gd name="T24" fmla="*/ 31 w 1023"/>
                <a:gd name="T25" fmla="*/ 6 h 975"/>
                <a:gd name="T26" fmla="*/ 22 w 1023"/>
                <a:gd name="T27" fmla="*/ 10 h 975"/>
                <a:gd name="T28" fmla="*/ 16 w 1023"/>
                <a:gd name="T29" fmla="*/ 22 h 975"/>
                <a:gd name="T30" fmla="*/ 5 w 1023"/>
                <a:gd name="T31" fmla="*/ 28 h 975"/>
                <a:gd name="T32" fmla="*/ 16 w 1023"/>
                <a:gd name="T33" fmla="*/ 38 h 975"/>
                <a:gd name="T34" fmla="*/ 20 w 1023"/>
                <a:gd name="T35" fmla="*/ 46 h 975"/>
                <a:gd name="T36" fmla="*/ 13 w 1023"/>
                <a:gd name="T37" fmla="*/ 42 h 975"/>
                <a:gd name="T38" fmla="*/ 3 w 1023"/>
                <a:gd name="T39" fmla="*/ 46 h 975"/>
                <a:gd name="T40" fmla="*/ 5 w 1023"/>
                <a:gd name="T41" fmla="*/ 52 h 975"/>
                <a:gd name="T42" fmla="*/ 5 w 1023"/>
                <a:gd name="T43" fmla="*/ 56 h 975"/>
                <a:gd name="T44" fmla="*/ 13 w 1023"/>
                <a:gd name="T45" fmla="*/ 58 h 975"/>
                <a:gd name="T46" fmla="*/ 22 w 1023"/>
                <a:gd name="T47" fmla="*/ 56 h 975"/>
                <a:gd name="T48" fmla="*/ 24 w 1023"/>
                <a:gd name="T49" fmla="*/ 61 h 975"/>
                <a:gd name="T50" fmla="*/ 18 w 1023"/>
                <a:gd name="T51" fmla="*/ 66 h 975"/>
                <a:gd name="T52" fmla="*/ 13 w 1023"/>
                <a:gd name="T53" fmla="*/ 67 h 975"/>
                <a:gd name="T54" fmla="*/ 7 w 1023"/>
                <a:gd name="T55" fmla="*/ 78 h 975"/>
                <a:gd name="T56" fmla="*/ 16 w 1023"/>
                <a:gd name="T57" fmla="*/ 90 h 975"/>
                <a:gd name="T58" fmla="*/ 20 w 1023"/>
                <a:gd name="T59" fmla="*/ 91 h 975"/>
                <a:gd name="T60" fmla="*/ 22 w 1023"/>
                <a:gd name="T61" fmla="*/ 96 h 975"/>
                <a:gd name="T62" fmla="*/ 31 w 1023"/>
                <a:gd name="T63" fmla="*/ 97 h 975"/>
                <a:gd name="T64" fmla="*/ 35 w 1023"/>
                <a:gd name="T65" fmla="*/ 96 h 975"/>
                <a:gd name="T66" fmla="*/ 35 w 1023"/>
                <a:gd name="T67" fmla="*/ 103 h 975"/>
                <a:gd name="T68" fmla="*/ 18 w 1023"/>
                <a:gd name="T69" fmla="*/ 114 h 975"/>
                <a:gd name="T70" fmla="*/ 9 w 1023"/>
                <a:gd name="T71" fmla="*/ 120 h 975"/>
                <a:gd name="T72" fmla="*/ 22 w 1023"/>
                <a:gd name="T73" fmla="*/ 115 h 975"/>
                <a:gd name="T74" fmla="*/ 33 w 1023"/>
                <a:gd name="T75" fmla="*/ 109 h 975"/>
                <a:gd name="T76" fmla="*/ 48 w 1023"/>
                <a:gd name="T77" fmla="*/ 97 h 975"/>
                <a:gd name="T78" fmla="*/ 46 w 1023"/>
                <a:gd name="T79" fmla="*/ 94 h 975"/>
                <a:gd name="T80" fmla="*/ 52 w 1023"/>
                <a:gd name="T81" fmla="*/ 88 h 975"/>
                <a:gd name="T82" fmla="*/ 59 w 1023"/>
                <a:gd name="T83" fmla="*/ 79 h 975"/>
                <a:gd name="T84" fmla="*/ 59 w 1023"/>
                <a:gd name="T85" fmla="*/ 82 h 975"/>
                <a:gd name="T86" fmla="*/ 55 w 1023"/>
                <a:gd name="T87" fmla="*/ 90 h 975"/>
                <a:gd name="T88" fmla="*/ 55 w 1023"/>
                <a:gd name="T89" fmla="*/ 94 h 975"/>
                <a:gd name="T90" fmla="*/ 63 w 1023"/>
                <a:gd name="T91" fmla="*/ 90 h 975"/>
                <a:gd name="T92" fmla="*/ 68 w 1023"/>
                <a:gd name="T93" fmla="*/ 85 h 975"/>
                <a:gd name="T94" fmla="*/ 72 w 1023"/>
                <a:gd name="T95" fmla="*/ 84 h 975"/>
                <a:gd name="T96" fmla="*/ 87 w 1023"/>
                <a:gd name="T97" fmla="*/ 88 h 975"/>
                <a:gd name="T98" fmla="*/ 96 w 1023"/>
                <a:gd name="T99" fmla="*/ 90 h 975"/>
                <a:gd name="T100" fmla="*/ 106 w 1023"/>
                <a:gd name="T101" fmla="*/ 100 h 975"/>
                <a:gd name="T102" fmla="*/ 111 w 1023"/>
                <a:gd name="T103" fmla="*/ 102 h 975"/>
                <a:gd name="T104" fmla="*/ 111 w 1023"/>
                <a:gd name="T105" fmla="*/ 100 h 975"/>
                <a:gd name="T106" fmla="*/ 113 w 1023"/>
                <a:gd name="T107" fmla="*/ 106 h 975"/>
                <a:gd name="T108" fmla="*/ 119 w 1023"/>
                <a:gd name="T109" fmla="*/ 108 h 975"/>
                <a:gd name="T110" fmla="*/ 115 w 1023"/>
                <a:gd name="T111" fmla="*/ 108 h 975"/>
                <a:gd name="T112" fmla="*/ 117 w 1023"/>
                <a:gd name="T113" fmla="*/ 109 h 975"/>
                <a:gd name="T114" fmla="*/ 122 w 1023"/>
                <a:gd name="T115" fmla="*/ 120 h 975"/>
                <a:gd name="T116" fmla="*/ 119 w 1023"/>
                <a:gd name="T117" fmla="*/ 112 h 975"/>
                <a:gd name="T118" fmla="*/ 122 w 1023"/>
                <a:gd name="T119" fmla="*/ 114 h 975"/>
                <a:gd name="T120" fmla="*/ 126 w 1023"/>
                <a:gd name="T121" fmla="*/ 120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791" name="Freeform 259"/>
            <p:cNvSpPr>
              <a:spLocks/>
            </p:cNvSpPr>
            <p:nvPr/>
          </p:nvSpPr>
          <p:spPr bwMode="auto">
            <a:xfrm>
              <a:off x="2333987" y="2656975"/>
              <a:ext cx="2062185" cy="1263370"/>
            </a:xfrm>
            <a:custGeom>
              <a:avLst/>
              <a:gdLst>
                <a:gd name="T0" fmla="*/ 212 w 2338"/>
                <a:gd name="T1" fmla="*/ 179 h 1478"/>
                <a:gd name="T2" fmla="*/ 201 w 2338"/>
                <a:gd name="T3" fmla="*/ 179 h 1478"/>
                <a:gd name="T4" fmla="*/ 207 w 2338"/>
                <a:gd name="T5" fmla="*/ 173 h 1478"/>
                <a:gd name="T6" fmla="*/ 192 w 2338"/>
                <a:gd name="T7" fmla="*/ 163 h 1478"/>
                <a:gd name="T8" fmla="*/ 181 w 2338"/>
                <a:gd name="T9" fmla="*/ 151 h 1478"/>
                <a:gd name="T10" fmla="*/ 160 w 2338"/>
                <a:gd name="T11" fmla="*/ 153 h 1478"/>
                <a:gd name="T12" fmla="*/ 60 w 2338"/>
                <a:gd name="T13" fmla="*/ 151 h 1478"/>
                <a:gd name="T14" fmla="*/ 45 w 2338"/>
                <a:gd name="T15" fmla="*/ 141 h 1478"/>
                <a:gd name="T16" fmla="*/ 37 w 2338"/>
                <a:gd name="T17" fmla="*/ 124 h 1478"/>
                <a:gd name="T18" fmla="*/ 23 w 2338"/>
                <a:gd name="T19" fmla="*/ 98 h 1478"/>
                <a:gd name="T20" fmla="*/ 13 w 2338"/>
                <a:gd name="T21" fmla="*/ 97 h 1478"/>
                <a:gd name="T22" fmla="*/ 0 w 2338"/>
                <a:gd name="T23" fmla="*/ 89 h 1478"/>
                <a:gd name="T24" fmla="*/ 18 w 2338"/>
                <a:gd name="T25" fmla="*/ 23 h 1478"/>
                <a:gd name="T26" fmla="*/ 38 w 2338"/>
                <a:gd name="T27" fmla="*/ 13 h 1478"/>
                <a:gd name="T28" fmla="*/ 49 w 2338"/>
                <a:gd name="T29" fmla="*/ 14 h 1478"/>
                <a:gd name="T30" fmla="*/ 56 w 2338"/>
                <a:gd name="T31" fmla="*/ 21 h 1478"/>
                <a:gd name="T32" fmla="*/ 72 w 2338"/>
                <a:gd name="T33" fmla="*/ 21 h 1478"/>
                <a:gd name="T34" fmla="*/ 91 w 2338"/>
                <a:gd name="T35" fmla="*/ 26 h 1478"/>
                <a:gd name="T36" fmla="*/ 95 w 2338"/>
                <a:gd name="T37" fmla="*/ 37 h 1478"/>
                <a:gd name="T38" fmla="*/ 110 w 2338"/>
                <a:gd name="T39" fmla="*/ 31 h 1478"/>
                <a:gd name="T40" fmla="*/ 135 w 2338"/>
                <a:gd name="T41" fmla="*/ 35 h 1478"/>
                <a:gd name="T42" fmla="*/ 147 w 2338"/>
                <a:gd name="T43" fmla="*/ 28 h 1478"/>
                <a:gd name="T44" fmla="*/ 151 w 2338"/>
                <a:gd name="T45" fmla="*/ 23 h 1478"/>
                <a:gd name="T46" fmla="*/ 153 w 2338"/>
                <a:gd name="T47" fmla="*/ 37 h 1478"/>
                <a:gd name="T48" fmla="*/ 160 w 2338"/>
                <a:gd name="T49" fmla="*/ 21 h 1478"/>
                <a:gd name="T50" fmla="*/ 160 w 2338"/>
                <a:gd name="T51" fmla="*/ 0 h 1478"/>
                <a:gd name="T52" fmla="*/ 175 w 2338"/>
                <a:gd name="T53" fmla="*/ 28 h 1478"/>
                <a:gd name="T54" fmla="*/ 184 w 2338"/>
                <a:gd name="T55" fmla="*/ 39 h 1478"/>
                <a:gd name="T56" fmla="*/ 190 w 2338"/>
                <a:gd name="T57" fmla="*/ 17 h 1478"/>
                <a:gd name="T58" fmla="*/ 203 w 2338"/>
                <a:gd name="T59" fmla="*/ 23 h 1478"/>
                <a:gd name="T60" fmla="*/ 203 w 2338"/>
                <a:gd name="T61" fmla="*/ 37 h 1478"/>
                <a:gd name="T62" fmla="*/ 190 w 2338"/>
                <a:gd name="T63" fmla="*/ 45 h 1478"/>
                <a:gd name="T64" fmla="*/ 184 w 2338"/>
                <a:gd name="T65" fmla="*/ 56 h 1478"/>
                <a:gd name="T66" fmla="*/ 173 w 2338"/>
                <a:gd name="T67" fmla="*/ 73 h 1478"/>
                <a:gd name="T68" fmla="*/ 162 w 2338"/>
                <a:gd name="T69" fmla="*/ 81 h 1478"/>
                <a:gd name="T70" fmla="*/ 164 w 2338"/>
                <a:gd name="T71" fmla="*/ 98 h 1478"/>
                <a:gd name="T72" fmla="*/ 181 w 2338"/>
                <a:gd name="T73" fmla="*/ 115 h 1478"/>
                <a:gd name="T74" fmla="*/ 201 w 2338"/>
                <a:gd name="T75" fmla="*/ 133 h 1478"/>
                <a:gd name="T76" fmla="*/ 214 w 2338"/>
                <a:gd name="T77" fmla="*/ 121 h 1478"/>
                <a:gd name="T78" fmla="*/ 214 w 2338"/>
                <a:gd name="T79" fmla="*/ 97 h 1478"/>
                <a:gd name="T80" fmla="*/ 214 w 2338"/>
                <a:gd name="T81" fmla="*/ 87 h 1478"/>
                <a:gd name="T82" fmla="*/ 216 w 2338"/>
                <a:gd name="T83" fmla="*/ 75 h 1478"/>
                <a:gd name="T84" fmla="*/ 236 w 2338"/>
                <a:gd name="T85" fmla="*/ 83 h 1478"/>
                <a:gd name="T86" fmla="*/ 251 w 2338"/>
                <a:gd name="T87" fmla="*/ 103 h 1478"/>
                <a:gd name="T88" fmla="*/ 258 w 2338"/>
                <a:gd name="T89" fmla="*/ 92 h 1478"/>
                <a:gd name="T90" fmla="*/ 271 w 2338"/>
                <a:gd name="T91" fmla="*/ 115 h 1478"/>
                <a:gd name="T92" fmla="*/ 282 w 2338"/>
                <a:gd name="T93" fmla="*/ 121 h 1478"/>
                <a:gd name="T94" fmla="*/ 286 w 2338"/>
                <a:gd name="T95" fmla="*/ 129 h 1478"/>
                <a:gd name="T96" fmla="*/ 292 w 2338"/>
                <a:gd name="T97" fmla="*/ 137 h 1478"/>
                <a:gd name="T98" fmla="*/ 271 w 2338"/>
                <a:gd name="T99" fmla="*/ 147 h 1478"/>
                <a:gd name="T100" fmla="*/ 249 w 2338"/>
                <a:gd name="T101" fmla="*/ 151 h 1478"/>
                <a:gd name="T102" fmla="*/ 247 w 2338"/>
                <a:gd name="T103" fmla="*/ 155 h 1478"/>
                <a:gd name="T104" fmla="*/ 263 w 2338"/>
                <a:gd name="T105" fmla="*/ 155 h 1478"/>
                <a:gd name="T106" fmla="*/ 260 w 2338"/>
                <a:gd name="T107" fmla="*/ 157 h 1478"/>
                <a:gd name="T108" fmla="*/ 271 w 2338"/>
                <a:gd name="T109" fmla="*/ 167 h 1478"/>
                <a:gd name="T110" fmla="*/ 278 w 2338"/>
                <a:gd name="T111" fmla="*/ 165 h 1478"/>
                <a:gd name="T112" fmla="*/ 258 w 2338"/>
                <a:gd name="T113" fmla="*/ 177 h 1478"/>
                <a:gd name="T114" fmla="*/ 260 w 2338"/>
                <a:gd name="T115" fmla="*/ 167 h 1478"/>
                <a:gd name="T116" fmla="*/ 249 w 2338"/>
                <a:gd name="T117" fmla="*/ 161 h 1478"/>
                <a:gd name="T118" fmla="*/ 240 w 2338"/>
                <a:gd name="T119" fmla="*/ 169 h 1478"/>
                <a:gd name="T120" fmla="*/ 218 w 2338"/>
                <a:gd name="T121" fmla="*/ 175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792" name="Freeform 260"/>
            <p:cNvSpPr>
              <a:spLocks/>
            </p:cNvSpPr>
            <p:nvPr/>
          </p:nvSpPr>
          <p:spPr bwMode="auto">
            <a:xfrm>
              <a:off x="3907527" y="5287998"/>
              <a:ext cx="197575" cy="996678"/>
            </a:xfrm>
            <a:custGeom>
              <a:avLst/>
              <a:gdLst>
                <a:gd name="T0" fmla="*/ 18 w 224"/>
                <a:gd name="T1" fmla="*/ 2 h 1167"/>
                <a:gd name="T2" fmla="*/ 24 w 224"/>
                <a:gd name="T3" fmla="*/ 6 h 1167"/>
                <a:gd name="T4" fmla="*/ 26 w 224"/>
                <a:gd name="T5" fmla="*/ 18 h 1167"/>
                <a:gd name="T6" fmla="*/ 28 w 224"/>
                <a:gd name="T7" fmla="*/ 21 h 1167"/>
                <a:gd name="T8" fmla="*/ 26 w 224"/>
                <a:gd name="T9" fmla="*/ 30 h 1167"/>
                <a:gd name="T10" fmla="*/ 18 w 224"/>
                <a:gd name="T11" fmla="*/ 48 h 1167"/>
                <a:gd name="T12" fmla="*/ 18 w 224"/>
                <a:gd name="T13" fmla="*/ 61 h 1167"/>
                <a:gd name="T14" fmla="*/ 15 w 224"/>
                <a:gd name="T15" fmla="*/ 67 h 1167"/>
                <a:gd name="T16" fmla="*/ 13 w 224"/>
                <a:gd name="T17" fmla="*/ 79 h 1167"/>
                <a:gd name="T18" fmla="*/ 13 w 224"/>
                <a:gd name="T19" fmla="*/ 91 h 1167"/>
                <a:gd name="T20" fmla="*/ 15 w 224"/>
                <a:gd name="T21" fmla="*/ 99 h 1167"/>
                <a:gd name="T22" fmla="*/ 13 w 224"/>
                <a:gd name="T23" fmla="*/ 102 h 1167"/>
                <a:gd name="T24" fmla="*/ 13 w 224"/>
                <a:gd name="T25" fmla="*/ 109 h 1167"/>
                <a:gd name="T26" fmla="*/ 11 w 224"/>
                <a:gd name="T27" fmla="*/ 117 h 1167"/>
                <a:gd name="T28" fmla="*/ 9 w 224"/>
                <a:gd name="T29" fmla="*/ 127 h 1167"/>
                <a:gd name="T30" fmla="*/ 11 w 224"/>
                <a:gd name="T31" fmla="*/ 127 h 1167"/>
                <a:gd name="T32" fmla="*/ 13 w 224"/>
                <a:gd name="T33" fmla="*/ 135 h 1167"/>
                <a:gd name="T34" fmla="*/ 24 w 224"/>
                <a:gd name="T35" fmla="*/ 135 h 1167"/>
                <a:gd name="T36" fmla="*/ 22 w 224"/>
                <a:gd name="T37" fmla="*/ 135 h 1167"/>
                <a:gd name="T38" fmla="*/ 18 w 224"/>
                <a:gd name="T39" fmla="*/ 139 h 1167"/>
                <a:gd name="T40" fmla="*/ 15 w 224"/>
                <a:gd name="T41" fmla="*/ 145 h 1167"/>
                <a:gd name="T42" fmla="*/ 15 w 224"/>
                <a:gd name="T43" fmla="*/ 141 h 1167"/>
                <a:gd name="T44" fmla="*/ 11 w 224"/>
                <a:gd name="T45" fmla="*/ 141 h 1167"/>
                <a:gd name="T46" fmla="*/ 9 w 224"/>
                <a:gd name="T47" fmla="*/ 138 h 1167"/>
                <a:gd name="T48" fmla="*/ 5 w 224"/>
                <a:gd name="T49" fmla="*/ 135 h 1167"/>
                <a:gd name="T50" fmla="*/ 3 w 224"/>
                <a:gd name="T51" fmla="*/ 135 h 1167"/>
                <a:gd name="T52" fmla="*/ 5 w 224"/>
                <a:gd name="T53" fmla="*/ 133 h 1167"/>
                <a:gd name="T54" fmla="*/ 5 w 224"/>
                <a:gd name="T55" fmla="*/ 129 h 1167"/>
                <a:gd name="T56" fmla="*/ 3 w 224"/>
                <a:gd name="T57" fmla="*/ 133 h 1167"/>
                <a:gd name="T58" fmla="*/ 5 w 224"/>
                <a:gd name="T59" fmla="*/ 129 h 1167"/>
                <a:gd name="T60" fmla="*/ 3 w 224"/>
                <a:gd name="T61" fmla="*/ 129 h 1167"/>
                <a:gd name="T62" fmla="*/ 0 w 224"/>
                <a:gd name="T63" fmla="*/ 123 h 1167"/>
                <a:gd name="T64" fmla="*/ 3 w 224"/>
                <a:gd name="T65" fmla="*/ 115 h 1167"/>
                <a:gd name="T66" fmla="*/ 5 w 224"/>
                <a:gd name="T67" fmla="*/ 117 h 1167"/>
                <a:gd name="T68" fmla="*/ 3 w 224"/>
                <a:gd name="T69" fmla="*/ 109 h 1167"/>
                <a:gd name="T70" fmla="*/ 5 w 224"/>
                <a:gd name="T71" fmla="*/ 108 h 1167"/>
                <a:gd name="T72" fmla="*/ 5 w 224"/>
                <a:gd name="T73" fmla="*/ 105 h 1167"/>
                <a:gd name="T74" fmla="*/ 7 w 224"/>
                <a:gd name="T75" fmla="*/ 97 h 1167"/>
                <a:gd name="T76" fmla="*/ 7 w 224"/>
                <a:gd name="T77" fmla="*/ 102 h 1167"/>
                <a:gd name="T78" fmla="*/ 11 w 224"/>
                <a:gd name="T79" fmla="*/ 90 h 1167"/>
                <a:gd name="T80" fmla="*/ 9 w 224"/>
                <a:gd name="T81" fmla="*/ 87 h 1167"/>
                <a:gd name="T82" fmla="*/ 7 w 224"/>
                <a:gd name="T83" fmla="*/ 79 h 1167"/>
                <a:gd name="T84" fmla="*/ 7 w 224"/>
                <a:gd name="T85" fmla="*/ 72 h 1167"/>
                <a:gd name="T86" fmla="*/ 15 w 224"/>
                <a:gd name="T87" fmla="*/ 51 h 1167"/>
                <a:gd name="T88" fmla="*/ 15 w 224"/>
                <a:gd name="T89" fmla="*/ 42 h 1167"/>
                <a:gd name="T90" fmla="*/ 18 w 224"/>
                <a:gd name="T91" fmla="*/ 30 h 1167"/>
                <a:gd name="T92" fmla="*/ 20 w 224"/>
                <a:gd name="T93" fmla="*/ 12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793" name="Freeform 261"/>
            <p:cNvSpPr>
              <a:spLocks/>
            </p:cNvSpPr>
            <p:nvPr/>
          </p:nvSpPr>
          <p:spPr bwMode="auto">
            <a:xfrm>
              <a:off x="2730900" y="3674167"/>
              <a:ext cx="1391842" cy="670150"/>
            </a:xfrm>
            <a:custGeom>
              <a:avLst/>
              <a:gdLst>
                <a:gd name="T0" fmla="*/ 99 w 1578"/>
                <a:gd name="T1" fmla="*/ 2 h 785"/>
                <a:gd name="T2" fmla="*/ 108 w 1578"/>
                <a:gd name="T3" fmla="*/ 4 h 785"/>
                <a:gd name="T4" fmla="*/ 110 w 1578"/>
                <a:gd name="T5" fmla="*/ 14 h 785"/>
                <a:gd name="T6" fmla="*/ 123 w 1578"/>
                <a:gd name="T7" fmla="*/ 12 h 785"/>
                <a:gd name="T8" fmla="*/ 128 w 1578"/>
                <a:gd name="T9" fmla="*/ 14 h 785"/>
                <a:gd name="T10" fmla="*/ 139 w 1578"/>
                <a:gd name="T11" fmla="*/ 16 h 785"/>
                <a:gd name="T12" fmla="*/ 125 w 1578"/>
                <a:gd name="T13" fmla="*/ 24 h 785"/>
                <a:gd name="T14" fmla="*/ 125 w 1578"/>
                <a:gd name="T15" fmla="*/ 34 h 785"/>
                <a:gd name="T16" fmla="*/ 131 w 1578"/>
                <a:gd name="T17" fmla="*/ 34 h 785"/>
                <a:gd name="T18" fmla="*/ 135 w 1578"/>
                <a:gd name="T19" fmla="*/ 20 h 785"/>
                <a:gd name="T20" fmla="*/ 141 w 1578"/>
                <a:gd name="T21" fmla="*/ 24 h 785"/>
                <a:gd name="T22" fmla="*/ 144 w 1578"/>
                <a:gd name="T23" fmla="*/ 30 h 785"/>
                <a:gd name="T24" fmla="*/ 144 w 1578"/>
                <a:gd name="T25" fmla="*/ 36 h 785"/>
                <a:gd name="T26" fmla="*/ 156 w 1578"/>
                <a:gd name="T27" fmla="*/ 28 h 785"/>
                <a:gd name="T28" fmla="*/ 169 w 1578"/>
                <a:gd name="T29" fmla="*/ 22 h 785"/>
                <a:gd name="T30" fmla="*/ 189 w 1578"/>
                <a:gd name="T31" fmla="*/ 10 h 785"/>
                <a:gd name="T32" fmla="*/ 193 w 1578"/>
                <a:gd name="T33" fmla="*/ 12 h 785"/>
                <a:gd name="T34" fmla="*/ 197 w 1578"/>
                <a:gd name="T35" fmla="*/ 22 h 785"/>
                <a:gd name="T36" fmla="*/ 189 w 1578"/>
                <a:gd name="T37" fmla="*/ 26 h 785"/>
                <a:gd name="T38" fmla="*/ 185 w 1578"/>
                <a:gd name="T39" fmla="*/ 36 h 785"/>
                <a:gd name="T40" fmla="*/ 187 w 1578"/>
                <a:gd name="T41" fmla="*/ 36 h 785"/>
                <a:gd name="T42" fmla="*/ 174 w 1578"/>
                <a:gd name="T43" fmla="*/ 40 h 785"/>
                <a:gd name="T44" fmla="*/ 167 w 1578"/>
                <a:gd name="T45" fmla="*/ 44 h 785"/>
                <a:gd name="T46" fmla="*/ 167 w 1578"/>
                <a:gd name="T47" fmla="*/ 50 h 785"/>
                <a:gd name="T48" fmla="*/ 165 w 1578"/>
                <a:gd name="T49" fmla="*/ 46 h 785"/>
                <a:gd name="T50" fmla="*/ 165 w 1578"/>
                <a:gd name="T51" fmla="*/ 50 h 785"/>
                <a:gd name="T52" fmla="*/ 165 w 1578"/>
                <a:gd name="T53" fmla="*/ 64 h 785"/>
                <a:gd name="T54" fmla="*/ 148 w 1578"/>
                <a:gd name="T55" fmla="*/ 78 h 785"/>
                <a:gd name="T56" fmla="*/ 150 w 1578"/>
                <a:gd name="T57" fmla="*/ 98 h 785"/>
                <a:gd name="T58" fmla="*/ 144 w 1578"/>
                <a:gd name="T59" fmla="*/ 84 h 785"/>
                <a:gd name="T60" fmla="*/ 135 w 1578"/>
                <a:gd name="T61" fmla="*/ 80 h 785"/>
                <a:gd name="T62" fmla="*/ 125 w 1578"/>
                <a:gd name="T63" fmla="*/ 78 h 785"/>
                <a:gd name="T64" fmla="*/ 121 w 1578"/>
                <a:gd name="T65" fmla="*/ 80 h 785"/>
                <a:gd name="T66" fmla="*/ 119 w 1578"/>
                <a:gd name="T67" fmla="*/ 84 h 785"/>
                <a:gd name="T68" fmla="*/ 110 w 1578"/>
                <a:gd name="T69" fmla="*/ 82 h 785"/>
                <a:gd name="T70" fmla="*/ 101 w 1578"/>
                <a:gd name="T71" fmla="*/ 82 h 785"/>
                <a:gd name="T72" fmla="*/ 94 w 1578"/>
                <a:gd name="T73" fmla="*/ 90 h 785"/>
                <a:gd name="T74" fmla="*/ 78 w 1578"/>
                <a:gd name="T75" fmla="*/ 82 h 785"/>
                <a:gd name="T76" fmla="*/ 72 w 1578"/>
                <a:gd name="T77" fmla="*/ 84 h 785"/>
                <a:gd name="T78" fmla="*/ 62 w 1578"/>
                <a:gd name="T79" fmla="*/ 74 h 785"/>
                <a:gd name="T80" fmla="*/ 26 w 1578"/>
                <a:gd name="T81" fmla="*/ 72 h 785"/>
                <a:gd name="T82" fmla="*/ 22 w 1578"/>
                <a:gd name="T83" fmla="*/ 66 h 785"/>
                <a:gd name="T84" fmla="*/ 9 w 1578"/>
                <a:gd name="T85" fmla="*/ 58 h 785"/>
                <a:gd name="T86" fmla="*/ 6 w 1578"/>
                <a:gd name="T87" fmla="*/ 52 h 785"/>
                <a:gd name="T88" fmla="*/ 5 w 1578"/>
                <a:gd name="T89" fmla="*/ 50 h 785"/>
                <a:gd name="T90" fmla="*/ 3 w 1578"/>
                <a:gd name="T91" fmla="*/ 44 h 785"/>
                <a:gd name="T92" fmla="*/ 0 w 1578"/>
                <a:gd name="T93" fmla="*/ 30 h 785"/>
                <a:gd name="T94" fmla="*/ 3 w 1578"/>
                <a:gd name="T95" fmla="*/ 16 h 785"/>
                <a:gd name="T96" fmla="*/ 6 w 1578"/>
                <a:gd name="T97" fmla="*/ 8 h 785"/>
                <a:gd name="T98" fmla="*/ 6 w 1578"/>
                <a:gd name="T99" fmla="*/ 4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794" name="Freeform 262"/>
            <p:cNvSpPr>
              <a:spLocks/>
            </p:cNvSpPr>
            <p:nvPr/>
          </p:nvSpPr>
          <p:spPr bwMode="auto">
            <a:xfrm>
              <a:off x="2912598" y="4166522"/>
              <a:ext cx="717972" cy="423973"/>
            </a:xfrm>
            <a:custGeom>
              <a:avLst/>
              <a:gdLst>
                <a:gd name="T0" fmla="*/ 68 w 814"/>
                <a:gd name="T1" fmla="*/ 24 h 497"/>
                <a:gd name="T2" fmla="*/ 65 w 814"/>
                <a:gd name="T3" fmla="*/ 36 h 497"/>
                <a:gd name="T4" fmla="*/ 68 w 814"/>
                <a:gd name="T5" fmla="*/ 40 h 497"/>
                <a:gd name="T6" fmla="*/ 78 w 814"/>
                <a:gd name="T7" fmla="*/ 50 h 497"/>
                <a:gd name="T8" fmla="*/ 89 w 814"/>
                <a:gd name="T9" fmla="*/ 48 h 497"/>
                <a:gd name="T10" fmla="*/ 89 w 814"/>
                <a:gd name="T11" fmla="*/ 46 h 497"/>
                <a:gd name="T12" fmla="*/ 94 w 814"/>
                <a:gd name="T13" fmla="*/ 40 h 497"/>
                <a:gd name="T14" fmla="*/ 102 w 814"/>
                <a:gd name="T15" fmla="*/ 40 h 497"/>
                <a:gd name="T16" fmla="*/ 100 w 814"/>
                <a:gd name="T17" fmla="*/ 50 h 497"/>
                <a:gd name="T18" fmla="*/ 96 w 814"/>
                <a:gd name="T19" fmla="*/ 50 h 497"/>
                <a:gd name="T20" fmla="*/ 87 w 814"/>
                <a:gd name="T21" fmla="*/ 52 h 497"/>
                <a:gd name="T22" fmla="*/ 87 w 814"/>
                <a:gd name="T23" fmla="*/ 56 h 497"/>
                <a:gd name="T24" fmla="*/ 78 w 814"/>
                <a:gd name="T25" fmla="*/ 56 h 497"/>
                <a:gd name="T26" fmla="*/ 72 w 814"/>
                <a:gd name="T27" fmla="*/ 58 h 497"/>
                <a:gd name="T28" fmla="*/ 54 w 814"/>
                <a:gd name="T29" fmla="*/ 52 h 497"/>
                <a:gd name="T30" fmla="*/ 46 w 814"/>
                <a:gd name="T31" fmla="*/ 50 h 497"/>
                <a:gd name="T32" fmla="*/ 40 w 814"/>
                <a:gd name="T33" fmla="*/ 42 h 497"/>
                <a:gd name="T34" fmla="*/ 40 w 814"/>
                <a:gd name="T35" fmla="*/ 36 h 497"/>
                <a:gd name="T36" fmla="*/ 25 w 814"/>
                <a:gd name="T37" fmla="*/ 24 h 497"/>
                <a:gd name="T38" fmla="*/ 22 w 814"/>
                <a:gd name="T39" fmla="*/ 18 h 497"/>
                <a:gd name="T40" fmla="*/ 20 w 814"/>
                <a:gd name="T41" fmla="*/ 16 h 497"/>
                <a:gd name="T42" fmla="*/ 13 w 814"/>
                <a:gd name="T43" fmla="*/ 4 h 497"/>
                <a:gd name="T44" fmla="*/ 6 w 814"/>
                <a:gd name="T45" fmla="*/ 2 h 497"/>
                <a:gd name="T46" fmla="*/ 20 w 814"/>
                <a:gd name="T47" fmla="*/ 22 h 497"/>
                <a:gd name="T48" fmla="*/ 24 w 814"/>
                <a:gd name="T49" fmla="*/ 30 h 497"/>
                <a:gd name="T50" fmla="*/ 24 w 814"/>
                <a:gd name="T51" fmla="*/ 34 h 497"/>
                <a:gd name="T52" fmla="*/ 15 w 814"/>
                <a:gd name="T53" fmla="*/ 28 h 497"/>
                <a:gd name="T54" fmla="*/ 15 w 814"/>
                <a:gd name="T55" fmla="*/ 22 h 497"/>
                <a:gd name="T56" fmla="*/ 6 w 814"/>
                <a:gd name="T57" fmla="*/ 16 h 497"/>
                <a:gd name="T58" fmla="*/ 11 w 814"/>
                <a:gd name="T59" fmla="*/ 14 h 497"/>
                <a:gd name="T60" fmla="*/ 0 w 814"/>
                <a:gd name="T61" fmla="*/ 0 h 497"/>
                <a:gd name="T62" fmla="*/ 20 w 814"/>
                <a:gd name="T63" fmla="*/ 4 h 497"/>
                <a:gd name="T64" fmla="*/ 42 w 814"/>
                <a:gd name="T65" fmla="*/ 6 h 497"/>
                <a:gd name="T66" fmla="*/ 46 w 814"/>
                <a:gd name="T67" fmla="*/ 12 h 497"/>
                <a:gd name="T68" fmla="*/ 50 w 814"/>
                <a:gd name="T69" fmla="*/ 10 h 497"/>
                <a:gd name="T70" fmla="*/ 60 w 814"/>
                <a:gd name="T71" fmla="*/ 22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795" name="Freeform 263"/>
            <p:cNvSpPr>
              <a:spLocks/>
            </p:cNvSpPr>
            <p:nvPr/>
          </p:nvSpPr>
          <p:spPr bwMode="auto">
            <a:xfrm>
              <a:off x="3584705" y="4494759"/>
              <a:ext cx="15877" cy="54706"/>
            </a:xfrm>
            <a:custGeom>
              <a:avLst/>
              <a:gdLst>
                <a:gd name="T0" fmla="*/ 0 w 17"/>
                <a:gd name="T1" fmla="*/ 8 h 65"/>
                <a:gd name="T2" fmla="*/ 0 w 17"/>
                <a:gd name="T3" fmla="*/ 8 h 65"/>
                <a:gd name="T4" fmla="*/ 3 w 17"/>
                <a:gd name="T5" fmla="*/ 8 h 65"/>
                <a:gd name="T6" fmla="*/ 3 w 17"/>
                <a:gd name="T7" fmla="*/ 0 h 65"/>
                <a:gd name="T8" fmla="*/ 0 w 17"/>
                <a:gd name="T9" fmla="*/ 2 h 65"/>
                <a:gd name="T10" fmla="*/ 0 w 17"/>
                <a:gd name="T11" fmla="*/ 8 h 65"/>
                <a:gd name="T12" fmla="*/ 0 60000 65536"/>
                <a:gd name="T13" fmla="*/ 0 60000 65536"/>
                <a:gd name="T14" fmla="*/ 0 60000 65536"/>
                <a:gd name="T15" fmla="*/ 0 60000 65536"/>
                <a:gd name="T16" fmla="*/ 0 60000 65536"/>
                <a:gd name="T17" fmla="*/ 0 60000 65536"/>
                <a:gd name="T18" fmla="*/ 0 w 17"/>
                <a:gd name="T19" fmla="*/ 0 h 65"/>
                <a:gd name="T20" fmla="*/ 17 w 17"/>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7" h="65">
                  <a:moveTo>
                    <a:pt x="0" y="65"/>
                  </a:moveTo>
                  <a:lnTo>
                    <a:pt x="0" y="65"/>
                  </a:lnTo>
                  <a:lnTo>
                    <a:pt x="17" y="65"/>
                  </a:lnTo>
                  <a:lnTo>
                    <a:pt x="17" y="0"/>
                  </a:lnTo>
                  <a:lnTo>
                    <a:pt x="0" y="17"/>
                  </a:lnTo>
                  <a:lnTo>
                    <a:pt x="0"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6" name="Freeform 264"/>
            <p:cNvSpPr>
              <a:spLocks/>
            </p:cNvSpPr>
            <p:nvPr/>
          </p:nvSpPr>
          <p:spPr bwMode="auto">
            <a:xfrm>
              <a:off x="3508850" y="4508437"/>
              <a:ext cx="91731" cy="95736"/>
            </a:xfrm>
            <a:custGeom>
              <a:avLst/>
              <a:gdLst>
                <a:gd name="T0" fmla="*/ 11 w 103"/>
                <a:gd name="T1" fmla="*/ 6 h 111"/>
                <a:gd name="T2" fmla="*/ 11 w 103"/>
                <a:gd name="T3" fmla="*/ 6 h 111"/>
                <a:gd name="T4" fmla="*/ 13 w 103"/>
                <a:gd name="T5" fmla="*/ 8 h 111"/>
                <a:gd name="T6" fmla="*/ 9 w 103"/>
                <a:gd name="T7" fmla="*/ 12 h 111"/>
                <a:gd name="T8" fmla="*/ 7 w 103"/>
                <a:gd name="T9" fmla="*/ 14 h 111"/>
                <a:gd name="T10" fmla="*/ 0 w 103"/>
                <a:gd name="T11" fmla="*/ 12 h 111"/>
                <a:gd name="T12" fmla="*/ 3 w 103"/>
                <a:gd name="T13" fmla="*/ 6 h 111"/>
                <a:gd name="T14" fmla="*/ 7 w 103"/>
                <a:gd name="T15" fmla="*/ 6 h 111"/>
                <a:gd name="T16" fmla="*/ 3 w 103"/>
                <a:gd name="T17" fmla="*/ 2 h 111"/>
                <a:gd name="T18" fmla="*/ 5 w 103"/>
                <a:gd name="T19" fmla="*/ 0 h 111"/>
                <a:gd name="T20" fmla="*/ 11 w 103"/>
                <a:gd name="T21" fmla="*/ 0 h 111"/>
                <a:gd name="T22" fmla="*/ 11 w 103"/>
                <a:gd name="T23" fmla="*/ 6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7" name="Freeform 265"/>
            <p:cNvSpPr>
              <a:spLocks/>
            </p:cNvSpPr>
            <p:nvPr/>
          </p:nvSpPr>
          <p:spPr bwMode="auto">
            <a:xfrm>
              <a:off x="3572357" y="4563143"/>
              <a:ext cx="149945" cy="54706"/>
            </a:xfrm>
            <a:custGeom>
              <a:avLst/>
              <a:gdLst>
                <a:gd name="T0" fmla="*/ 5 w 170"/>
                <a:gd name="T1" fmla="*/ 0 h 63"/>
                <a:gd name="T2" fmla="*/ 5 w 170"/>
                <a:gd name="T3" fmla="*/ 0 h 63"/>
                <a:gd name="T4" fmla="*/ 14 w 170"/>
                <a:gd name="T5" fmla="*/ 0 h 63"/>
                <a:gd name="T6" fmla="*/ 21 w 170"/>
                <a:gd name="T7" fmla="*/ 2 h 63"/>
                <a:gd name="T8" fmla="*/ 17 w 170"/>
                <a:gd name="T9" fmla="*/ 5 h 63"/>
                <a:gd name="T10" fmla="*/ 9 w 170"/>
                <a:gd name="T11" fmla="*/ 8 h 63"/>
                <a:gd name="T12" fmla="*/ 6 w 170"/>
                <a:gd name="T13" fmla="*/ 8 h 63"/>
                <a:gd name="T14" fmla="*/ 6 w 170"/>
                <a:gd name="T15" fmla="*/ 6 h 63"/>
                <a:gd name="T16" fmla="*/ 0 w 170"/>
                <a:gd name="T17" fmla="*/ 5 h 63"/>
                <a:gd name="T18" fmla="*/ 5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8" name="Freeform 266"/>
            <p:cNvSpPr>
              <a:spLocks/>
            </p:cNvSpPr>
            <p:nvPr/>
          </p:nvSpPr>
          <p:spPr bwMode="auto">
            <a:xfrm>
              <a:off x="3554716" y="4590496"/>
              <a:ext cx="63507" cy="27353"/>
            </a:xfrm>
            <a:custGeom>
              <a:avLst/>
              <a:gdLst>
                <a:gd name="T0" fmla="*/ 3 w 71"/>
                <a:gd name="T1" fmla="*/ 0 h 30"/>
                <a:gd name="T2" fmla="*/ 3 w 71"/>
                <a:gd name="T3" fmla="*/ 0 h 30"/>
                <a:gd name="T4" fmla="*/ 0 w 71"/>
                <a:gd name="T5" fmla="*/ 2 h 30"/>
                <a:gd name="T6" fmla="*/ 3 w 71"/>
                <a:gd name="T7" fmla="*/ 5 h 30"/>
                <a:gd name="T8" fmla="*/ 9 w 71"/>
                <a:gd name="T9" fmla="*/ 5 h 30"/>
                <a:gd name="T10" fmla="*/ 9 w 71"/>
                <a:gd name="T11" fmla="*/ 2 h 30"/>
                <a:gd name="T12" fmla="*/ 3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799" name="Freeform 267"/>
            <p:cNvSpPr>
              <a:spLocks/>
            </p:cNvSpPr>
            <p:nvPr/>
          </p:nvSpPr>
          <p:spPr bwMode="auto">
            <a:xfrm>
              <a:off x="3630570" y="4576818"/>
              <a:ext cx="91731" cy="95736"/>
            </a:xfrm>
            <a:custGeom>
              <a:avLst/>
              <a:gdLst>
                <a:gd name="T0" fmla="*/ 13 w 103"/>
                <a:gd name="T1" fmla="*/ 0 h 114"/>
                <a:gd name="T2" fmla="*/ 13 w 103"/>
                <a:gd name="T3" fmla="*/ 0 h 114"/>
                <a:gd name="T4" fmla="*/ 13 w 103"/>
                <a:gd name="T5" fmla="*/ 2 h 114"/>
                <a:gd name="T6" fmla="*/ 11 w 103"/>
                <a:gd name="T7" fmla="*/ 11 h 114"/>
                <a:gd name="T8" fmla="*/ 13 w 103"/>
                <a:gd name="T9" fmla="*/ 14 h 114"/>
                <a:gd name="T10" fmla="*/ 11 w 103"/>
                <a:gd name="T11" fmla="*/ 14 h 114"/>
                <a:gd name="T12" fmla="*/ 5 w 103"/>
                <a:gd name="T13" fmla="*/ 11 h 114"/>
                <a:gd name="T14" fmla="*/ 0 w 103"/>
                <a:gd name="T15" fmla="*/ 8 h 114"/>
                <a:gd name="T16" fmla="*/ 0 w 103"/>
                <a:gd name="T17" fmla="*/ 6 h 114"/>
                <a:gd name="T18" fmla="*/ 9 w 103"/>
                <a:gd name="T19" fmla="*/ 2 h 114"/>
                <a:gd name="T20" fmla="*/ 13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0" name="Freeform 268"/>
            <p:cNvSpPr>
              <a:spLocks/>
            </p:cNvSpPr>
            <p:nvPr/>
          </p:nvSpPr>
          <p:spPr bwMode="auto">
            <a:xfrm>
              <a:off x="3664087" y="4658877"/>
              <a:ext cx="75855" cy="68383"/>
            </a:xfrm>
            <a:custGeom>
              <a:avLst/>
              <a:gdLst>
                <a:gd name="T0" fmla="*/ 10 w 87"/>
                <a:gd name="T1" fmla="*/ 10 h 81"/>
                <a:gd name="T2" fmla="*/ 10 w 87"/>
                <a:gd name="T3" fmla="*/ 10 h 81"/>
                <a:gd name="T4" fmla="*/ 10 w 87"/>
                <a:gd name="T5" fmla="*/ 6 h 81"/>
                <a:gd name="T6" fmla="*/ 8 w 87"/>
                <a:gd name="T7" fmla="*/ 4 h 81"/>
                <a:gd name="T8" fmla="*/ 8 w 87"/>
                <a:gd name="T9" fmla="*/ 2 h 81"/>
                <a:gd name="T10" fmla="*/ 6 w 87"/>
                <a:gd name="T11" fmla="*/ 2 h 81"/>
                <a:gd name="T12" fmla="*/ 0 w 87"/>
                <a:gd name="T13" fmla="*/ 0 h 81"/>
                <a:gd name="T14" fmla="*/ 0 w 87"/>
                <a:gd name="T15" fmla="*/ 4 h 81"/>
                <a:gd name="T16" fmla="*/ 2 w 87"/>
                <a:gd name="T17" fmla="*/ 6 h 81"/>
                <a:gd name="T18" fmla="*/ 4 w 87"/>
                <a:gd name="T19" fmla="*/ 4 h 81"/>
                <a:gd name="T20" fmla="*/ 6 w 87"/>
                <a:gd name="T21" fmla="*/ 8 h 81"/>
                <a:gd name="T22" fmla="*/ 10 w 87"/>
                <a:gd name="T23" fmla="*/ 1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1" name="Freeform 269"/>
            <p:cNvSpPr>
              <a:spLocks/>
            </p:cNvSpPr>
            <p:nvPr/>
          </p:nvSpPr>
          <p:spPr bwMode="auto">
            <a:xfrm>
              <a:off x="3739942" y="4699908"/>
              <a:ext cx="74090" cy="54706"/>
            </a:xfrm>
            <a:custGeom>
              <a:avLst/>
              <a:gdLst>
                <a:gd name="T0" fmla="*/ 0 w 84"/>
                <a:gd name="T1" fmla="*/ 4 h 66"/>
                <a:gd name="T2" fmla="*/ 0 w 84"/>
                <a:gd name="T3" fmla="*/ 4 h 66"/>
                <a:gd name="T4" fmla="*/ 6 w 84"/>
                <a:gd name="T5" fmla="*/ 5 h 66"/>
                <a:gd name="T6" fmla="*/ 6 w 84"/>
                <a:gd name="T7" fmla="*/ 8 h 66"/>
                <a:gd name="T8" fmla="*/ 9 w 84"/>
                <a:gd name="T9" fmla="*/ 5 h 66"/>
                <a:gd name="T10" fmla="*/ 6 w 84"/>
                <a:gd name="T11" fmla="*/ 4 h 66"/>
                <a:gd name="T12" fmla="*/ 11 w 84"/>
                <a:gd name="T13" fmla="*/ 2 h 66"/>
                <a:gd name="T14" fmla="*/ 9 w 84"/>
                <a:gd name="T15" fmla="*/ 0 h 66"/>
                <a:gd name="T16" fmla="*/ 5 w 84"/>
                <a:gd name="T17" fmla="*/ 2 h 66"/>
                <a:gd name="T18" fmla="*/ 3 w 84"/>
                <a:gd name="T19" fmla="*/ 2 h 66"/>
                <a:gd name="T20" fmla="*/ 0 w 84"/>
                <a:gd name="T21" fmla="*/ 0 h 66"/>
                <a:gd name="T22" fmla="*/ 0 w 84"/>
                <a:gd name="T23" fmla="*/ 4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2" name="Freeform 270"/>
            <p:cNvSpPr>
              <a:spLocks/>
            </p:cNvSpPr>
            <p:nvPr/>
          </p:nvSpPr>
          <p:spPr bwMode="auto">
            <a:xfrm>
              <a:off x="3815795" y="4699908"/>
              <a:ext cx="61742" cy="54706"/>
            </a:xfrm>
            <a:custGeom>
              <a:avLst/>
              <a:gdLst>
                <a:gd name="T0" fmla="*/ 7 w 69"/>
                <a:gd name="T1" fmla="*/ 2 h 66"/>
                <a:gd name="T2" fmla="*/ 7 w 69"/>
                <a:gd name="T3" fmla="*/ 2 h 66"/>
                <a:gd name="T4" fmla="*/ 9 w 69"/>
                <a:gd name="T5" fmla="*/ 4 h 66"/>
                <a:gd name="T6" fmla="*/ 7 w 69"/>
                <a:gd name="T7" fmla="*/ 5 h 66"/>
                <a:gd name="T8" fmla="*/ 7 w 69"/>
                <a:gd name="T9" fmla="*/ 8 h 66"/>
                <a:gd name="T10" fmla="*/ 5 w 69"/>
                <a:gd name="T11" fmla="*/ 4 h 66"/>
                <a:gd name="T12" fmla="*/ 0 w 69"/>
                <a:gd name="T13" fmla="*/ 2 h 66"/>
                <a:gd name="T14" fmla="*/ 0 w 69"/>
                <a:gd name="T15" fmla="*/ 0 h 66"/>
                <a:gd name="T16" fmla="*/ 3 w 69"/>
                <a:gd name="T17" fmla="*/ 0 h 66"/>
                <a:gd name="T18" fmla="*/ 5 w 69"/>
                <a:gd name="T19" fmla="*/ 0 h 66"/>
                <a:gd name="T20" fmla="*/ 7 w 69"/>
                <a:gd name="T21" fmla="*/ 2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3" name="Freeform 271"/>
            <p:cNvSpPr>
              <a:spLocks/>
            </p:cNvSpPr>
            <p:nvPr/>
          </p:nvSpPr>
          <p:spPr bwMode="auto">
            <a:xfrm>
              <a:off x="3799920" y="4699908"/>
              <a:ext cx="15877" cy="13677"/>
            </a:xfrm>
            <a:custGeom>
              <a:avLst/>
              <a:gdLst>
                <a:gd name="T0" fmla="*/ 3 w 17"/>
                <a:gd name="T1" fmla="*/ 2 h 18"/>
                <a:gd name="T2" fmla="*/ 3 w 17"/>
                <a:gd name="T3" fmla="*/ 2 h 18"/>
                <a:gd name="T4" fmla="*/ 3 w 17"/>
                <a:gd name="T5" fmla="*/ 0 h 18"/>
                <a:gd name="T6" fmla="*/ 0 w 17"/>
                <a:gd name="T7" fmla="*/ 0 h 18"/>
                <a:gd name="T8" fmla="*/ 3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4" name="Freeform 272"/>
            <p:cNvSpPr>
              <a:spLocks/>
            </p:cNvSpPr>
            <p:nvPr/>
          </p:nvSpPr>
          <p:spPr bwMode="auto">
            <a:xfrm>
              <a:off x="3799920" y="4699908"/>
              <a:ext cx="15877" cy="13677"/>
            </a:xfrm>
            <a:custGeom>
              <a:avLst/>
              <a:gdLst>
                <a:gd name="T0" fmla="*/ 3 w 17"/>
                <a:gd name="T1" fmla="*/ 2 h 18"/>
                <a:gd name="T2" fmla="*/ 3 w 17"/>
                <a:gd name="T3" fmla="*/ 2 h 18"/>
                <a:gd name="T4" fmla="*/ 3 w 17"/>
                <a:gd name="T5" fmla="*/ 0 h 18"/>
                <a:gd name="T6" fmla="*/ 0 w 17"/>
                <a:gd name="T7" fmla="*/ 0 h 18"/>
                <a:gd name="T8" fmla="*/ 3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5" name="Freeform 273"/>
            <p:cNvSpPr>
              <a:spLocks/>
            </p:cNvSpPr>
            <p:nvPr/>
          </p:nvSpPr>
          <p:spPr bwMode="auto">
            <a:xfrm>
              <a:off x="3999259" y="4467406"/>
              <a:ext cx="91731" cy="54706"/>
            </a:xfrm>
            <a:custGeom>
              <a:avLst/>
              <a:gdLst>
                <a:gd name="T0" fmla="*/ 0 w 104"/>
                <a:gd name="T1" fmla="*/ 6 h 63"/>
                <a:gd name="T2" fmla="*/ 0 w 104"/>
                <a:gd name="T3" fmla="*/ 6 h 63"/>
                <a:gd name="T4" fmla="*/ 0 w 104"/>
                <a:gd name="T5" fmla="*/ 0 h 63"/>
                <a:gd name="T6" fmla="*/ 7 w 104"/>
                <a:gd name="T7" fmla="*/ 0 h 63"/>
                <a:gd name="T8" fmla="*/ 7 w 104"/>
                <a:gd name="T9" fmla="*/ 2 h 63"/>
                <a:gd name="T10" fmla="*/ 9 w 104"/>
                <a:gd name="T11" fmla="*/ 2 h 63"/>
                <a:gd name="T12" fmla="*/ 13 w 104"/>
                <a:gd name="T13" fmla="*/ 4 h 63"/>
                <a:gd name="T14" fmla="*/ 11 w 104"/>
                <a:gd name="T15" fmla="*/ 6 h 63"/>
                <a:gd name="T16" fmla="*/ 11 w 104"/>
                <a:gd name="T17" fmla="*/ 4 h 63"/>
                <a:gd name="T18" fmla="*/ 5 w 104"/>
                <a:gd name="T19" fmla="*/ 6 h 63"/>
                <a:gd name="T20" fmla="*/ 5 w 104"/>
                <a:gd name="T21" fmla="*/ 4 h 63"/>
                <a:gd name="T22" fmla="*/ 3 w 104"/>
                <a:gd name="T23" fmla="*/ 6 h 63"/>
                <a:gd name="T24" fmla="*/ 3 w 104"/>
                <a:gd name="T25" fmla="*/ 8 h 63"/>
                <a:gd name="T26" fmla="*/ 0 w 104"/>
                <a:gd name="T27" fmla="*/ 6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6" name="Freeform 274"/>
            <p:cNvSpPr>
              <a:spLocks/>
            </p:cNvSpPr>
            <p:nvPr/>
          </p:nvSpPr>
          <p:spPr bwMode="auto">
            <a:xfrm>
              <a:off x="3937515" y="4467406"/>
              <a:ext cx="61742" cy="41030"/>
            </a:xfrm>
            <a:custGeom>
              <a:avLst/>
              <a:gdLst>
                <a:gd name="T0" fmla="*/ 9 w 69"/>
                <a:gd name="T1" fmla="*/ 6 h 48"/>
                <a:gd name="T2" fmla="*/ 9 w 69"/>
                <a:gd name="T3" fmla="*/ 6 h 48"/>
                <a:gd name="T4" fmla="*/ 9 w 69"/>
                <a:gd name="T5" fmla="*/ 0 h 48"/>
                <a:gd name="T6" fmla="*/ 5 w 69"/>
                <a:gd name="T7" fmla="*/ 0 h 48"/>
                <a:gd name="T8" fmla="*/ 7 w 69"/>
                <a:gd name="T9" fmla="*/ 3 h 48"/>
                <a:gd name="T10" fmla="*/ 0 w 69"/>
                <a:gd name="T11" fmla="*/ 6 h 48"/>
                <a:gd name="T12" fmla="*/ 3 w 69"/>
                <a:gd name="T13" fmla="*/ 6 h 48"/>
                <a:gd name="T14" fmla="*/ 9 w 69"/>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7" name="Freeform 275"/>
            <p:cNvSpPr>
              <a:spLocks/>
            </p:cNvSpPr>
            <p:nvPr/>
          </p:nvSpPr>
          <p:spPr bwMode="auto">
            <a:xfrm>
              <a:off x="3831673" y="4631524"/>
              <a:ext cx="273430" cy="355590"/>
            </a:xfrm>
            <a:custGeom>
              <a:avLst/>
              <a:gdLst>
                <a:gd name="T0" fmla="*/ 30 w 311"/>
                <a:gd name="T1" fmla="*/ 53 h 414"/>
                <a:gd name="T2" fmla="*/ 30 w 311"/>
                <a:gd name="T3" fmla="*/ 53 h 414"/>
                <a:gd name="T4" fmla="*/ 32 w 311"/>
                <a:gd name="T5" fmla="*/ 44 h 414"/>
                <a:gd name="T6" fmla="*/ 30 w 311"/>
                <a:gd name="T7" fmla="*/ 38 h 414"/>
                <a:gd name="T8" fmla="*/ 32 w 311"/>
                <a:gd name="T9" fmla="*/ 38 h 414"/>
                <a:gd name="T10" fmla="*/ 30 w 311"/>
                <a:gd name="T11" fmla="*/ 37 h 414"/>
                <a:gd name="T12" fmla="*/ 30 w 311"/>
                <a:gd name="T13" fmla="*/ 34 h 414"/>
                <a:gd name="T14" fmla="*/ 38 w 311"/>
                <a:gd name="T15" fmla="*/ 34 h 414"/>
                <a:gd name="T16" fmla="*/ 38 w 311"/>
                <a:gd name="T17" fmla="*/ 31 h 414"/>
                <a:gd name="T18" fmla="*/ 36 w 311"/>
                <a:gd name="T19" fmla="*/ 26 h 414"/>
                <a:gd name="T20" fmla="*/ 38 w 311"/>
                <a:gd name="T21" fmla="*/ 20 h 414"/>
                <a:gd name="T22" fmla="*/ 32 w 311"/>
                <a:gd name="T23" fmla="*/ 20 h 414"/>
                <a:gd name="T24" fmla="*/ 30 w 311"/>
                <a:gd name="T25" fmla="*/ 18 h 414"/>
                <a:gd name="T26" fmla="*/ 23 w 311"/>
                <a:gd name="T27" fmla="*/ 18 h 414"/>
                <a:gd name="T28" fmla="*/ 21 w 311"/>
                <a:gd name="T29" fmla="*/ 16 h 414"/>
                <a:gd name="T30" fmla="*/ 21 w 311"/>
                <a:gd name="T31" fmla="*/ 14 h 414"/>
                <a:gd name="T32" fmla="*/ 19 w 311"/>
                <a:gd name="T33" fmla="*/ 10 h 414"/>
                <a:gd name="T34" fmla="*/ 21 w 311"/>
                <a:gd name="T35" fmla="*/ 6 h 414"/>
                <a:gd name="T36" fmla="*/ 23 w 311"/>
                <a:gd name="T37" fmla="*/ 4 h 414"/>
                <a:gd name="T38" fmla="*/ 26 w 311"/>
                <a:gd name="T39" fmla="*/ 2 h 414"/>
                <a:gd name="T40" fmla="*/ 23 w 311"/>
                <a:gd name="T41" fmla="*/ 0 h 414"/>
                <a:gd name="T42" fmla="*/ 19 w 311"/>
                <a:gd name="T43" fmla="*/ 4 h 414"/>
                <a:gd name="T44" fmla="*/ 13 w 311"/>
                <a:gd name="T45" fmla="*/ 6 h 414"/>
                <a:gd name="T46" fmla="*/ 10 w 311"/>
                <a:gd name="T47" fmla="*/ 10 h 414"/>
                <a:gd name="T48" fmla="*/ 6 w 311"/>
                <a:gd name="T49" fmla="*/ 12 h 414"/>
                <a:gd name="T50" fmla="*/ 6 w 311"/>
                <a:gd name="T51" fmla="*/ 16 h 414"/>
                <a:gd name="T52" fmla="*/ 4 w 311"/>
                <a:gd name="T53" fmla="*/ 12 h 414"/>
                <a:gd name="T54" fmla="*/ 6 w 311"/>
                <a:gd name="T55" fmla="*/ 14 h 414"/>
                <a:gd name="T56" fmla="*/ 4 w 311"/>
                <a:gd name="T57" fmla="*/ 16 h 414"/>
                <a:gd name="T58" fmla="*/ 4 w 311"/>
                <a:gd name="T59" fmla="*/ 18 h 414"/>
                <a:gd name="T60" fmla="*/ 4 w 311"/>
                <a:gd name="T61" fmla="*/ 20 h 414"/>
                <a:gd name="T62" fmla="*/ 4 w 311"/>
                <a:gd name="T63" fmla="*/ 28 h 414"/>
                <a:gd name="T64" fmla="*/ 6 w 311"/>
                <a:gd name="T65" fmla="*/ 28 h 414"/>
                <a:gd name="T66" fmla="*/ 4 w 311"/>
                <a:gd name="T67" fmla="*/ 32 h 414"/>
                <a:gd name="T68" fmla="*/ 2 w 311"/>
                <a:gd name="T69" fmla="*/ 32 h 414"/>
                <a:gd name="T70" fmla="*/ 2 w 311"/>
                <a:gd name="T71" fmla="*/ 34 h 414"/>
                <a:gd name="T72" fmla="*/ 0 w 311"/>
                <a:gd name="T73" fmla="*/ 34 h 414"/>
                <a:gd name="T74" fmla="*/ 0 w 311"/>
                <a:gd name="T75" fmla="*/ 37 h 414"/>
                <a:gd name="T76" fmla="*/ 6 w 311"/>
                <a:gd name="T77" fmla="*/ 40 h 414"/>
                <a:gd name="T78" fmla="*/ 10 w 311"/>
                <a:gd name="T79" fmla="*/ 38 h 414"/>
                <a:gd name="T80" fmla="*/ 13 w 311"/>
                <a:gd name="T81" fmla="*/ 40 h 414"/>
                <a:gd name="T82" fmla="*/ 17 w 311"/>
                <a:gd name="T83" fmla="*/ 44 h 414"/>
                <a:gd name="T84" fmla="*/ 19 w 311"/>
                <a:gd name="T85" fmla="*/ 48 h 414"/>
                <a:gd name="T86" fmla="*/ 28 w 311"/>
                <a:gd name="T87" fmla="*/ 46 h 414"/>
                <a:gd name="T88" fmla="*/ 30 w 311"/>
                <a:gd name="T89" fmla="*/ 48 h 414"/>
                <a:gd name="T90" fmla="*/ 30 w 311"/>
                <a:gd name="T91" fmla="*/ 50 h 414"/>
                <a:gd name="T92" fmla="*/ 28 w 311"/>
                <a:gd name="T93" fmla="*/ 50 h 414"/>
                <a:gd name="T94" fmla="*/ 30 w 311"/>
                <a:gd name="T95" fmla="*/ 53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808" name="Freeform 276"/>
            <p:cNvSpPr>
              <a:spLocks/>
            </p:cNvSpPr>
            <p:nvPr/>
          </p:nvSpPr>
          <p:spPr bwMode="auto">
            <a:xfrm>
              <a:off x="3785807" y="4877701"/>
              <a:ext cx="135833" cy="136765"/>
            </a:xfrm>
            <a:custGeom>
              <a:avLst/>
              <a:gdLst>
                <a:gd name="T0" fmla="*/ 19 w 156"/>
                <a:gd name="T1" fmla="*/ 4 h 159"/>
                <a:gd name="T2" fmla="*/ 19 w 156"/>
                <a:gd name="T3" fmla="*/ 4 h 159"/>
                <a:gd name="T4" fmla="*/ 17 w 156"/>
                <a:gd name="T5" fmla="*/ 2 h 159"/>
                <a:gd name="T6" fmla="*/ 12 w 156"/>
                <a:gd name="T7" fmla="*/ 4 h 159"/>
                <a:gd name="T8" fmla="*/ 6 w 156"/>
                <a:gd name="T9" fmla="*/ 0 h 159"/>
                <a:gd name="T10" fmla="*/ 2 w 156"/>
                <a:gd name="T11" fmla="*/ 2 h 159"/>
                <a:gd name="T12" fmla="*/ 2 w 156"/>
                <a:gd name="T13" fmla="*/ 4 h 159"/>
                <a:gd name="T14" fmla="*/ 0 w 156"/>
                <a:gd name="T15" fmla="*/ 6 h 159"/>
                <a:gd name="T16" fmla="*/ 0 w 156"/>
                <a:gd name="T17" fmla="*/ 10 h 159"/>
                <a:gd name="T18" fmla="*/ 2 w 156"/>
                <a:gd name="T19" fmla="*/ 14 h 159"/>
                <a:gd name="T20" fmla="*/ 2 w 156"/>
                <a:gd name="T21" fmla="*/ 12 h 159"/>
                <a:gd name="T22" fmla="*/ 4 w 156"/>
                <a:gd name="T23" fmla="*/ 12 h 159"/>
                <a:gd name="T24" fmla="*/ 2 w 156"/>
                <a:gd name="T25" fmla="*/ 14 h 159"/>
                <a:gd name="T26" fmla="*/ 0 w 156"/>
                <a:gd name="T27" fmla="*/ 18 h 159"/>
                <a:gd name="T28" fmla="*/ 4 w 156"/>
                <a:gd name="T29" fmla="*/ 20 h 159"/>
                <a:gd name="T30" fmla="*/ 10 w 156"/>
                <a:gd name="T31" fmla="*/ 14 h 159"/>
                <a:gd name="T32" fmla="*/ 15 w 156"/>
                <a:gd name="T33" fmla="*/ 12 h 159"/>
                <a:gd name="T34" fmla="*/ 17 w 156"/>
                <a:gd name="T35" fmla="*/ 10 h 159"/>
                <a:gd name="T36" fmla="*/ 19 w 156"/>
                <a:gd name="T37" fmla="*/ 6 h 159"/>
                <a:gd name="T38" fmla="*/ 17 w 156"/>
                <a:gd name="T39" fmla="*/ 4 h 159"/>
                <a:gd name="T40" fmla="*/ 19 w 156"/>
                <a:gd name="T41" fmla="*/ 4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09" name="Freeform 277"/>
            <p:cNvSpPr>
              <a:spLocks/>
            </p:cNvSpPr>
            <p:nvPr/>
          </p:nvSpPr>
          <p:spPr bwMode="auto">
            <a:xfrm>
              <a:off x="3768167" y="4905055"/>
              <a:ext cx="308710" cy="396620"/>
            </a:xfrm>
            <a:custGeom>
              <a:avLst/>
              <a:gdLst>
                <a:gd name="T0" fmla="*/ 42 w 350"/>
                <a:gd name="T1" fmla="*/ 34 h 465"/>
                <a:gd name="T2" fmla="*/ 42 w 350"/>
                <a:gd name="T3" fmla="*/ 34 h 465"/>
                <a:gd name="T4" fmla="*/ 37 w 350"/>
                <a:gd name="T5" fmla="*/ 34 h 465"/>
                <a:gd name="T6" fmla="*/ 37 w 350"/>
                <a:gd name="T7" fmla="*/ 30 h 465"/>
                <a:gd name="T8" fmla="*/ 33 w 350"/>
                <a:gd name="T9" fmla="*/ 32 h 465"/>
                <a:gd name="T10" fmla="*/ 28 w 350"/>
                <a:gd name="T11" fmla="*/ 30 h 465"/>
                <a:gd name="T12" fmla="*/ 26 w 350"/>
                <a:gd name="T13" fmla="*/ 24 h 465"/>
                <a:gd name="T14" fmla="*/ 30 w 350"/>
                <a:gd name="T15" fmla="*/ 16 h 465"/>
                <a:gd name="T16" fmla="*/ 40 w 350"/>
                <a:gd name="T17" fmla="*/ 12 h 465"/>
                <a:gd name="T18" fmla="*/ 37 w 350"/>
                <a:gd name="T19" fmla="*/ 10 h 465"/>
                <a:gd name="T20" fmla="*/ 40 w 350"/>
                <a:gd name="T21" fmla="*/ 10 h 465"/>
                <a:gd name="T22" fmla="*/ 40 w 350"/>
                <a:gd name="T23" fmla="*/ 8 h 465"/>
                <a:gd name="T24" fmla="*/ 37 w 350"/>
                <a:gd name="T25" fmla="*/ 6 h 465"/>
                <a:gd name="T26" fmla="*/ 28 w 350"/>
                <a:gd name="T27" fmla="*/ 8 h 465"/>
                <a:gd name="T28" fmla="*/ 26 w 350"/>
                <a:gd name="T29" fmla="*/ 4 h 465"/>
                <a:gd name="T30" fmla="*/ 22 w 350"/>
                <a:gd name="T31" fmla="*/ 0 h 465"/>
                <a:gd name="T32" fmla="*/ 20 w 350"/>
                <a:gd name="T33" fmla="*/ 0 h 465"/>
                <a:gd name="T34" fmla="*/ 22 w 350"/>
                <a:gd name="T35" fmla="*/ 2 h 465"/>
                <a:gd name="T36" fmla="*/ 20 w 350"/>
                <a:gd name="T37" fmla="*/ 6 h 465"/>
                <a:gd name="T38" fmla="*/ 18 w 350"/>
                <a:gd name="T39" fmla="*/ 8 h 465"/>
                <a:gd name="T40" fmla="*/ 13 w 350"/>
                <a:gd name="T41" fmla="*/ 10 h 465"/>
                <a:gd name="T42" fmla="*/ 6 w 350"/>
                <a:gd name="T43" fmla="*/ 16 h 465"/>
                <a:gd name="T44" fmla="*/ 3 w 350"/>
                <a:gd name="T45" fmla="*/ 14 h 465"/>
                <a:gd name="T46" fmla="*/ 5 w 350"/>
                <a:gd name="T47" fmla="*/ 10 h 465"/>
                <a:gd name="T48" fmla="*/ 0 w 350"/>
                <a:gd name="T49" fmla="*/ 14 h 465"/>
                <a:gd name="T50" fmla="*/ 3 w 350"/>
                <a:gd name="T51" fmla="*/ 18 h 465"/>
                <a:gd name="T52" fmla="*/ 0 w 350"/>
                <a:gd name="T53" fmla="*/ 18 h 465"/>
                <a:gd name="T54" fmla="*/ 5 w 350"/>
                <a:gd name="T55" fmla="*/ 22 h 465"/>
                <a:gd name="T56" fmla="*/ 9 w 350"/>
                <a:gd name="T57" fmla="*/ 26 h 465"/>
                <a:gd name="T58" fmla="*/ 20 w 350"/>
                <a:gd name="T59" fmla="*/ 46 h 465"/>
                <a:gd name="T60" fmla="*/ 37 w 350"/>
                <a:gd name="T61" fmla="*/ 58 h 465"/>
                <a:gd name="T62" fmla="*/ 42 w 350"/>
                <a:gd name="T63" fmla="*/ 56 h 465"/>
                <a:gd name="T64" fmla="*/ 44 w 350"/>
                <a:gd name="T65" fmla="*/ 52 h 465"/>
                <a:gd name="T66" fmla="*/ 42 w 350"/>
                <a:gd name="T67" fmla="*/ 50 h 465"/>
                <a:gd name="T68" fmla="*/ 44 w 350"/>
                <a:gd name="T69" fmla="*/ 38 h 465"/>
                <a:gd name="T70" fmla="*/ 42 w 350"/>
                <a:gd name="T71" fmla="*/ 34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810" name="Freeform 278"/>
            <p:cNvSpPr>
              <a:spLocks/>
            </p:cNvSpPr>
            <p:nvPr/>
          </p:nvSpPr>
          <p:spPr bwMode="auto">
            <a:xfrm>
              <a:off x="4059237" y="5110203"/>
              <a:ext cx="276957" cy="300884"/>
            </a:xfrm>
            <a:custGeom>
              <a:avLst/>
              <a:gdLst>
                <a:gd name="T0" fmla="*/ 40 w 313"/>
                <a:gd name="T1" fmla="*/ 34 h 353"/>
                <a:gd name="T2" fmla="*/ 40 w 313"/>
                <a:gd name="T3" fmla="*/ 34 h 353"/>
                <a:gd name="T4" fmla="*/ 40 w 313"/>
                <a:gd name="T5" fmla="*/ 28 h 353"/>
                <a:gd name="T6" fmla="*/ 37 w 313"/>
                <a:gd name="T7" fmla="*/ 24 h 353"/>
                <a:gd name="T8" fmla="*/ 37 w 313"/>
                <a:gd name="T9" fmla="*/ 22 h 353"/>
                <a:gd name="T10" fmla="*/ 33 w 313"/>
                <a:gd name="T11" fmla="*/ 22 h 353"/>
                <a:gd name="T12" fmla="*/ 31 w 313"/>
                <a:gd name="T13" fmla="*/ 18 h 353"/>
                <a:gd name="T14" fmla="*/ 31 w 313"/>
                <a:gd name="T15" fmla="*/ 16 h 353"/>
                <a:gd name="T16" fmla="*/ 29 w 313"/>
                <a:gd name="T17" fmla="*/ 12 h 353"/>
                <a:gd name="T18" fmla="*/ 16 w 313"/>
                <a:gd name="T19" fmla="*/ 8 h 353"/>
                <a:gd name="T20" fmla="*/ 13 w 313"/>
                <a:gd name="T21" fmla="*/ 6 h 353"/>
                <a:gd name="T22" fmla="*/ 13 w 313"/>
                <a:gd name="T23" fmla="*/ 0 h 353"/>
                <a:gd name="T24" fmla="*/ 9 w 313"/>
                <a:gd name="T25" fmla="*/ 0 h 353"/>
                <a:gd name="T26" fmla="*/ 5 w 313"/>
                <a:gd name="T27" fmla="*/ 4 h 353"/>
                <a:gd name="T28" fmla="*/ 0 w 313"/>
                <a:gd name="T29" fmla="*/ 4 h 353"/>
                <a:gd name="T30" fmla="*/ 3 w 313"/>
                <a:gd name="T31" fmla="*/ 8 h 353"/>
                <a:gd name="T32" fmla="*/ 0 w 313"/>
                <a:gd name="T33" fmla="*/ 20 h 353"/>
                <a:gd name="T34" fmla="*/ 3 w 313"/>
                <a:gd name="T35" fmla="*/ 22 h 353"/>
                <a:gd name="T36" fmla="*/ 0 w 313"/>
                <a:gd name="T37" fmla="*/ 26 h 353"/>
                <a:gd name="T38" fmla="*/ 3 w 313"/>
                <a:gd name="T39" fmla="*/ 32 h 353"/>
                <a:gd name="T40" fmla="*/ 3 w 313"/>
                <a:gd name="T41" fmla="*/ 34 h 353"/>
                <a:gd name="T42" fmla="*/ 5 w 313"/>
                <a:gd name="T43" fmla="*/ 44 h 353"/>
                <a:gd name="T44" fmla="*/ 7 w 313"/>
                <a:gd name="T45" fmla="*/ 44 h 353"/>
                <a:gd name="T46" fmla="*/ 11 w 313"/>
                <a:gd name="T47" fmla="*/ 40 h 353"/>
                <a:gd name="T48" fmla="*/ 18 w 313"/>
                <a:gd name="T49" fmla="*/ 42 h 353"/>
                <a:gd name="T50" fmla="*/ 20 w 313"/>
                <a:gd name="T51" fmla="*/ 40 h 353"/>
                <a:gd name="T52" fmla="*/ 24 w 313"/>
                <a:gd name="T53" fmla="*/ 42 h 353"/>
                <a:gd name="T54" fmla="*/ 27 w 313"/>
                <a:gd name="T55" fmla="*/ 32 h 353"/>
                <a:gd name="T56" fmla="*/ 35 w 313"/>
                <a:gd name="T57" fmla="*/ 32 h 353"/>
                <a:gd name="T58" fmla="*/ 40 w 313"/>
                <a:gd name="T59" fmla="*/ 34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1" name="Freeform 279"/>
            <p:cNvSpPr>
              <a:spLocks/>
            </p:cNvSpPr>
            <p:nvPr/>
          </p:nvSpPr>
          <p:spPr bwMode="auto">
            <a:xfrm>
              <a:off x="4226822" y="5329028"/>
              <a:ext cx="201103" cy="189762"/>
            </a:xfrm>
            <a:custGeom>
              <a:avLst/>
              <a:gdLst>
                <a:gd name="T0" fmla="*/ 27 w 226"/>
                <a:gd name="T1" fmla="*/ 20 h 223"/>
                <a:gd name="T2" fmla="*/ 27 w 226"/>
                <a:gd name="T3" fmla="*/ 20 h 223"/>
                <a:gd name="T4" fmla="*/ 29 w 226"/>
                <a:gd name="T5" fmla="*/ 15 h 223"/>
                <a:gd name="T6" fmla="*/ 24 w 226"/>
                <a:gd name="T7" fmla="*/ 14 h 223"/>
                <a:gd name="T8" fmla="*/ 24 w 226"/>
                <a:gd name="T9" fmla="*/ 9 h 223"/>
                <a:gd name="T10" fmla="*/ 22 w 226"/>
                <a:gd name="T11" fmla="*/ 9 h 223"/>
                <a:gd name="T12" fmla="*/ 16 w 226"/>
                <a:gd name="T13" fmla="*/ 8 h 223"/>
                <a:gd name="T14" fmla="*/ 16 w 226"/>
                <a:gd name="T15" fmla="*/ 2 h 223"/>
                <a:gd name="T16" fmla="*/ 11 w 226"/>
                <a:gd name="T17" fmla="*/ 0 h 223"/>
                <a:gd name="T18" fmla="*/ 3 w 226"/>
                <a:gd name="T19" fmla="*/ 0 h 223"/>
                <a:gd name="T20" fmla="*/ 0 w 226"/>
                <a:gd name="T21" fmla="*/ 9 h 223"/>
                <a:gd name="T22" fmla="*/ 5 w 226"/>
                <a:gd name="T23" fmla="*/ 15 h 223"/>
                <a:gd name="T24" fmla="*/ 11 w 226"/>
                <a:gd name="T25" fmla="*/ 15 h 223"/>
                <a:gd name="T26" fmla="*/ 16 w 226"/>
                <a:gd name="T27" fmla="*/ 20 h 223"/>
                <a:gd name="T28" fmla="*/ 16 w 226"/>
                <a:gd name="T29" fmla="*/ 21 h 223"/>
                <a:gd name="T30" fmla="*/ 14 w 226"/>
                <a:gd name="T31" fmla="*/ 25 h 223"/>
                <a:gd name="T32" fmla="*/ 20 w 226"/>
                <a:gd name="T33" fmla="*/ 27 h 223"/>
                <a:gd name="T34" fmla="*/ 22 w 226"/>
                <a:gd name="T35" fmla="*/ 25 h 223"/>
                <a:gd name="T36" fmla="*/ 27 w 226"/>
                <a:gd name="T37" fmla="*/ 24 h 223"/>
                <a:gd name="T38" fmla="*/ 27 w 226"/>
                <a:gd name="T39" fmla="*/ 20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2" name="Freeform 280"/>
            <p:cNvSpPr>
              <a:spLocks/>
            </p:cNvSpPr>
            <p:nvPr/>
          </p:nvSpPr>
          <p:spPr bwMode="auto">
            <a:xfrm>
              <a:off x="3953394" y="6231679"/>
              <a:ext cx="123484" cy="107703"/>
            </a:xfrm>
            <a:custGeom>
              <a:avLst/>
              <a:gdLst>
                <a:gd name="T0" fmla="*/ 18 w 140"/>
                <a:gd name="T1" fmla="*/ 12 h 126"/>
                <a:gd name="T2" fmla="*/ 18 w 140"/>
                <a:gd name="T3" fmla="*/ 12 h 126"/>
                <a:gd name="T4" fmla="*/ 18 w 140"/>
                <a:gd name="T5" fmla="*/ 0 h 126"/>
                <a:gd name="T6" fmla="*/ 12 w 140"/>
                <a:gd name="T7" fmla="*/ 2 h 126"/>
                <a:gd name="T8" fmla="*/ 10 w 140"/>
                <a:gd name="T9" fmla="*/ 4 h 126"/>
                <a:gd name="T10" fmla="*/ 12 w 140"/>
                <a:gd name="T11" fmla="*/ 6 h 126"/>
                <a:gd name="T12" fmla="*/ 15 w 140"/>
                <a:gd name="T13" fmla="*/ 4 h 126"/>
                <a:gd name="T14" fmla="*/ 15 w 140"/>
                <a:gd name="T15" fmla="*/ 6 h 126"/>
                <a:gd name="T16" fmla="*/ 12 w 140"/>
                <a:gd name="T17" fmla="*/ 6 h 126"/>
                <a:gd name="T18" fmla="*/ 12 w 140"/>
                <a:gd name="T19" fmla="*/ 10 h 126"/>
                <a:gd name="T20" fmla="*/ 12 w 140"/>
                <a:gd name="T21" fmla="*/ 8 h 126"/>
                <a:gd name="T22" fmla="*/ 10 w 140"/>
                <a:gd name="T23" fmla="*/ 8 h 126"/>
                <a:gd name="T24" fmla="*/ 9 w 140"/>
                <a:gd name="T25" fmla="*/ 8 h 126"/>
                <a:gd name="T26" fmla="*/ 2 w 140"/>
                <a:gd name="T27" fmla="*/ 4 h 126"/>
                <a:gd name="T28" fmla="*/ 0 w 140"/>
                <a:gd name="T29" fmla="*/ 6 h 126"/>
                <a:gd name="T30" fmla="*/ 2 w 140"/>
                <a:gd name="T31" fmla="*/ 8 h 126"/>
                <a:gd name="T32" fmla="*/ 4 w 140"/>
                <a:gd name="T33" fmla="*/ 8 h 126"/>
                <a:gd name="T34" fmla="*/ 4 w 140"/>
                <a:gd name="T35" fmla="*/ 10 h 126"/>
                <a:gd name="T36" fmla="*/ 6 w 140"/>
                <a:gd name="T37" fmla="*/ 10 h 126"/>
                <a:gd name="T38" fmla="*/ 6 w 140"/>
                <a:gd name="T39" fmla="*/ 12 h 126"/>
                <a:gd name="T40" fmla="*/ 10 w 140"/>
                <a:gd name="T41" fmla="*/ 14 h 126"/>
                <a:gd name="T42" fmla="*/ 12 w 140"/>
                <a:gd name="T43" fmla="*/ 14 h 126"/>
                <a:gd name="T44" fmla="*/ 15 w 140"/>
                <a:gd name="T45" fmla="*/ 16 h 126"/>
                <a:gd name="T46" fmla="*/ 18 w 140"/>
                <a:gd name="T47" fmla="*/ 12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3" name="Freeform 281"/>
            <p:cNvSpPr>
              <a:spLocks/>
            </p:cNvSpPr>
            <p:nvPr/>
          </p:nvSpPr>
          <p:spPr bwMode="auto">
            <a:xfrm>
              <a:off x="4076877" y="6231679"/>
              <a:ext cx="91731" cy="123089"/>
            </a:xfrm>
            <a:custGeom>
              <a:avLst/>
              <a:gdLst>
                <a:gd name="T0" fmla="*/ 0 w 103"/>
                <a:gd name="T1" fmla="*/ 12 h 144"/>
                <a:gd name="T2" fmla="*/ 0 w 103"/>
                <a:gd name="T3" fmla="*/ 12 h 144"/>
                <a:gd name="T4" fmla="*/ 0 w 103"/>
                <a:gd name="T5" fmla="*/ 0 h 144"/>
                <a:gd name="T6" fmla="*/ 3 w 103"/>
                <a:gd name="T7" fmla="*/ 6 h 144"/>
                <a:gd name="T8" fmla="*/ 9 w 103"/>
                <a:gd name="T9" fmla="*/ 9 h 144"/>
                <a:gd name="T10" fmla="*/ 13 w 103"/>
                <a:gd name="T11" fmla="*/ 12 h 144"/>
                <a:gd name="T12" fmla="*/ 11 w 103"/>
                <a:gd name="T13" fmla="*/ 13 h 144"/>
                <a:gd name="T14" fmla="*/ 5 w 103"/>
                <a:gd name="T15" fmla="*/ 15 h 144"/>
                <a:gd name="T16" fmla="*/ 3 w 103"/>
                <a:gd name="T17" fmla="*/ 18 h 144"/>
                <a:gd name="T18" fmla="*/ 0 w 103"/>
                <a:gd name="T19" fmla="*/ 12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4" name="Freeform 282"/>
            <p:cNvSpPr>
              <a:spLocks/>
            </p:cNvSpPr>
            <p:nvPr/>
          </p:nvSpPr>
          <p:spPr bwMode="auto">
            <a:xfrm>
              <a:off x="3967505" y="5383734"/>
              <a:ext cx="474532" cy="847945"/>
            </a:xfrm>
            <a:custGeom>
              <a:avLst/>
              <a:gdLst>
                <a:gd name="T0" fmla="*/ 50 w 537"/>
                <a:gd name="T1" fmla="*/ 44 h 992"/>
                <a:gd name="T2" fmla="*/ 63 w 537"/>
                <a:gd name="T3" fmla="*/ 20 h 992"/>
                <a:gd name="T4" fmla="*/ 65 w 537"/>
                <a:gd name="T5" fmla="*/ 12 h 992"/>
                <a:gd name="T6" fmla="*/ 63 w 537"/>
                <a:gd name="T7" fmla="*/ 16 h 992"/>
                <a:gd name="T8" fmla="*/ 57 w 537"/>
                <a:gd name="T9" fmla="*/ 20 h 992"/>
                <a:gd name="T10" fmla="*/ 52 w 537"/>
                <a:gd name="T11" fmla="*/ 14 h 992"/>
                <a:gd name="T12" fmla="*/ 48 w 537"/>
                <a:gd name="T13" fmla="*/ 8 h 992"/>
                <a:gd name="T14" fmla="*/ 37 w 537"/>
                <a:gd name="T15" fmla="*/ 2 h 992"/>
                <a:gd name="T16" fmla="*/ 31 w 537"/>
                <a:gd name="T17" fmla="*/ 2 h 992"/>
                <a:gd name="T18" fmla="*/ 20 w 537"/>
                <a:gd name="T19" fmla="*/ 4 h 992"/>
                <a:gd name="T20" fmla="*/ 16 w 537"/>
                <a:gd name="T21" fmla="*/ 10 h 992"/>
                <a:gd name="T22" fmla="*/ 13 w 537"/>
                <a:gd name="T23" fmla="*/ 22 h 992"/>
                <a:gd name="T24" fmla="*/ 11 w 537"/>
                <a:gd name="T25" fmla="*/ 42 h 992"/>
                <a:gd name="T26" fmla="*/ 9 w 537"/>
                <a:gd name="T27" fmla="*/ 52 h 992"/>
                <a:gd name="T28" fmla="*/ 7 w 537"/>
                <a:gd name="T29" fmla="*/ 62 h 992"/>
                <a:gd name="T30" fmla="*/ 5 w 537"/>
                <a:gd name="T31" fmla="*/ 74 h 992"/>
                <a:gd name="T32" fmla="*/ 5 w 537"/>
                <a:gd name="T33" fmla="*/ 86 h 992"/>
                <a:gd name="T34" fmla="*/ 7 w 537"/>
                <a:gd name="T35" fmla="*/ 88 h 992"/>
                <a:gd name="T36" fmla="*/ 7 w 537"/>
                <a:gd name="T37" fmla="*/ 88 h 992"/>
                <a:gd name="T38" fmla="*/ 3 w 537"/>
                <a:gd name="T39" fmla="*/ 100 h 992"/>
                <a:gd name="T40" fmla="*/ 0 w 537"/>
                <a:gd name="T41" fmla="*/ 110 h 992"/>
                <a:gd name="T42" fmla="*/ 0 w 537"/>
                <a:gd name="T43" fmla="*/ 116 h 992"/>
                <a:gd name="T44" fmla="*/ 3 w 537"/>
                <a:gd name="T45" fmla="*/ 120 h 992"/>
                <a:gd name="T46" fmla="*/ 11 w 537"/>
                <a:gd name="T47" fmla="*/ 122 h 992"/>
                <a:gd name="T48" fmla="*/ 16 w 537"/>
                <a:gd name="T49" fmla="*/ 124 h 992"/>
                <a:gd name="T50" fmla="*/ 16 w 537"/>
                <a:gd name="T51" fmla="*/ 114 h 992"/>
                <a:gd name="T52" fmla="*/ 20 w 537"/>
                <a:gd name="T53" fmla="*/ 106 h 992"/>
                <a:gd name="T54" fmla="*/ 27 w 537"/>
                <a:gd name="T55" fmla="*/ 98 h 992"/>
                <a:gd name="T56" fmla="*/ 20 w 537"/>
                <a:gd name="T57" fmla="*/ 94 h 992"/>
                <a:gd name="T58" fmla="*/ 22 w 537"/>
                <a:gd name="T59" fmla="*/ 90 h 992"/>
                <a:gd name="T60" fmla="*/ 27 w 537"/>
                <a:gd name="T61" fmla="*/ 86 h 992"/>
                <a:gd name="T62" fmla="*/ 29 w 537"/>
                <a:gd name="T63" fmla="*/ 82 h 992"/>
                <a:gd name="T64" fmla="*/ 29 w 537"/>
                <a:gd name="T65" fmla="*/ 78 h 992"/>
                <a:gd name="T66" fmla="*/ 33 w 537"/>
                <a:gd name="T67" fmla="*/ 78 h 992"/>
                <a:gd name="T68" fmla="*/ 31 w 537"/>
                <a:gd name="T69" fmla="*/ 76 h 992"/>
                <a:gd name="T70" fmla="*/ 29 w 537"/>
                <a:gd name="T71" fmla="*/ 70 h 992"/>
                <a:gd name="T72" fmla="*/ 37 w 537"/>
                <a:gd name="T73" fmla="*/ 70 h 992"/>
                <a:gd name="T74" fmla="*/ 37 w 537"/>
                <a:gd name="T75" fmla="*/ 62 h 992"/>
                <a:gd name="T76" fmla="*/ 44 w 537"/>
                <a:gd name="T77" fmla="*/ 62 h 992"/>
                <a:gd name="T78" fmla="*/ 57 w 537"/>
                <a:gd name="T79" fmla="*/ 54 h 992"/>
                <a:gd name="T80" fmla="*/ 55 w 537"/>
                <a:gd name="T81" fmla="*/ 50 h 992"/>
                <a:gd name="T82" fmla="*/ 50 w 537"/>
                <a:gd name="T83" fmla="*/ 46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815" name="Freeform 283"/>
            <p:cNvSpPr>
              <a:spLocks/>
            </p:cNvSpPr>
            <p:nvPr/>
          </p:nvSpPr>
          <p:spPr bwMode="auto">
            <a:xfrm>
              <a:off x="4318552" y="5588882"/>
              <a:ext cx="139361" cy="109412"/>
            </a:xfrm>
            <a:custGeom>
              <a:avLst/>
              <a:gdLst>
                <a:gd name="T0" fmla="*/ 18 w 158"/>
                <a:gd name="T1" fmla="*/ 12 h 129"/>
                <a:gd name="T2" fmla="*/ 18 w 158"/>
                <a:gd name="T3" fmla="*/ 12 h 129"/>
                <a:gd name="T4" fmla="*/ 20 w 158"/>
                <a:gd name="T5" fmla="*/ 8 h 129"/>
                <a:gd name="T6" fmla="*/ 18 w 158"/>
                <a:gd name="T7" fmla="*/ 6 h 129"/>
                <a:gd name="T8" fmla="*/ 11 w 158"/>
                <a:gd name="T9" fmla="*/ 2 h 129"/>
                <a:gd name="T10" fmla="*/ 9 w 158"/>
                <a:gd name="T11" fmla="*/ 2 h 129"/>
                <a:gd name="T12" fmla="*/ 6 w 158"/>
                <a:gd name="T13" fmla="*/ 0 h 129"/>
                <a:gd name="T14" fmla="*/ 5 w 158"/>
                <a:gd name="T15" fmla="*/ 0 h 129"/>
                <a:gd name="T16" fmla="*/ 0 w 158"/>
                <a:gd name="T17" fmla="*/ 14 h 129"/>
                <a:gd name="T18" fmla="*/ 2 w 158"/>
                <a:gd name="T19" fmla="*/ 14 h 129"/>
                <a:gd name="T20" fmla="*/ 9 w 158"/>
                <a:gd name="T21" fmla="*/ 16 h 129"/>
                <a:gd name="T22" fmla="*/ 15 w 158"/>
                <a:gd name="T23" fmla="*/ 16 h 129"/>
                <a:gd name="T24" fmla="*/ 18 w 158"/>
                <a:gd name="T25" fmla="*/ 12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6" name="Freeform 284"/>
            <p:cNvSpPr>
              <a:spLocks/>
            </p:cNvSpPr>
            <p:nvPr/>
          </p:nvSpPr>
          <p:spPr bwMode="auto">
            <a:xfrm>
              <a:off x="3953394" y="4795642"/>
              <a:ext cx="945535" cy="875298"/>
            </a:xfrm>
            <a:custGeom>
              <a:avLst/>
              <a:gdLst>
                <a:gd name="T0" fmla="*/ 77 w 1073"/>
                <a:gd name="T1" fmla="*/ 4 h 1022"/>
                <a:gd name="T2" fmla="*/ 71 w 1073"/>
                <a:gd name="T3" fmla="*/ 8 h 1022"/>
                <a:gd name="T4" fmla="*/ 66 w 1073"/>
                <a:gd name="T5" fmla="*/ 8 h 1022"/>
                <a:gd name="T6" fmla="*/ 60 w 1073"/>
                <a:gd name="T7" fmla="*/ 10 h 1022"/>
                <a:gd name="T8" fmla="*/ 51 w 1073"/>
                <a:gd name="T9" fmla="*/ 12 h 1022"/>
                <a:gd name="T10" fmla="*/ 47 w 1073"/>
                <a:gd name="T11" fmla="*/ 8 h 1022"/>
                <a:gd name="T12" fmla="*/ 47 w 1073"/>
                <a:gd name="T13" fmla="*/ 0 h 1022"/>
                <a:gd name="T14" fmla="*/ 43 w 1073"/>
                <a:gd name="T15" fmla="*/ 2 h 1022"/>
                <a:gd name="T16" fmla="*/ 30 w 1073"/>
                <a:gd name="T17" fmla="*/ 2 h 1022"/>
                <a:gd name="T18" fmla="*/ 32 w 1073"/>
                <a:gd name="T19" fmla="*/ 8 h 1022"/>
                <a:gd name="T20" fmla="*/ 28 w 1073"/>
                <a:gd name="T21" fmla="*/ 14 h 1022"/>
                <a:gd name="T22" fmla="*/ 23 w 1073"/>
                <a:gd name="T23" fmla="*/ 12 h 1022"/>
                <a:gd name="T24" fmla="*/ 12 w 1073"/>
                <a:gd name="T25" fmla="*/ 10 h 1022"/>
                <a:gd name="T26" fmla="*/ 15 w 1073"/>
                <a:gd name="T27" fmla="*/ 14 h 1022"/>
                <a:gd name="T28" fmla="*/ 15 w 1073"/>
                <a:gd name="T29" fmla="*/ 20 h 1022"/>
                <a:gd name="T30" fmla="*/ 4 w 1073"/>
                <a:gd name="T31" fmla="*/ 32 h 1022"/>
                <a:gd name="T32" fmla="*/ 2 w 1073"/>
                <a:gd name="T33" fmla="*/ 46 h 1022"/>
                <a:gd name="T34" fmla="*/ 10 w 1073"/>
                <a:gd name="T35" fmla="*/ 46 h 1022"/>
                <a:gd name="T36" fmla="*/ 15 w 1073"/>
                <a:gd name="T37" fmla="*/ 50 h 1022"/>
                <a:gd name="T38" fmla="*/ 23 w 1073"/>
                <a:gd name="T39" fmla="*/ 46 h 1022"/>
                <a:gd name="T40" fmla="*/ 28 w 1073"/>
                <a:gd name="T41" fmla="*/ 52 h 1022"/>
                <a:gd name="T42" fmla="*/ 43 w 1073"/>
                <a:gd name="T43" fmla="*/ 58 h 1022"/>
                <a:gd name="T44" fmla="*/ 45 w 1073"/>
                <a:gd name="T45" fmla="*/ 64 h 1022"/>
                <a:gd name="T46" fmla="*/ 51 w 1073"/>
                <a:gd name="T47" fmla="*/ 68 h 1022"/>
                <a:gd name="T48" fmla="*/ 53 w 1073"/>
                <a:gd name="T49" fmla="*/ 74 h 1022"/>
                <a:gd name="T50" fmla="*/ 53 w 1073"/>
                <a:gd name="T51" fmla="*/ 86 h 1022"/>
                <a:gd name="T52" fmla="*/ 62 w 1073"/>
                <a:gd name="T53" fmla="*/ 88 h 1022"/>
                <a:gd name="T54" fmla="*/ 66 w 1073"/>
                <a:gd name="T55" fmla="*/ 94 h 1022"/>
                <a:gd name="T56" fmla="*/ 66 w 1073"/>
                <a:gd name="T57" fmla="*/ 98 h 1022"/>
                <a:gd name="T58" fmla="*/ 64 w 1073"/>
                <a:gd name="T59" fmla="*/ 106 h 1022"/>
                <a:gd name="T60" fmla="*/ 58 w 1073"/>
                <a:gd name="T61" fmla="*/ 116 h 1022"/>
                <a:gd name="T62" fmla="*/ 62 w 1073"/>
                <a:gd name="T63" fmla="*/ 118 h 1022"/>
                <a:gd name="T64" fmla="*/ 71 w 1073"/>
                <a:gd name="T65" fmla="*/ 124 h 1022"/>
                <a:gd name="T66" fmla="*/ 73 w 1073"/>
                <a:gd name="T67" fmla="*/ 124 h 1022"/>
                <a:gd name="T68" fmla="*/ 82 w 1073"/>
                <a:gd name="T69" fmla="*/ 112 h 1022"/>
                <a:gd name="T70" fmla="*/ 86 w 1073"/>
                <a:gd name="T71" fmla="*/ 100 h 1022"/>
                <a:gd name="T72" fmla="*/ 93 w 1073"/>
                <a:gd name="T73" fmla="*/ 94 h 1022"/>
                <a:gd name="T74" fmla="*/ 108 w 1073"/>
                <a:gd name="T75" fmla="*/ 90 h 1022"/>
                <a:gd name="T76" fmla="*/ 112 w 1073"/>
                <a:gd name="T77" fmla="*/ 86 h 1022"/>
                <a:gd name="T78" fmla="*/ 116 w 1073"/>
                <a:gd name="T79" fmla="*/ 78 h 1022"/>
                <a:gd name="T80" fmla="*/ 119 w 1073"/>
                <a:gd name="T81" fmla="*/ 72 h 1022"/>
                <a:gd name="T82" fmla="*/ 129 w 1073"/>
                <a:gd name="T83" fmla="*/ 46 h 1022"/>
                <a:gd name="T84" fmla="*/ 131 w 1073"/>
                <a:gd name="T85" fmla="*/ 32 h 1022"/>
                <a:gd name="T86" fmla="*/ 114 w 1073"/>
                <a:gd name="T87" fmla="*/ 24 h 1022"/>
                <a:gd name="T88" fmla="*/ 103 w 1073"/>
                <a:gd name="T89" fmla="*/ 24 h 1022"/>
                <a:gd name="T90" fmla="*/ 99 w 1073"/>
                <a:gd name="T91" fmla="*/ 22 h 1022"/>
                <a:gd name="T92" fmla="*/ 97 w 1073"/>
                <a:gd name="T93" fmla="*/ 20 h 1022"/>
                <a:gd name="T94" fmla="*/ 86 w 1073"/>
                <a:gd name="T95" fmla="*/ 20 h 1022"/>
                <a:gd name="T96" fmla="*/ 84 w 1073"/>
                <a:gd name="T97" fmla="*/ 16 h 1022"/>
                <a:gd name="T98" fmla="*/ 80 w 1073"/>
                <a:gd name="T99" fmla="*/ 20 h 1022"/>
                <a:gd name="T100" fmla="*/ 75 w 1073"/>
                <a:gd name="T101" fmla="*/ 20 h 1022"/>
                <a:gd name="T102" fmla="*/ 82 w 1073"/>
                <a:gd name="T103" fmla="*/ 12 h 1022"/>
                <a:gd name="T104" fmla="*/ 80 w 1073"/>
                <a:gd name="T105" fmla="*/ 10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817" name="Freeform 285"/>
            <p:cNvSpPr>
              <a:spLocks/>
            </p:cNvSpPr>
            <p:nvPr/>
          </p:nvSpPr>
          <p:spPr bwMode="auto">
            <a:xfrm>
              <a:off x="4427925" y="4781967"/>
              <a:ext cx="59978" cy="82059"/>
            </a:xfrm>
            <a:custGeom>
              <a:avLst/>
              <a:gdLst>
                <a:gd name="T0" fmla="*/ 0 w 69"/>
                <a:gd name="T1" fmla="*/ 11 h 96"/>
                <a:gd name="T2" fmla="*/ 0 w 69"/>
                <a:gd name="T3" fmla="*/ 11 h 96"/>
                <a:gd name="T4" fmla="*/ 2 w 69"/>
                <a:gd name="T5" fmla="*/ 12 h 96"/>
                <a:gd name="T6" fmla="*/ 4 w 69"/>
                <a:gd name="T7" fmla="*/ 11 h 96"/>
                <a:gd name="T8" fmla="*/ 8 w 69"/>
                <a:gd name="T9" fmla="*/ 6 h 96"/>
                <a:gd name="T10" fmla="*/ 0 w 69"/>
                <a:gd name="T11" fmla="*/ 0 h 96"/>
                <a:gd name="T12" fmla="*/ 0 w 69"/>
                <a:gd name="T13" fmla="*/ 3 h 96"/>
                <a:gd name="T14" fmla="*/ 0 w 69"/>
                <a:gd name="T15" fmla="*/ 6 h 96"/>
                <a:gd name="T16" fmla="*/ 0 w 69"/>
                <a:gd name="T17" fmla="*/ 11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8" name="Freeform 286"/>
            <p:cNvSpPr>
              <a:spLocks/>
            </p:cNvSpPr>
            <p:nvPr/>
          </p:nvSpPr>
          <p:spPr bwMode="auto">
            <a:xfrm>
              <a:off x="4336194" y="4781967"/>
              <a:ext cx="91731" cy="82059"/>
            </a:xfrm>
            <a:custGeom>
              <a:avLst/>
              <a:gdLst>
                <a:gd name="T0" fmla="*/ 13 w 104"/>
                <a:gd name="T1" fmla="*/ 11 h 96"/>
                <a:gd name="T2" fmla="*/ 13 w 104"/>
                <a:gd name="T3" fmla="*/ 11 h 96"/>
                <a:gd name="T4" fmla="*/ 13 w 104"/>
                <a:gd name="T5" fmla="*/ 6 h 96"/>
                <a:gd name="T6" fmla="*/ 13 w 104"/>
                <a:gd name="T7" fmla="*/ 3 h 96"/>
                <a:gd name="T8" fmla="*/ 13 w 104"/>
                <a:gd name="T9" fmla="*/ 0 h 96"/>
                <a:gd name="T10" fmla="*/ 5 w 104"/>
                <a:gd name="T11" fmla="*/ 0 h 96"/>
                <a:gd name="T12" fmla="*/ 0 w 104"/>
                <a:gd name="T13" fmla="*/ 5 h 96"/>
                <a:gd name="T14" fmla="*/ 5 w 104"/>
                <a:gd name="T15" fmla="*/ 12 h 96"/>
                <a:gd name="T16" fmla="*/ 7 w 104"/>
                <a:gd name="T17" fmla="*/ 12 h 96"/>
                <a:gd name="T18" fmla="*/ 9 w 104"/>
                <a:gd name="T19" fmla="*/ 11 h 96"/>
                <a:gd name="T20" fmla="*/ 13 w 104"/>
                <a:gd name="T21" fmla="*/ 11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19" name="Freeform 287"/>
            <p:cNvSpPr>
              <a:spLocks/>
            </p:cNvSpPr>
            <p:nvPr/>
          </p:nvSpPr>
          <p:spPr bwMode="auto">
            <a:xfrm>
              <a:off x="4258575" y="4727261"/>
              <a:ext cx="105844" cy="150442"/>
            </a:xfrm>
            <a:custGeom>
              <a:avLst/>
              <a:gdLst>
                <a:gd name="T0" fmla="*/ 4 w 121"/>
                <a:gd name="T1" fmla="*/ 0 h 177"/>
                <a:gd name="T2" fmla="*/ 4 w 121"/>
                <a:gd name="T3" fmla="*/ 0 h 177"/>
                <a:gd name="T4" fmla="*/ 8 w 121"/>
                <a:gd name="T5" fmla="*/ 1 h 177"/>
                <a:gd name="T6" fmla="*/ 8 w 121"/>
                <a:gd name="T7" fmla="*/ 4 h 177"/>
                <a:gd name="T8" fmla="*/ 10 w 121"/>
                <a:gd name="T9" fmla="*/ 4 h 177"/>
                <a:gd name="T10" fmla="*/ 15 w 121"/>
                <a:gd name="T11" fmla="*/ 7 h 177"/>
                <a:gd name="T12" fmla="*/ 10 w 121"/>
                <a:gd name="T13" fmla="*/ 12 h 177"/>
                <a:gd name="T14" fmla="*/ 15 w 121"/>
                <a:gd name="T15" fmla="*/ 19 h 177"/>
                <a:gd name="T16" fmla="*/ 8 w 121"/>
                <a:gd name="T17" fmla="*/ 22 h 177"/>
                <a:gd name="T18" fmla="*/ 6 w 121"/>
                <a:gd name="T19" fmla="*/ 22 h 177"/>
                <a:gd name="T20" fmla="*/ 4 w 121"/>
                <a:gd name="T21" fmla="*/ 18 h 177"/>
                <a:gd name="T22" fmla="*/ 4 w 121"/>
                <a:gd name="T23" fmla="*/ 12 h 177"/>
                <a:gd name="T24" fmla="*/ 4 w 121"/>
                <a:gd name="T25" fmla="*/ 10 h 177"/>
                <a:gd name="T26" fmla="*/ 2 w 121"/>
                <a:gd name="T27" fmla="*/ 10 h 177"/>
                <a:gd name="T28" fmla="*/ 0 w 121"/>
                <a:gd name="T29" fmla="*/ 7 h 177"/>
                <a:gd name="T30" fmla="*/ 0 w 121"/>
                <a:gd name="T31" fmla="*/ 4 h 177"/>
                <a:gd name="T32" fmla="*/ 2 w 121"/>
                <a:gd name="T33" fmla="*/ 4 h 177"/>
                <a:gd name="T34" fmla="*/ 2 w 121"/>
                <a:gd name="T35" fmla="*/ 1 h 177"/>
                <a:gd name="T36" fmla="*/ 4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0" name="Freeform 288"/>
            <p:cNvSpPr>
              <a:spLocks/>
            </p:cNvSpPr>
            <p:nvPr/>
          </p:nvSpPr>
          <p:spPr bwMode="auto">
            <a:xfrm>
              <a:off x="3967505" y="4645202"/>
              <a:ext cx="322824" cy="246178"/>
            </a:xfrm>
            <a:custGeom>
              <a:avLst/>
              <a:gdLst>
                <a:gd name="T0" fmla="*/ 46 w 365"/>
                <a:gd name="T1" fmla="*/ 12 h 288"/>
                <a:gd name="T2" fmla="*/ 46 w 365"/>
                <a:gd name="T3" fmla="*/ 12 h 288"/>
                <a:gd name="T4" fmla="*/ 44 w 365"/>
                <a:gd name="T5" fmla="*/ 13 h 288"/>
                <a:gd name="T6" fmla="*/ 44 w 365"/>
                <a:gd name="T7" fmla="*/ 17 h 288"/>
                <a:gd name="T8" fmla="*/ 42 w 365"/>
                <a:gd name="T9" fmla="*/ 17 h 288"/>
                <a:gd name="T10" fmla="*/ 42 w 365"/>
                <a:gd name="T11" fmla="*/ 19 h 288"/>
                <a:gd name="T12" fmla="*/ 44 w 365"/>
                <a:gd name="T13" fmla="*/ 22 h 288"/>
                <a:gd name="T14" fmla="*/ 42 w 365"/>
                <a:gd name="T15" fmla="*/ 24 h 288"/>
                <a:gd name="T16" fmla="*/ 35 w 365"/>
                <a:gd name="T17" fmla="*/ 25 h 288"/>
                <a:gd name="T18" fmla="*/ 28 w 365"/>
                <a:gd name="T19" fmla="*/ 24 h 288"/>
                <a:gd name="T20" fmla="*/ 31 w 365"/>
                <a:gd name="T21" fmla="*/ 25 h 288"/>
                <a:gd name="T22" fmla="*/ 31 w 365"/>
                <a:gd name="T23" fmla="*/ 30 h 288"/>
                <a:gd name="T24" fmla="*/ 33 w 365"/>
                <a:gd name="T25" fmla="*/ 31 h 288"/>
                <a:gd name="T26" fmla="*/ 26 w 365"/>
                <a:gd name="T27" fmla="*/ 36 h 288"/>
                <a:gd name="T28" fmla="*/ 24 w 365"/>
                <a:gd name="T29" fmla="*/ 36 h 288"/>
                <a:gd name="T30" fmla="*/ 22 w 365"/>
                <a:gd name="T31" fmla="*/ 35 h 288"/>
                <a:gd name="T32" fmla="*/ 20 w 365"/>
                <a:gd name="T33" fmla="*/ 31 h 288"/>
                <a:gd name="T34" fmla="*/ 20 w 365"/>
                <a:gd name="T35" fmla="*/ 28 h 288"/>
                <a:gd name="T36" fmla="*/ 18 w 365"/>
                <a:gd name="T37" fmla="*/ 24 h 288"/>
                <a:gd name="T38" fmla="*/ 20 w 365"/>
                <a:gd name="T39" fmla="*/ 18 h 288"/>
                <a:gd name="T40" fmla="*/ 13 w 365"/>
                <a:gd name="T41" fmla="*/ 18 h 288"/>
                <a:gd name="T42" fmla="*/ 11 w 365"/>
                <a:gd name="T43" fmla="*/ 17 h 288"/>
                <a:gd name="T44" fmla="*/ 5 w 365"/>
                <a:gd name="T45" fmla="*/ 17 h 288"/>
                <a:gd name="T46" fmla="*/ 3 w 365"/>
                <a:gd name="T47" fmla="*/ 13 h 288"/>
                <a:gd name="T48" fmla="*/ 3 w 365"/>
                <a:gd name="T49" fmla="*/ 12 h 288"/>
                <a:gd name="T50" fmla="*/ 0 w 365"/>
                <a:gd name="T51" fmla="*/ 7 h 288"/>
                <a:gd name="T52" fmla="*/ 3 w 365"/>
                <a:gd name="T53" fmla="*/ 5 h 288"/>
                <a:gd name="T54" fmla="*/ 5 w 365"/>
                <a:gd name="T55" fmla="*/ 1 h 288"/>
                <a:gd name="T56" fmla="*/ 7 w 365"/>
                <a:gd name="T57" fmla="*/ 5 h 288"/>
                <a:gd name="T58" fmla="*/ 5 w 365"/>
                <a:gd name="T59" fmla="*/ 6 h 288"/>
                <a:gd name="T60" fmla="*/ 5 w 365"/>
                <a:gd name="T61" fmla="*/ 10 h 288"/>
                <a:gd name="T62" fmla="*/ 7 w 365"/>
                <a:gd name="T63" fmla="*/ 7 h 288"/>
                <a:gd name="T64" fmla="*/ 7 w 365"/>
                <a:gd name="T65" fmla="*/ 5 h 288"/>
                <a:gd name="T66" fmla="*/ 11 w 365"/>
                <a:gd name="T67" fmla="*/ 1 h 288"/>
                <a:gd name="T68" fmla="*/ 11 w 365"/>
                <a:gd name="T69" fmla="*/ 0 h 288"/>
                <a:gd name="T70" fmla="*/ 11 w 365"/>
                <a:gd name="T71" fmla="*/ 1 h 288"/>
                <a:gd name="T72" fmla="*/ 18 w 365"/>
                <a:gd name="T73" fmla="*/ 1 h 288"/>
                <a:gd name="T74" fmla="*/ 18 w 365"/>
                <a:gd name="T75" fmla="*/ 5 h 288"/>
                <a:gd name="T76" fmla="*/ 24 w 365"/>
                <a:gd name="T77" fmla="*/ 5 h 288"/>
                <a:gd name="T78" fmla="*/ 28 w 365"/>
                <a:gd name="T79" fmla="*/ 6 h 288"/>
                <a:gd name="T80" fmla="*/ 33 w 365"/>
                <a:gd name="T81" fmla="*/ 5 h 288"/>
                <a:gd name="T82" fmla="*/ 37 w 365"/>
                <a:gd name="T83" fmla="*/ 5 h 288"/>
                <a:gd name="T84" fmla="*/ 35 w 365"/>
                <a:gd name="T85" fmla="*/ 5 h 288"/>
                <a:gd name="T86" fmla="*/ 37 w 365"/>
                <a:gd name="T87" fmla="*/ 6 h 288"/>
                <a:gd name="T88" fmla="*/ 42 w 365"/>
                <a:gd name="T89" fmla="*/ 7 h 288"/>
                <a:gd name="T90" fmla="*/ 42 w 365"/>
                <a:gd name="T91" fmla="*/ 12 h 288"/>
                <a:gd name="T92" fmla="*/ 44 w 365"/>
                <a:gd name="T93" fmla="*/ 10 h 288"/>
                <a:gd name="T94" fmla="*/ 46 w 365"/>
                <a:gd name="T95" fmla="*/ 12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1" name="Freeform 289"/>
            <p:cNvSpPr>
              <a:spLocks/>
            </p:cNvSpPr>
            <p:nvPr/>
          </p:nvSpPr>
          <p:spPr bwMode="auto">
            <a:xfrm>
              <a:off x="3526491" y="4905055"/>
              <a:ext cx="14111" cy="27353"/>
            </a:xfrm>
            <a:custGeom>
              <a:avLst/>
              <a:gdLst>
                <a:gd name="T0" fmla="*/ 0 w 15"/>
                <a:gd name="T1" fmla="*/ 0 h 33"/>
                <a:gd name="T2" fmla="*/ 0 w 15"/>
                <a:gd name="T3" fmla="*/ 0 h 33"/>
                <a:gd name="T4" fmla="*/ 2 w 15"/>
                <a:gd name="T5" fmla="*/ 2 h 33"/>
                <a:gd name="T6" fmla="*/ 0 w 15"/>
                <a:gd name="T7" fmla="*/ 2 h 33"/>
                <a:gd name="T8" fmla="*/ 2 w 15"/>
                <a:gd name="T9" fmla="*/ 4 h 33"/>
                <a:gd name="T10" fmla="*/ 2 w 15"/>
                <a:gd name="T11" fmla="*/ 2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2" name="Freeform 290"/>
            <p:cNvSpPr>
              <a:spLocks/>
            </p:cNvSpPr>
            <p:nvPr/>
          </p:nvSpPr>
          <p:spPr bwMode="auto">
            <a:xfrm>
              <a:off x="3526491" y="4905055"/>
              <a:ext cx="14111" cy="27353"/>
            </a:xfrm>
            <a:custGeom>
              <a:avLst/>
              <a:gdLst>
                <a:gd name="T0" fmla="*/ 0 w 15"/>
                <a:gd name="T1" fmla="*/ 0 h 33"/>
                <a:gd name="T2" fmla="*/ 0 w 15"/>
                <a:gd name="T3" fmla="*/ 0 h 33"/>
                <a:gd name="T4" fmla="*/ 2 w 15"/>
                <a:gd name="T5" fmla="*/ 2 h 33"/>
                <a:gd name="T6" fmla="*/ 0 w 15"/>
                <a:gd name="T7" fmla="*/ 2 h 33"/>
                <a:gd name="T8" fmla="*/ 2 w 15"/>
                <a:gd name="T9" fmla="*/ 4 h 33"/>
                <a:gd name="T10" fmla="*/ 2 w 15"/>
                <a:gd name="T11" fmla="*/ 2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3" name="Freeform 291"/>
            <p:cNvSpPr>
              <a:spLocks/>
            </p:cNvSpPr>
            <p:nvPr/>
          </p:nvSpPr>
          <p:spPr bwMode="auto">
            <a:xfrm>
              <a:off x="3937515" y="5888056"/>
              <a:ext cx="29989" cy="56416"/>
            </a:xfrm>
            <a:custGeom>
              <a:avLst/>
              <a:gdLst>
                <a:gd name="T0" fmla="*/ 2 w 35"/>
                <a:gd name="T1" fmla="*/ 0 h 65"/>
                <a:gd name="T2" fmla="*/ 2 w 35"/>
                <a:gd name="T3" fmla="*/ 0 h 65"/>
                <a:gd name="T4" fmla="*/ 0 w 35"/>
                <a:gd name="T5" fmla="*/ 6 h 65"/>
                <a:gd name="T6" fmla="*/ 2 w 35"/>
                <a:gd name="T7" fmla="*/ 9 h 65"/>
                <a:gd name="T8" fmla="*/ 4 w 35"/>
                <a:gd name="T9" fmla="*/ 3 h 65"/>
                <a:gd name="T10" fmla="*/ 2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4" name="Freeform 292"/>
            <p:cNvSpPr>
              <a:spLocks/>
            </p:cNvSpPr>
            <p:nvPr/>
          </p:nvSpPr>
          <p:spPr bwMode="auto">
            <a:xfrm>
              <a:off x="4258575" y="6190650"/>
              <a:ext cx="77619" cy="41030"/>
            </a:xfrm>
            <a:custGeom>
              <a:avLst/>
              <a:gdLst>
                <a:gd name="T0" fmla="*/ 0 w 88"/>
                <a:gd name="T1" fmla="*/ 2 h 48"/>
                <a:gd name="T2" fmla="*/ 0 w 88"/>
                <a:gd name="T3" fmla="*/ 2 h 48"/>
                <a:gd name="T4" fmla="*/ 3 w 88"/>
                <a:gd name="T5" fmla="*/ 3 h 48"/>
                <a:gd name="T6" fmla="*/ 5 w 88"/>
                <a:gd name="T7" fmla="*/ 3 h 48"/>
                <a:gd name="T8" fmla="*/ 6 w 88"/>
                <a:gd name="T9" fmla="*/ 6 h 48"/>
                <a:gd name="T10" fmla="*/ 11 w 88"/>
                <a:gd name="T11" fmla="*/ 2 h 48"/>
                <a:gd name="T12" fmla="*/ 11 w 88"/>
                <a:gd name="T13" fmla="*/ 0 h 48"/>
                <a:gd name="T14" fmla="*/ 5 w 88"/>
                <a:gd name="T15" fmla="*/ 0 h 48"/>
                <a:gd name="T16" fmla="*/ 3 w 88"/>
                <a:gd name="T17" fmla="*/ 0 h 48"/>
                <a:gd name="T18" fmla="*/ 5 w 88"/>
                <a:gd name="T19" fmla="*/ 2 h 48"/>
                <a:gd name="T20" fmla="*/ 3 w 88"/>
                <a:gd name="T21" fmla="*/ 3 h 48"/>
                <a:gd name="T22" fmla="*/ 0 w 88"/>
                <a:gd name="T23" fmla="*/ 2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5" name="Freeform 293"/>
            <p:cNvSpPr>
              <a:spLocks/>
            </p:cNvSpPr>
            <p:nvPr/>
          </p:nvSpPr>
          <p:spPr bwMode="auto">
            <a:xfrm>
              <a:off x="4244463" y="4672555"/>
              <a:ext cx="14111" cy="13677"/>
            </a:xfrm>
            <a:custGeom>
              <a:avLst/>
              <a:gdLst>
                <a:gd name="T0" fmla="*/ 0 w 17"/>
                <a:gd name="T1" fmla="*/ 2 h 15"/>
                <a:gd name="T2" fmla="*/ 0 w 17"/>
                <a:gd name="T3" fmla="*/ 2 h 15"/>
                <a:gd name="T4" fmla="*/ 2 w 17"/>
                <a:gd name="T5" fmla="*/ 2 h 15"/>
                <a:gd name="T6" fmla="*/ 2 w 17"/>
                <a:gd name="T7" fmla="*/ 0 h 15"/>
                <a:gd name="T8" fmla="*/ 0 w 17"/>
                <a:gd name="T9" fmla="*/ 0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6" name="Freeform 294"/>
            <p:cNvSpPr>
              <a:spLocks/>
            </p:cNvSpPr>
            <p:nvPr/>
          </p:nvSpPr>
          <p:spPr bwMode="auto">
            <a:xfrm>
              <a:off x="4244463" y="4672555"/>
              <a:ext cx="14111" cy="13677"/>
            </a:xfrm>
            <a:custGeom>
              <a:avLst/>
              <a:gdLst>
                <a:gd name="T0" fmla="*/ 0 w 17"/>
                <a:gd name="T1" fmla="*/ 2 h 15"/>
                <a:gd name="T2" fmla="*/ 0 w 17"/>
                <a:gd name="T3" fmla="*/ 2 h 15"/>
                <a:gd name="T4" fmla="*/ 2 w 17"/>
                <a:gd name="T5" fmla="*/ 2 h 15"/>
                <a:gd name="T6" fmla="*/ 2 w 17"/>
                <a:gd name="T7" fmla="*/ 0 h 15"/>
                <a:gd name="T8" fmla="*/ 0 w 17"/>
                <a:gd name="T9" fmla="*/ 0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7" name="Freeform 295"/>
            <p:cNvSpPr>
              <a:spLocks/>
            </p:cNvSpPr>
            <p:nvPr/>
          </p:nvSpPr>
          <p:spPr bwMode="auto">
            <a:xfrm>
              <a:off x="3845785" y="4494759"/>
              <a:ext cx="45866" cy="27353"/>
            </a:xfrm>
            <a:custGeom>
              <a:avLst/>
              <a:gdLst>
                <a:gd name="T0" fmla="*/ 0 w 51"/>
                <a:gd name="T1" fmla="*/ 2 h 32"/>
                <a:gd name="T2" fmla="*/ 0 w 51"/>
                <a:gd name="T3" fmla="*/ 2 h 32"/>
                <a:gd name="T4" fmla="*/ 5 w 51"/>
                <a:gd name="T5" fmla="*/ 4 h 32"/>
                <a:gd name="T6" fmla="*/ 7 w 51"/>
                <a:gd name="T7" fmla="*/ 2 h 32"/>
                <a:gd name="T8" fmla="*/ 3 w 51"/>
                <a:gd name="T9" fmla="*/ 0 h 32"/>
                <a:gd name="T10" fmla="*/ 0 w 51"/>
                <a:gd name="T11" fmla="*/ 2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8" name="Freeform 296"/>
            <p:cNvSpPr>
              <a:spLocks/>
            </p:cNvSpPr>
            <p:nvPr/>
          </p:nvSpPr>
          <p:spPr bwMode="auto">
            <a:xfrm>
              <a:off x="3694077" y="4385347"/>
              <a:ext cx="243440" cy="82059"/>
            </a:xfrm>
            <a:custGeom>
              <a:avLst/>
              <a:gdLst>
                <a:gd name="T0" fmla="*/ 0 w 276"/>
                <a:gd name="T1" fmla="*/ 6 h 96"/>
                <a:gd name="T2" fmla="*/ 0 w 276"/>
                <a:gd name="T3" fmla="*/ 6 h 96"/>
                <a:gd name="T4" fmla="*/ 2 w 276"/>
                <a:gd name="T5" fmla="*/ 6 h 96"/>
                <a:gd name="T6" fmla="*/ 6 w 276"/>
                <a:gd name="T7" fmla="*/ 2 h 96"/>
                <a:gd name="T8" fmla="*/ 10 w 276"/>
                <a:gd name="T9" fmla="*/ 3 h 96"/>
                <a:gd name="T10" fmla="*/ 9 w 276"/>
                <a:gd name="T11" fmla="*/ 3 h 96"/>
                <a:gd name="T12" fmla="*/ 10 w 276"/>
                <a:gd name="T13" fmla="*/ 3 h 96"/>
                <a:gd name="T14" fmla="*/ 19 w 276"/>
                <a:gd name="T15" fmla="*/ 6 h 96"/>
                <a:gd name="T16" fmla="*/ 21 w 276"/>
                <a:gd name="T17" fmla="*/ 10 h 96"/>
                <a:gd name="T18" fmla="*/ 25 w 276"/>
                <a:gd name="T19" fmla="*/ 10 h 96"/>
                <a:gd name="T20" fmla="*/ 23 w 276"/>
                <a:gd name="T21" fmla="*/ 12 h 96"/>
                <a:gd name="T22" fmla="*/ 35 w 276"/>
                <a:gd name="T23" fmla="*/ 12 h 96"/>
                <a:gd name="T24" fmla="*/ 33 w 276"/>
                <a:gd name="T25" fmla="*/ 10 h 96"/>
                <a:gd name="T26" fmla="*/ 30 w 276"/>
                <a:gd name="T27" fmla="*/ 10 h 96"/>
                <a:gd name="T28" fmla="*/ 30 w 276"/>
                <a:gd name="T29" fmla="*/ 7 h 96"/>
                <a:gd name="T30" fmla="*/ 21 w 276"/>
                <a:gd name="T31" fmla="*/ 3 h 96"/>
                <a:gd name="T32" fmla="*/ 10 w 276"/>
                <a:gd name="T33" fmla="*/ 0 h 96"/>
                <a:gd name="T34" fmla="*/ 4 w 276"/>
                <a:gd name="T35" fmla="*/ 2 h 96"/>
                <a:gd name="T36" fmla="*/ 0 w 276"/>
                <a:gd name="T37" fmla="*/ 6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29" name="Freeform 297"/>
            <p:cNvSpPr>
              <a:spLocks/>
            </p:cNvSpPr>
            <p:nvPr/>
          </p:nvSpPr>
          <p:spPr bwMode="auto">
            <a:xfrm>
              <a:off x="4122743" y="4494759"/>
              <a:ext cx="28225" cy="13677"/>
            </a:xfrm>
            <a:custGeom>
              <a:avLst/>
              <a:gdLst>
                <a:gd name="T0" fmla="*/ 0 w 33"/>
                <a:gd name="T1" fmla="*/ 2 h 17"/>
                <a:gd name="T2" fmla="*/ 0 w 33"/>
                <a:gd name="T3" fmla="*/ 2 h 17"/>
                <a:gd name="T4" fmla="*/ 4 w 33"/>
                <a:gd name="T5" fmla="*/ 2 h 17"/>
                <a:gd name="T6" fmla="*/ 0 w 33"/>
                <a:gd name="T7" fmla="*/ 0 h 17"/>
                <a:gd name="T8" fmla="*/ 0 w 33"/>
                <a:gd name="T9" fmla="*/ 2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0" name="Freeform 298"/>
            <p:cNvSpPr>
              <a:spLocks/>
            </p:cNvSpPr>
            <p:nvPr/>
          </p:nvSpPr>
          <p:spPr bwMode="auto">
            <a:xfrm>
              <a:off x="4122743" y="4494759"/>
              <a:ext cx="28225" cy="13677"/>
            </a:xfrm>
            <a:custGeom>
              <a:avLst/>
              <a:gdLst>
                <a:gd name="T0" fmla="*/ 0 w 33"/>
                <a:gd name="T1" fmla="*/ 2 h 17"/>
                <a:gd name="T2" fmla="*/ 0 w 33"/>
                <a:gd name="T3" fmla="*/ 2 h 17"/>
                <a:gd name="T4" fmla="*/ 4 w 33"/>
                <a:gd name="T5" fmla="*/ 2 h 17"/>
                <a:gd name="T6" fmla="*/ 0 w 33"/>
                <a:gd name="T7" fmla="*/ 0 h 17"/>
                <a:gd name="T8" fmla="*/ 0 w 33"/>
                <a:gd name="T9" fmla="*/ 2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1" name="Freeform 299"/>
            <p:cNvSpPr>
              <a:spLocks/>
            </p:cNvSpPr>
            <p:nvPr/>
          </p:nvSpPr>
          <p:spPr bwMode="auto">
            <a:xfrm>
              <a:off x="4244463" y="4549465"/>
              <a:ext cx="14111" cy="13677"/>
            </a:xfrm>
            <a:custGeom>
              <a:avLst/>
              <a:gdLst>
                <a:gd name="T0" fmla="*/ 0 w 17"/>
                <a:gd name="T1" fmla="*/ 0 h 15"/>
                <a:gd name="T2" fmla="*/ 0 w 17"/>
                <a:gd name="T3" fmla="*/ 0 h 15"/>
                <a:gd name="T4" fmla="*/ 0 w 17"/>
                <a:gd name="T5" fmla="*/ 2 h 15"/>
                <a:gd name="T6" fmla="*/ 2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2" name="Freeform 300"/>
            <p:cNvSpPr>
              <a:spLocks/>
            </p:cNvSpPr>
            <p:nvPr/>
          </p:nvSpPr>
          <p:spPr bwMode="auto">
            <a:xfrm>
              <a:off x="4244463" y="4549465"/>
              <a:ext cx="14111" cy="13677"/>
            </a:xfrm>
            <a:custGeom>
              <a:avLst/>
              <a:gdLst>
                <a:gd name="T0" fmla="*/ 0 w 17"/>
                <a:gd name="T1" fmla="*/ 0 h 15"/>
                <a:gd name="T2" fmla="*/ 0 w 17"/>
                <a:gd name="T3" fmla="*/ 0 h 15"/>
                <a:gd name="T4" fmla="*/ 0 w 17"/>
                <a:gd name="T5" fmla="*/ 2 h 15"/>
                <a:gd name="T6" fmla="*/ 2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3" name="Freeform 301"/>
            <p:cNvSpPr>
              <a:spLocks/>
            </p:cNvSpPr>
            <p:nvPr/>
          </p:nvSpPr>
          <p:spPr bwMode="auto">
            <a:xfrm>
              <a:off x="3845785" y="4344317"/>
              <a:ext cx="15877" cy="41030"/>
            </a:xfrm>
            <a:custGeom>
              <a:avLst/>
              <a:gdLst>
                <a:gd name="T0" fmla="*/ 0 w 17"/>
                <a:gd name="T1" fmla="*/ 0 h 48"/>
                <a:gd name="T2" fmla="*/ 0 w 17"/>
                <a:gd name="T3" fmla="*/ 0 h 48"/>
                <a:gd name="T4" fmla="*/ 0 w 17"/>
                <a:gd name="T5" fmla="*/ 2 h 48"/>
                <a:gd name="T6" fmla="*/ 3 w 17"/>
                <a:gd name="T7" fmla="*/ 6 h 48"/>
                <a:gd name="T8" fmla="*/ 3 w 17"/>
                <a:gd name="T9" fmla="*/ 2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4" name="Freeform 302"/>
            <p:cNvSpPr>
              <a:spLocks/>
            </p:cNvSpPr>
            <p:nvPr/>
          </p:nvSpPr>
          <p:spPr bwMode="auto">
            <a:xfrm>
              <a:off x="3845785" y="4344317"/>
              <a:ext cx="15877" cy="41030"/>
            </a:xfrm>
            <a:custGeom>
              <a:avLst/>
              <a:gdLst>
                <a:gd name="T0" fmla="*/ 0 w 17"/>
                <a:gd name="T1" fmla="*/ 0 h 48"/>
                <a:gd name="T2" fmla="*/ 0 w 17"/>
                <a:gd name="T3" fmla="*/ 0 h 48"/>
                <a:gd name="T4" fmla="*/ 0 w 17"/>
                <a:gd name="T5" fmla="*/ 2 h 48"/>
                <a:gd name="T6" fmla="*/ 3 w 17"/>
                <a:gd name="T7" fmla="*/ 6 h 48"/>
                <a:gd name="T8" fmla="*/ 3 w 17"/>
                <a:gd name="T9" fmla="*/ 2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5" name="Freeform 307"/>
            <p:cNvSpPr>
              <a:spLocks/>
            </p:cNvSpPr>
            <p:nvPr/>
          </p:nvSpPr>
          <p:spPr bwMode="auto">
            <a:xfrm>
              <a:off x="4180957" y="3660491"/>
              <a:ext cx="63507" cy="29063"/>
            </a:xfrm>
            <a:custGeom>
              <a:avLst/>
              <a:gdLst>
                <a:gd name="T0" fmla="*/ 0 w 71"/>
                <a:gd name="T1" fmla="*/ 0 h 32"/>
                <a:gd name="T2" fmla="*/ 0 w 71"/>
                <a:gd name="T3" fmla="*/ 0 h 32"/>
                <a:gd name="T4" fmla="*/ 5 w 71"/>
                <a:gd name="T5" fmla="*/ 5 h 32"/>
                <a:gd name="T6" fmla="*/ 9 w 71"/>
                <a:gd name="T7" fmla="*/ 5 h 32"/>
                <a:gd name="T8" fmla="*/ 5 w 71"/>
                <a:gd name="T9" fmla="*/ 2 h 32"/>
                <a:gd name="T10" fmla="*/ 0 w 71"/>
                <a:gd name="T11" fmla="*/ 0 h 32"/>
                <a:gd name="T12" fmla="*/ 0 60000 65536"/>
                <a:gd name="T13" fmla="*/ 0 60000 65536"/>
                <a:gd name="T14" fmla="*/ 0 60000 65536"/>
                <a:gd name="T15" fmla="*/ 0 60000 65536"/>
                <a:gd name="T16" fmla="*/ 0 60000 65536"/>
                <a:gd name="T17" fmla="*/ 0 60000 65536"/>
                <a:gd name="T18" fmla="*/ 0 w 71"/>
                <a:gd name="T19" fmla="*/ 0 h 32"/>
                <a:gd name="T20" fmla="*/ 71 w 7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71" h="32">
                  <a:moveTo>
                    <a:pt x="0" y="0"/>
                  </a:moveTo>
                  <a:lnTo>
                    <a:pt x="0" y="0"/>
                  </a:lnTo>
                  <a:lnTo>
                    <a:pt x="34" y="32"/>
                  </a:lnTo>
                  <a:lnTo>
                    <a:pt x="71" y="32"/>
                  </a:lnTo>
                  <a:lnTo>
                    <a:pt x="34"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6" name="Freeform 308"/>
            <p:cNvSpPr>
              <a:spLocks/>
            </p:cNvSpPr>
            <p:nvPr/>
          </p:nvSpPr>
          <p:spPr bwMode="auto">
            <a:xfrm>
              <a:off x="4180957" y="3756226"/>
              <a:ext cx="63507" cy="41030"/>
            </a:xfrm>
            <a:custGeom>
              <a:avLst/>
              <a:gdLst>
                <a:gd name="T0" fmla="*/ 0 w 71"/>
                <a:gd name="T1" fmla="*/ 3 h 48"/>
                <a:gd name="T2" fmla="*/ 0 w 71"/>
                <a:gd name="T3" fmla="*/ 3 h 48"/>
                <a:gd name="T4" fmla="*/ 7 w 71"/>
                <a:gd name="T5" fmla="*/ 6 h 48"/>
                <a:gd name="T6" fmla="*/ 7 w 71"/>
                <a:gd name="T7" fmla="*/ 5 h 48"/>
                <a:gd name="T8" fmla="*/ 9 w 71"/>
                <a:gd name="T9" fmla="*/ 3 h 48"/>
                <a:gd name="T10" fmla="*/ 5 w 71"/>
                <a:gd name="T11" fmla="*/ 3 h 48"/>
                <a:gd name="T12" fmla="*/ 3 w 71"/>
                <a:gd name="T13" fmla="*/ 3 h 48"/>
                <a:gd name="T14" fmla="*/ 3 w 71"/>
                <a:gd name="T15" fmla="*/ 0 h 48"/>
                <a:gd name="T16" fmla="*/ 0 w 71"/>
                <a:gd name="T17" fmla="*/ 3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48"/>
                <a:gd name="T29" fmla="*/ 71 w 71"/>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48">
                  <a:moveTo>
                    <a:pt x="0" y="17"/>
                  </a:moveTo>
                  <a:lnTo>
                    <a:pt x="0" y="17"/>
                  </a:lnTo>
                  <a:lnTo>
                    <a:pt x="52" y="48"/>
                  </a:lnTo>
                  <a:lnTo>
                    <a:pt x="52" y="33"/>
                  </a:lnTo>
                  <a:lnTo>
                    <a:pt x="71" y="17"/>
                  </a:lnTo>
                  <a:lnTo>
                    <a:pt x="34" y="17"/>
                  </a:lnTo>
                  <a:lnTo>
                    <a:pt x="17" y="17"/>
                  </a:lnTo>
                  <a:lnTo>
                    <a:pt x="17"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7" name="Freeform 309"/>
            <p:cNvSpPr>
              <a:spLocks/>
            </p:cNvSpPr>
            <p:nvPr/>
          </p:nvSpPr>
          <p:spPr bwMode="auto">
            <a:xfrm>
              <a:off x="3799920" y="3427989"/>
              <a:ext cx="31753" cy="27353"/>
            </a:xfrm>
            <a:custGeom>
              <a:avLst/>
              <a:gdLst>
                <a:gd name="T0" fmla="*/ 0 w 34"/>
                <a:gd name="T1" fmla="*/ 2 h 33"/>
                <a:gd name="T2" fmla="*/ 0 w 34"/>
                <a:gd name="T3" fmla="*/ 2 h 33"/>
                <a:gd name="T4" fmla="*/ 5 w 34"/>
                <a:gd name="T5" fmla="*/ 4 h 33"/>
                <a:gd name="T6" fmla="*/ 5 w 34"/>
                <a:gd name="T7" fmla="*/ 0 h 33"/>
                <a:gd name="T8" fmla="*/ 0 w 34"/>
                <a:gd name="T9" fmla="*/ 2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8" name="Freeform 310"/>
            <p:cNvSpPr>
              <a:spLocks/>
            </p:cNvSpPr>
            <p:nvPr/>
          </p:nvSpPr>
          <p:spPr bwMode="auto">
            <a:xfrm>
              <a:off x="3799920" y="3427989"/>
              <a:ext cx="31753" cy="27353"/>
            </a:xfrm>
            <a:custGeom>
              <a:avLst/>
              <a:gdLst>
                <a:gd name="T0" fmla="*/ 0 w 34"/>
                <a:gd name="T1" fmla="*/ 2 h 33"/>
                <a:gd name="T2" fmla="*/ 0 w 34"/>
                <a:gd name="T3" fmla="*/ 2 h 33"/>
                <a:gd name="T4" fmla="*/ 5 w 34"/>
                <a:gd name="T5" fmla="*/ 4 h 33"/>
                <a:gd name="T6" fmla="*/ 5 w 34"/>
                <a:gd name="T7" fmla="*/ 0 h 33"/>
                <a:gd name="T8" fmla="*/ 0 w 34"/>
                <a:gd name="T9" fmla="*/ 2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39" name="Freeform 311"/>
            <p:cNvSpPr>
              <a:spLocks/>
            </p:cNvSpPr>
            <p:nvPr/>
          </p:nvSpPr>
          <p:spPr bwMode="auto">
            <a:xfrm>
              <a:off x="3754054" y="3551078"/>
              <a:ext cx="31753" cy="15386"/>
            </a:xfrm>
            <a:custGeom>
              <a:avLst/>
              <a:gdLst>
                <a:gd name="T0" fmla="*/ 0 w 34"/>
                <a:gd name="T1" fmla="*/ 0 h 17"/>
                <a:gd name="T2" fmla="*/ 0 w 34"/>
                <a:gd name="T3" fmla="*/ 0 h 17"/>
                <a:gd name="T4" fmla="*/ 5 w 34"/>
                <a:gd name="T5" fmla="*/ 3 h 17"/>
                <a:gd name="T6" fmla="*/ 5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0" name="Freeform 312"/>
            <p:cNvSpPr>
              <a:spLocks/>
            </p:cNvSpPr>
            <p:nvPr/>
          </p:nvSpPr>
          <p:spPr bwMode="auto">
            <a:xfrm>
              <a:off x="3754054" y="3551078"/>
              <a:ext cx="31753" cy="15386"/>
            </a:xfrm>
            <a:custGeom>
              <a:avLst/>
              <a:gdLst>
                <a:gd name="T0" fmla="*/ 0 w 34"/>
                <a:gd name="T1" fmla="*/ 0 h 17"/>
                <a:gd name="T2" fmla="*/ 0 w 34"/>
                <a:gd name="T3" fmla="*/ 0 h 17"/>
                <a:gd name="T4" fmla="*/ 5 w 34"/>
                <a:gd name="T5" fmla="*/ 3 h 17"/>
                <a:gd name="T6" fmla="*/ 5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1" name="Freeform 313"/>
            <p:cNvSpPr>
              <a:spLocks/>
            </p:cNvSpPr>
            <p:nvPr/>
          </p:nvSpPr>
          <p:spPr bwMode="auto">
            <a:xfrm>
              <a:off x="4302677" y="3607494"/>
              <a:ext cx="155237" cy="164118"/>
            </a:xfrm>
            <a:custGeom>
              <a:avLst/>
              <a:gdLst>
                <a:gd name="T0" fmla="*/ 0 w 175"/>
                <a:gd name="T1" fmla="*/ 18 h 192"/>
                <a:gd name="T2" fmla="*/ 0 w 175"/>
                <a:gd name="T3" fmla="*/ 18 h 192"/>
                <a:gd name="T4" fmla="*/ 0 w 175"/>
                <a:gd name="T5" fmla="*/ 20 h 192"/>
                <a:gd name="T6" fmla="*/ 3 w 175"/>
                <a:gd name="T7" fmla="*/ 20 h 192"/>
                <a:gd name="T8" fmla="*/ 13 w 175"/>
                <a:gd name="T9" fmla="*/ 20 h 192"/>
                <a:gd name="T10" fmla="*/ 13 w 175"/>
                <a:gd name="T11" fmla="*/ 22 h 192"/>
                <a:gd name="T12" fmla="*/ 11 w 175"/>
                <a:gd name="T13" fmla="*/ 22 h 192"/>
                <a:gd name="T14" fmla="*/ 13 w 175"/>
                <a:gd name="T15" fmla="*/ 22 h 192"/>
                <a:gd name="T16" fmla="*/ 16 w 175"/>
                <a:gd name="T17" fmla="*/ 20 h 192"/>
                <a:gd name="T18" fmla="*/ 18 w 175"/>
                <a:gd name="T19" fmla="*/ 20 h 192"/>
                <a:gd name="T20" fmla="*/ 18 w 175"/>
                <a:gd name="T21" fmla="*/ 22 h 192"/>
                <a:gd name="T22" fmla="*/ 20 w 175"/>
                <a:gd name="T23" fmla="*/ 22 h 192"/>
                <a:gd name="T24" fmla="*/ 20 w 175"/>
                <a:gd name="T25" fmla="*/ 24 h 192"/>
                <a:gd name="T26" fmla="*/ 22 w 175"/>
                <a:gd name="T27" fmla="*/ 24 h 192"/>
                <a:gd name="T28" fmla="*/ 22 w 175"/>
                <a:gd name="T29" fmla="*/ 20 h 192"/>
                <a:gd name="T30" fmla="*/ 20 w 175"/>
                <a:gd name="T31" fmla="*/ 20 h 192"/>
                <a:gd name="T32" fmla="*/ 22 w 175"/>
                <a:gd name="T33" fmla="*/ 18 h 192"/>
                <a:gd name="T34" fmla="*/ 20 w 175"/>
                <a:gd name="T35" fmla="*/ 20 h 192"/>
                <a:gd name="T36" fmla="*/ 18 w 175"/>
                <a:gd name="T37" fmla="*/ 18 h 192"/>
                <a:gd name="T38" fmla="*/ 22 w 175"/>
                <a:gd name="T39" fmla="*/ 14 h 192"/>
                <a:gd name="T40" fmla="*/ 20 w 175"/>
                <a:gd name="T41" fmla="*/ 15 h 192"/>
                <a:gd name="T42" fmla="*/ 18 w 175"/>
                <a:gd name="T43" fmla="*/ 14 h 192"/>
                <a:gd name="T44" fmla="*/ 20 w 175"/>
                <a:gd name="T45" fmla="*/ 12 h 192"/>
                <a:gd name="T46" fmla="*/ 13 w 175"/>
                <a:gd name="T47" fmla="*/ 12 h 192"/>
                <a:gd name="T48" fmla="*/ 11 w 175"/>
                <a:gd name="T49" fmla="*/ 10 h 192"/>
                <a:gd name="T50" fmla="*/ 13 w 175"/>
                <a:gd name="T51" fmla="*/ 8 h 192"/>
                <a:gd name="T52" fmla="*/ 11 w 175"/>
                <a:gd name="T53" fmla="*/ 8 h 192"/>
                <a:gd name="T54" fmla="*/ 9 w 175"/>
                <a:gd name="T55" fmla="*/ 10 h 192"/>
                <a:gd name="T56" fmla="*/ 13 w 175"/>
                <a:gd name="T57" fmla="*/ 0 h 192"/>
                <a:gd name="T58" fmla="*/ 9 w 175"/>
                <a:gd name="T59" fmla="*/ 2 h 192"/>
                <a:gd name="T60" fmla="*/ 3 w 175"/>
                <a:gd name="T61" fmla="*/ 14 h 192"/>
                <a:gd name="T62" fmla="*/ 3 w 175"/>
                <a:gd name="T63" fmla="*/ 15 h 192"/>
                <a:gd name="T64" fmla="*/ 0 w 175"/>
                <a:gd name="T65" fmla="*/ 18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42" name="Freeform 314"/>
            <p:cNvSpPr>
              <a:spLocks/>
            </p:cNvSpPr>
            <p:nvPr/>
          </p:nvSpPr>
          <p:spPr bwMode="auto">
            <a:xfrm>
              <a:off x="1690106" y="3263871"/>
              <a:ext cx="45866" cy="27353"/>
            </a:xfrm>
            <a:custGeom>
              <a:avLst/>
              <a:gdLst>
                <a:gd name="T0" fmla="*/ 0 w 52"/>
                <a:gd name="T1" fmla="*/ 2 h 33"/>
                <a:gd name="T2" fmla="*/ 0 w 52"/>
                <a:gd name="T3" fmla="*/ 2 h 33"/>
                <a:gd name="T4" fmla="*/ 5 w 52"/>
                <a:gd name="T5" fmla="*/ 4 h 33"/>
                <a:gd name="T6" fmla="*/ 7 w 52"/>
                <a:gd name="T7" fmla="*/ 2 h 33"/>
                <a:gd name="T8" fmla="*/ 5 w 52"/>
                <a:gd name="T9" fmla="*/ 0 h 33"/>
                <a:gd name="T10" fmla="*/ 0 w 52"/>
                <a:gd name="T11" fmla="*/ 2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8"/>
                  </a:moveTo>
                  <a:lnTo>
                    <a:pt x="0" y="18"/>
                  </a:lnTo>
                  <a:lnTo>
                    <a:pt x="34" y="33"/>
                  </a:lnTo>
                  <a:lnTo>
                    <a:pt x="52" y="18"/>
                  </a:lnTo>
                  <a:lnTo>
                    <a:pt x="34"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3" name="Freeform 315"/>
            <p:cNvSpPr>
              <a:spLocks/>
            </p:cNvSpPr>
            <p:nvPr/>
          </p:nvSpPr>
          <p:spPr bwMode="auto">
            <a:xfrm>
              <a:off x="1997052" y="3345930"/>
              <a:ext cx="75855" cy="68383"/>
            </a:xfrm>
            <a:custGeom>
              <a:avLst/>
              <a:gdLst>
                <a:gd name="T0" fmla="*/ 0 w 87"/>
                <a:gd name="T1" fmla="*/ 8 h 81"/>
                <a:gd name="T2" fmla="*/ 0 w 87"/>
                <a:gd name="T3" fmla="*/ 8 h 81"/>
                <a:gd name="T4" fmla="*/ 2 w 87"/>
                <a:gd name="T5" fmla="*/ 10 h 81"/>
                <a:gd name="T6" fmla="*/ 6 w 87"/>
                <a:gd name="T7" fmla="*/ 6 h 81"/>
                <a:gd name="T8" fmla="*/ 8 w 87"/>
                <a:gd name="T9" fmla="*/ 6 h 81"/>
                <a:gd name="T10" fmla="*/ 8 w 87"/>
                <a:gd name="T11" fmla="*/ 4 h 81"/>
                <a:gd name="T12" fmla="*/ 6 w 87"/>
                <a:gd name="T13" fmla="*/ 4 h 81"/>
                <a:gd name="T14" fmla="*/ 10 w 87"/>
                <a:gd name="T15" fmla="*/ 2 h 81"/>
                <a:gd name="T16" fmla="*/ 8 w 87"/>
                <a:gd name="T17" fmla="*/ 0 h 81"/>
                <a:gd name="T18" fmla="*/ 0 w 87"/>
                <a:gd name="T19" fmla="*/ 8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4" name="Freeform 316"/>
            <p:cNvSpPr>
              <a:spLocks/>
            </p:cNvSpPr>
            <p:nvPr/>
          </p:nvSpPr>
          <p:spPr bwMode="auto">
            <a:xfrm>
              <a:off x="2529798" y="3510049"/>
              <a:ext cx="47630" cy="82059"/>
            </a:xfrm>
            <a:custGeom>
              <a:avLst/>
              <a:gdLst>
                <a:gd name="T0" fmla="*/ 0 w 54"/>
                <a:gd name="T1" fmla="*/ 0 h 96"/>
                <a:gd name="T2" fmla="*/ 0 w 54"/>
                <a:gd name="T3" fmla="*/ 0 h 96"/>
                <a:gd name="T4" fmla="*/ 0 w 54"/>
                <a:gd name="T5" fmla="*/ 5 h 96"/>
                <a:gd name="T6" fmla="*/ 3 w 54"/>
                <a:gd name="T7" fmla="*/ 11 h 96"/>
                <a:gd name="T8" fmla="*/ 7 w 54"/>
                <a:gd name="T9" fmla="*/ 12 h 96"/>
                <a:gd name="T10" fmla="*/ 3 w 54"/>
                <a:gd name="T11" fmla="*/ 9 h 96"/>
                <a:gd name="T12" fmla="*/ 5 w 54"/>
                <a:gd name="T13" fmla="*/ 6 h 96"/>
                <a:gd name="T14" fmla="*/ 3 w 54"/>
                <a:gd name="T15" fmla="*/ 5 h 96"/>
                <a:gd name="T16" fmla="*/ 5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45" name="Freeform 317"/>
            <p:cNvSpPr>
              <a:spLocks/>
            </p:cNvSpPr>
            <p:nvPr/>
          </p:nvSpPr>
          <p:spPr bwMode="auto">
            <a:xfrm>
              <a:off x="2639169" y="3633137"/>
              <a:ext cx="123484" cy="82059"/>
            </a:xfrm>
            <a:custGeom>
              <a:avLst/>
              <a:gdLst>
                <a:gd name="T0" fmla="*/ 0 w 140"/>
                <a:gd name="T1" fmla="*/ 0 h 96"/>
                <a:gd name="T2" fmla="*/ 0 w 140"/>
                <a:gd name="T3" fmla="*/ 0 h 96"/>
                <a:gd name="T4" fmla="*/ 2 w 140"/>
                <a:gd name="T5" fmla="*/ 5 h 96"/>
                <a:gd name="T6" fmla="*/ 6 w 140"/>
                <a:gd name="T7" fmla="*/ 6 h 96"/>
                <a:gd name="T8" fmla="*/ 10 w 140"/>
                <a:gd name="T9" fmla="*/ 9 h 96"/>
                <a:gd name="T10" fmla="*/ 10 w 140"/>
                <a:gd name="T11" fmla="*/ 11 h 96"/>
                <a:gd name="T12" fmla="*/ 15 w 140"/>
                <a:gd name="T13" fmla="*/ 12 h 96"/>
                <a:gd name="T14" fmla="*/ 18 w 140"/>
                <a:gd name="T15" fmla="*/ 12 h 96"/>
                <a:gd name="T16" fmla="*/ 9 w 140"/>
                <a:gd name="T17" fmla="*/ 3 h 96"/>
                <a:gd name="T18" fmla="*/ 2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46" name="Freeform 318"/>
            <p:cNvSpPr>
              <a:spLocks/>
            </p:cNvSpPr>
            <p:nvPr/>
          </p:nvSpPr>
          <p:spPr bwMode="auto">
            <a:xfrm>
              <a:off x="2639169" y="3633137"/>
              <a:ext cx="123484" cy="82059"/>
            </a:xfrm>
            <a:custGeom>
              <a:avLst/>
              <a:gdLst>
                <a:gd name="T0" fmla="*/ 0 w 140"/>
                <a:gd name="T1" fmla="*/ 0 h 96"/>
                <a:gd name="T2" fmla="*/ 0 w 140"/>
                <a:gd name="T3" fmla="*/ 0 h 96"/>
                <a:gd name="T4" fmla="*/ 2 w 140"/>
                <a:gd name="T5" fmla="*/ 5 h 96"/>
                <a:gd name="T6" fmla="*/ 6 w 140"/>
                <a:gd name="T7" fmla="*/ 6 h 96"/>
                <a:gd name="T8" fmla="*/ 10 w 140"/>
                <a:gd name="T9" fmla="*/ 9 h 96"/>
                <a:gd name="T10" fmla="*/ 10 w 140"/>
                <a:gd name="T11" fmla="*/ 11 h 96"/>
                <a:gd name="T12" fmla="*/ 15 w 140"/>
                <a:gd name="T13" fmla="*/ 12 h 96"/>
                <a:gd name="T14" fmla="*/ 18 w 140"/>
                <a:gd name="T15" fmla="*/ 12 h 96"/>
                <a:gd name="T16" fmla="*/ 9 w 140"/>
                <a:gd name="T17" fmla="*/ 3 h 96"/>
                <a:gd name="T18" fmla="*/ 2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47" name="Freeform 320"/>
            <p:cNvSpPr>
              <a:spLocks/>
            </p:cNvSpPr>
            <p:nvPr/>
          </p:nvSpPr>
          <p:spPr bwMode="auto">
            <a:xfrm>
              <a:off x="1690106" y="3525435"/>
              <a:ext cx="31753" cy="11967"/>
            </a:xfrm>
            <a:custGeom>
              <a:avLst/>
              <a:gdLst>
                <a:gd name="T0" fmla="*/ 0 w 34"/>
                <a:gd name="T1" fmla="*/ 1 h 16"/>
                <a:gd name="T2" fmla="*/ 0 w 34"/>
                <a:gd name="T3" fmla="*/ 1 h 16"/>
                <a:gd name="T4" fmla="*/ 5 w 34"/>
                <a:gd name="T5" fmla="*/ 1 h 16"/>
                <a:gd name="T6" fmla="*/ 5 w 34"/>
                <a:gd name="T7" fmla="*/ 0 h 16"/>
                <a:gd name="T8" fmla="*/ 3 w 34"/>
                <a:gd name="T9" fmla="*/ 0 h 16"/>
                <a:gd name="T10" fmla="*/ 3 w 34"/>
                <a:gd name="T11" fmla="*/ 1 h 16"/>
                <a:gd name="T12" fmla="*/ 0 w 34"/>
                <a:gd name="T13" fmla="*/ 1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8" name="Freeform 324"/>
            <p:cNvSpPr>
              <a:spLocks/>
            </p:cNvSpPr>
            <p:nvPr/>
          </p:nvSpPr>
          <p:spPr bwMode="auto">
            <a:xfrm>
              <a:off x="3861662" y="4303288"/>
              <a:ext cx="15877" cy="27353"/>
            </a:xfrm>
            <a:custGeom>
              <a:avLst/>
              <a:gdLst>
                <a:gd name="T0" fmla="*/ 0 w 17"/>
                <a:gd name="T1" fmla="*/ 0 h 31"/>
                <a:gd name="T2" fmla="*/ 0 w 17"/>
                <a:gd name="T3" fmla="*/ 0 h 31"/>
                <a:gd name="T4" fmla="*/ 3 w 17"/>
                <a:gd name="T5" fmla="*/ 2 h 31"/>
                <a:gd name="T6" fmla="*/ 3 w 17"/>
                <a:gd name="T7" fmla="*/ 4 h 31"/>
                <a:gd name="T8" fmla="*/ 0 w 17"/>
                <a:gd name="T9" fmla="*/ 0 h 31"/>
                <a:gd name="T10" fmla="*/ 0 60000 65536"/>
                <a:gd name="T11" fmla="*/ 0 60000 65536"/>
                <a:gd name="T12" fmla="*/ 0 60000 65536"/>
                <a:gd name="T13" fmla="*/ 0 60000 65536"/>
                <a:gd name="T14" fmla="*/ 0 60000 65536"/>
                <a:gd name="T15" fmla="*/ 0 w 17"/>
                <a:gd name="T16" fmla="*/ 0 h 31"/>
                <a:gd name="T17" fmla="*/ 17 w 17"/>
                <a:gd name="T18" fmla="*/ 31 h 31"/>
              </a:gdLst>
              <a:ahLst/>
              <a:cxnLst>
                <a:cxn ang="T10">
                  <a:pos x="T0" y="T1"/>
                </a:cxn>
                <a:cxn ang="T11">
                  <a:pos x="T2" y="T3"/>
                </a:cxn>
                <a:cxn ang="T12">
                  <a:pos x="T4" y="T5"/>
                </a:cxn>
                <a:cxn ang="T13">
                  <a:pos x="T6" y="T7"/>
                </a:cxn>
                <a:cxn ang="T14">
                  <a:pos x="T8" y="T9"/>
                </a:cxn>
              </a:cxnLst>
              <a:rect l="T15" t="T16" r="T17" b="T18"/>
              <a:pathLst>
                <a:path w="17" h="31">
                  <a:moveTo>
                    <a:pt x="0" y="0"/>
                  </a:moveTo>
                  <a:lnTo>
                    <a:pt x="0" y="0"/>
                  </a:lnTo>
                  <a:lnTo>
                    <a:pt x="17" y="15"/>
                  </a:lnTo>
                  <a:lnTo>
                    <a:pt x="17" y="31"/>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49" name="Freeform 325"/>
            <p:cNvSpPr>
              <a:spLocks/>
            </p:cNvSpPr>
            <p:nvPr/>
          </p:nvSpPr>
          <p:spPr bwMode="auto">
            <a:xfrm>
              <a:off x="3861662" y="4303288"/>
              <a:ext cx="15877" cy="27353"/>
            </a:xfrm>
            <a:custGeom>
              <a:avLst/>
              <a:gdLst>
                <a:gd name="T0" fmla="*/ 0 w 17"/>
                <a:gd name="T1" fmla="*/ 0 h 31"/>
                <a:gd name="T2" fmla="*/ 0 w 17"/>
                <a:gd name="T3" fmla="*/ 0 h 31"/>
                <a:gd name="T4" fmla="*/ 3 w 17"/>
                <a:gd name="T5" fmla="*/ 2 h 31"/>
                <a:gd name="T6" fmla="*/ 3 w 17"/>
                <a:gd name="T7" fmla="*/ 4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0" name="Freeform 326"/>
            <p:cNvSpPr>
              <a:spLocks/>
            </p:cNvSpPr>
            <p:nvPr/>
          </p:nvSpPr>
          <p:spPr bwMode="auto">
            <a:xfrm>
              <a:off x="3877538" y="4330641"/>
              <a:ext cx="14111" cy="27353"/>
            </a:xfrm>
            <a:custGeom>
              <a:avLst/>
              <a:gdLst>
                <a:gd name="T0" fmla="*/ 0 w 17"/>
                <a:gd name="T1" fmla="*/ 0 h 32"/>
                <a:gd name="T2" fmla="*/ 0 w 17"/>
                <a:gd name="T3" fmla="*/ 0 h 32"/>
                <a:gd name="T4" fmla="*/ 2 w 17"/>
                <a:gd name="T5" fmla="*/ 2 h 32"/>
                <a:gd name="T6" fmla="*/ 2 w 17"/>
                <a:gd name="T7" fmla="*/ 4 h 32"/>
                <a:gd name="T8" fmla="*/ 0 w 17"/>
                <a:gd name="T9" fmla="*/ 0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0"/>
                  </a:moveTo>
                  <a:lnTo>
                    <a:pt x="0" y="0"/>
                  </a:lnTo>
                  <a:lnTo>
                    <a:pt x="17" y="17"/>
                  </a:lnTo>
                  <a:lnTo>
                    <a:pt x="17" y="32"/>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1" name="Freeform 327"/>
            <p:cNvSpPr>
              <a:spLocks/>
            </p:cNvSpPr>
            <p:nvPr/>
          </p:nvSpPr>
          <p:spPr bwMode="auto">
            <a:xfrm>
              <a:off x="3877538" y="4330641"/>
              <a:ext cx="14111" cy="27353"/>
            </a:xfrm>
            <a:custGeom>
              <a:avLst/>
              <a:gdLst>
                <a:gd name="T0" fmla="*/ 0 w 17"/>
                <a:gd name="T1" fmla="*/ 0 h 32"/>
                <a:gd name="T2" fmla="*/ 0 w 17"/>
                <a:gd name="T3" fmla="*/ 0 h 32"/>
                <a:gd name="T4" fmla="*/ 2 w 17"/>
                <a:gd name="T5" fmla="*/ 2 h 32"/>
                <a:gd name="T6" fmla="*/ 2 w 17"/>
                <a:gd name="T7" fmla="*/ 4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2" name="Freeform 328"/>
            <p:cNvSpPr>
              <a:spLocks/>
            </p:cNvSpPr>
            <p:nvPr/>
          </p:nvSpPr>
          <p:spPr bwMode="auto">
            <a:xfrm>
              <a:off x="3937515" y="4399023"/>
              <a:ext cx="15877" cy="13677"/>
            </a:xfrm>
            <a:custGeom>
              <a:avLst/>
              <a:gdLst>
                <a:gd name="T0" fmla="*/ 0 w 18"/>
                <a:gd name="T1" fmla="*/ 0 h 16"/>
                <a:gd name="T2" fmla="*/ 0 w 18"/>
                <a:gd name="T3" fmla="*/ 0 h 16"/>
                <a:gd name="T4" fmla="*/ 2 w 18"/>
                <a:gd name="T5" fmla="*/ 2 h 16"/>
                <a:gd name="T6" fmla="*/ 0 w 18"/>
                <a:gd name="T7" fmla="*/ 2 h 16"/>
                <a:gd name="T8" fmla="*/ 0 w 18"/>
                <a:gd name="T9" fmla="*/ 0 h 16"/>
                <a:gd name="T10" fmla="*/ 0 60000 65536"/>
                <a:gd name="T11" fmla="*/ 0 60000 65536"/>
                <a:gd name="T12" fmla="*/ 0 60000 65536"/>
                <a:gd name="T13" fmla="*/ 0 60000 65536"/>
                <a:gd name="T14" fmla="*/ 0 60000 65536"/>
                <a:gd name="T15" fmla="*/ 0 w 18"/>
                <a:gd name="T16" fmla="*/ 0 h 16"/>
                <a:gd name="T17" fmla="*/ 18 w 18"/>
                <a:gd name="T18" fmla="*/ 16 h 16"/>
              </a:gdLst>
              <a:ahLst/>
              <a:cxnLst>
                <a:cxn ang="T10">
                  <a:pos x="T0" y="T1"/>
                </a:cxn>
                <a:cxn ang="T11">
                  <a:pos x="T2" y="T3"/>
                </a:cxn>
                <a:cxn ang="T12">
                  <a:pos x="T4" y="T5"/>
                </a:cxn>
                <a:cxn ang="T13">
                  <a:pos x="T6" y="T7"/>
                </a:cxn>
                <a:cxn ang="T14">
                  <a:pos x="T8" y="T9"/>
                </a:cxn>
              </a:cxnLst>
              <a:rect l="T15" t="T16" r="T17" b="T18"/>
              <a:pathLst>
                <a:path w="18" h="16">
                  <a:moveTo>
                    <a:pt x="0" y="0"/>
                  </a:moveTo>
                  <a:lnTo>
                    <a:pt x="0" y="0"/>
                  </a:lnTo>
                  <a:lnTo>
                    <a:pt x="18" y="16"/>
                  </a:lnTo>
                  <a:lnTo>
                    <a:pt x="0" y="16"/>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3" name="Freeform 329"/>
            <p:cNvSpPr>
              <a:spLocks/>
            </p:cNvSpPr>
            <p:nvPr/>
          </p:nvSpPr>
          <p:spPr bwMode="auto">
            <a:xfrm>
              <a:off x="3937515" y="4399023"/>
              <a:ext cx="15877" cy="13677"/>
            </a:xfrm>
            <a:custGeom>
              <a:avLst/>
              <a:gdLst>
                <a:gd name="T0" fmla="*/ 0 w 18"/>
                <a:gd name="T1" fmla="*/ 0 h 16"/>
                <a:gd name="T2" fmla="*/ 0 w 18"/>
                <a:gd name="T3" fmla="*/ 0 h 16"/>
                <a:gd name="T4" fmla="*/ 2 w 18"/>
                <a:gd name="T5" fmla="*/ 2 h 16"/>
                <a:gd name="T6" fmla="*/ 0 w 18"/>
                <a:gd name="T7" fmla="*/ 2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4" name="Freeform 330"/>
            <p:cNvSpPr>
              <a:spLocks/>
            </p:cNvSpPr>
            <p:nvPr/>
          </p:nvSpPr>
          <p:spPr bwMode="auto">
            <a:xfrm>
              <a:off x="3985146" y="4426378"/>
              <a:ext cx="28225" cy="0"/>
            </a:xfrm>
            <a:custGeom>
              <a:avLst/>
              <a:gdLst>
                <a:gd name="T0" fmla="*/ 0 w 33"/>
                <a:gd name="T1" fmla="*/ 0 w 33"/>
                <a:gd name="T2" fmla="*/ 1 w 33"/>
                <a:gd name="T3" fmla="*/ 4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55" name="Freeform 333"/>
            <p:cNvSpPr>
              <a:spLocks/>
            </p:cNvSpPr>
            <p:nvPr/>
          </p:nvSpPr>
          <p:spPr bwMode="auto">
            <a:xfrm>
              <a:off x="6772359" y="2215906"/>
              <a:ext cx="172878" cy="47867"/>
            </a:xfrm>
            <a:custGeom>
              <a:avLst/>
              <a:gdLst>
                <a:gd name="T0" fmla="*/ 21 w 196"/>
                <a:gd name="T1" fmla="*/ 3 h 56"/>
                <a:gd name="T2" fmla="*/ 18 w 196"/>
                <a:gd name="T3" fmla="*/ 3 h 56"/>
                <a:gd name="T4" fmla="*/ 15 w 196"/>
                <a:gd name="T5" fmla="*/ 3 h 56"/>
                <a:gd name="T6" fmla="*/ 15 w 196"/>
                <a:gd name="T7" fmla="*/ 5 h 56"/>
                <a:gd name="T8" fmla="*/ 13 w 196"/>
                <a:gd name="T9" fmla="*/ 7 h 56"/>
                <a:gd name="T10" fmla="*/ 13 w 196"/>
                <a:gd name="T11" fmla="*/ 5 h 56"/>
                <a:gd name="T12" fmla="*/ 12 w 196"/>
                <a:gd name="T13" fmla="*/ 5 h 56"/>
                <a:gd name="T14" fmla="*/ 10 w 196"/>
                <a:gd name="T15" fmla="*/ 3 h 56"/>
                <a:gd name="T16" fmla="*/ 12 w 196"/>
                <a:gd name="T17" fmla="*/ 3 h 56"/>
                <a:gd name="T18" fmla="*/ 13 w 196"/>
                <a:gd name="T19" fmla="*/ 3 h 56"/>
                <a:gd name="T20" fmla="*/ 12 w 196"/>
                <a:gd name="T21" fmla="*/ 3 h 56"/>
                <a:gd name="T22" fmla="*/ 10 w 196"/>
                <a:gd name="T23" fmla="*/ 3 h 56"/>
                <a:gd name="T24" fmla="*/ 12 w 196"/>
                <a:gd name="T25" fmla="*/ 3 h 56"/>
                <a:gd name="T26" fmla="*/ 10 w 196"/>
                <a:gd name="T27" fmla="*/ 0 h 56"/>
                <a:gd name="T28" fmla="*/ 6 w 196"/>
                <a:gd name="T29" fmla="*/ 3 h 56"/>
                <a:gd name="T30" fmla="*/ 5 w 196"/>
                <a:gd name="T31" fmla="*/ 3 h 56"/>
                <a:gd name="T32" fmla="*/ 3 w 196"/>
                <a:gd name="T33" fmla="*/ 3 h 56"/>
                <a:gd name="T34" fmla="*/ 0 w 196"/>
                <a:gd name="T35" fmla="*/ 3 h 56"/>
                <a:gd name="T36" fmla="*/ 3 w 196"/>
                <a:gd name="T37" fmla="*/ 0 h 56"/>
                <a:gd name="T38" fmla="*/ 6 w 196"/>
                <a:gd name="T39" fmla="*/ 0 h 56"/>
                <a:gd name="T40" fmla="*/ 12 w 196"/>
                <a:gd name="T41" fmla="*/ 0 h 56"/>
                <a:gd name="T42" fmla="*/ 13 w 196"/>
                <a:gd name="T43" fmla="*/ 0 h 56"/>
                <a:gd name="T44" fmla="*/ 18 w 196"/>
                <a:gd name="T45" fmla="*/ 0 h 56"/>
                <a:gd name="T46" fmla="*/ 21 w 196"/>
                <a:gd name="T47" fmla="*/ 0 h 56"/>
                <a:gd name="T48" fmla="*/ 23 w 196"/>
                <a:gd name="T49" fmla="*/ 0 h 56"/>
                <a:gd name="T50" fmla="*/ 25 w 196"/>
                <a:gd name="T51" fmla="*/ 0 h 56"/>
                <a:gd name="T52" fmla="*/ 25 w 196"/>
                <a:gd name="T53" fmla="*/ 3 h 56"/>
                <a:gd name="T54" fmla="*/ 23 w 196"/>
                <a:gd name="T55" fmla="*/ 3 h 56"/>
                <a:gd name="T56" fmla="*/ 21 w 196"/>
                <a:gd name="T57" fmla="*/ 3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6"/>
                <a:gd name="T88" fmla="*/ 0 h 56"/>
                <a:gd name="T89" fmla="*/ 196 w 196"/>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6" h="56">
                  <a:moveTo>
                    <a:pt x="161" y="17"/>
                  </a:moveTo>
                  <a:lnTo>
                    <a:pt x="144" y="17"/>
                  </a:lnTo>
                  <a:lnTo>
                    <a:pt x="125" y="17"/>
                  </a:lnTo>
                  <a:lnTo>
                    <a:pt x="125" y="37"/>
                  </a:lnTo>
                  <a:lnTo>
                    <a:pt x="107" y="56"/>
                  </a:lnTo>
                  <a:lnTo>
                    <a:pt x="107" y="37"/>
                  </a:lnTo>
                  <a:lnTo>
                    <a:pt x="90" y="37"/>
                  </a:lnTo>
                  <a:lnTo>
                    <a:pt x="73" y="17"/>
                  </a:lnTo>
                  <a:lnTo>
                    <a:pt x="90" y="17"/>
                  </a:lnTo>
                  <a:lnTo>
                    <a:pt x="107" y="17"/>
                  </a:lnTo>
                  <a:lnTo>
                    <a:pt x="90" y="17"/>
                  </a:lnTo>
                  <a:lnTo>
                    <a:pt x="73" y="17"/>
                  </a:lnTo>
                  <a:lnTo>
                    <a:pt x="90" y="17"/>
                  </a:lnTo>
                  <a:lnTo>
                    <a:pt x="73" y="0"/>
                  </a:lnTo>
                  <a:lnTo>
                    <a:pt x="54" y="17"/>
                  </a:lnTo>
                  <a:lnTo>
                    <a:pt x="36" y="17"/>
                  </a:lnTo>
                  <a:lnTo>
                    <a:pt x="19" y="17"/>
                  </a:lnTo>
                  <a:lnTo>
                    <a:pt x="0" y="17"/>
                  </a:lnTo>
                  <a:lnTo>
                    <a:pt x="19" y="0"/>
                  </a:lnTo>
                  <a:lnTo>
                    <a:pt x="54" y="0"/>
                  </a:lnTo>
                  <a:lnTo>
                    <a:pt x="90" y="0"/>
                  </a:lnTo>
                  <a:lnTo>
                    <a:pt x="107" y="0"/>
                  </a:lnTo>
                  <a:lnTo>
                    <a:pt x="144" y="0"/>
                  </a:lnTo>
                  <a:lnTo>
                    <a:pt x="161" y="0"/>
                  </a:lnTo>
                  <a:lnTo>
                    <a:pt x="178" y="0"/>
                  </a:lnTo>
                  <a:lnTo>
                    <a:pt x="196" y="0"/>
                  </a:lnTo>
                  <a:lnTo>
                    <a:pt x="196" y="17"/>
                  </a:lnTo>
                  <a:lnTo>
                    <a:pt x="178" y="17"/>
                  </a:lnTo>
                  <a:lnTo>
                    <a:pt x="161" y="17"/>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56" name="Freeform 334"/>
            <p:cNvSpPr>
              <a:spLocks/>
            </p:cNvSpPr>
            <p:nvPr/>
          </p:nvSpPr>
          <p:spPr bwMode="auto">
            <a:xfrm>
              <a:off x="7024619" y="2152653"/>
              <a:ext cx="97022" cy="78640"/>
            </a:xfrm>
            <a:custGeom>
              <a:avLst/>
              <a:gdLst>
                <a:gd name="T0" fmla="*/ 12 w 109"/>
                <a:gd name="T1" fmla="*/ 10 h 92"/>
                <a:gd name="T2" fmla="*/ 10 w 109"/>
                <a:gd name="T3" fmla="*/ 10 h 92"/>
                <a:gd name="T4" fmla="*/ 7 w 109"/>
                <a:gd name="T5" fmla="*/ 12 h 92"/>
                <a:gd name="T6" fmla="*/ 5 w 109"/>
                <a:gd name="T7" fmla="*/ 12 h 92"/>
                <a:gd name="T8" fmla="*/ 0 w 109"/>
                <a:gd name="T9" fmla="*/ 10 h 92"/>
                <a:gd name="T10" fmla="*/ 0 w 109"/>
                <a:gd name="T11" fmla="*/ 7 h 92"/>
                <a:gd name="T12" fmla="*/ 3 w 109"/>
                <a:gd name="T13" fmla="*/ 7 h 92"/>
                <a:gd name="T14" fmla="*/ 7 w 109"/>
                <a:gd name="T15" fmla="*/ 7 h 92"/>
                <a:gd name="T16" fmla="*/ 7 w 109"/>
                <a:gd name="T17" fmla="*/ 5 h 92"/>
                <a:gd name="T18" fmla="*/ 5 w 109"/>
                <a:gd name="T19" fmla="*/ 7 h 92"/>
                <a:gd name="T20" fmla="*/ 5 w 109"/>
                <a:gd name="T21" fmla="*/ 5 h 92"/>
                <a:gd name="T22" fmla="*/ 7 w 109"/>
                <a:gd name="T23" fmla="*/ 5 h 92"/>
                <a:gd name="T24" fmla="*/ 10 w 109"/>
                <a:gd name="T25" fmla="*/ 5 h 92"/>
                <a:gd name="T26" fmla="*/ 12 w 109"/>
                <a:gd name="T27" fmla="*/ 3 h 92"/>
                <a:gd name="T28" fmla="*/ 14 w 109"/>
                <a:gd name="T29" fmla="*/ 3 h 92"/>
                <a:gd name="T30" fmla="*/ 14 w 109"/>
                <a:gd name="T31" fmla="*/ 0 h 92"/>
                <a:gd name="T32" fmla="*/ 14 w 109"/>
                <a:gd name="T33" fmla="*/ 3 h 92"/>
                <a:gd name="T34" fmla="*/ 14 w 109"/>
                <a:gd name="T35" fmla="*/ 5 h 92"/>
                <a:gd name="T36" fmla="*/ 12 w 109"/>
                <a:gd name="T37" fmla="*/ 5 h 92"/>
                <a:gd name="T38" fmla="*/ 10 w 109"/>
                <a:gd name="T39" fmla="*/ 5 h 92"/>
                <a:gd name="T40" fmla="*/ 7 w 109"/>
                <a:gd name="T41" fmla="*/ 7 h 92"/>
                <a:gd name="T42" fmla="*/ 10 w 109"/>
                <a:gd name="T43" fmla="*/ 7 h 92"/>
                <a:gd name="T44" fmla="*/ 14 w 109"/>
                <a:gd name="T45" fmla="*/ 7 h 92"/>
                <a:gd name="T46" fmla="*/ 14 w 109"/>
                <a:gd name="T47" fmla="*/ 10 h 92"/>
                <a:gd name="T48" fmla="*/ 12 w 109"/>
                <a:gd name="T49" fmla="*/ 10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9"/>
                <a:gd name="T76" fmla="*/ 0 h 92"/>
                <a:gd name="T77" fmla="*/ 109 w 109"/>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9" h="92">
                  <a:moveTo>
                    <a:pt x="90" y="73"/>
                  </a:moveTo>
                  <a:lnTo>
                    <a:pt x="73" y="73"/>
                  </a:lnTo>
                  <a:lnTo>
                    <a:pt x="54" y="92"/>
                  </a:lnTo>
                  <a:lnTo>
                    <a:pt x="36" y="92"/>
                  </a:lnTo>
                  <a:lnTo>
                    <a:pt x="0" y="73"/>
                  </a:lnTo>
                  <a:lnTo>
                    <a:pt x="0" y="56"/>
                  </a:lnTo>
                  <a:lnTo>
                    <a:pt x="19" y="56"/>
                  </a:lnTo>
                  <a:lnTo>
                    <a:pt x="54" y="56"/>
                  </a:lnTo>
                  <a:lnTo>
                    <a:pt x="54" y="37"/>
                  </a:lnTo>
                  <a:lnTo>
                    <a:pt x="36" y="56"/>
                  </a:lnTo>
                  <a:lnTo>
                    <a:pt x="36" y="37"/>
                  </a:lnTo>
                  <a:lnTo>
                    <a:pt x="54" y="37"/>
                  </a:lnTo>
                  <a:lnTo>
                    <a:pt x="73" y="37"/>
                  </a:lnTo>
                  <a:lnTo>
                    <a:pt x="90" y="20"/>
                  </a:lnTo>
                  <a:lnTo>
                    <a:pt x="109" y="20"/>
                  </a:lnTo>
                  <a:lnTo>
                    <a:pt x="109" y="0"/>
                  </a:lnTo>
                  <a:lnTo>
                    <a:pt x="109" y="20"/>
                  </a:lnTo>
                  <a:lnTo>
                    <a:pt x="109" y="37"/>
                  </a:lnTo>
                  <a:lnTo>
                    <a:pt x="90" y="37"/>
                  </a:lnTo>
                  <a:lnTo>
                    <a:pt x="73" y="37"/>
                  </a:lnTo>
                  <a:lnTo>
                    <a:pt x="54" y="56"/>
                  </a:lnTo>
                  <a:lnTo>
                    <a:pt x="73" y="56"/>
                  </a:lnTo>
                  <a:lnTo>
                    <a:pt x="109" y="56"/>
                  </a:lnTo>
                  <a:lnTo>
                    <a:pt x="109" y="73"/>
                  </a:lnTo>
                  <a:lnTo>
                    <a:pt x="90" y="73"/>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57" name="Freeform 335"/>
            <p:cNvSpPr>
              <a:spLocks/>
            </p:cNvSpPr>
            <p:nvPr/>
          </p:nvSpPr>
          <p:spPr bwMode="auto">
            <a:xfrm>
              <a:off x="5985589" y="2263774"/>
              <a:ext cx="314002" cy="174376"/>
            </a:xfrm>
            <a:custGeom>
              <a:avLst/>
              <a:gdLst>
                <a:gd name="T0" fmla="*/ 35 w 357"/>
                <a:gd name="T1" fmla="*/ 19 h 203"/>
                <a:gd name="T2" fmla="*/ 31 w 357"/>
                <a:gd name="T3" fmla="*/ 19 h 203"/>
                <a:gd name="T4" fmla="*/ 33 w 357"/>
                <a:gd name="T5" fmla="*/ 16 h 203"/>
                <a:gd name="T6" fmla="*/ 31 w 357"/>
                <a:gd name="T7" fmla="*/ 12 h 203"/>
                <a:gd name="T8" fmla="*/ 31 w 357"/>
                <a:gd name="T9" fmla="*/ 12 h 203"/>
                <a:gd name="T10" fmla="*/ 26 w 357"/>
                <a:gd name="T11" fmla="*/ 12 h 203"/>
                <a:gd name="T12" fmla="*/ 24 w 357"/>
                <a:gd name="T13" fmla="*/ 19 h 203"/>
                <a:gd name="T14" fmla="*/ 22 w 357"/>
                <a:gd name="T15" fmla="*/ 23 h 203"/>
                <a:gd name="T16" fmla="*/ 20 w 357"/>
                <a:gd name="T17" fmla="*/ 26 h 203"/>
                <a:gd name="T18" fmla="*/ 13 w 357"/>
                <a:gd name="T19" fmla="*/ 23 h 203"/>
                <a:gd name="T20" fmla="*/ 13 w 357"/>
                <a:gd name="T21" fmla="*/ 19 h 203"/>
                <a:gd name="T22" fmla="*/ 17 w 357"/>
                <a:gd name="T23" fmla="*/ 19 h 203"/>
                <a:gd name="T24" fmla="*/ 13 w 357"/>
                <a:gd name="T25" fmla="*/ 19 h 203"/>
                <a:gd name="T26" fmla="*/ 8 w 357"/>
                <a:gd name="T27" fmla="*/ 19 h 203"/>
                <a:gd name="T28" fmla="*/ 11 w 357"/>
                <a:gd name="T29" fmla="*/ 14 h 203"/>
                <a:gd name="T30" fmla="*/ 15 w 357"/>
                <a:gd name="T31" fmla="*/ 14 h 203"/>
                <a:gd name="T32" fmla="*/ 17 w 357"/>
                <a:gd name="T33" fmla="*/ 12 h 203"/>
                <a:gd name="T34" fmla="*/ 13 w 357"/>
                <a:gd name="T35" fmla="*/ 12 h 203"/>
                <a:gd name="T36" fmla="*/ 8 w 357"/>
                <a:gd name="T37" fmla="*/ 14 h 203"/>
                <a:gd name="T38" fmla="*/ 6 w 357"/>
                <a:gd name="T39" fmla="*/ 12 h 203"/>
                <a:gd name="T40" fmla="*/ 6 w 357"/>
                <a:gd name="T41" fmla="*/ 12 h 203"/>
                <a:gd name="T42" fmla="*/ 2 w 357"/>
                <a:gd name="T43" fmla="*/ 10 h 203"/>
                <a:gd name="T44" fmla="*/ 0 w 357"/>
                <a:gd name="T45" fmla="*/ 7 h 203"/>
                <a:gd name="T46" fmla="*/ 0 w 357"/>
                <a:gd name="T47" fmla="*/ 3 h 203"/>
                <a:gd name="T48" fmla="*/ 4 w 357"/>
                <a:gd name="T49" fmla="*/ 3 h 203"/>
                <a:gd name="T50" fmla="*/ 8 w 357"/>
                <a:gd name="T51" fmla="*/ 3 h 203"/>
                <a:gd name="T52" fmla="*/ 8 w 357"/>
                <a:gd name="T53" fmla="*/ 3 h 203"/>
                <a:gd name="T54" fmla="*/ 8 w 357"/>
                <a:gd name="T55" fmla="*/ 5 h 203"/>
                <a:gd name="T56" fmla="*/ 11 w 357"/>
                <a:gd name="T57" fmla="*/ 3 h 203"/>
                <a:gd name="T58" fmla="*/ 15 w 357"/>
                <a:gd name="T59" fmla="*/ 5 h 203"/>
                <a:gd name="T60" fmla="*/ 15 w 357"/>
                <a:gd name="T61" fmla="*/ 5 h 203"/>
                <a:gd name="T62" fmla="*/ 15 w 357"/>
                <a:gd name="T63" fmla="*/ 0 h 203"/>
                <a:gd name="T64" fmla="*/ 20 w 357"/>
                <a:gd name="T65" fmla="*/ 0 h 203"/>
                <a:gd name="T66" fmla="*/ 22 w 357"/>
                <a:gd name="T67" fmla="*/ 3 h 203"/>
                <a:gd name="T68" fmla="*/ 26 w 357"/>
                <a:gd name="T69" fmla="*/ 3 h 203"/>
                <a:gd name="T70" fmla="*/ 26 w 357"/>
                <a:gd name="T71" fmla="*/ 7 h 203"/>
                <a:gd name="T72" fmla="*/ 35 w 357"/>
                <a:gd name="T73" fmla="*/ 12 h 203"/>
                <a:gd name="T74" fmla="*/ 40 w 357"/>
                <a:gd name="T75" fmla="*/ 12 h 203"/>
                <a:gd name="T76" fmla="*/ 44 w 357"/>
                <a:gd name="T77" fmla="*/ 19 h 203"/>
                <a:gd name="T78" fmla="*/ 40 w 357"/>
                <a:gd name="T79" fmla="*/ 21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7"/>
                <a:gd name="T121" fmla="*/ 0 h 203"/>
                <a:gd name="T122" fmla="*/ 357 w 357"/>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7" h="203">
                  <a:moveTo>
                    <a:pt x="286" y="167"/>
                  </a:moveTo>
                  <a:lnTo>
                    <a:pt x="286" y="148"/>
                  </a:lnTo>
                  <a:lnTo>
                    <a:pt x="269" y="148"/>
                  </a:lnTo>
                  <a:lnTo>
                    <a:pt x="252" y="148"/>
                  </a:lnTo>
                  <a:lnTo>
                    <a:pt x="269" y="148"/>
                  </a:lnTo>
                  <a:lnTo>
                    <a:pt x="269" y="128"/>
                  </a:lnTo>
                  <a:lnTo>
                    <a:pt x="252" y="109"/>
                  </a:lnTo>
                  <a:lnTo>
                    <a:pt x="252" y="92"/>
                  </a:lnTo>
                  <a:lnTo>
                    <a:pt x="269" y="92"/>
                  </a:lnTo>
                  <a:lnTo>
                    <a:pt x="252" y="92"/>
                  </a:lnTo>
                  <a:lnTo>
                    <a:pt x="231" y="92"/>
                  </a:lnTo>
                  <a:lnTo>
                    <a:pt x="213" y="92"/>
                  </a:lnTo>
                  <a:lnTo>
                    <a:pt x="213" y="128"/>
                  </a:lnTo>
                  <a:lnTo>
                    <a:pt x="196" y="148"/>
                  </a:lnTo>
                  <a:lnTo>
                    <a:pt x="179" y="148"/>
                  </a:lnTo>
                  <a:lnTo>
                    <a:pt x="179" y="184"/>
                  </a:lnTo>
                  <a:lnTo>
                    <a:pt x="179" y="203"/>
                  </a:lnTo>
                  <a:lnTo>
                    <a:pt x="160" y="203"/>
                  </a:lnTo>
                  <a:lnTo>
                    <a:pt x="125" y="203"/>
                  </a:lnTo>
                  <a:lnTo>
                    <a:pt x="106" y="184"/>
                  </a:lnTo>
                  <a:lnTo>
                    <a:pt x="71" y="148"/>
                  </a:lnTo>
                  <a:lnTo>
                    <a:pt x="106" y="148"/>
                  </a:lnTo>
                  <a:lnTo>
                    <a:pt x="125" y="148"/>
                  </a:lnTo>
                  <a:lnTo>
                    <a:pt x="142" y="148"/>
                  </a:lnTo>
                  <a:lnTo>
                    <a:pt x="125" y="148"/>
                  </a:lnTo>
                  <a:lnTo>
                    <a:pt x="106" y="148"/>
                  </a:lnTo>
                  <a:lnTo>
                    <a:pt x="89" y="148"/>
                  </a:lnTo>
                  <a:lnTo>
                    <a:pt x="71" y="148"/>
                  </a:lnTo>
                  <a:lnTo>
                    <a:pt x="71" y="128"/>
                  </a:lnTo>
                  <a:lnTo>
                    <a:pt x="89" y="109"/>
                  </a:lnTo>
                  <a:lnTo>
                    <a:pt x="106" y="109"/>
                  </a:lnTo>
                  <a:lnTo>
                    <a:pt x="125" y="109"/>
                  </a:lnTo>
                  <a:lnTo>
                    <a:pt x="125" y="92"/>
                  </a:lnTo>
                  <a:lnTo>
                    <a:pt x="142" y="92"/>
                  </a:lnTo>
                  <a:lnTo>
                    <a:pt x="125" y="92"/>
                  </a:lnTo>
                  <a:lnTo>
                    <a:pt x="106" y="92"/>
                  </a:lnTo>
                  <a:lnTo>
                    <a:pt x="89" y="92"/>
                  </a:lnTo>
                  <a:lnTo>
                    <a:pt x="71" y="109"/>
                  </a:lnTo>
                  <a:lnTo>
                    <a:pt x="54" y="109"/>
                  </a:lnTo>
                  <a:lnTo>
                    <a:pt x="54" y="92"/>
                  </a:lnTo>
                  <a:lnTo>
                    <a:pt x="35" y="92"/>
                  </a:lnTo>
                  <a:lnTo>
                    <a:pt x="54" y="92"/>
                  </a:lnTo>
                  <a:lnTo>
                    <a:pt x="35" y="92"/>
                  </a:lnTo>
                  <a:lnTo>
                    <a:pt x="17" y="73"/>
                  </a:lnTo>
                  <a:lnTo>
                    <a:pt x="17" y="54"/>
                  </a:lnTo>
                  <a:lnTo>
                    <a:pt x="0" y="54"/>
                  </a:lnTo>
                  <a:lnTo>
                    <a:pt x="0" y="36"/>
                  </a:lnTo>
                  <a:lnTo>
                    <a:pt x="0" y="19"/>
                  </a:lnTo>
                  <a:lnTo>
                    <a:pt x="17" y="19"/>
                  </a:lnTo>
                  <a:lnTo>
                    <a:pt x="35" y="19"/>
                  </a:lnTo>
                  <a:lnTo>
                    <a:pt x="54" y="19"/>
                  </a:lnTo>
                  <a:lnTo>
                    <a:pt x="71" y="19"/>
                  </a:lnTo>
                  <a:lnTo>
                    <a:pt x="54" y="19"/>
                  </a:lnTo>
                  <a:lnTo>
                    <a:pt x="71" y="19"/>
                  </a:lnTo>
                  <a:lnTo>
                    <a:pt x="89" y="36"/>
                  </a:lnTo>
                  <a:lnTo>
                    <a:pt x="71" y="36"/>
                  </a:lnTo>
                  <a:lnTo>
                    <a:pt x="71" y="19"/>
                  </a:lnTo>
                  <a:lnTo>
                    <a:pt x="89" y="19"/>
                  </a:lnTo>
                  <a:lnTo>
                    <a:pt x="125" y="19"/>
                  </a:lnTo>
                  <a:lnTo>
                    <a:pt x="125" y="36"/>
                  </a:lnTo>
                  <a:lnTo>
                    <a:pt x="142" y="54"/>
                  </a:lnTo>
                  <a:lnTo>
                    <a:pt x="125" y="36"/>
                  </a:lnTo>
                  <a:lnTo>
                    <a:pt x="125" y="19"/>
                  </a:lnTo>
                  <a:lnTo>
                    <a:pt x="125" y="0"/>
                  </a:lnTo>
                  <a:lnTo>
                    <a:pt x="142" y="0"/>
                  </a:lnTo>
                  <a:lnTo>
                    <a:pt x="160" y="0"/>
                  </a:lnTo>
                  <a:lnTo>
                    <a:pt x="179" y="0"/>
                  </a:lnTo>
                  <a:lnTo>
                    <a:pt x="179" y="19"/>
                  </a:lnTo>
                  <a:lnTo>
                    <a:pt x="196" y="19"/>
                  </a:lnTo>
                  <a:lnTo>
                    <a:pt x="213" y="19"/>
                  </a:lnTo>
                  <a:lnTo>
                    <a:pt x="213" y="36"/>
                  </a:lnTo>
                  <a:lnTo>
                    <a:pt x="213" y="54"/>
                  </a:lnTo>
                  <a:lnTo>
                    <a:pt x="269" y="73"/>
                  </a:lnTo>
                  <a:lnTo>
                    <a:pt x="286" y="92"/>
                  </a:lnTo>
                  <a:lnTo>
                    <a:pt x="304" y="92"/>
                  </a:lnTo>
                  <a:lnTo>
                    <a:pt x="323" y="92"/>
                  </a:lnTo>
                  <a:lnTo>
                    <a:pt x="340" y="128"/>
                  </a:lnTo>
                  <a:lnTo>
                    <a:pt x="357" y="148"/>
                  </a:lnTo>
                  <a:lnTo>
                    <a:pt x="340" y="148"/>
                  </a:lnTo>
                  <a:lnTo>
                    <a:pt x="323" y="167"/>
                  </a:lnTo>
                  <a:lnTo>
                    <a:pt x="286" y="167"/>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58" name="Freeform 336"/>
            <p:cNvSpPr>
              <a:spLocks/>
            </p:cNvSpPr>
            <p:nvPr/>
          </p:nvSpPr>
          <p:spPr bwMode="auto">
            <a:xfrm>
              <a:off x="6144354" y="2231293"/>
              <a:ext cx="220507" cy="78640"/>
            </a:xfrm>
            <a:custGeom>
              <a:avLst/>
              <a:gdLst>
                <a:gd name="T0" fmla="*/ 32 w 249"/>
                <a:gd name="T1" fmla="*/ 4 h 93"/>
                <a:gd name="T2" fmla="*/ 27 w 249"/>
                <a:gd name="T3" fmla="*/ 7 h 93"/>
                <a:gd name="T4" fmla="*/ 23 w 249"/>
                <a:gd name="T5" fmla="*/ 9 h 93"/>
                <a:gd name="T6" fmla="*/ 18 w 249"/>
                <a:gd name="T7" fmla="*/ 11 h 93"/>
                <a:gd name="T8" fmla="*/ 16 w 249"/>
                <a:gd name="T9" fmla="*/ 11 h 93"/>
                <a:gd name="T10" fmla="*/ 16 w 249"/>
                <a:gd name="T11" fmla="*/ 9 h 93"/>
                <a:gd name="T12" fmla="*/ 14 w 249"/>
                <a:gd name="T13" fmla="*/ 9 h 93"/>
                <a:gd name="T14" fmla="*/ 9 w 249"/>
                <a:gd name="T15" fmla="*/ 9 h 93"/>
                <a:gd name="T16" fmla="*/ 7 w 249"/>
                <a:gd name="T17" fmla="*/ 9 h 93"/>
                <a:gd name="T18" fmla="*/ 5 w 249"/>
                <a:gd name="T19" fmla="*/ 7 h 93"/>
                <a:gd name="T20" fmla="*/ 7 w 249"/>
                <a:gd name="T21" fmla="*/ 7 h 93"/>
                <a:gd name="T22" fmla="*/ 9 w 249"/>
                <a:gd name="T23" fmla="*/ 7 h 93"/>
                <a:gd name="T24" fmla="*/ 12 w 249"/>
                <a:gd name="T25" fmla="*/ 7 h 93"/>
                <a:gd name="T26" fmla="*/ 9 w 249"/>
                <a:gd name="T27" fmla="*/ 7 h 93"/>
                <a:gd name="T28" fmla="*/ 7 w 249"/>
                <a:gd name="T29" fmla="*/ 7 h 93"/>
                <a:gd name="T30" fmla="*/ 5 w 249"/>
                <a:gd name="T31" fmla="*/ 7 h 93"/>
                <a:gd name="T32" fmla="*/ 3 w 249"/>
                <a:gd name="T33" fmla="*/ 4 h 93"/>
                <a:gd name="T34" fmla="*/ 0 w 249"/>
                <a:gd name="T35" fmla="*/ 2 h 93"/>
                <a:gd name="T36" fmla="*/ 0 w 249"/>
                <a:gd name="T37" fmla="*/ 0 h 93"/>
                <a:gd name="T38" fmla="*/ 3 w 249"/>
                <a:gd name="T39" fmla="*/ 0 h 93"/>
                <a:gd name="T40" fmla="*/ 5 w 249"/>
                <a:gd name="T41" fmla="*/ 2 h 93"/>
                <a:gd name="T42" fmla="*/ 5 w 249"/>
                <a:gd name="T43" fmla="*/ 0 h 93"/>
                <a:gd name="T44" fmla="*/ 7 w 249"/>
                <a:gd name="T45" fmla="*/ 0 h 93"/>
                <a:gd name="T46" fmla="*/ 9 w 249"/>
                <a:gd name="T47" fmla="*/ 0 h 93"/>
                <a:gd name="T48" fmla="*/ 14 w 249"/>
                <a:gd name="T49" fmla="*/ 2 h 93"/>
                <a:gd name="T50" fmla="*/ 16 w 249"/>
                <a:gd name="T51" fmla="*/ 0 h 93"/>
                <a:gd name="T52" fmla="*/ 18 w 249"/>
                <a:gd name="T53" fmla="*/ 0 h 93"/>
                <a:gd name="T54" fmla="*/ 18 w 249"/>
                <a:gd name="T55" fmla="*/ 2 h 93"/>
                <a:gd name="T56" fmla="*/ 21 w 249"/>
                <a:gd name="T57" fmla="*/ 2 h 93"/>
                <a:gd name="T58" fmla="*/ 21 w 249"/>
                <a:gd name="T59" fmla="*/ 0 h 93"/>
                <a:gd name="T60" fmla="*/ 23 w 249"/>
                <a:gd name="T61" fmla="*/ 0 h 93"/>
                <a:gd name="T62" fmla="*/ 25 w 249"/>
                <a:gd name="T63" fmla="*/ 0 h 93"/>
                <a:gd name="T64" fmla="*/ 27 w 249"/>
                <a:gd name="T65" fmla="*/ 0 h 93"/>
                <a:gd name="T66" fmla="*/ 27 w 249"/>
                <a:gd name="T67" fmla="*/ 2 h 93"/>
                <a:gd name="T68" fmla="*/ 29 w 249"/>
                <a:gd name="T69" fmla="*/ 2 h 93"/>
                <a:gd name="T70" fmla="*/ 32 w 249"/>
                <a:gd name="T71" fmla="*/ 4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93"/>
                <a:gd name="T110" fmla="*/ 249 w 249"/>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93">
                  <a:moveTo>
                    <a:pt x="249" y="39"/>
                  </a:moveTo>
                  <a:lnTo>
                    <a:pt x="213" y="56"/>
                  </a:lnTo>
                  <a:lnTo>
                    <a:pt x="178" y="75"/>
                  </a:lnTo>
                  <a:lnTo>
                    <a:pt x="142" y="93"/>
                  </a:lnTo>
                  <a:lnTo>
                    <a:pt x="124" y="93"/>
                  </a:lnTo>
                  <a:lnTo>
                    <a:pt x="124" y="75"/>
                  </a:lnTo>
                  <a:lnTo>
                    <a:pt x="107" y="75"/>
                  </a:lnTo>
                  <a:lnTo>
                    <a:pt x="71" y="75"/>
                  </a:lnTo>
                  <a:lnTo>
                    <a:pt x="51" y="75"/>
                  </a:lnTo>
                  <a:lnTo>
                    <a:pt x="34" y="56"/>
                  </a:lnTo>
                  <a:lnTo>
                    <a:pt x="51" y="56"/>
                  </a:lnTo>
                  <a:lnTo>
                    <a:pt x="71" y="56"/>
                  </a:lnTo>
                  <a:lnTo>
                    <a:pt x="90" y="56"/>
                  </a:lnTo>
                  <a:lnTo>
                    <a:pt x="71" y="56"/>
                  </a:lnTo>
                  <a:lnTo>
                    <a:pt x="51" y="56"/>
                  </a:lnTo>
                  <a:lnTo>
                    <a:pt x="34" y="56"/>
                  </a:lnTo>
                  <a:lnTo>
                    <a:pt x="17" y="39"/>
                  </a:lnTo>
                  <a:lnTo>
                    <a:pt x="0" y="20"/>
                  </a:lnTo>
                  <a:lnTo>
                    <a:pt x="0" y="0"/>
                  </a:lnTo>
                  <a:lnTo>
                    <a:pt x="17" y="0"/>
                  </a:lnTo>
                  <a:lnTo>
                    <a:pt x="34" y="20"/>
                  </a:lnTo>
                  <a:lnTo>
                    <a:pt x="34" y="0"/>
                  </a:lnTo>
                  <a:lnTo>
                    <a:pt x="51" y="0"/>
                  </a:lnTo>
                  <a:lnTo>
                    <a:pt x="71" y="0"/>
                  </a:lnTo>
                  <a:lnTo>
                    <a:pt x="107" y="20"/>
                  </a:lnTo>
                  <a:lnTo>
                    <a:pt x="124" y="0"/>
                  </a:lnTo>
                  <a:lnTo>
                    <a:pt x="142" y="0"/>
                  </a:lnTo>
                  <a:lnTo>
                    <a:pt x="142" y="20"/>
                  </a:lnTo>
                  <a:lnTo>
                    <a:pt x="161" y="20"/>
                  </a:lnTo>
                  <a:lnTo>
                    <a:pt x="161" y="0"/>
                  </a:lnTo>
                  <a:lnTo>
                    <a:pt x="178" y="0"/>
                  </a:lnTo>
                  <a:lnTo>
                    <a:pt x="195" y="0"/>
                  </a:lnTo>
                  <a:lnTo>
                    <a:pt x="213" y="0"/>
                  </a:lnTo>
                  <a:lnTo>
                    <a:pt x="213" y="20"/>
                  </a:lnTo>
                  <a:lnTo>
                    <a:pt x="232" y="20"/>
                  </a:lnTo>
                  <a:lnTo>
                    <a:pt x="249" y="39"/>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59" name="Freeform 337"/>
            <p:cNvSpPr>
              <a:spLocks/>
            </p:cNvSpPr>
            <p:nvPr/>
          </p:nvSpPr>
          <p:spPr bwMode="auto">
            <a:xfrm>
              <a:off x="5967948" y="2325319"/>
              <a:ext cx="31753" cy="32482"/>
            </a:xfrm>
            <a:custGeom>
              <a:avLst/>
              <a:gdLst>
                <a:gd name="T0" fmla="*/ 2 w 36"/>
                <a:gd name="T1" fmla="*/ 0 h 36"/>
                <a:gd name="T2" fmla="*/ 2 w 36"/>
                <a:gd name="T3" fmla="*/ 3 h 36"/>
                <a:gd name="T4" fmla="*/ 5 w 36"/>
                <a:gd name="T5" fmla="*/ 5 h 36"/>
                <a:gd name="T6" fmla="*/ 2 w 36"/>
                <a:gd name="T7" fmla="*/ 3 h 36"/>
                <a:gd name="T8" fmla="*/ 0 w 36"/>
                <a:gd name="T9" fmla="*/ 3 h 36"/>
                <a:gd name="T10" fmla="*/ 2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860" name="Freeform 338"/>
            <p:cNvSpPr>
              <a:spLocks/>
            </p:cNvSpPr>
            <p:nvPr/>
          </p:nvSpPr>
          <p:spPr bwMode="auto">
            <a:xfrm>
              <a:off x="5151189" y="2875799"/>
              <a:ext cx="234621" cy="88898"/>
            </a:xfrm>
            <a:custGeom>
              <a:avLst/>
              <a:gdLst>
                <a:gd name="T0" fmla="*/ 34 w 265"/>
                <a:gd name="T1" fmla="*/ 7 h 103"/>
                <a:gd name="T2" fmla="*/ 31 w 265"/>
                <a:gd name="T3" fmla="*/ 7 h 103"/>
                <a:gd name="T4" fmla="*/ 29 w 265"/>
                <a:gd name="T5" fmla="*/ 9 h 103"/>
                <a:gd name="T6" fmla="*/ 29 w 265"/>
                <a:gd name="T7" fmla="*/ 11 h 103"/>
                <a:gd name="T8" fmla="*/ 25 w 265"/>
                <a:gd name="T9" fmla="*/ 11 h 103"/>
                <a:gd name="T10" fmla="*/ 22 w 265"/>
                <a:gd name="T11" fmla="*/ 13 h 103"/>
                <a:gd name="T12" fmla="*/ 18 w 265"/>
                <a:gd name="T13" fmla="*/ 13 h 103"/>
                <a:gd name="T14" fmla="*/ 14 w 265"/>
                <a:gd name="T15" fmla="*/ 13 h 103"/>
                <a:gd name="T16" fmla="*/ 11 w 265"/>
                <a:gd name="T17" fmla="*/ 13 h 103"/>
                <a:gd name="T18" fmla="*/ 7 w 265"/>
                <a:gd name="T19" fmla="*/ 11 h 103"/>
                <a:gd name="T20" fmla="*/ 5 w 265"/>
                <a:gd name="T21" fmla="*/ 9 h 103"/>
                <a:gd name="T22" fmla="*/ 3 w 265"/>
                <a:gd name="T23" fmla="*/ 9 h 103"/>
                <a:gd name="T24" fmla="*/ 5 w 265"/>
                <a:gd name="T25" fmla="*/ 9 h 103"/>
                <a:gd name="T26" fmla="*/ 5 w 265"/>
                <a:gd name="T27" fmla="*/ 7 h 103"/>
                <a:gd name="T28" fmla="*/ 3 w 265"/>
                <a:gd name="T29" fmla="*/ 7 h 103"/>
                <a:gd name="T30" fmla="*/ 0 w 265"/>
                <a:gd name="T31" fmla="*/ 7 h 103"/>
                <a:gd name="T32" fmla="*/ 5 w 265"/>
                <a:gd name="T33" fmla="*/ 7 h 103"/>
                <a:gd name="T34" fmla="*/ 7 w 265"/>
                <a:gd name="T35" fmla="*/ 4 h 103"/>
                <a:gd name="T36" fmla="*/ 5 w 265"/>
                <a:gd name="T37" fmla="*/ 4 h 103"/>
                <a:gd name="T38" fmla="*/ 3 w 265"/>
                <a:gd name="T39" fmla="*/ 4 h 103"/>
                <a:gd name="T40" fmla="*/ 0 w 265"/>
                <a:gd name="T41" fmla="*/ 2 h 103"/>
                <a:gd name="T42" fmla="*/ 0 w 265"/>
                <a:gd name="T43" fmla="*/ 0 h 103"/>
                <a:gd name="T44" fmla="*/ 0 w 265"/>
                <a:gd name="T45" fmla="*/ 2 h 103"/>
                <a:gd name="T46" fmla="*/ 0 w 265"/>
                <a:gd name="T47" fmla="*/ 0 h 103"/>
                <a:gd name="T48" fmla="*/ 3 w 265"/>
                <a:gd name="T49" fmla="*/ 0 h 103"/>
                <a:gd name="T50" fmla="*/ 5 w 265"/>
                <a:gd name="T51" fmla="*/ 0 h 103"/>
                <a:gd name="T52" fmla="*/ 7 w 265"/>
                <a:gd name="T53" fmla="*/ 2 h 103"/>
                <a:gd name="T54" fmla="*/ 7 w 265"/>
                <a:gd name="T55" fmla="*/ 4 h 103"/>
                <a:gd name="T56" fmla="*/ 7 w 265"/>
                <a:gd name="T57" fmla="*/ 2 h 103"/>
                <a:gd name="T58" fmla="*/ 9 w 265"/>
                <a:gd name="T59" fmla="*/ 2 h 103"/>
                <a:gd name="T60" fmla="*/ 9 w 265"/>
                <a:gd name="T61" fmla="*/ 0 h 103"/>
                <a:gd name="T62" fmla="*/ 9 w 265"/>
                <a:gd name="T63" fmla="*/ 2 h 103"/>
                <a:gd name="T64" fmla="*/ 11 w 265"/>
                <a:gd name="T65" fmla="*/ 2 h 103"/>
                <a:gd name="T66" fmla="*/ 14 w 265"/>
                <a:gd name="T67" fmla="*/ 2 h 103"/>
                <a:gd name="T68" fmla="*/ 14 w 265"/>
                <a:gd name="T69" fmla="*/ 0 h 103"/>
                <a:gd name="T70" fmla="*/ 16 w 265"/>
                <a:gd name="T71" fmla="*/ 0 h 103"/>
                <a:gd name="T72" fmla="*/ 18 w 265"/>
                <a:gd name="T73" fmla="*/ 0 h 103"/>
                <a:gd name="T74" fmla="*/ 20 w 265"/>
                <a:gd name="T75" fmla="*/ 2 h 103"/>
                <a:gd name="T76" fmla="*/ 20 w 265"/>
                <a:gd name="T77" fmla="*/ 0 h 103"/>
                <a:gd name="T78" fmla="*/ 22 w 265"/>
                <a:gd name="T79" fmla="*/ 0 h 103"/>
                <a:gd name="T80" fmla="*/ 25 w 265"/>
                <a:gd name="T81" fmla="*/ 0 h 103"/>
                <a:gd name="T82" fmla="*/ 27 w 265"/>
                <a:gd name="T83" fmla="*/ 0 h 103"/>
                <a:gd name="T84" fmla="*/ 29 w 265"/>
                <a:gd name="T85" fmla="*/ 0 h 103"/>
                <a:gd name="T86" fmla="*/ 29 w 265"/>
                <a:gd name="T87" fmla="*/ 4 h 103"/>
                <a:gd name="T88" fmla="*/ 34 w 265"/>
                <a:gd name="T89" fmla="*/ 7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103"/>
                <a:gd name="T137" fmla="*/ 265 w 265"/>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103">
                  <a:moveTo>
                    <a:pt x="265" y="49"/>
                  </a:moveTo>
                  <a:lnTo>
                    <a:pt x="245" y="49"/>
                  </a:lnTo>
                  <a:lnTo>
                    <a:pt x="228" y="69"/>
                  </a:lnTo>
                  <a:lnTo>
                    <a:pt x="228" y="86"/>
                  </a:lnTo>
                  <a:lnTo>
                    <a:pt x="194" y="86"/>
                  </a:lnTo>
                  <a:lnTo>
                    <a:pt x="176" y="103"/>
                  </a:lnTo>
                  <a:lnTo>
                    <a:pt x="140" y="103"/>
                  </a:lnTo>
                  <a:lnTo>
                    <a:pt x="105" y="103"/>
                  </a:lnTo>
                  <a:lnTo>
                    <a:pt x="88" y="103"/>
                  </a:lnTo>
                  <a:lnTo>
                    <a:pt x="53" y="86"/>
                  </a:lnTo>
                  <a:lnTo>
                    <a:pt x="34" y="69"/>
                  </a:lnTo>
                  <a:lnTo>
                    <a:pt x="17" y="69"/>
                  </a:lnTo>
                  <a:lnTo>
                    <a:pt x="34" y="69"/>
                  </a:lnTo>
                  <a:lnTo>
                    <a:pt x="34" y="49"/>
                  </a:lnTo>
                  <a:lnTo>
                    <a:pt x="17" y="49"/>
                  </a:lnTo>
                  <a:lnTo>
                    <a:pt x="0" y="49"/>
                  </a:lnTo>
                  <a:lnTo>
                    <a:pt x="34" y="49"/>
                  </a:lnTo>
                  <a:lnTo>
                    <a:pt x="53" y="32"/>
                  </a:lnTo>
                  <a:lnTo>
                    <a:pt x="34" y="32"/>
                  </a:lnTo>
                  <a:lnTo>
                    <a:pt x="17" y="32"/>
                  </a:lnTo>
                  <a:lnTo>
                    <a:pt x="0" y="15"/>
                  </a:lnTo>
                  <a:lnTo>
                    <a:pt x="0" y="0"/>
                  </a:lnTo>
                  <a:lnTo>
                    <a:pt x="0" y="15"/>
                  </a:lnTo>
                  <a:lnTo>
                    <a:pt x="0" y="0"/>
                  </a:lnTo>
                  <a:lnTo>
                    <a:pt x="17" y="0"/>
                  </a:lnTo>
                  <a:lnTo>
                    <a:pt x="34" y="0"/>
                  </a:lnTo>
                  <a:lnTo>
                    <a:pt x="53" y="15"/>
                  </a:lnTo>
                  <a:lnTo>
                    <a:pt x="53" y="32"/>
                  </a:lnTo>
                  <a:lnTo>
                    <a:pt x="53" y="15"/>
                  </a:lnTo>
                  <a:lnTo>
                    <a:pt x="71" y="15"/>
                  </a:lnTo>
                  <a:lnTo>
                    <a:pt x="71" y="0"/>
                  </a:lnTo>
                  <a:lnTo>
                    <a:pt x="71" y="15"/>
                  </a:lnTo>
                  <a:lnTo>
                    <a:pt x="88" y="15"/>
                  </a:lnTo>
                  <a:lnTo>
                    <a:pt x="105" y="15"/>
                  </a:lnTo>
                  <a:lnTo>
                    <a:pt x="105" y="0"/>
                  </a:lnTo>
                  <a:lnTo>
                    <a:pt x="123" y="0"/>
                  </a:lnTo>
                  <a:lnTo>
                    <a:pt x="140" y="0"/>
                  </a:lnTo>
                  <a:lnTo>
                    <a:pt x="159" y="15"/>
                  </a:lnTo>
                  <a:lnTo>
                    <a:pt x="159" y="0"/>
                  </a:lnTo>
                  <a:lnTo>
                    <a:pt x="176" y="0"/>
                  </a:lnTo>
                  <a:lnTo>
                    <a:pt x="194" y="0"/>
                  </a:lnTo>
                  <a:lnTo>
                    <a:pt x="211" y="0"/>
                  </a:lnTo>
                  <a:lnTo>
                    <a:pt x="228" y="0"/>
                  </a:lnTo>
                  <a:lnTo>
                    <a:pt x="228" y="32"/>
                  </a:lnTo>
                  <a:lnTo>
                    <a:pt x="265" y="4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61" name="Freeform 339"/>
            <p:cNvSpPr>
              <a:spLocks/>
            </p:cNvSpPr>
            <p:nvPr/>
          </p:nvSpPr>
          <p:spPr bwMode="auto">
            <a:xfrm>
              <a:off x="2857913" y="2581753"/>
              <a:ext cx="448071" cy="205148"/>
            </a:xfrm>
            <a:custGeom>
              <a:avLst/>
              <a:gdLst>
                <a:gd name="T0" fmla="*/ 57 w 509"/>
                <a:gd name="T1" fmla="*/ 26 h 240"/>
                <a:gd name="T2" fmla="*/ 59 w 509"/>
                <a:gd name="T3" fmla="*/ 28 h 240"/>
                <a:gd name="T4" fmla="*/ 57 w 509"/>
                <a:gd name="T5" fmla="*/ 30 h 240"/>
                <a:gd name="T6" fmla="*/ 48 w 509"/>
                <a:gd name="T7" fmla="*/ 28 h 240"/>
                <a:gd name="T8" fmla="*/ 41 w 509"/>
                <a:gd name="T9" fmla="*/ 28 h 240"/>
                <a:gd name="T10" fmla="*/ 35 w 509"/>
                <a:gd name="T11" fmla="*/ 28 h 240"/>
                <a:gd name="T12" fmla="*/ 30 w 509"/>
                <a:gd name="T13" fmla="*/ 30 h 240"/>
                <a:gd name="T14" fmla="*/ 21 w 509"/>
                <a:gd name="T15" fmla="*/ 30 h 240"/>
                <a:gd name="T16" fmla="*/ 19 w 509"/>
                <a:gd name="T17" fmla="*/ 28 h 240"/>
                <a:gd name="T18" fmla="*/ 15 w 509"/>
                <a:gd name="T19" fmla="*/ 28 h 240"/>
                <a:gd name="T20" fmla="*/ 8 w 509"/>
                <a:gd name="T21" fmla="*/ 28 h 240"/>
                <a:gd name="T22" fmla="*/ 4 w 509"/>
                <a:gd name="T23" fmla="*/ 24 h 240"/>
                <a:gd name="T24" fmla="*/ 13 w 509"/>
                <a:gd name="T25" fmla="*/ 22 h 240"/>
                <a:gd name="T26" fmla="*/ 19 w 509"/>
                <a:gd name="T27" fmla="*/ 22 h 240"/>
                <a:gd name="T28" fmla="*/ 15 w 509"/>
                <a:gd name="T29" fmla="*/ 20 h 240"/>
                <a:gd name="T30" fmla="*/ 8 w 509"/>
                <a:gd name="T31" fmla="*/ 20 h 240"/>
                <a:gd name="T32" fmla="*/ 2 w 509"/>
                <a:gd name="T33" fmla="*/ 17 h 240"/>
                <a:gd name="T34" fmla="*/ 6 w 509"/>
                <a:gd name="T35" fmla="*/ 15 h 240"/>
                <a:gd name="T36" fmla="*/ 2 w 509"/>
                <a:gd name="T37" fmla="*/ 15 h 240"/>
                <a:gd name="T38" fmla="*/ 0 w 509"/>
                <a:gd name="T39" fmla="*/ 13 h 240"/>
                <a:gd name="T40" fmla="*/ 8 w 509"/>
                <a:gd name="T41" fmla="*/ 5 h 240"/>
                <a:gd name="T42" fmla="*/ 15 w 509"/>
                <a:gd name="T43" fmla="*/ 5 h 240"/>
                <a:gd name="T44" fmla="*/ 17 w 509"/>
                <a:gd name="T45" fmla="*/ 9 h 240"/>
                <a:gd name="T46" fmla="*/ 19 w 509"/>
                <a:gd name="T47" fmla="*/ 5 h 240"/>
                <a:gd name="T48" fmla="*/ 26 w 509"/>
                <a:gd name="T49" fmla="*/ 7 h 240"/>
                <a:gd name="T50" fmla="*/ 28 w 509"/>
                <a:gd name="T51" fmla="*/ 9 h 240"/>
                <a:gd name="T52" fmla="*/ 30 w 509"/>
                <a:gd name="T53" fmla="*/ 7 h 240"/>
                <a:gd name="T54" fmla="*/ 35 w 509"/>
                <a:gd name="T55" fmla="*/ 7 h 240"/>
                <a:gd name="T56" fmla="*/ 35 w 509"/>
                <a:gd name="T57" fmla="*/ 11 h 240"/>
                <a:gd name="T58" fmla="*/ 37 w 509"/>
                <a:gd name="T59" fmla="*/ 13 h 240"/>
                <a:gd name="T60" fmla="*/ 37 w 509"/>
                <a:gd name="T61" fmla="*/ 9 h 240"/>
                <a:gd name="T62" fmla="*/ 35 w 509"/>
                <a:gd name="T63" fmla="*/ 5 h 240"/>
                <a:gd name="T64" fmla="*/ 39 w 509"/>
                <a:gd name="T65" fmla="*/ 2 h 240"/>
                <a:gd name="T66" fmla="*/ 41 w 509"/>
                <a:gd name="T67" fmla="*/ 0 h 240"/>
                <a:gd name="T68" fmla="*/ 46 w 509"/>
                <a:gd name="T69" fmla="*/ 0 h 240"/>
                <a:gd name="T70" fmla="*/ 48 w 509"/>
                <a:gd name="T71" fmla="*/ 2 h 240"/>
                <a:gd name="T72" fmla="*/ 48 w 509"/>
                <a:gd name="T73" fmla="*/ 7 h 240"/>
                <a:gd name="T74" fmla="*/ 48 w 509"/>
                <a:gd name="T75" fmla="*/ 13 h 240"/>
                <a:gd name="T76" fmla="*/ 52 w 509"/>
                <a:gd name="T77" fmla="*/ 20 h 240"/>
                <a:gd name="T78" fmla="*/ 63 w 509"/>
                <a:gd name="T79" fmla="*/ 24 h 240"/>
                <a:gd name="T80" fmla="*/ 59 w 509"/>
                <a:gd name="T81" fmla="*/ 24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2" name="Freeform 340"/>
            <p:cNvSpPr>
              <a:spLocks/>
            </p:cNvSpPr>
            <p:nvPr/>
          </p:nvSpPr>
          <p:spPr bwMode="auto">
            <a:xfrm>
              <a:off x="2685035" y="2535595"/>
              <a:ext cx="266373" cy="162409"/>
            </a:xfrm>
            <a:custGeom>
              <a:avLst/>
              <a:gdLst>
                <a:gd name="T0" fmla="*/ 7 w 301"/>
                <a:gd name="T1" fmla="*/ 22 h 190"/>
                <a:gd name="T2" fmla="*/ 7 w 301"/>
                <a:gd name="T3" fmla="*/ 20 h 190"/>
                <a:gd name="T4" fmla="*/ 5 w 301"/>
                <a:gd name="T5" fmla="*/ 20 h 190"/>
                <a:gd name="T6" fmla="*/ 3 w 301"/>
                <a:gd name="T7" fmla="*/ 20 h 190"/>
                <a:gd name="T8" fmla="*/ 0 w 301"/>
                <a:gd name="T9" fmla="*/ 18 h 190"/>
                <a:gd name="T10" fmla="*/ 3 w 301"/>
                <a:gd name="T11" fmla="*/ 15 h 190"/>
                <a:gd name="T12" fmla="*/ 7 w 301"/>
                <a:gd name="T13" fmla="*/ 9 h 190"/>
                <a:gd name="T14" fmla="*/ 7 w 301"/>
                <a:gd name="T15" fmla="*/ 6 h 190"/>
                <a:gd name="T16" fmla="*/ 7 w 301"/>
                <a:gd name="T17" fmla="*/ 5 h 190"/>
                <a:gd name="T18" fmla="*/ 7 w 301"/>
                <a:gd name="T19" fmla="*/ 3 h 190"/>
                <a:gd name="T20" fmla="*/ 5 w 301"/>
                <a:gd name="T21" fmla="*/ 3 h 190"/>
                <a:gd name="T22" fmla="*/ 7 w 301"/>
                <a:gd name="T23" fmla="*/ 0 h 190"/>
                <a:gd name="T24" fmla="*/ 9 w 301"/>
                <a:gd name="T25" fmla="*/ 0 h 190"/>
                <a:gd name="T26" fmla="*/ 14 w 301"/>
                <a:gd name="T27" fmla="*/ 3 h 190"/>
                <a:gd name="T28" fmla="*/ 16 w 301"/>
                <a:gd name="T29" fmla="*/ 0 h 190"/>
                <a:gd name="T30" fmla="*/ 18 w 301"/>
                <a:gd name="T31" fmla="*/ 0 h 190"/>
                <a:gd name="T32" fmla="*/ 20 w 301"/>
                <a:gd name="T33" fmla="*/ 3 h 190"/>
                <a:gd name="T34" fmla="*/ 23 w 301"/>
                <a:gd name="T35" fmla="*/ 3 h 190"/>
                <a:gd name="T36" fmla="*/ 25 w 301"/>
                <a:gd name="T37" fmla="*/ 5 h 190"/>
                <a:gd name="T38" fmla="*/ 27 w 301"/>
                <a:gd name="T39" fmla="*/ 3 h 190"/>
                <a:gd name="T40" fmla="*/ 29 w 301"/>
                <a:gd name="T41" fmla="*/ 3 h 190"/>
                <a:gd name="T42" fmla="*/ 31 w 301"/>
                <a:gd name="T43" fmla="*/ 5 h 190"/>
                <a:gd name="T44" fmla="*/ 36 w 301"/>
                <a:gd name="T45" fmla="*/ 6 h 190"/>
                <a:gd name="T46" fmla="*/ 38 w 301"/>
                <a:gd name="T47" fmla="*/ 6 h 190"/>
                <a:gd name="T48" fmla="*/ 36 w 301"/>
                <a:gd name="T49" fmla="*/ 9 h 190"/>
                <a:gd name="T50" fmla="*/ 31 w 301"/>
                <a:gd name="T51" fmla="*/ 11 h 190"/>
                <a:gd name="T52" fmla="*/ 29 w 301"/>
                <a:gd name="T53" fmla="*/ 11 h 190"/>
                <a:gd name="T54" fmla="*/ 25 w 301"/>
                <a:gd name="T55" fmla="*/ 13 h 190"/>
                <a:gd name="T56" fmla="*/ 23 w 301"/>
                <a:gd name="T57" fmla="*/ 15 h 190"/>
                <a:gd name="T58" fmla="*/ 20 w 301"/>
                <a:gd name="T59" fmla="*/ 20 h 190"/>
                <a:gd name="T60" fmla="*/ 18 w 301"/>
                <a:gd name="T61" fmla="*/ 22 h 190"/>
                <a:gd name="T62" fmla="*/ 14 w 301"/>
                <a:gd name="T63" fmla="*/ 22 h 190"/>
                <a:gd name="T64" fmla="*/ 9 w 301"/>
                <a:gd name="T65" fmla="*/ 24 h 190"/>
                <a:gd name="T66" fmla="*/ 9 w 301"/>
                <a:gd name="T67" fmla="*/ 22 h 190"/>
                <a:gd name="T68" fmla="*/ 7 w 301"/>
                <a:gd name="T69" fmla="*/ 22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3" name="Freeform 341"/>
            <p:cNvSpPr>
              <a:spLocks/>
            </p:cNvSpPr>
            <p:nvPr/>
          </p:nvSpPr>
          <p:spPr bwMode="auto">
            <a:xfrm>
              <a:off x="2889666" y="2433021"/>
              <a:ext cx="289306" cy="117960"/>
            </a:xfrm>
            <a:custGeom>
              <a:avLst/>
              <a:gdLst>
                <a:gd name="T0" fmla="*/ 13 w 328"/>
                <a:gd name="T1" fmla="*/ 15 h 138"/>
                <a:gd name="T2" fmla="*/ 13 w 328"/>
                <a:gd name="T3" fmla="*/ 15 h 138"/>
                <a:gd name="T4" fmla="*/ 15 w 328"/>
                <a:gd name="T5" fmla="*/ 12 h 138"/>
                <a:gd name="T6" fmla="*/ 13 w 328"/>
                <a:gd name="T7" fmla="*/ 10 h 138"/>
                <a:gd name="T8" fmla="*/ 10 w 328"/>
                <a:gd name="T9" fmla="*/ 12 h 138"/>
                <a:gd name="T10" fmla="*/ 6 w 328"/>
                <a:gd name="T11" fmla="*/ 12 h 138"/>
                <a:gd name="T12" fmla="*/ 3 w 328"/>
                <a:gd name="T13" fmla="*/ 12 h 138"/>
                <a:gd name="T14" fmla="*/ 0 w 328"/>
                <a:gd name="T15" fmla="*/ 10 h 138"/>
                <a:gd name="T16" fmla="*/ 3 w 328"/>
                <a:gd name="T17" fmla="*/ 9 h 138"/>
                <a:gd name="T18" fmla="*/ 6 w 328"/>
                <a:gd name="T19" fmla="*/ 9 h 138"/>
                <a:gd name="T20" fmla="*/ 6 w 328"/>
                <a:gd name="T21" fmla="*/ 9 h 138"/>
                <a:gd name="T22" fmla="*/ 3 w 328"/>
                <a:gd name="T23" fmla="*/ 9 h 138"/>
                <a:gd name="T24" fmla="*/ 5 w 328"/>
                <a:gd name="T25" fmla="*/ 6 h 138"/>
                <a:gd name="T26" fmla="*/ 9 w 328"/>
                <a:gd name="T27" fmla="*/ 6 h 138"/>
                <a:gd name="T28" fmla="*/ 9 w 328"/>
                <a:gd name="T29" fmla="*/ 6 h 138"/>
                <a:gd name="T30" fmla="*/ 5 w 328"/>
                <a:gd name="T31" fmla="*/ 6 h 138"/>
                <a:gd name="T32" fmla="*/ 6 w 328"/>
                <a:gd name="T33" fmla="*/ 4 h 138"/>
                <a:gd name="T34" fmla="*/ 6 w 328"/>
                <a:gd name="T35" fmla="*/ 2 h 138"/>
                <a:gd name="T36" fmla="*/ 10 w 328"/>
                <a:gd name="T37" fmla="*/ 2 h 138"/>
                <a:gd name="T38" fmla="*/ 15 w 328"/>
                <a:gd name="T39" fmla="*/ 4 h 138"/>
                <a:gd name="T40" fmla="*/ 21 w 328"/>
                <a:gd name="T41" fmla="*/ 9 h 138"/>
                <a:gd name="T42" fmla="*/ 28 w 328"/>
                <a:gd name="T43" fmla="*/ 9 h 138"/>
                <a:gd name="T44" fmla="*/ 28 w 328"/>
                <a:gd name="T45" fmla="*/ 9 h 138"/>
                <a:gd name="T46" fmla="*/ 28 w 328"/>
                <a:gd name="T47" fmla="*/ 6 h 138"/>
                <a:gd name="T48" fmla="*/ 25 w 328"/>
                <a:gd name="T49" fmla="*/ 4 h 138"/>
                <a:gd name="T50" fmla="*/ 23 w 328"/>
                <a:gd name="T51" fmla="*/ 2 h 138"/>
                <a:gd name="T52" fmla="*/ 28 w 328"/>
                <a:gd name="T53" fmla="*/ 0 h 138"/>
                <a:gd name="T54" fmla="*/ 30 w 328"/>
                <a:gd name="T55" fmla="*/ 2 h 138"/>
                <a:gd name="T56" fmla="*/ 33 w 328"/>
                <a:gd name="T57" fmla="*/ 6 h 138"/>
                <a:gd name="T58" fmla="*/ 39 w 328"/>
                <a:gd name="T59" fmla="*/ 4 h 138"/>
                <a:gd name="T60" fmla="*/ 41 w 328"/>
                <a:gd name="T61" fmla="*/ 6 h 138"/>
                <a:gd name="T62" fmla="*/ 39 w 328"/>
                <a:gd name="T63" fmla="*/ 12 h 138"/>
                <a:gd name="T64" fmla="*/ 30 w 328"/>
                <a:gd name="T65" fmla="*/ 12 h 138"/>
                <a:gd name="T66" fmla="*/ 23 w 328"/>
                <a:gd name="T67" fmla="*/ 15 h 138"/>
                <a:gd name="T68" fmla="*/ 20 w 328"/>
                <a:gd name="T69" fmla="*/ 15 h 138"/>
                <a:gd name="T70" fmla="*/ 15 w 328"/>
                <a:gd name="T71" fmla="*/ 1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4" name="Freeform 342"/>
            <p:cNvSpPr>
              <a:spLocks/>
            </p:cNvSpPr>
            <p:nvPr/>
          </p:nvSpPr>
          <p:spPr bwMode="auto">
            <a:xfrm>
              <a:off x="2838508" y="2477470"/>
              <a:ext cx="51158" cy="13677"/>
            </a:xfrm>
            <a:custGeom>
              <a:avLst/>
              <a:gdLst>
                <a:gd name="T0" fmla="*/ 3 w 58"/>
                <a:gd name="T1" fmla="*/ 2 h 18"/>
                <a:gd name="T2" fmla="*/ 0 w 58"/>
                <a:gd name="T3" fmla="*/ 2 h 18"/>
                <a:gd name="T4" fmla="*/ 3 w 58"/>
                <a:gd name="T5" fmla="*/ 2 h 18"/>
                <a:gd name="T6" fmla="*/ 5 w 58"/>
                <a:gd name="T7" fmla="*/ 0 h 18"/>
                <a:gd name="T8" fmla="*/ 7 w 58"/>
                <a:gd name="T9" fmla="*/ 0 h 18"/>
                <a:gd name="T10" fmla="*/ 7 w 58"/>
                <a:gd name="T11" fmla="*/ 2 h 18"/>
                <a:gd name="T12" fmla="*/ 5 w 58"/>
                <a:gd name="T13" fmla="*/ 2 h 18"/>
                <a:gd name="T14" fmla="*/ 3 w 58"/>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8"/>
                <a:gd name="T26" fmla="*/ 58 w 5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8">
                  <a:moveTo>
                    <a:pt x="20" y="18"/>
                  </a:moveTo>
                  <a:lnTo>
                    <a:pt x="0" y="18"/>
                  </a:lnTo>
                  <a:lnTo>
                    <a:pt x="20" y="18"/>
                  </a:lnTo>
                  <a:lnTo>
                    <a:pt x="39" y="0"/>
                  </a:lnTo>
                  <a:lnTo>
                    <a:pt x="58" y="0"/>
                  </a:lnTo>
                  <a:lnTo>
                    <a:pt x="58" y="18"/>
                  </a:lnTo>
                  <a:lnTo>
                    <a:pt x="39" y="18"/>
                  </a:lnTo>
                  <a:lnTo>
                    <a:pt x="20"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5" name="Freeform 343"/>
            <p:cNvSpPr>
              <a:spLocks/>
            </p:cNvSpPr>
            <p:nvPr/>
          </p:nvSpPr>
          <p:spPr bwMode="auto">
            <a:xfrm>
              <a:off x="2838508" y="2477470"/>
              <a:ext cx="51158" cy="13677"/>
            </a:xfrm>
            <a:custGeom>
              <a:avLst/>
              <a:gdLst>
                <a:gd name="T0" fmla="*/ 3 w 58"/>
                <a:gd name="T1" fmla="*/ 2 h 18"/>
                <a:gd name="T2" fmla="*/ 0 w 58"/>
                <a:gd name="T3" fmla="*/ 2 h 18"/>
                <a:gd name="T4" fmla="*/ 3 w 58"/>
                <a:gd name="T5" fmla="*/ 2 h 18"/>
                <a:gd name="T6" fmla="*/ 5 w 58"/>
                <a:gd name="T7" fmla="*/ 0 h 18"/>
                <a:gd name="T8" fmla="*/ 7 w 58"/>
                <a:gd name="T9" fmla="*/ 0 h 18"/>
                <a:gd name="T10" fmla="*/ 7 w 58"/>
                <a:gd name="T11" fmla="*/ 2 h 18"/>
                <a:gd name="T12" fmla="*/ 5 w 58"/>
                <a:gd name="T13" fmla="*/ 2 h 18"/>
                <a:gd name="T14" fmla="*/ 3 w 58"/>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8"/>
                <a:gd name="T26" fmla="*/ 58 w 5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8">
                  <a:moveTo>
                    <a:pt x="20" y="18"/>
                  </a:moveTo>
                  <a:lnTo>
                    <a:pt x="0" y="18"/>
                  </a:lnTo>
                  <a:lnTo>
                    <a:pt x="20" y="18"/>
                  </a:lnTo>
                  <a:lnTo>
                    <a:pt x="39" y="0"/>
                  </a:lnTo>
                  <a:lnTo>
                    <a:pt x="58" y="0"/>
                  </a:lnTo>
                  <a:lnTo>
                    <a:pt x="58" y="18"/>
                  </a:lnTo>
                  <a:lnTo>
                    <a:pt x="39" y="18"/>
                  </a:lnTo>
                  <a:lnTo>
                    <a:pt x="20"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6" name="Freeform 344"/>
            <p:cNvSpPr>
              <a:spLocks/>
            </p:cNvSpPr>
            <p:nvPr/>
          </p:nvSpPr>
          <p:spPr bwMode="auto">
            <a:xfrm>
              <a:off x="2951408" y="2433021"/>
              <a:ext cx="29989" cy="0"/>
            </a:xfrm>
            <a:custGeom>
              <a:avLst/>
              <a:gdLst>
                <a:gd name="T0" fmla="*/ 2 w 35"/>
                <a:gd name="T1" fmla="*/ 0 w 35"/>
                <a:gd name="T2" fmla="*/ 2 w 35"/>
                <a:gd name="T3" fmla="*/ 4 w 35"/>
                <a:gd name="T4" fmla="*/ 2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7" name="Freeform 345"/>
            <p:cNvSpPr>
              <a:spLocks/>
            </p:cNvSpPr>
            <p:nvPr/>
          </p:nvSpPr>
          <p:spPr bwMode="auto">
            <a:xfrm>
              <a:off x="2762653" y="2402249"/>
              <a:ext cx="172878" cy="88898"/>
            </a:xfrm>
            <a:custGeom>
              <a:avLst/>
              <a:gdLst>
                <a:gd name="T0" fmla="*/ 25 w 196"/>
                <a:gd name="T1" fmla="*/ 0 h 104"/>
                <a:gd name="T2" fmla="*/ 25 w 196"/>
                <a:gd name="T3" fmla="*/ 3 h 104"/>
                <a:gd name="T4" fmla="*/ 23 w 196"/>
                <a:gd name="T5" fmla="*/ 3 h 104"/>
                <a:gd name="T6" fmla="*/ 23 w 196"/>
                <a:gd name="T7" fmla="*/ 5 h 104"/>
                <a:gd name="T8" fmla="*/ 25 w 196"/>
                <a:gd name="T9" fmla="*/ 5 h 104"/>
                <a:gd name="T10" fmla="*/ 23 w 196"/>
                <a:gd name="T11" fmla="*/ 5 h 104"/>
                <a:gd name="T12" fmla="*/ 18 w 196"/>
                <a:gd name="T13" fmla="*/ 9 h 104"/>
                <a:gd name="T14" fmla="*/ 15 w 196"/>
                <a:gd name="T15" fmla="*/ 7 h 104"/>
                <a:gd name="T16" fmla="*/ 15 w 196"/>
                <a:gd name="T17" fmla="*/ 5 h 104"/>
                <a:gd name="T18" fmla="*/ 13 w 196"/>
                <a:gd name="T19" fmla="*/ 7 h 104"/>
                <a:gd name="T20" fmla="*/ 13 w 196"/>
                <a:gd name="T21" fmla="*/ 9 h 104"/>
                <a:gd name="T22" fmla="*/ 12 w 196"/>
                <a:gd name="T23" fmla="*/ 9 h 104"/>
                <a:gd name="T24" fmla="*/ 12 w 196"/>
                <a:gd name="T25" fmla="*/ 11 h 104"/>
                <a:gd name="T26" fmla="*/ 12 w 196"/>
                <a:gd name="T27" fmla="*/ 13 h 104"/>
                <a:gd name="T28" fmla="*/ 9 w 196"/>
                <a:gd name="T29" fmla="*/ 13 h 104"/>
                <a:gd name="T30" fmla="*/ 6 w 196"/>
                <a:gd name="T31" fmla="*/ 13 h 104"/>
                <a:gd name="T32" fmla="*/ 6 w 196"/>
                <a:gd name="T33" fmla="*/ 11 h 104"/>
                <a:gd name="T34" fmla="*/ 5 w 196"/>
                <a:gd name="T35" fmla="*/ 11 h 104"/>
                <a:gd name="T36" fmla="*/ 3 w 196"/>
                <a:gd name="T37" fmla="*/ 11 h 104"/>
                <a:gd name="T38" fmla="*/ 0 w 196"/>
                <a:gd name="T39" fmla="*/ 11 h 104"/>
                <a:gd name="T40" fmla="*/ 0 w 196"/>
                <a:gd name="T41" fmla="*/ 9 h 104"/>
                <a:gd name="T42" fmla="*/ 3 w 196"/>
                <a:gd name="T43" fmla="*/ 7 h 104"/>
                <a:gd name="T44" fmla="*/ 5 w 196"/>
                <a:gd name="T45" fmla="*/ 7 h 104"/>
                <a:gd name="T46" fmla="*/ 6 w 196"/>
                <a:gd name="T47" fmla="*/ 5 h 104"/>
                <a:gd name="T48" fmla="*/ 9 w 196"/>
                <a:gd name="T49" fmla="*/ 5 h 104"/>
                <a:gd name="T50" fmla="*/ 12 w 196"/>
                <a:gd name="T51" fmla="*/ 5 h 104"/>
                <a:gd name="T52" fmla="*/ 12 w 196"/>
                <a:gd name="T53" fmla="*/ 3 h 104"/>
                <a:gd name="T54" fmla="*/ 13 w 196"/>
                <a:gd name="T55" fmla="*/ 0 h 104"/>
                <a:gd name="T56" fmla="*/ 15 w 196"/>
                <a:gd name="T57" fmla="*/ 0 h 104"/>
                <a:gd name="T58" fmla="*/ 18 w 196"/>
                <a:gd name="T59" fmla="*/ 0 h 104"/>
                <a:gd name="T60" fmla="*/ 23 w 196"/>
                <a:gd name="T61" fmla="*/ 0 h 104"/>
                <a:gd name="T62" fmla="*/ 25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8" name="Freeform 346"/>
            <p:cNvSpPr>
              <a:spLocks/>
            </p:cNvSpPr>
            <p:nvPr/>
          </p:nvSpPr>
          <p:spPr bwMode="auto">
            <a:xfrm>
              <a:off x="2993745" y="2344124"/>
              <a:ext cx="93495" cy="30772"/>
            </a:xfrm>
            <a:custGeom>
              <a:avLst/>
              <a:gdLst>
                <a:gd name="T0" fmla="*/ 5 w 106"/>
                <a:gd name="T1" fmla="*/ 5 h 36"/>
                <a:gd name="T2" fmla="*/ 3 w 106"/>
                <a:gd name="T3" fmla="*/ 2 h 36"/>
                <a:gd name="T4" fmla="*/ 0 w 106"/>
                <a:gd name="T5" fmla="*/ 2 h 36"/>
                <a:gd name="T6" fmla="*/ 0 w 106"/>
                <a:gd name="T7" fmla="*/ 5 h 36"/>
                <a:gd name="T8" fmla="*/ 0 w 106"/>
                <a:gd name="T9" fmla="*/ 0 h 36"/>
                <a:gd name="T10" fmla="*/ 5 w 106"/>
                <a:gd name="T11" fmla="*/ 0 h 36"/>
                <a:gd name="T12" fmla="*/ 7 w 106"/>
                <a:gd name="T13" fmla="*/ 0 h 36"/>
                <a:gd name="T14" fmla="*/ 9 w 106"/>
                <a:gd name="T15" fmla="*/ 0 h 36"/>
                <a:gd name="T16" fmla="*/ 11 w 106"/>
                <a:gd name="T17" fmla="*/ 0 h 36"/>
                <a:gd name="T18" fmla="*/ 13 w 106"/>
                <a:gd name="T19" fmla="*/ 2 h 36"/>
                <a:gd name="T20" fmla="*/ 11 w 106"/>
                <a:gd name="T21" fmla="*/ 2 h 36"/>
                <a:gd name="T22" fmla="*/ 9 w 106"/>
                <a:gd name="T23" fmla="*/ 5 h 36"/>
                <a:gd name="T24" fmla="*/ 7 w 106"/>
                <a:gd name="T25" fmla="*/ 5 h 36"/>
                <a:gd name="T26" fmla="*/ 5 w 106"/>
                <a:gd name="T27" fmla="*/ 5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69" name="Freeform 347"/>
            <p:cNvSpPr>
              <a:spLocks/>
            </p:cNvSpPr>
            <p:nvPr/>
          </p:nvSpPr>
          <p:spPr bwMode="auto">
            <a:xfrm>
              <a:off x="2993745" y="2374896"/>
              <a:ext cx="79383" cy="44449"/>
            </a:xfrm>
            <a:custGeom>
              <a:avLst/>
              <a:gdLst>
                <a:gd name="T0" fmla="*/ 9 w 88"/>
                <a:gd name="T1" fmla="*/ 3 h 52"/>
                <a:gd name="T2" fmla="*/ 7 w 88"/>
                <a:gd name="T3" fmla="*/ 5 h 52"/>
                <a:gd name="T4" fmla="*/ 3 w 88"/>
                <a:gd name="T5" fmla="*/ 7 h 52"/>
                <a:gd name="T6" fmla="*/ 0 w 88"/>
                <a:gd name="T7" fmla="*/ 5 h 52"/>
                <a:gd name="T8" fmla="*/ 0 w 88"/>
                <a:gd name="T9" fmla="*/ 3 h 52"/>
                <a:gd name="T10" fmla="*/ 0 w 88"/>
                <a:gd name="T11" fmla="*/ 0 h 52"/>
                <a:gd name="T12" fmla="*/ 7 w 88"/>
                <a:gd name="T13" fmla="*/ 0 h 52"/>
                <a:gd name="T14" fmla="*/ 9 w 88"/>
                <a:gd name="T15" fmla="*/ 0 h 52"/>
                <a:gd name="T16" fmla="*/ 12 w 88"/>
                <a:gd name="T17" fmla="*/ 0 h 52"/>
                <a:gd name="T18" fmla="*/ 12 w 88"/>
                <a:gd name="T19" fmla="*/ 3 h 52"/>
                <a:gd name="T20" fmla="*/ 9 w 88"/>
                <a:gd name="T21" fmla="*/ 3 h 52"/>
                <a:gd name="T22" fmla="*/ 7 w 88"/>
                <a:gd name="T23" fmla="*/ 3 h 52"/>
                <a:gd name="T24" fmla="*/ 9 w 88"/>
                <a:gd name="T25" fmla="*/ 3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0" name="Freeform 348"/>
            <p:cNvSpPr>
              <a:spLocks/>
            </p:cNvSpPr>
            <p:nvPr/>
          </p:nvSpPr>
          <p:spPr bwMode="auto">
            <a:xfrm>
              <a:off x="2951408" y="2374896"/>
              <a:ext cx="29989" cy="13677"/>
            </a:xfrm>
            <a:custGeom>
              <a:avLst/>
              <a:gdLst>
                <a:gd name="T0" fmla="*/ 4 w 35"/>
                <a:gd name="T1" fmla="*/ 2 h 16"/>
                <a:gd name="T2" fmla="*/ 2 w 35"/>
                <a:gd name="T3" fmla="*/ 2 h 16"/>
                <a:gd name="T4" fmla="*/ 0 w 35"/>
                <a:gd name="T5" fmla="*/ 2 h 16"/>
                <a:gd name="T6" fmla="*/ 0 w 35"/>
                <a:gd name="T7" fmla="*/ 0 h 16"/>
                <a:gd name="T8" fmla="*/ 2 w 35"/>
                <a:gd name="T9" fmla="*/ 2 h 16"/>
                <a:gd name="T10" fmla="*/ 4 w 35"/>
                <a:gd name="T11" fmla="*/ 2 h 16"/>
                <a:gd name="T12" fmla="*/ 0 60000 65536"/>
                <a:gd name="T13" fmla="*/ 0 60000 65536"/>
                <a:gd name="T14" fmla="*/ 0 60000 65536"/>
                <a:gd name="T15" fmla="*/ 0 60000 65536"/>
                <a:gd name="T16" fmla="*/ 0 60000 65536"/>
                <a:gd name="T17" fmla="*/ 0 60000 65536"/>
                <a:gd name="T18" fmla="*/ 0 w 35"/>
                <a:gd name="T19" fmla="*/ 0 h 16"/>
                <a:gd name="T20" fmla="*/ 35 w 3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5" h="16">
                  <a:moveTo>
                    <a:pt x="35" y="16"/>
                  </a:moveTo>
                  <a:lnTo>
                    <a:pt x="17" y="16"/>
                  </a:lnTo>
                  <a:lnTo>
                    <a:pt x="0" y="16"/>
                  </a:lnTo>
                  <a:lnTo>
                    <a:pt x="0" y="0"/>
                  </a:lnTo>
                  <a:lnTo>
                    <a:pt x="17" y="16"/>
                  </a:lnTo>
                  <a:lnTo>
                    <a:pt x="35"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1" name="Freeform 349"/>
            <p:cNvSpPr>
              <a:spLocks/>
            </p:cNvSpPr>
            <p:nvPr/>
          </p:nvSpPr>
          <p:spPr bwMode="auto">
            <a:xfrm>
              <a:off x="3258354" y="2581753"/>
              <a:ext cx="155237" cy="102573"/>
            </a:xfrm>
            <a:custGeom>
              <a:avLst/>
              <a:gdLst>
                <a:gd name="T0" fmla="*/ 18 w 175"/>
                <a:gd name="T1" fmla="*/ 5 h 119"/>
                <a:gd name="T2" fmla="*/ 18 w 175"/>
                <a:gd name="T3" fmla="*/ 7 h 119"/>
                <a:gd name="T4" fmla="*/ 18 w 175"/>
                <a:gd name="T5" fmla="*/ 9 h 119"/>
                <a:gd name="T6" fmla="*/ 20 w 175"/>
                <a:gd name="T7" fmla="*/ 9 h 119"/>
                <a:gd name="T8" fmla="*/ 22 w 175"/>
                <a:gd name="T9" fmla="*/ 9 h 119"/>
                <a:gd name="T10" fmla="*/ 20 w 175"/>
                <a:gd name="T11" fmla="*/ 11 h 119"/>
                <a:gd name="T12" fmla="*/ 20 w 175"/>
                <a:gd name="T13" fmla="*/ 13 h 119"/>
                <a:gd name="T14" fmla="*/ 16 w 175"/>
                <a:gd name="T15" fmla="*/ 15 h 119"/>
                <a:gd name="T16" fmla="*/ 14 w 175"/>
                <a:gd name="T17" fmla="*/ 15 h 119"/>
                <a:gd name="T18" fmla="*/ 12 w 175"/>
                <a:gd name="T19" fmla="*/ 15 h 119"/>
                <a:gd name="T20" fmla="*/ 12 w 175"/>
                <a:gd name="T21" fmla="*/ 13 h 119"/>
                <a:gd name="T22" fmla="*/ 7 w 175"/>
                <a:gd name="T23" fmla="*/ 11 h 119"/>
                <a:gd name="T24" fmla="*/ 5 w 175"/>
                <a:gd name="T25" fmla="*/ 9 h 119"/>
                <a:gd name="T26" fmla="*/ 0 w 175"/>
                <a:gd name="T27" fmla="*/ 9 h 119"/>
                <a:gd name="T28" fmla="*/ 0 w 175"/>
                <a:gd name="T29" fmla="*/ 7 h 119"/>
                <a:gd name="T30" fmla="*/ 0 w 175"/>
                <a:gd name="T31" fmla="*/ 5 h 119"/>
                <a:gd name="T32" fmla="*/ 3 w 175"/>
                <a:gd name="T33" fmla="*/ 7 h 119"/>
                <a:gd name="T34" fmla="*/ 5 w 175"/>
                <a:gd name="T35" fmla="*/ 7 h 119"/>
                <a:gd name="T36" fmla="*/ 7 w 175"/>
                <a:gd name="T37" fmla="*/ 7 h 119"/>
                <a:gd name="T38" fmla="*/ 7 w 175"/>
                <a:gd name="T39" fmla="*/ 5 h 119"/>
                <a:gd name="T40" fmla="*/ 7 w 175"/>
                <a:gd name="T41" fmla="*/ 2 h 119"/>
                <a:gd name="T42" fmla="*/ 5 w 175"/>
                <a:gd name="T43" fmla="*/ 2 h 119"/>
                <a:gd name="T44" fmla="*/ 5 w 175"/>
                <a:gd name="T45" fmla="*/ 0 h 119"/>
                <a:gd name="T46" fmla="*/ 7 w 175"/>
                <a:gd name="T47" fmla="*/ 0 h 119"/>
                <a:gd name="T48" fmla="*/ 9 w 175"/>
                <a:gd name="T49" fmla="*/ 0 h 119"/>
                <a:gd name="T50" fmla="*/ 14 w 175"/>
                <a:gd name="T51" fmla="*/ 0 h 119"/>
                <a:gd name="T52" fmla="*/ 16 w 175"/>
                <a:gd name="T53" fmla="*/ 0 h 119"/>
                <a:gd name="T54" fmla="*/ 18 w 175"/>
                <a:gd name="T55" fmla="*/ 0 h 119"/>
                <a:gd name="T56" fmla="*/ 18 w 175"/>
                <a:gd name="T57" fmla="*/ 2 h 119"/>
                <a:gd name="T58" fmla="*/ 16 w 175"/>
                <a:gd name="T59" fmla="*/ 5 h 119"/>
                <a:gd name="T60" fmla="*/ 14 w 175"/>
                <a:gd name="T61" fmla="*/ 5 h 119"/>
                <a:gd name="T62" fmla="*/ 16 w 175"/>
                <a:gd name="T63" fmla="*/ 5 h 119"/>
                <a:gd name="T64" fmla="*/ 18 w 175"/>
                <a:gd name="T65" fmla="*/ 5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2" name="Freeform 350"/>
            <p:cNvSpPr>
              <a:spLocks/>
            </p:cNvSpPr>
            <p:nvPr/>
          </p:nvSpPr>
          <p:spPr bwMode="auto">
            <a:xfrm>
              <a:off x="3198376" y="2433021"/>
              <a:ext cx="171114" cy="90607"/>
            </a:xfrm>
            <a:custGeom>
              <a:avLst/>
              <a:gdLst>
                <a:gd name="T0" fmla="*/ 3 w 194"/>
                <a:gd name="T1" fmla="*/ 5 h 105"/>
                <a:gd name="T2" fmla="*/ 3 w 194"/>
                <a:gd name="T3" fmla="*/ 3 h 105"/>
                <a:gd name="T4" fmla="*/ 0 w 194"/>
                <a:gd name="T5" fmla="*/ 0 h 105"/>
                <a:gd name="T6" fmla="*/ 3 w 194"/>
                <a:gd name="T7" fmla="*/ 0 h 105"/>
                <a:gd name="T8" fmla="*/ 6 w 194"/>
                <a:gd name="T9" fmla="*/ 3 h 105"/>
                <a:gd name="T10" fmla="*/ 9 w 194"/>
                <a:gd name="T11" fmla="*/ 7 h 105"/>
                <a:gd name="T12" fmla="*/ 13 w 194"/>
                <a:gd name="T13" fmla="*/ 7 h 105"/>
                <a:gd name="T14" fmla="*/ 12 w 194"/>
                <a:gd name="T15" fmla="*/ 7 h 105"/>
                <a:gd name="T16" fmla="*/ 9 w 194"/>
                <a:gd name="T17" fmla="*/ 5 h 105"/>
                <a:gd name="T18" fmla="*/ 9 w 194"/>
                <a:gd name="T19" fmla="*/ 3 h 105"/>
                <a:gd name="T20" fmla="*/ 12 w 194"/>
                <a:gd name="T21" fmla="*/ 5 h 105"/>
                <a:gd name="T22" fmla="*/ 15 w 194"/>
                <a:gd name="T23" fmla="*/ 5 h 105"/>
                <a:gd name="T24" fmla="*/ 15 w 194"/>
                <a:gd name="T25" fmla="*/ 7 h 105"/>
                <a:gd name="T26" fmla="*/ 15 w 194"/>
                <a:gd name="T27" fmla="*/ 5 h 105"/>
                <a:gd name="T28" fmla="*/ 15 w 194"/>
                <a:gd name="T29" fmla="*/ 3 h 105"/>
                <a:gd name="T30" fmla="*/ 13 w 194"/>
                <a:gd name="T31" fmla="*/ 3 h 105"/>
                <a:gd name="T32" fmla="*/ 13 w 194"/>
                <a:gd name="T33" fmla="*/ 0 h 105"/>
                <a:gd name="T34" fmla="*/ 15 w 194"/>
                <a:gd name="T35" fmla="*/ 0 h 105"/>
                <a:gd name="T36" fmla="*/ 18 w 194"/>
                <a:gd name="T37" fmla="*/ 3 h 105"/>
                <a:gd name="T38" fmla="*/ 20 w 194"/>
                <a:gd name="T39" fmla="*/ 3 h 105"/>
                <a:gd name="T40" fmla="*/ 23 w 194"/>
                <a:gd name="T41" fmla="*/ 3 h 105"/>
                <a:gd name="T42" fmla="*/ 23 w 194"/>
                <a:gd name="T43" fmla="*/ 0 h 105"/>
                <a:gd name="T44" fmla="*/ 23 w 194"/>
                <a:gd name="T45" fmla="*/ 3 h 105"/>
                <a:gd name="T46" fmla="*/ 24 w 194"/>
                <a:gd name="T47" fmla="*/ 3 h 105"/>
                <a:gd name="T48" fmla="*/ 24 w 194"/>
                <a:gd name="T49" fmla="*/ 5 h 105"/>
                <a:gd name="T50" fmla="*/ 24 w 194"/>
                <a:gd name="T51" fmla="*/ 9 h 105"/>
                <a:gd name="T52" fmla="*/ 23 w 194"/>
                <a:gd name="T53" fmla="*/ 9 h 105"/>
                <a:gd name="T54" fmla="*/ 23 w 194"/>
                <a:gd name="T55" fmla="*/ 14 h 105"/>
                <a:gd name="T56" fmla="*/ 20 w 194"/>
                <a:gd name="T57" fmla="*/ 14 h 105"/>
                <a:gd name="T58" fmla="*/ 18 w 194"/>
                <a:gd name="T59" fmla="*/ 14 h 105"/>
                <a:gd name="T60" fmla="*/ 15 w 194"/>
                <a:gd name="T61" fmla="*/ 14 h 105"/>
                <a:gd name="T62" fmla="*/ 15 w 194"/>
                <a:gd name="T63" fmla="*/ 11 h 105"/>
                <a:gd name="T64" fmla="*/ 15 w 194"/>
                <a:gd name="T65" fmla="*/ 9 h 105"/>
                <a:gd name="T66" fmla="*/ 18 w 194"/>
                <a:gd name="T67" fmla="*/ 9 h 105"/>
                <a:gd name="T68" fmla="*/ 15 w 194"/>
                <a:gd name="T69" fmla="*/ 9 h 105"/>
                <a:gd name="T70" fmla="*/ 12 w 194"/>
                <a:gd name="T71" fmla="*/ 9 h 105"/>
                <a:gd name="T72" fmla="*/ 9 w 194"/>
                <a:gd name="T73" fmla="*/ 9 h 105"/>
                <a:gd name="T74" fmla="*/ 6 w 194"/>
                <a:gd name="T75" fmla="*/ 9 h 105"/>
                <a:gd name="T76" fmla="*/ 5 w 194"/>
                <a:gd name="T77" fmla="*/ 9 h 105"/>
                <a:gd name="T78" fmla="*/ 5 w 194"/>
                <a:gd name="T79" fmla="*/ 7 h 105"/>
                <a:gd name="T80" fmla="*/ 3 w 194"/>
                <a:gd name="T81" fmla="*/ 7 h 105"/>
                <a:gd name="T82" fmla="*/ 3 w 194"/>
                <a:gd name="T83" fmla="*/ 5 h 105"/>
                <a:gd name="T84" fmla="*/ 3 w 194"/>
                <a:gd name="T85" fmla="*/ 3 h 105"/>
                <a:gd name="T86" fmla="*/ 3 w 194"/>
                <a:gd name="T87" fmla="*/ 5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3" name="Freeform 351"/>
            <p:cNvSpPr>
              <a:spLocks/>
            </p:cNvSpPr>
            <p:nvPr/>
          </p:nvSpPr>
          <p:spPr bwMode="auto">
            <a:xfrm>
              <a:off x="3335972" y="2740744"/>
              <a:ext cx="91731" cy="63254"/>
            </a:xfrm>
            <a:custGeom>
              <a:avLst/>
              <a:gdLst>
                <a:gd name="T0" fmla="*/ 11 w 103"/>
                <a:gd name="T1" fmla="*/ 10 h 73"/>
                <a:gd name="T2" fmla="*/ 7 w 103"/>
                <a:gd name="T3" fmla="*/ 7 h 73"/>
                <a:gd name="T4" fmla="*/ 3 w 103"/>
                <a:gd name="T5" fmla="*/ 5 h 73"/>
                <a:gd name="T6" fmla="*/ 0 w 103"/>
                <a:gd name="T7" fmla="*/ 5 h 73"/>
                <a:gd name="T8" fmla="*/ 3 w 103"/>
                <a:gd name="T9" fmla="*/ 5 h 73"/>
                <a:gd name="T10" fmla="*/ 3 w 103"/>
                <a:gd name="T11" fmla="*/ 3 h 73"/>
                <a:gd name="T12" fmla="*/ 5 w 103"/>
                <a:gd name="T13" fmla="*/ 0 h 73"/>
                <a:gd name="T14" fmla="*/ 9 w 103"/>
                <a:gd name="T15" fmla="*/ 3 h 73"/>
                <a:gd name="T16" fmla="*/ 11 w 103"/>
                <a:gd name="T17" fmla="*/ 5 h 73"/>
                <a:gd name="T18" fmla="*/ 13 w 103"/>
                <a:gd name="T19" fmla="*/ 7 h 73"/>
                <a:gd name="T20" fmla="*/ 11 w 103"/>
                <a:gd name="T21" fmla="*/ 7 h 73"/>
                <a:gd name="T22" fmla="*/ 11 w 103"/>
                <a:gd name="T23" fmla="*/ 10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4" name="Freeform 352"/>
            <p:cNvSpPr>
              <a:spLocks/>
            </p:cNvSpPr>
            <p:nvPr/>
          </p:nvSpPr>
          <p:spPr bwMode="auto">
            <a:xfrm>
              <a:off x="3413591" y="2550982"/>
              <a:ext cx="139361" cy="102573"/>
            </a:xfrm>
            <a:custGeom>
              <a:avLst/>
              <a:gdLst>
                <a:gd name="T0" fmla="*/ 19 w 159"/>
                <a:gd name="T1" fmla="*/ 4 h 121"/>
                <a:gd name="T2" fmla="*/ 17 w 159"/>
                <a:gd name="T3" fmla="*/ 4 h 121"/>
                <a:gd name="T4" fmla="*/ 15 w 159"/>
                <a:gd name="T5" fmla="*/ 4 h 121"/>
                <a:gd name="T6" fmla="*/ 13 w 159"/>
                <a:gd name="T7" fmla="*/ 8 h 121"/>
                <a:gd name="T8" fmla="*/ 13 w 159"/>
                <a:gd name="T9" fmla="*/ 10 h 121"/>
                <a:gd name="T10" fmla="*/ 8 w 159"/>
                <a:gd name="T11" fmla="*/ 10 h 121"/>
                <a:gd name="T12" fmla="*/ 6 w 159"/>
                <a:gd name="T13" fmla="*/ 10 h 121"/>
                <a:gd name="T14" fmla="*/ 6 w 159"/>
                <a:gd name="T15" fmla="*/ 12 h 121"/>
                <a:gd name="T16" fmla="*/ 6 w 159"/>
                <a:gd name="T17" fmla="*/ 15 h 121"/>
                <a:gd name="T18" fmla="*/ 4 w 159"/>
                <a:gd name="T19" fmla="*/ 15 h 121"/>
                <a:gd name="T20" fmla="*/ 2 w 159"/>
                <a:gd name="T21" fmla="*/ 15 h 121"/>
                <a:gd name="T22" fmla="*/ 2 w 159"/>
                <a:gd name="T23" fmla="*/ 12 h 121"/>
                <a:gd name="T24" fmla="*/ 2 w 159"/>
                <a:gd name="T25" fmla="*/ 10 h 121"/>
                <a:gd name="T26" fmla="*/ 2 w 159"/>
                <a:gd name="T27" fmla="*/ 8 h 121"/>
                <a:gd name="T28" fmla="*/ 0 w 159"/>
                <a:gd name="T29" fmla="*/ 4 h 121"/>
                <a:gd name="T30" fmla="*/ 2 w 159"/>
                <a:gd name="T31" fmla="*/ 4 h 121"/>
                <a:gd name="T32" fmla="*/ 4 w 159"/>
                <a:gd name="T33" fmla="*/ 4 h 121"/>
                <a:gd name="T34" fmla="*/ 4 w 159"/>
                <a:gd name="T35" fmla="*/ 2 h 121"/>
                <a:gd name="T36" fmla="*/ 6 w 159"/>
                <a:gd name="T37" fmla="*/ 2 h 121"/>
                <a:gd name="T38" fmla="*/ 6 w 159"/>
                <a:gd name="T39" fmla="*/ 0 h 121"/>
                <a:gd name="T40" fmla="*/ 11 w 159"/>
                <a:gd name="T41" fmla="*/ 2 h 121"/>
                <a:gd name="T42" fmla="*/ 13 w 159"/>
                <a:gd name="T43" fmla="*/ 2 h 121"/>
                <a:gd name="T44" fmla="*/ 19 w 159"/>
                <a:gd name="T45" fmla="*/ 2 h 121"/>
                <a:gd name="T46" fmla="*/ 19 w 159"/>
                <a:gd name="T47" fmla="*/ 4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5" name="Freeform 353"/>
            <p:cNvSpPr>
              <a:spLocks/>
            </p:cNvSpPr>
            <p:nvPr/>
          </p:nvSpPr>
          <p:spPr bwMode="auto">
            <a:xfrm>
              <a:off x="3163096" y="2388573"/>
              <a:ext cx="35281" cy="30772"/>
            </a:xfrm>
            <a:custGeom>
              <a:avLst/>
              <a:gdLst>
                <a:gd name="T0" fmla="*/ 6 w 38"/>
                <a:gd name="T1" fmla="*/ 2 h 36"/>
                <a:gd name="T2" fmla="*/ 6 w 38"/>
                <a:gd name="T3" fmla="*/ 5 h 36"/>
                <a:gd name="T4" fmla="*/ 3 w 38"/>
                <a:gd name="T5" fmla="*/ 5 h 36"/>
                <a:gd name="T6" fmla="*/ 0 w 38"/>
                <a:gd name="T7" fmla="*/ 2 h 36"/>
                <a:gd name="T8" fmla="*/ 0 w 38"/>
                <a:gd name="T9" fmla="*/ 0 h 36"/>
                <a:gd name="T10" fmla="*/ 3 w 38"/>
                <a:gd name="T11" fmla="*/ 0 h 36"/>
                <a:gd name="T12" fmla="*/ 6 w 38"/>
                <a:gd name="T13" fmla="*/ 2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6" name="Freeform 354"/>
            <p:cNvSpPr>
              <a:spLocks/>
            </p:cNvSpPr>
            <p:nvPr/>
          </p:nvSpPr>
          <p:spPr bwMode="auto">
            <a:xfrm>
              <a:off x="3198376" y="2491147"/>
              <a:ext cx="33517" cy="32482"/>
            </a:xfrm>
            <a:custGeom>
              <a:avLst/>
              <a:gdLst>
                <a:gd name="T0" fmla="*/ 2 w 39"/>
                <a:gd name="T1" fmla="*/ 0 h 36"/>
                <a:gd name="T2" fmla="*/ 4 w 39"/>
                <a:gd name="T3" fmla="*/ 3 h 36"/>
                <a:gd name="T4" fmla="*/ 2 w 39"/>
                <a:gd name="T5" fmla="*/ 5 h 36"/>
                <a:gd name="T6" fmla="*/ 0 w 39"/>
                <a:gd name="T7" fmla="*/ 5 h 36"/>
                <a:gd name="T8" fmla="*/ 0 w 39"/>
                <a:gd name="T9" fmla="*/ 3 h 36"/>
                <a:gd name="T10" fmla="*/ 0 w 39"/>
                <a:gd name="T11" fmla="*/ 0 h 36"/>
                <a:gd name="T12" fmla="*/ 2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7" name="Freeform 355"/>
            <p:cNvSpPr>
              <a:spLocks/>
            </p:cNvSpPr>
            <p:nvPr/>
          </p:nvSpPr>
          <p:spPr bwMode="auto">
            <a:xfrm>
              <a:off x="3198376" y="2491147"/>
              <a:ext cx="33517" cy="32482"/>
            </a:xfrm>
            <a:custGeom>
              <a:avLst/>
              <a:gdLst>
                <a:gd name="T0" fmla="*/ 2 w 39"/>
                <a:gd name="T1" fmla="*/ 0 h 36"/>
                <a:gd name="T2" fmla="*/ 4 w 39"/>
                <a:gd name="T3" fmla="*/ 3 h 36"/>
                <a:gd name="T4" fmla="*/ 2 w 39"/>
                <a:gd name="T5" fmla="*/ 5 h 36"/>
                <a:gd name="T6" fmla="*/ 0 w 39"/>
                <a:gd name="T7" fmla="*/ 5 h 36"/>
                <a:gd name="T8" fmla="*/ 0 w 39"/>
                <a:gd name="T9" fmla="*/ 3 h 36"/>
                <a:gd name="T10" fmla="*/ 0 w 39"/>
                <a:gd name="T11" fmla="*/ 0 h 36"/>
                <a:gd name="T12" fmla="*/ 2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8" name="Freeform 356"/>
            <p:cNvSpPr>
              <a:spLocks/>
            </p:cNvSpPr>
            <p:nvPr/>
          </p:nvSpPr>
          <p:spPr bwMode="auto">
            <a:xfrm>
              <a:off x="3178971" y="2301385"/>
              <a:ext cx="157001" cy="87188"/>
            </a:xfrm>
            <a:custGeom>
              <a:avLst/>
              <a:gdLst>
                <a:gd name="T0" fmla="*/ 15 w 179"/>
                <a:gd name="T1" fmla="*/ 11 h 102"/>
                <a:gd name="T2" fmla="*/ 11 w 179"/>
                <a:gd name="T3" fmla="*/ 9 h 102"/>
                <a:gd name="T4" fmla="*/ 9 w 179"/>
                <a:gd name="T5" fmla="*/ 9 h 102"/>
                <a:gd name="T6" fmla="*/ 7 w 179"/>
                <a:gd name="T7" fmla="*/ 9 h 102"/>
                <a:gd name="T8" fmla="*/ 4 w 179"/>
                <a:gd name="T9" fmla="*/ 9 h 102"/>
                <a:gd name="T10" fmla="*/ 2 w 179"/>
                <a:gd name="T11" fmla="*/ 9 h 102"/>
                <a:gd name="T12" fmla="*/ 2 w 179"/>
                <a:gd name="T13" fmla="*/ 6 h 102"/>
                <a:gd name="T14" fmla="*/ 4 w 179"/>
                <a:gd name="T15" fmla="*/ 6 h 102"/>
                <a:gd name="T16" fmla="*/ 2 w 179"/>
                <a:gd name="T17" fmla="*/ 6 h 102"/>
                <a:gd name="T18" fmla="*/ 2 w 179"/>
                <a:gd name="T19" fmla="*/ 5 h 102"/>
                <a:gd name="T20" fmla="*/ 0 w 179"/>
                <a:gd name="T21" fmla="*/ 5 h 102"/>
                <a:gd name="T22" fmla="*/ 0 w 179"/>
                <a:gd name="T23" fmla="*/ 2 h 102"/>
                <a:gd name="T24" fmla="*/ 2 w 179"/>
                <a:gd name="T25" fmla="*/ 2 h 102"/>
                <a:gd name="T26" fmla="*/ 2 w 179"/>
                <a:gd name="T27" fmla="*/ 0 h 102"/>
                <a:gd name="T28" fmla="*/ 4 w 179"/>
                <a:gd name="T29" fmla="*/ 2 h 102"/>
                <a:gd name="T30" fmla="*/ 7 w 179"/>
                <a:gd name="T31" fmla="*/ 2 h 102"/>
                <a:gd name="T32" fmla="*/ 9 w 179"/>
                <a:gd name="T33" fmla="*/ 5 h 102"/>
                <a:gd name="T34" fmla="*/ 9 w 179"/>
                <a:gd name="T35" fmla="*/ 2 h 102"/>
                <a:gd name="T36" fmla="*/ 11 w 179"/>
                <a:gd name="T37" fmla="*/ 2 h 102"/>
                <a:gd name="T38" fmla="*/ 13 w 179"/>
                <a:gd name="T39" fmla="*/ 5 h 102"/>
                <a:gd name="T40" fmla="*/ 13 w 179"/>
                <a:gd name="T41" fmla="*/ 6 h 102"/>
                <a:gd name="T42" fmla="*/ 15 w 179"/>
                <a:gd name="T43" fmla="*/ 6 h 102"/>
                <a:gd name="T44" fmla="*/ 15 w 179"/>
                <a:gd name="T45" fmla="*/ 5 h 102"/>
                <a:gd name="T46" fmla="*/ 18 w 179"/>
                <a:gd name="T47" fmla="*/ 5 h 102"/>
                <a:gd name="T48" fmla="*/ 18 w 179"/>
                <a:gd name="T49" fmla="*/ 6 h 102"/>
                <a:gd name="T50" fmla="*/ 20 w 179"/>
                <a:gd name="T51" fmla="*/ 6 h 102"/>
                <a:gd name="T52" fmla="*/ 18 w 179"/>
                <a:gd name="T53" fmla="*/ 6 h 102"/>
                <a:gd name="T54" fmla="*/ 20 w 179"/>
                <a:gd name="T55" fmla="*/ 9 h 102"/>
                <a:gd name="T56" fmla="*/ 22 w 179"/>
                <a:gd name="T57" fmla="*/ 11 h 102"/>
                <a:gd name="T58" fmla="*/ 22 w 179"/>
                <a:gd name="T59" fmla="*/ 13 h 102"/>
                <a:gd name="T60" fmla="*/ 20 w 179"/>
                <a:gd name="T61" fmla="*/ 13 h 102"/>
                <a:gd name="T62" fmla="*/ 18 w 179"/>
                <a:gd name="T63" fmla="*/ 13 h 102"/>
                <a:gd name="T64" fmla="*/ 18 w 179"/>
                <a:gd name="T65" fmla="*/ 11 h 102"/>
                <a:gd name="T66" fmla="*/ 15 w 179"/>
                <a:gd name="T67" fmla="*/ 11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79" name="Freeform 357"/>
            <p:cNvSpPr>
              <a:spLocks/>
            </p:cNvSpPr>
            <p:nvPr/>
          </p:nvSpPr>
          <p:spPr bwMode="auto">
            <a:xfrm>
              <a:off x="3258354" y="2374896"/>
              <a:ext cx="31753" cy="13677"/>
            </a:xfrm>
            <a:custGeom>
              <a:avLst/>
              <a:gdLst>
                <a:gd name="T0" fmla="*/ 0 w 37"/>
                <a:gd name="T1" fmla="*/ 2 h 16"/>
                <a:gd name="T2" fmla="*/ 0 w 37"/>
                <a:gd name="T3" fmla="*/ 0 h 16"/>
                <a:gd name="T4" fmla="*/ 2 w 37"/>
                <a:gd name="T5" fmla="*/ 0 h 16"/>
                <a:gd name="T6" fmla="*/ 2 w 37"/>
                <a:gd name="T7" fmla="*/ 2 h 16"/>
                <a:gd name="T8" fmla="*/ 4 w 37"/>
                <a:gd name="T9" fmla="*/ 2 h 16"/>
                <a:gd name="T10" fmla="*/ 2 w 37"/>
                <a:gd name="T11" fmla="*/ 2 h 16"/>
                <a:gd name="T12" fmla="*/ 0 w 37"/>
                <a:gd name="T13" fmla="*/ 2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0" name="Freeform 358"/>
            <p:cNvSpPr>
              <a:spLocks/>
            </p:cNvSpPr>
            <p:nvPr/>
          </p:nvSpPr>
          <p:spPr bwMode="auto">
            <a:xfrm>
              <a:off x="3258354" y="2374896"/>
              <a:ext cx="31753" cy="13677"/>
            </a:xfrm>
            <a:custGeom>
              <a:avLst/>
              <a:gdLst>
                <a:gd name="T0" fmla="*/ 0 w 37"/>
                <a:gd name="T1" fmla="*/ 2 h 16"/>
                <a:gd name="T2" fmla="*/ 0 w 37"/>
                <a:gd name="T3" fmla="*/ 0 h 16"/>
                <a:gd name="T4" fmla="*/ 2 w 37"/>
                <a:gd name="T5" fmla="*/ 0 h 16"/>
                <a:gd name="T6" fmla="*/ 2 w 37"/>
                <a:gd name="T7" fmla="*/ 2 h 16"/>
                <a:gd name="T8" fmla="*/ 4 w 37"/>
                <a:gd name="T9" fmla="*/ 2 h 16"/>
                <a:gd name="T10" fmla="*/ 2 w 37"/>
                <a:gd name="T11" fmla="*/ 2 h 16"/>
                <a:gd name="T12" fmla="*/ 0 w 37"/>
                <a:gd name="T13" fmla="*/ 2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1" name="Freeform 359"/>
            <p:cNvSpPr>
              <a:spLocks/>
            </p:cNvSpPr>
            <p:nvPr/>
          </p:nvSpPr>
          <p:spPr bwMode="auto">
            <a:xfrm>
              <a:off x="3399479" y="2419345"/>
              <a:ext cx="419846" cy="116251"/>
            </a:xfrm>
            <a:custGeom>
              <a:avLst/>
              <a:gdLst>
                <a:gd name="T0" fmla="*/ 58 w 476"/>
                <a:gd name="T1" fmla="*/ 13 h 136"/>
                <a:gd name="T2" fmla="*/ 58 w 476"/>
                <a:gd name="T3" fmla="*/ 14 h 136"/>
                <a:gd name="T4" fmla="*/ 60 w 476"/>
                <a:gd name="T5" fmla="*/ 14 h 136"/>
                <a:gd name="T6" fmla="*/ 58 w 476"/>
                <a:gd name="T7" fmla="*/ 17 h 136"/>
                <a:gd name="T8" fmla="*/ 53 w 476"/>
                <a:gd name="T9" fmla="*/ 17 h 136"/>
                <a:gd name="T10" fmla="*/ 49 w 476"/>
                <a:gd name="T11" fmla="*/ 17 h 136"/>
                <a:gd name="T12" fmla="*/ 47 w 476"/>
                <a:gd name="T13" fmla="*/ 17 h 136"/>
                <a:gd name="T14" fmla="*/ 45 w 476"/>
                <a:gd name="T15" fmla="*/ 17 h 136"/>
                <a:gd name="T16" fmla="*/ 40 w 476"/>
                <a:gd name="T17" fmla="*/ 17 h 136"/>
                <a:gd name="T18" fmla="*/ 36 w 476"/>
                <a:gd name="T19" fmla="*/ 17 h 136"/>
                <a:gd name="T20" fmla="*/ 34 w 476"/>
                <a:gd name="T21" fmla="*/ 17 h 136"/>
                <a:gd name="T22" fmla="*/ 30 w 476"/>
                <a:gd name="T23" fmla="*/ 17 h 136"/>
                <a:gd name="T24" fmla="*/ 29 w 476"/>
                <a:gd name="T25" fmla="*/ 17 h 136"/>
                <a:gd name="T26" fmla="*/ 27 w 476"/>
                <a:gd name="T27" fmla="*/ 17 h 136"/>
                <a:gd name="T28" fmla="*/ 24 w 476"/>
                <a:gd name="T29" fmla="*/ 17 h 136"/>
                <a:gd name="T30" fmla="*/ 20 w 476"/>
                <a:gd name="T31" fmla="*/ 17 h 136"/>
                <a:gd name="T32" fmla="*/ 15 w 476"/>
                <a:gd name="T33" fmla="*/ 14 h 136"/>
                <a:gd name="T34" fmla="*/ 14 w 476"/>
                <a:gd name="T35" fmla="*/ 13 h 136"/>
                <a:gd name="T36" fmla="*/ 15 w 476"/>
                <a:gd name="T37" fmla="*/ 13 h 136"/>
                <a:gd name="T38" fmla="*/ 15 w 476"/>
                <a:gd name="T39" fmla="*/ 10 h 136"/>
                <a:gd name="T40" fmla="*/ 14 w 476"/>
                <a:gd name="T41" fmla="*/ 10 h 136"/>
                <a:gd name="T42" fmla="*/ 11 w 476"/>
                <a:gd name="T43" fmla="*/ 6 h 136"/>
                <a:gd name="T44" fmla="*/ 11 w 476"/>
                <a:gd name="T45" fmla="*/ 4 h 136"/>
                <a:gd name="T46" fmla="*/ 9 w 476"/>
                <a:gd name="T47" fmla="*/ 6 h 136"/>
                <a:gd name="T48" fmla="*/ 5 w 476"/>
                <a:gd name="T49" fmla="*/ 4 h 136"/>
                <a:gd name="T50" fmla="*/ 3 w 476"/>
                <a:gd name="T51" fmla="*/ 2 h 136"/>
                <a:gd name="T52" fmla="*/ 0 w 476"/>
                <a:gd name="T53" fmla="*/ 2 h 136"/>
                <a:gd name="T54" fmla="*/ 3 w 476"/>
                <a:gd name="T55" fmla="*/ 2 h 136"/>
                <a:gd name="T56" fmla="*/ 3 w 476"/>
                <a:gd name="T57" fmla="*/ 0 h 136"/>
                <a:gd name="T58" fmla="*/ 9 w 476"/>
                <a:gd name="T59" fmla="*/ 2 h 136"/>
                <a:gd name="T60" fmla="*/ 14 w 476"/>
                <a:gd name="T61" fmla="*/ 4 h 136"/>
                <a:gd name="T62" fmla="*/ 15 w 476"/>
                <a:gd name="T63" fmla="*/ 4 h 136"/>
                <a:gd name="T64" fmla="*/ 15 w 476"/>
                <a:gd name="T65" fmla="*/ 2 h 136"/>
                <a:gd name="T66" fmla="*/ 18 w 476"/>
                <a:gd name="T67" fmla="*/ 2 h 136"/>
                <a:gd name="T68" fmla="*/ 18 w 476"/>
                <a:gd name="T69" fmla="*/ 4 h 136"/>
                <a:gd name="T70" fmla="*/ 22 w 476"/>
                <a:gd name="T71" fmla="*/ 6 h 136"/>
                <a:gd name="T72" fmla="*/ 24 w 476"/>
                <a:gd name="T73" fmla="*/ 6 h 136"/>
                <a:gd name="T74" fmla="*/ 20 w 476"/>
                <a:gd name="T75" fmla="*/ 6 h 136"/>
                <a:gd name="T76" fmla="*/ 18 w 476"/>
                <a:gd name="T77" fmla="*/ 6 h 136"/>
                <a:gd name="T78" fmla="*/ 20 w 476"/>
                <a:gd name="T79" fmla="*/ 10 h 136"/>
                <a:gd name="T80" fmla="*/ 22 w 476"/>
                <a:gd name="T81" fmla="*/ 10 h 136"/>
                <a:gd name="T82" fmla="*/ 24 w 476"/>
                <a:gd name="T83" fmla="*/ 10 h 136"/>
                <a:gd name="T84" fmla="*/ 29 w 476"/>
                <a:gd name="T85" fmla="*/ 10 h 136"/>
                <a:gd name="T86" fmla="*/ 30 w 476"/>
                <a:gd name="T87" fmla="*/ 13 h 136"/>
                <a:gd name="T88" fmla="*/ 34 w 476"/>
                <a:gd name="T89" fmla="*/ 13 h 136"/>
                <a:gd name="T90" fmla="*/ 38 w 476"/>
                <a:gd name="T91" fmla="*/ 10 h 136"/>
                <a:gd name="T92" fmla="*/ 45 w 476"/>
                <a:gd name="T93" fmla="*/ 10 h 136"/>
                <a:gd name="T94" fmla="*/ 49 w 476"/>
                <a:gd name="T95" fmla="*/ 10 h 136"/>
                <a:gd name="T96" fmla="*/ 53 w 476"/>
                <a:gd name="T97" fmla="*/ 10 h 136"/>
                <a:gd name="T98" fmla="*/ 55 w 476"/>
                <a:gd name="T99" fmla="*/ 10 h 136"/>
                <a:gd name="T100" fmla="*/ 60 w 476"/>
                <a:gd name="T101" fmla="*/ 13 h 136"/>
                <a:gd name="T102" fmla="*/ 58 w 476"/>
                <a:gd name="T103" fmla="*/ 13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136"/>
                <a:gd name="T158" fmla="*/ 476 w 476"/>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136">
                  <a:moveTo>
                    <a:pt x="457" y="104"/>
                  </a:moveTo>
                  <a:lnTo>
                    <a:pt x="457" y="119"/>
                  </a:lnTo>
                  <a:lnTo>
                    <a:pt x="476" y="119"/>
                  </a:lnTo>
                  <a:lnTo>
                    <a:pt x="457" y="136"/>
                  </a:lnTo>
                  <a:lnTo>
                    <a:pt x="422" y="136"/>
                  </a:lnTo>
                  <a:lnTo>
                    <a:pt x="388" y="136"/>
                  </a:lnTo>
                  <a:lnTo>
                    <a:pt x="370" y="136"/>
                  </a:lnTo>
                  <a:lnTo>
                    <a:pt x="353" y="136"/>
                  </a:lnTo>
                  <a:lnTo>
                    <a:pt x="317" y="136"/>
                  </a:lnTo>
                  <a:lnTo>
                    <a:pt x="282" y="136"/>
                  </a:lnTo>
                  <a:lnTo>
                    <a:pt x="265" y="136"/>
                  </a:lnTo>
                  <a:lnTo>
                    <a:pt x="247" y="136"/>
                  </a:lnTo>
                  <a:lnTo>
                    <a:pt x="228" y="136"/>
                  </a:lnTo>
                  <a:lnTo>
                    <a:pt x="211" y="136"/>
                  </a:lnTo>
                  <a:lnTo>
                    <a:pt x="192" y="136"/>
                  </a:lnTo>
                  <a:lnTo>
                    <a:pt x="157" y="136"/>
                  </a:lnTo>
                  <a:lnTo>
                    <a:pt x="123" y="119"/>
                  </a:lnTo>
                  <a:lnTo>
                    <a:pt x="105" y="104"/>
                  </a:lnTo>
                  <a:lnTo>
                    <a:pt x="123" y="104"/>
                  </a:lnTo>
                  <a:lnTo>
                    <a:pt x="123" y="87"/>
                  </a:lnTo>
                  <a:lnTo>
                    <a:pt x="105" y="87"/>
                  </a:lnTo>
                  <a:lnTo>
                    <a:pt x="86" y="52"/>
                  </a:lnTo>
                  <a:lnTo>
                    <a:pt x="86" y="35"/>
                  </a:lnTo>
                  <a:lnTo>
                    <a:pt x="69" y="52"/>
                  </a:lnTo>
                  <a:lnTo>
                    <a:pt x="34" y="35"/>
                  </a:lnTo>
                  <a:lnTo>
                    <a:pt x="17" y="17"/>
                  </a:lnTo>
                  <a:lnTo>
                    <a:pt x="0" y="17"/>
                  </a:lnTo>
                  <a:lnTo>
                    <a:pt x="17" y="17"/>
                  </a:lnTo>
                  <a:lnTo>
                    <a:pt x="17" y="0"/>
                  </a:lnTo>
                  <a:lnTo>
                    <a:pt x="69" y="17"/>
                  </a:lnTo>
                  <a:lnTo>
                    <a:pt x="105" y="35"/>
                  </a:lnTo>
                  <a:lnTo>
                    <a:pt x="123" y="35"/>
                  </a:lnTo>
                  <a:lnTo>
                    <a:pt x="123" y="17"/>
                  </a:lnTo>
                  <a:lnTo>
                    <a:pt x="140" y="17"/>
                  </a:lnTo>
                  <a:lnTo>
                    <a:pt x="140" y="35"/>
                  </a:lnTo>
                  <a:lnTo>
                    <a:pt x="174" y="52"/>
                  </a:lnTo>
                  <a:lnTo>
                    <a:pt x="192" y="52"/>
                  </a:lnTo>
                  <a:lnTo>
                    <a:pt x="157" y="52"/>
                  </a:lnTo>
                  <a:lnTo>
                    <a:pt x="140" y="52"/>
                  </a:lnTo>
                  <a:lnTo>
                    <a:pt x="157" y="87"/>
                  </a:lnTo>
                  <a:lnTo>
                    <a:pt x="174" y="87"/>
                  </a:lnTo>
                  <a:lnTo>
                    <a:pt x="192" y="87"/>
                  </a:lnTo>
                  <a:lnTo>
                    <a:pt x="228" y="87"/>
                  </a:lnTo>
                  <a:lnTo>
                    <a:pt x="247" y="104"/>
                  </a:lnTo>
                  <a:lnTo>
                    <a:pt x="265" y="104"/>
                  </a:lnTo>
                  <a:lnTo>
                    <a:pt x="299" y="87"/>
                  </a:lnTo>
                  <a:lnTo>
                    <a:pt x="353" y="87"/>
                  </a:lnTo>
                  <a:lnTo>
                    <a:pt x="388" y="87"/>
                  </a:lnTo>
                  <a:lnTo>
                    <a:pt x="422" y="87"/>
                  </a:lnTo>
                  <a:lnTo>
                    <a:pt x="439" y="87"/>
                  </a:lnTo>
                  <a:lnTo>
                    <a:pt x="476" y="104"/>
                  </a:lnTo>
                  <a:lnTo>
                    <a:pt x="457" y="104"/>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2" name="Freeform 360"/>
            <p:cNvSpPr>
              <a:spLocks/>
            </p:cNvSpPr>
            <p:nvPr/>
          </p:nvSpPr>
          <p:spPr bwMode="auto">
            <a:xfrm>
              <a:off x="3399479" y="2491147"/>
              <a:ext cx="75855" cy="44449"/>
            </a:xfrm>
            <a:custGeom>
              <a:avLst/>
              <a:gdLst>
                <a:gd name="T0" fmla="*/ 3 w 86"/>
                <a:gd name="T1" fmla="*/ 3 h 51"/>
                <a:gd name="T2" fmla="*/ 3 w 86"/>
                <a:gd name="T3" fmla="*/ 0 h 51"/>
                <a:gd name="T4" fmla="*/ 6 w 86"/>
                <a:gd name="T5" fmla="*/ 0 h 51"/>
                <a:gd name="T6" fmla="*/ 9 w 86"/>
                <a:gd name="T7" fmla="*/ 0 h 51"/>
                <a:gd name="T8" fmla="*/ 9 w 86"/>
                <a:gd name="T9" fmla="*/ 3 h 51"/>
                <a:gd name="T10" fmla="*/ 11 w 86"/>
                <a:gd name="T11" fmla="*/ 5 h 51"/>
                <a:gd name="T12" fmla="*/ 9 w 86"/>
                <a:gd name="T13" fmla="*/ 7 h 51"/>
                <a:gd name="T14" fmla="*/ 6 w 86"/>
                <a:gd name="T15" fmla="*/ 7 h 51"/>
                <a:gd name="T16" fmla="*/ 3 w 86"/>
                <a:gd name="T17" fmla="*/ 5 h 51"/>
                <a:gd name="T18" fmla="*/ 0 w 86"/>
                <a:gd name="T19" fmla="*/ 5 h 51"/>
                <a:gd name="T20" fmla="*/ 3 w 86"/>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3" name="Freeform 361"/>
            <p:cNvSpPr>
              <a:spLocks/>
            </p:cNvSpPr>
            <p:nvPr/>
          </p:nvSpPr>
          <p:spPr bwMode="auto">
            <a:xfrm>
              <a:off x="3413591" y="2388573"/>
              <a:ext cx="61742" cy="13677"/>
            </a:xfrm>
            <a:custGeom>
              <a:avLst/>
              <a:gdLst>
                <a:gd name="T0" fmla="*/ 6 w 71"/>
                <a:gd name="T1" fmla="*/ 0 h 17"/>
                <a:gd name="T2" fmla="*/ 8 w 71"/>
                <a:gd name="T3" fmla="*/ 0 h 17"/>
                <a:gd name="T4" fmla="*/ 8 w 71"/>
                <a:gd name="T5" fmla="*/ 2 h 17"/>
                <a:gd name="T6" fmla="*/ 6 w 71"/>
                <a:gd name="T7" fmla="*/ 2 h 17"/>
                <a:gd name="T8" fmla="*/ 4 w 71"/>
                <a:gd name="T9" fmla="*/ 2 h 17"/>
                <a:gd name="T10" fmla="*/ 0 w 71"/>
                <a:gd name="T11" fmla="*/ 0 h 17"/>
                <a:gd name="T12" fmla="*/ 4 w 71"/>
                <a:gd name="T13" fmla="*/ 0 h 17"/>
                <a:gd name="T14" fmla="*/ 6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4" name="Freeform 362"/>
            <p:cNvSpPr>
              <a:spLocks/>
            </p:cNvSpPr>
            <p:nvPr/>
          </p:nvSpPr>
          <p:spPr bwMode="auto">
            <a:xfrm>
              <a:off x="3353613" y="2328738"/>
              <a:ext cx="91731" cy="59835"/>
            </a:xfrm>
            <a:custGeom>
              <a:avLst/>
              <a:gdLst>
                <a:gd name="T0" fmla="*/ 5 w 104"/>
                <a:gd name="T1" fmla="*/ 9 h 69"/>
                <a:gd name="T2" fmla="*/ 5 w 104"/>
                <a:gd name="T3" fmla="*/ 7 h 69"/>
                <a:gd name="T4" fmla="*/ 3 w 104"/>
                <a:gd name="T5" fmla="*/ 5 h 69"/>
                <a:gd name="T6" fmla="*/ 0 w 104"/>
                <a:gd name="T7" fmla="*/ 3 h 69"/>
                <a:gd name="T8" fmla="*/ 3 w 104"/>
                <a:gd name="T9" fmla="*/ 0 h 69"/>
                <a:gd name="T10" fmla="*/ 5 w 104"/>
                <a:gd name="T11" fmla="*/ 0 h 69"/>
                <a:gd name="T12" fmla="*/ 5 w 104"/>
                <a:gd name="T13" fmla="*/ 3 h 69"/>
                <a:gd name="T14" fmla="*/ 7 w 104"/>
                <a:gd name="T15" fmla="*/ 3 h 69"/>
                <a:gd name="T16" fmla="*/ 9 w 104"/>
                <a:gd name="T17" fmla="*/ 3 h 69"/>
                <a:gd name="T18" fmla="*/ 11 w 104"/>
                <a:gd name="T19" fmla="*/ 3 h 69"/>
                <a:gd name="T20" fmla="*/ 13 w 104"/>
                <a:gd name="T21" fmla="*/ 5 h 69"/>
                <a:gd name="T22" fmla="*/ 11 w 104"/>
                <a:gd name="T23" fmla="*/ 5 h 69"/>
                <a:gd name="T24" fmla="*/ 11 w 104"/>
                <a:gd name="T25" fmla="*/ 7 h 69"/>
                <a:gd name="T26" fmla="*/ 13 w 104"/>
                <a:gd name="T27" fmla="*/ 9 h 69"/>
                <a:gd name="T28" fmla="*/ 9 w 104"/>
                <a:gd name="T29" fmla="*/ 9 h 69"/>
                <a:gd name="T30" fmla="*/ 5 w 104"/>
                <a:gd name="T31" fmla="*/ 9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5" name="Freeform 363"/>
            <p:cNvSpPr>
              <a:spLocks/>
            </p:cNvSpPr>
            <p:nvPr/>
          </p:nvSpPr>
          <p:spPr bwMode="auto">
            <a:xfrm>
              <a:off x="3321860" y="2270613"/>
              <a:ext cx="31753" cy="15386"/>
            </a:xfrm>
            <a:custGeom>
              <a:avLst/>
              <a:gdLst>
                <a:gd name="T0" fmla="*/ 4 w 37"/>
                <a:gd name="T1" fmla="*/ 0 h 19"/>
                <a:gd name="T2" fmla="*/ 4 w 37"/>
                <a:gd name="T3" fmla="*/ 2 h 19"/>
                <a:gd name="T4" fmla="*/ 2 w 37"/>
                <a:gd name="T5" fmla="*/ 2 h 19"/>
                <a:gd name="T6" fmla="*/ 0 w 37"/>
                <a:gd name="T7" fmla="*/ 0 h 19"/>
                <a:gd name="T8" fmla="*/ 2 w 37"/>
                <a:gd name="T9" fmla="*/ 0 h 19"/>
                <a:gd name="T10" fmla="*/ 4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6" name="Freeform 364"/>
            <p:cNvSpPr>
              <a:spLocks/>
            </p:cNvSpPr>
            <p:nvPr/>
          </p:nvSpPr>
          <p:spPr bwMode="auto">
            <a:xfrm>
              <a:off x="3413591" y="2197101"/>
              <a:ext cx="250496" cy="177795"/>
            </a:xfrm>
            <a:custGeom>
              <a:avLst/>
              <a:gdLst>
                <a:gd name="T0" fmla="*/ 26 w 284"/>
                <a:gd name="T1" fmla="*/ 11 h 209"/>
                <a:gd name="T2" fmla="*/ 28 w 284"/>
                <a:gd name="T3" fmla="*/ 8 h 209"/>
                <a:gd name="T4" fmla="*/ 28 w 284"/>
                <a:gd name="T5" fmla="*/ 13 h 209"/>
                <a:gd name="T6" fmla="*/ 34 w 284"/>
                <a:gd name="T7" fmla="*/ 13 h 209"/>
                <a:gd name="T8" fmla="*/ 36 w 284"/>
                <a:gd name="T9" fmla="*/ 17 h 209"/>
                <a:gd name="T10" fmla="*/ 28 w 284"/>
                <a:gd name="T11" fmla="*/ 21 h 209"/>
                <a:gd name="T12" fmla="*/ 26 w 284"/>
                <a:gd name="T13" fmla="*/ 19 h 209"/>
                <a:gd name="T14" fmla="*/ 24 w 284"/>
                <a:gd name="T15" fmla="*/ 21 h 209"/>
                <a:gd name="T16" fmla="*/ 26 w 284"/>
                <a:gd name="T17" fmla="*/ 23 h 209"/>
                <a:gd name="T18" fmla="*/ 24 w 284"/>
                <a:gd name="T19" fmla="*/ 26 h 209"/>
                <a:gd name="T20" fmla="*/ 22 w 284"/>
                <a:gd name="T21" fmla="*/ 21 h 209"/>
                <a:gd name="T22" fmla="*/ 19 w 284"/>
                <a:gd name="T23" fmla="*/ 26 h 209"/>
                <a:gd name="T24" fmla="*/ 15 w 284"/>
                <a:gd name="T25" fmla="*/ 26 h 209"/>
                <a:gd name="T26" fmla="*/ 13 w 284"/>
                <a:gd name="T27" fmla="*/ 21 h 209"/>
                <a:gd name="T28" fmla="*/ 9 w 284"/>
                <a:gd name="T29" fmla="*/ 19 h 209"/>
                <a:gd name="T30" fmla="*/ 13 w 284"/>
                <a:gd name="T31" fmla="*/ 17 h 209"/>
                <a:gd name="T32" fmla="*/ 15 w 284"/>
                <a:gd name="T33" fmla="*/ 17 h 209"/>
                <a:gd name="T34" fmla="*/ 11 w 284"/>
                <a:gd name="T35" fmla="*/ 15 h 209"/>
                <a:gd name="T36" fmla="*/ 9 w 284"/>
                <a:gd name="T37" fmla="*/ 17 h 209"/>
                <a:gd name="T38" fmla="*/ 6 w 284"/>
                <a:gd name="T39" fmla="*/ 17 h 209"/>
                <a:gd name="T40" fmla="*/ 6 w 284"/>
                <a:gd name="T41" fmla="*/ 15 h 209"/>
                <a:gd name="T42" fmla="*/ 4 w 284"/>
                <a:gd name="T43" fmla="*/ 13 h 209"/>
                <a:gd name="T44" fmla="*/ 0 w 284"/>
                <a:gd name="T45" fmla="*/ 11 h 209"/>
                <a:gd name="T46" fmla="*/ 4 w 284"/>
                <a:gd name="T47" fmla="*/ 11 h 209"/>
                <a:gd name="T48" fmla="*/ 4 w 284"/>
                <a:gd name="T49" fmla="*/ 8 h 209"/>
                <a:gd name="T50" fmla="*/ 0 w 284"/>
                <a:gd name="T51" fmla="*/ 6 h 209"/>
                <a:gd name="T52" fmla="*/ 4 w 284"/>
                <a:gd name="T53" fmla="*/ 6 h 209"/>
                <a:gd name="T54" fmla="*/ 9 w 284"/>
                <a:gd name="T55" fmla="*/ 6 h 209"/>
                <a:gd name="T56" fmla="*/ 4 w 284"/>
                <a:gd name="T57" fmla="*/ 6 h 209"/>
                <a:gd name="T58" fmla="*/ 6 w 284"/>
                <a:gd name="T59" fmla="*/ 2 h 209"/>
                <a:gd name="T60" fmla="*/ 9 w 284"/>
                <a:gd name="T61" fmla="*/ 4 h 209"/>
                <a:gd name="T62" fmla="*/ 9 w 284"/>
                <a:gd name="T63" fmla="*/ 2 h 209"/>
                <a:gd name="T64" fmla="*/ 6 w 284"/>
                <a:gd name="T65" fmla="*/ 0 h 209"/>
                <a:gd name="T66" fmla="*/ 13 w 284"/>
                <a:gd name="T67" fmla="*/ 0 h 209"/>
                <a:gd name="T68" fmla="*/ 15 w 284"/>
                <a:gd name="T69" fmla="*/ 4 h 209"/>
                <a:gd name="T70" fmla="*/ 18 w 284"/>
                <a:gd name="T71" fmla="*/ 6 h 209"/>
                <a:gd name="T72" fmla="*/ 22 w 284"/>
                <a:gd name="T73" fmla="*/ 6 h 209"/>
                <a:gd name="T74" fmla="*/ 24 w 284"/>
                <a:gd name="T75" fmla="*/ 11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4"/>
                <a:gd name="T115" fmla="*/ 0 h 209"/>
                <a:gd name="T116" fmla="*/ 284 w 284"/>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4" h="209">
                  <a:moveTo>
                    <a:pt x="196" y="88"/>
                  </a:moveTo>
                  <a:lnTo>
                    <a:pt x="213" y="88"/>
                  </a:lnTo>
                  <a:lnTo>
                    <a:pt x="213" y="71"/>
                  </a:lnTo>
                  <a:lnTo>
                    <a:pt x="230" y="71"/>
                  </a:lnTo>
                  <a:lnTo>
                    <a:pt x="230" y="88"/>
                  </a:lnTo>
                  <a:lnTo>
                    <a:pt x="230" y="106"/>
                  </a:lnTo>
                  <a:lnTo>
                    <a:pt x="250" y="106"/>
                  </a:lnTo>
                  <a:lnTo>
                    <a:pt x="267" y="106"/>
                  </a:lnTo>
                  <a:lnTo>
                    <a:pt x="284" y="123"/>
                  </a:lnTo>
                  <a:lnTo>
                    <a:pt x="284" y="138"/>
                  </a:lnTo>
                  <a:lnTo>
                    <a:pt x="250" y="156"/>
                  </a:lnTo>
                  <a:lnTo>
                    <a:pt x="230" y="173"/>
                  </a:lnTo>
                  <a:lnTo>
                    <a:pt x="213" y="173"/>
                  </a:lnTo>
                  <a:lnTo>
                    <a:pt x="213" y="156"/>
                  </a:lnTo>
                  <a:lnTo>
                    <a:pt x="213" y="173"/>
                  </a:lnTo>
                  <a:lnTo>
                    <a:pt x="196" y="173"/>
                  </a:lnTo>
                  <a:lnTo>
                    <a:pt x="213" y="173"/>
                  </a:lnTo>
                  <a:lnTo>
                    <a:pt x="213" y="190"/>
                  </a:lnTo>
                  <a:lnTo>
                    <a:pt x="196" y="190"/>
                  </a:lnTo>
                  <a:lnTo>
                    <a:pt x="196" y="209"/>
                  </a:lnTo>
                  <a:lnTo>
                    <a:pt x="177" y="190"/>
                  </a:lnTo>
                  <a:lnTo>
                    <a:pt x="177" y="173"/>
                  </a:lnTo>
                  <a:lnTo>
                    <a:pt x="159" y="190"/>
                  </a:lnTo>
                  <a:lnTo>
                    <a:pt x="159" y="209"/>
                  </a:lnTo>
                  <a:lnTo>
                    <a:pt x="140" y="209"/>
                  </a:lnTo>
                  <a:lnTo>
                    <a:pt x="123" y="209"/>
                  </a:lnTo>
                  <a:lnTo>
                    <a:pt x="106" y="190"/>
                  </a:lnTo>
                  <a:lnTo>
                    <a:pt x="106" y="173"/>
                  </a:lnTo>
                  <a:lnTo>
                    <a:pt x="71" y="173"/>
                  </a:lnTo>
                  <a:lnTo>
                    <a:pt x="71" y="156"/>
                  </a:lnTo>
                  <a:lnTo>
                    <a:pt x="88" y="138"/>
                  </a:lnTo>
                  <a:lnTo>
                    <a:pt x="106" y="138"/>
                  </a:lnTo>
                  <a:lnTo>
                    <a:pt x="140" y="138"/>
                  </a:lnTo>
                  <a:lnTo>
                    <a:pt x="123" y="138"/>
                  </a:lnTo>
                  <a:lnTo>
                    <a:pt x="106" y="123"/>
                  </a:lnTo>
                  <a:lnTo>
                    <a:pt x="88" y="123"/>
                  </a:lnTo>
                  <a:lnTo>
                    <a:pt x="88" y="138"/>
                  </a:lnTo>
                  <a:lnTo>
                    <a:pt x="71" y="138"/>
                  </a:lnTo>
                  <a:lnTo>
                    <a:pt x="54" y="123"/>
                  </a:lnTo>
                  <a:lnTo>
                    <a:pt x="54" y="138"/>
                  </a:lnTo>
                  <a:lnTo>
                    <a:pt x="35" y="123"/>
                  </a:lnTo>
                  <a:lnTo>
                    <a:pt x="54" y="123"/>
                  </a:lnTo>
                  <a:lnTo>
                    <a:pt x="54" y="106"/>
                  </a:lnTo>
                  <a:lnTo>
                    <a:pt x="35" y="106"/>
                  </a:lnTo>
                  <a:lnTo>
                    <a:pt x="0" y="106"/>
                  </a:lnTo>
                  <a:lnTo>
                    <a:pt x="0" y="88"/>
                  </a:lnTo>
                  <a:lnTo>
                    <a:pt x="17" y="88"/>
                  </a:lnTo>
                  <a:lnTo>
                    <a:pt x="35" y="88"/>
                  </a:lnTo>
                  <a:lnTo>
                    <a:pt x="54" y="88"/>
                  </a:lnTo>
                  <a:lnTo>
                    <a:pt x="35" y="71"/>
                  </a:lnTo>
                  <a:lnTo>
                    <a:pt x="17" y="71"/>
                  </a:lnTo>
                  <a:lnTo>
                    <a:pt x="0" y="54"/>
                  </a:lnTo>
                  <a:lnTo>
                    <a:pt x="17" y="54"/>
                  </a:lnTo>
                  <a:lnTo>
                    <a:pt x="35" y="54"/>
                  </a:lnTo>
                  <a:lnTo>
                    <a:pt x="54" y="54"/>
                  </a:lnTo>
                  <a:lnTo>
                    <a:pt x="71" y="54"/>
                  </a:lnTo>
                  <a:lnTo>
                    <a:pt x="54" y="54"/>
                  </a:lnTo>
                  <a:lnTo>
                    <a:pt x="35" y="54"/>
                  </a:lnTo>
                  <a:lnTo>
                    <a:pt x="35" y="35"/>
                  </a:lnTo>
                  <a:lnTo>
                    <a:pt x="54" y="17"/>
                  </a:lnTo>
                  <a:lnTo>
                    <a:pt x="54" y="35"/>
                  </a:lnTo>
                  <a:lnTo>
                    <a:pt x="71" y="35"/>
                  </a:lnTo>
                  <a:lnTo>
                    <a:pt x="88" y="35"/>
                  </a:lnTo>
                  <a:lnTo>
                    <a:pt x="71" y="17"/>
                  </a:lnTo>
                  <a:lnTo>
                    <a:pt x="54" y="17"/>
                  </a:lnTo>
                  <a:lnTo>
                    <a:pt x="54" y="0"/>
                  </a:lnTo>
                  <a:lnTo>
                    <a:pt x="71" y="0"/>
                  </a:lnTo>
                  <a:lnTo>
                    <a:pt x="106" y="0"/>
                  </a:lnTo>
                  <a:lnTo>
                    <a:pt x="106" y="17"/>
                  </a:lnTo>
                  <a:lnTo>
                    <a:pt x="123" y="35"/>
                  </a:lnTo>
                  <a:lnTo>
                    <a:pt x="123" y="54"/>
                  </a:lnTo>
                  <a:lnTo>
                    <a:pt x="140" y="54"/>
                  </a:lnTo>
                  <a:lnTo>
                    <a:pt x="159" y="54"/>
                  </a:lnTo>
                  <a:lnTo>
                    <a:pt x="177" y="54"/>
                  </a:lnTo>
                  <a:lnTo>
                    <a:pt x="196" y="71"/>
                  </a:lnTo>
                  <a:lnTo>
                    <a:pt x="196" y="8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7" name="Freeform 365"/>
            <p:cNvSpPr>
              <a:spLocks/>
            </p:cNvSpPr>
            <p:nvPr/>
          </p:nvSpPr>
          <p:spPr bwMode="auto">
            <a:xfrm>
              <a:off x="3879303" y="2815964"/>
              <a:ext cx="45866" cy="30772"/>
            </a:xfrm>
            <a:custGeom>
              <a:avLst/>
              <a:gdLst>
                <a:gd name="T0" fmla="*/ 7 w 52"/>
                <a:gd name="T1" fmla="*/ 2 h 36"/>
                <a:gd name="T2" fmla="*/ 3 w 52"/>
                <a:gd name="T3" fmla="*/ 5 h 36"/>
                <a:gd name="T4" fmla="*/ 0 w 52"/>
                <a:gd name="T5" fmla="*/ 5 h 36"/>
                <a:gd name="T6" fmla="*/ 0 w 52"/>
                <a:gd name="T7" fmla="*/ 2 h 36"/>
                <a:gd name="T8" fmla="*/ 0 w 52"/>
                <a:gd name="T9" fmla="*/ 0 h 36"/>
                <a:gd name="T10" fmla="*/ 5 w 52"/>
                <a:gd name="T11" fmla="*/ 0 h 36"/>
                <a:gd name="T12" fmla="*/ 7 w 52"/>
                <a:gd name="T13" fmla="*/ 2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8" name="Freeform 366"/>
            <p:cNvSpPr>
              <a:spLocks/>
            </p:cNvSpPr>
            <p:nvPr/>
          </p:nvSpPr>
          <p:spPr bwMode="auto">
            <a:xfrm>
              <a:off x="3769931" y="2581753"/>
              <a:ext cx="125248" cy="42739"/>
            </a:xfrm>
            <a:custGeom>
              <a:avLst/>
              <a:gdLst>
                <a:gd name="T0" fmla="*/ 6 w 142"/>
                <a:gd name="T1" fmla="*/ 6 h 50"/>
                <a:gd name="T2" fmla="*/ 4 w 142"/>
                <a:gd name="T3" fmla="*/ 6 h 50"/>
                <a:gd name="T4" fmla="*/ 4 w 142"/>
                <a:gd name="T5" fmla="*/ 5 h 50"/>
                <a:gd name="T6" fmla="*/ 2 w 142"/>
                <a:gd name="T7" fmla="*/ 2 h 50"/>
                <a:gd name="T8" fmla="*/ 0 w 142"/>
                <a:gd name="T9" fmla="*/ 2 h 50"/>
                <a:gd name="T10" fmla="*/ 0 w 142"/>
                <a:gd name="T11" fmla="*/ 0 h 50"/>
                <a:gd name="T12" fmla="*/ 2 w 142"/>
                <a:gd name="T13" fmla="*/ 0 h 50"/>
                <a:gd name="T14" fmla="*/ 6 w 142"/>
                <a:gd name="T15" fmla="*/ 0 h 50"/>
                <a:gd name="T16" fmla="*/ 9 w 142"/>
                <a:gd name="T17" fmla="*/ 0 h 50"/>
                <a:gd name="T18" fmla="*/ 13 w 142"/>
                <a:gd name="T19" fmla="*/ 0 h 50"/>
                <a:gd name="T20" fmla="*/ 15 w 142"/>
                <a:gd name="T21" fmla="*/ 2 h 50"/>
                <a:gd name="T22" fmla="*/ 18 w 142"/>
                <a:gd name="T23" fmla="*/ 5 h 50"/>
                <a:gd name="T24" fmla="*/ 15 w 142"/>
                <a:gd name="T25" fmla="*/ 5 h 50"/>
                <a:gd name="T26" fmla="*/ 15 w 142"/>
                <a:gd name="T27" fmla="*/ 6 h 50"/>
                <a:gd name="T28" fmla="*/ 13 w 142"/>
                <a:gd name="T29" fmla="*/ 6 h 50"/>
                <a:gd name="T30" fmla="*/ 11 w 142"/>
                <a:gd name="T31" fmla="*/ 5 h 50"/>
                <a:gd name="T32" fmla="*/ 11 w 142"/>
                <a:gd name="T33" fmla="*/ 6 h 50"/>
                <a:gd name="T34" fmla="*/ 9 w 142"/>
                <a:gd name="T35" fmla="*/ 6 h 50"/>
                <a:gd name="T36" fmla="*/ 6 w 142"/>
                <a:gd name="T37" fmla="*/ 6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2"/>
                <a:gd name="T58" fmla="*/ 0 h 50"/>
                <a:gd name="T59" fmla="*/ 142 w 142"/>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2" h="50">
                  <a:moveTo>
                    <a:pt x="54" y="50"/>
                  </a:moveTo>
                  <a:lnTo>
                    <a:pt x="37" y="50"/>
                  </a:lnTo>
                  <a:lnTo>
                    <a:pt x="37" y="33"/>
                  </a:lnTo>
                  <a:lnTo>
                    <a:pt x="19" y="15"/>
                  </a:lnTo>
                  <a:lnTo>
                    <a:pt x="0" y="15"/>
                  </a:lnTo>
                  <a:lnTo>
                    <a:pt x="0" y="0"/>
                  </a:lnTo>
                  <a:lnTo>
                    <a:pt x="19" y="0"/>
                  </a:lnTo>
                  <a:lnTo>
                    <a:pt x="54" y="0"/>
                  </a:lnTo>
                  <a:lnTo>
                    <a:pt x="71" y="0"/>
                  </a:lnTo>
                  <a:lnTo>
                    <a:pt x="108" y="0"/>
                  </a:lnTo>
                  <a:lnTo>
                    <a:pt x="125" y="15"/>
                  </a:lnTo>
                  <a:lnTo>
                    <a:pt x="142" y="33"/>
                  </a:lnTo>
                  <a:lnTo>
                    <a:pt x="125" y="33"/>
                  </a:lnTo>
                  <a:lnTo>
                    <a:pt x="125" y="50"/>
                  </a:lnTo>
                  <a:lnTo>
                    <a:pt x="108" y="50"/>
                  </a:lnTo>
                  <a:lnTo>
                    <a:pt x="90" y="33"/>
                  </a:lnTo>
                  <a:lnTo>
                    <a:pt x="90" y="50"/>
                  </a:lnTo>
                  <a:lnTo>
                    <a:pt x="71" y="50"/>
                  </a:lnTo>
                  <a:lnTo>
                    <a:pt x="54" y="5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89" name="Freeform 367"/>
            <p:cNvSpPr>
              <a:spLocks/>
            </p:cNvSpPr>
            <p:nvPr/>
          </p:nvSpPr>
          <p:spPr bwMode="auto">
            <a:xfrm>
              <a:off x="3925168" y="2815964"/>
              <a:ext cx="33517" cy="15386"/>
            </a:xfrm>
            <a:custGeom>
              <a:avLst/>
              <a:gdLst>
                <a:gd name="T0" fmla="*/ 3 w 36"/>
                <a:gd name="T1" fmla="*/ 3 h 17"/>
                <a:gd name="T2" fmla="*/ 0 w 36"/>
                <a:gd name="T3" fmla="*/ 3 h 17"/>
                <a:gd name="T4" fmla="*/ 0 w 36"/>
                <a:gd name="T5" fmla="*/ 0 h 17"/>
                <a:gd name="T6" fmla="*/ 3 w 36"/>
                <a:gd name="T7" fmla="*/ 0 h 17"/>
                <a:gd name="T8" fmla="*/ 5 w 36"/>
                <a:gd name="T9" fmla="*/ 3 h 17"/>
                <a:gd name="T10" fmla="*/ 3 w 36"/>
                <a:gd name="T11" fmla="*/ 3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90" name="Freeform 368"/>
            <p:cNvSpPr>
              <a:spLocks/>
            </p:cNvSpPr>
            <p:nvPr/>
          </p:nvSpPr>
          <p:spPr bwMode="auto">
            <a:xfrm>
              <a:off x="3819325" y="2771516"/>
              <a:ext cx="12348" cy="0"/>
            </a:xfrm>
            <a:custGeom>
              <a:avLst/>
              <a:gdLst>
                <a:gd name="T0" fmla="*/ 0 w 13"/>
                <a:gd name="T1" fmla="*/ 2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91" name="Freeform 369"/>
            <p:cNvSpPr>
              <a:spLocks/>
            </p:cNvSpPr>
            <p:nvPr/>
          </p:nvSpPr>
          <p:spPr bwMode="auto">
            <a:xfrm>
              <a:off x="3552952" y="2581753"/>
              <a:ext cx="702095" cy="458164"/>
            </a:xfrm>
            <a:custGeom>
              <a:avLst/>
              <a:gdLst>
                <a:gd name="T0" fmla="*/ 91 w 795"/>
                <a:gd name="T1" fmla="*/ 50 h 535"/>
                <a:gd name="T2" fmla="*/ 80 w 795"/>
                <a:gd name="T3" fmla="*/ 44 h 535"/>
                <a:gd name="T4" fmla="*/ 80 w 795"/>
                <a:gd name="T5" fmla="*/ 46 h 535"/>
                <a:gd name="T6" fmla="*/ 80 w 795"/>
                <a:gd name="T7" fmla="*/ 48 h 535"/>
                <a:gd name="T8" fmla="*/ 84 w 795"/>
                <a:gd name="T9" fmla="*/ 50 h 535"/>
                <a:gd name="T10" fmla="*/ 89 w 795"/>
                <a:gd name="T11" fmla="*/ 52 h 535"/>
                <a:gd name="T12" fmla="*/ 89 w 795"/>
                <a:gd name="T13" fmla="*/ 59 h 535"/>
                <a:gd name="T14" fmla="*/ 84 w 795"/>
                <a:gd name="T15" fmla="*/ 61 h 535"/>
                <a:gd name="T16" fmla="*/ 78 w 795"/>
                <a:gd name="T17" fmla="*/ 61 h 535"/>
                <a:gd name="T18" fmla="*/ 82 w 795"/>
                <a:gd name="T19" fmla="*/ 67 h 535"/>
                <a:gd name="T20" fmla="*/ 76 w 795"/>
                <a:gd name="T21" fmla="*/ 63 h 535"/>
                <a:gd name="T22" fmla="*/ 65 w 795"/>
                <a:gd name="T23" fmla="*/ 61 h 535"/>
                <a:gd name="T24" fmla="*/ 58 w 795"/>
                <a:gd name="T25" fmla="*/ 54 h 535"/>
                <a:gd name="T26" fmla="*/ 51 w 795"/>
                <a:gd name="T27" fmla="*/ 52 h 535"/>
                <a:gd name="T28" fmla="*/ 42 w 795"/>
                <a:gd name="T29" fmla="*/ 52 h 535"/>
                <a:gd name="T30" fmla="*/ 47 w 795"/>
                <a:gd name="T31" fmla="*/ 50 h 535"/>
                <a:gd name="T32" fmla="*/ 54 w 795"/>
                <a:gd name="T33" fmla="*/ 50 h 535"/>
                <a:gd name="T34" fmla="*/ 56 w 795"/>
                <a:gd name="T35" fmla="*/ 48 h 535"/>
                <a:gd name="T36" fmla="*/ 56 w 795"/>
                <a:gd name="T37" fmla="*/ 44 h 535"/>
                <a:gd name="T38" fmla="*/ 60 w 795"/>
                <a:gd name="T39" fmla="*/ 41 h 535"/>
                <a:gd name="T40" fmla="*/ 56 w 795"/>
                <a:gd name="T41" fmla="*/ 31 h 535"/>
                <a:gd name="T42" fmla="*/ 49 w 795"/>
                <a:gd name="T43" fmla="*/ 31 h 535"/>
                <a:gd name="T44" fmla="*/ 49 w 795"/>
                <a:gd name="T45" fmla="*/ 29 h 535"/>
                <a:gd name="T46" fmla="*/ 40 w 795"/>
                <a:gd name="T47" fmla="*/ 22 h 535"/>
                <a:gd name="T48" fmla="*/ 36 w 795"/>
                <a:gd name="T49" fmla="*/ 26 h 535"/>
                <a:gd name="T50" fmla="*/ 29 w 795"/>
                <a:gd name="T51" fmla="*/ 22 h 535"/>
                <a:gd name="T52" fmla="*/ 16 w 795"/>
                <a:gd name="T53" fmla="*/ 22 h 535"/>
                <a:gd name="T54" fmla="*/ 10 w 795"/>
                <a:gd name="T55" fmla="*/ 22 h 535"/>
                <a:gd name="T56" fmla="*/ 3 w 795"/>
                <a:gd name="T57" fmla="*/ 17 h 535"/>
                <a:gd name="T58" fmla="*/ 10 w 795"/>
                <a:gd name="T59" fmla="*/ 17 h 535"/>
                <a:gd name="T60" fmla="*/ 3 w 795"/>
                <a:gd name="T61" fmla="*/ 15 h 535"/>
                <a:gd name="T62" fmla="*/ 3 w 795"/>
                <a:gd name="T63" fmla="*/ 9 h 535"/>
                <a:gd name="T64" fmla="*/ 7 w 795"/>
                <a:gd name="T65" fmla="*/ 0 h 535"/>
                <a:gd name="T66" fmla="*/ 16 w 795"/>
                <a:gd name="T67" fmla="*/ 0 h 535"/>
                <a:gd name="T68" fmla="*/ 12 w 795"/>
                <a:gd name="T69" fmla="*/ 7 h 535"/>
                <a:gd name="T70" fmla="*/ 14 w 795"/>
                <a:gd name="T71" fmla="*/ 11 h 535"/>
                <a:gd name="T72" fmla="*/ 16 w 795"/>
                <a:gd name="T73" fmla="*/ 7 h 535"/>
                <a:gd name="T74" fmla="*/ 29 w 795"/>
                <a:gd name="T75" fmla="*/ 0 h 535"/>
                <a:gd name="T76" fmla="*/ 34 w 795"/>
                <a:gd name="T77" fmla="*/ 9 h 535"/>
                <a:gd name="T78" fmla="*/ 40 w 795"/>
                <a:gd name="T79" fmla="*/ 9 h 535"/>
                <a:gd name="T80" fmla="*/ 47 w 795"/>
                <a:gd name="T81" fmla="*/ 7 h 535"/>
                <a:gd name="T82" fmla="*/ 54 w 795"/>
                <a:gd name="T83" fmla="*/ 11 h 535"/>
                <a:gd name="T84" fmla="*/ 62 w 795"/>
                <a:gd name="T85" fmla="*/ 15 h 535"/>
                <a:gd name="T86" fmla="*/ 69 w 795"/>
                <a:gd name="T87" fmla="*/ 17 h 535"/>
                <a:gd name="T88" fmla="*/ 76 w 795"/>
                <a:gd name="T89" fmla="*/ 22 h 535"/>
                <a:gd name="T90" fmla="*/ 82 w 795"/>
                <a:gd name="T91" fmla="*/ 24 h 535"/>
                <a:gd name="T92" fmla="*/ 76 w 795"/>
                <a:gd name="T93" fmla="*/ 26 h 535"/>
                <a:gd name="T94" fmla="*/ 82 w 795"/>
                <a:gd name="T95" fmla="*/ 26 h 535"/>
                <a:gd name="T96" fmla="*/ 78 w 795"/>
                <a:gd name="T97" fmla="*/ 31 h 535"/>
                <a:gd name="T98" fmla="*/ 82 w 795"/>
                <a:gd name="T99" fmla="*/ 33 h 535"/>
                <a:gd name="T100" fmla="*/ 89 w 795"/>
                <a:gd name="T101" fmla="*/ 37 h 535"/>
                <a:gd name="T102" fmla="*/ 93 w 795"/>
                <a:gd name="T103" fmla="*/ 39 h 535"/>
                <a:gd name="T104" fmla="*/ 98 w 795"/>
                <a:gd name="T105" fmla="*/ 44 h 535"/>
                <a:gd name="T106" fmla="*/ 98 w 795"/>
                <a:gd name="T107" fmla="*/ 46 h 535"/>
                <a:gd name="T108" fmla="*/ 93 w 795"/>
                <a:gd name="T109" fmla="*/ 48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5"/>
                <a:gd name="T166" fmla="*/ 0 h 535"/>
                <a:gd name="T167" fmla="*/ 795 w 79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5" h="535">
                  <a:moveTo>
                    <a:pt x="741" y="378"/>
                  </a:moveTo>
                  <a:lnTo>
                    <a:pt x="741" y="395"/>
                  </a:lnTo>
                  <a:lnTo>
                    <a:pt x="724" y="395"/>
                  </a:lnTo>
                  <a:lnTo>
                    <a:pt x="690" y="395"/>
                  </a:lnTo>
                  <a:lnTo>
                    <a:pt x="672" y="361"/>
                  </a:lnTo>
                  <a:lnTo>
                    <a:pt x="638" y="346"/>
                  </a:lnTo>
                  <a:lnTo>
                    <a:pt x="619" y="346"/>
                  </a:lnTo>
                  <a:lnTo>
                    <a:pt x="619" y="361"/>
                  </a:lnTo>
                  <a:lnTo>
                    <a:pt x="638" y="361"/>
                  </a:lnTo>
                  <a:lnTo>
                    <a:pt x="619" y="361"/>
                  </a:lnTo>
                  <a:lnTo>
                    <a:pt x="619" y="378"/>
                  </a:lnTo>
                  <a:lnTo>
                    <a:pt x="638" y="378"/>
                  </a:lnTo>
                  <a:lnTo>
                    <a:pt x="638" y="395"/>
                  </a:lnTo>
                  <a:lnTo>
                    <a:pt x="655" y="395"/>
                  </a:lnTo>
                  <a:lnTo>
                    <a:pt x="672" y="395"/>
                  </a:lnTo>
                  <a:lnTo>
                    <a:pt x="672" y="413"/>
                  </a:lnTo>
                  <a:lnTo>
                    <a:pt x="690" y="413"/>
                  </a:lnTo>
                  <a:lnTo>
                    <a:pt x="707" y="413"/>
                  </a:lnTo>
                  <a:lnTo>
                    <a:pt x="707" y="430"/>
                  </a:lnTo>
                  <a:lnTo>
                    <a:pt x="707" y="447"/>
                  </a:lnTo>
                  <a:lnTo>
                    <a:pt x="707" y="466"/>
                  </a:lnTo>
                  <a:lnTo>
                    <a:pt x="707" y="484"/>
                  </a:lnTo>
                  <a:lnTo>
                    <a:pt x="707" y="501"/>
                  </a:lnTo>
                  <a:lnTo>
                    <a:pt x="672" y="484"/>
                  </a:lnTo>
                  <a:lnTo>
                    <a:pt x="638" y="466"/>
                  </a:lnTo>
                  <a:lnTo>
                    <a:pt x="601" y="447"/>
                  </a:lnTo>
                  <a:lnTo>
                    <a:pt x="619" y="484"/>
                  </a:lnTo>
                  <a:lnTo>
                    <a:pt x="655" y="501"/>
                  </a:lnTo>
                  <a:lnTo>
                    <a:pt x="655" y="518"/>
                  </a:lnTo>
                  <a:lnTo>
                    <a:pt x="655" y="535"/>
                  </a:lnTo>
                  <a:lnTo>
                    <a:pt x="655" y="518"/>
                  </a:lnTo>
                  <a:lnTo>
                    <a:pt x="619" y="501"/>
                  </a:lnTo>
                  <a:lnTo>
                    <a:pt x="601" y="501"/>
                  </a:lnTo>
                  <a:lnTo>
                    <a:pt x="584" y="501"/>
                  </a:lnTo>
                  <a:lnTo>
                    <a:pt x="532" y="501"/>
                  </a:lnTo>
                  <a:lnTo>
                    <a:pt x="515" y="484"/>
                  </a:lnTo>
                  <a:lnTo>
                    <a:pt x="515" y="447"/>
                  </a:lnTo>
                  <a:lnTo>
                    <a:pt x="478" y="447"/>
                  </a:lnTo>
                  <a:lnTo>
                    <a:pt x="461" y="430"/>
                  </a:lnTo>
                  <a:lnTo>
                    <a:pt x="425" y="413"/>
                  </a:lnTo>
                  <a:lnTo>
                    <a:pt x="425" y="430"/>
                  </a:lnTo>
                  <a:lnTo>
                    <a:pt x="407" y="413"/>
                  </a:lnTo>
                  <a:lnTo>
                    <a:pt x="390" y="413"/>
                  </a:lnTo>
                  <a:lnTo>
                    <a:pt x="371" y="430"/>
                  </a:lnTo>
                  <a:lnTo>
                    <a:pt x="336" y="413"/>
                  </a:lnTo>
                  <a:lnTo>
                    <a:pt x="336" y="395"/>
                  </a:lnTo>
                  <a:lnTo>
                    <a:pt x="354" y="395"/>
                  </a:lnTo>
                  <a:lnTo>
                    <a:pt x="371" y="395"/>
                  </a:lnTo>
                  <a:lnTo>
                    <a:pt x="390" y="395"/>
                  </a:lnTo>
                  <a:lnTo>
                    <a:pt x="407" y="395"/>
                  </a:lnTo>
                  <a:lnTo>
                    <a:pt x="425" y="395"/>
                  </a:lnTo>
                  <a:lnTo>
                    <a:pt x="442" y="395"/>
                  </a:lnTo>
                  <a:lnTo>
                    <a:pt x="461" y="378"/>
                  </a:lnTo>
                  <a:lnTo>
                    <a:pt x="442" y="378"/>
                  </a:lnTo>
                  <a:lnTo>
                    <a:pt x="442" y="361"/>
                  </a:lnTo>
                  <a:lnTo>
                    <a:pt x="425" y="361"/>
                  </a:lnTo>
                  <a:lnTo>
                    <a:pt x="442" y="346"/>
                  </a:lnTo>
                  <a:lnTo>
                    <a:pt x="461" y="346"/>
                  </a:lnTo>
                  <a:lnTo>
                    <a:pt x="478" y="346"/>
                  </a:lnTo>
                  <a:lnTo>
                    <a:pt x="478" y="328"/>
                  </a:lnTo>
                  <a:lnTo>
                    <a:pt x="478" y="311"/>
                  </a:lnTo>
                  <a:lnTo>
                    <a:pt x="478" y="276"/>
                  </a:lnTo>
                  <a:lnTo>
                    <a:pt x="442" y="242"/>
                  </a:lnTo>
                  <a:lnTo>
                    <a:pt x="407" y="225"/>
                  </a:lnTo>
                  <a:lnTo>
                    <a:pt x="407" y="242"/>
                  </a:lnTo>
                  <a:lnTo>
                    <a:pt x="390" y="242"/>
                  </a:lnTo>
                  <a:lnTo>
                    <a:pt x="371" y="242"/>
                  </a:lnTo>
                  <a:lnTo>
                    <a:pt x="371" y="225"/>
                  </a:lnTo>
                  <a:lnTo>
                    <a:pt x="390" y="225"/>
                  </a:lnTo>
                  <a:lnTo>
                    <a:pt x="371" y="205"/>
                  </a:lnTo>
                  <a:lnTo>
                    <a:pt x="354" y="171"/>
                  </a:lnTo>
                  <a:lnTo>
                    <a:pt x="319" y="171"/>
                  </a:lnTo>
                  <a:lnTo>
                    <a:pt x="302" y="171"/>
                  </a:lnTo>
                  <a:lnTo>
                    <a:pt x="302" y="188"/>
                  </a:lnTo>
                  <a:lnTo>
                    <a:pt x="285" y="205"/>
                  </a:lnTo>
                  <a:lnTo>
                    <a:pt x="267" y="205"/>
                  </a:lnTo>
                  <a:lnTo>
                    <a:pt x="267" y="188"/>
                  </a:lnTo>
                  <a:lnTo>
                    <a:pt x="231" y="171"/>
                  </a:lnTo>
                  <a:lnTo>
                    <a:pt x="179" y="188"/>
                  </a:lnTo>
                  <a:lnTo>
                    <a:pt x="125" y="188"/>
                  </a:lnTo>
                  <a:lnTo>
                    <a:pt x="125" y="171"/>
                  </a:lnTo>
                  <a:lnTo>
                    <a:pt x="108" y="171"/>
                  </a:lnTo>
                  <a:lnTo>
                    <a:pt x="91" y="171"/>
                  </a:lnTo>
                  <a:lnTo>
                    <a:pt x="73" y="171"/>
                  </a:lnTo>
                  <a:lnTo>
                    <a:pt x="56" y="171"/>
                  </a:lnTo>
                  <a:lnTo>
                    <a:pt x="39" y="154"/>
                  </a:lnTo>
                  <a:lnTo>
                    <a:pt x="20" y="136"/>
                  </a:lnTo>
                  <a:lnTo>
                    <a:pt x="39" y="136"/>
                  </a:lnTo>
                  <a:lnTo>
                    <a:pt x="56" y="136"/>
                  </a:lnTo>
                  <a:lnTo>
                    <a:pt x="73" y="136"/>
                  </a:lnTo>
                  <a:lnTo>
                    <a:pt x="73" y="119"/>
                  </a:lnTo>
                  <a:lnTo>
                    <a:pt x="56" y="119"/>
                  </a:lnTo>
                  <a:lnTo>
                    <a:pt x="20" y="119"/>
                  </a:lnTo>
                  <a:lnTo>
                    <a:pt x="20" y="102"/>
                  </a:lnTo>
                  <a:lnTo>
                    <a:pt x="0" y="102"/>
                  </a:lnTo>
                  <a:lnTo>
                    <a:pt x="20" y="67"/>
                  </a:lnTo>
                  <a:lnTo>
                    <a:pt x="20" y="50"/>
                  </a:lnTo>
                  <a:lnTo>
                    <a:pt x="20" y="33"/>
                  </a:lnTo>
                  <a:lnTo>
                    <a:pt x="56" y="0"/>
                  </a:lnTo>
                  <a:lnTo>
                    <a:pt x="73" y="0"/>
                  </a:lnTo>
                  <a:lnTo>
                    <a:pt x="108" y="0"/>
                  </a:lnTo>
                  <a:lnTo>
                    <a:pt x="125" y="0"/>
                  </a:lnTo>
                  <a:lnTo>
                    <a:pt x="125" y="15"/>
                  </a:lnTo>
                  <a:lnTo>
                    <a:pt x="108" y="33"/>
                  </a:lnTo>
                  <a:lnTo>
                    <a:pt x="91" y="50"/>
                  </a:lnTo>
                  <a:lnTo>
                    <a:pt x="91" y="67"/>
                  </a:lnTo>
                  <a:lnTo>
                    <a:pt x="108" y="67"/>
                  </a:lnTo>
                  <a:lnTo>
                    <a:pt x="108" y="85"/>
                  </a:lnTo>
                  <a:lnTo>
                    <a:pt x="125" y="85"/>
                  </a:lnTo>
                  <a:lnTo>
                    <a:pt x="125" y="67"/>
                  </a:lnTo>
                  <a:lnTo>
                    <a:pt x="125" y="50"/>
                  </a:lnTo>
                  <a:lnTo>
                    <a:pt x="143" y="15"/>
                  </a:lnTo>
                  <a:lnTo>
                    <a:pt x="196" y="0"/>
                  </a:lnTo>
                  <a:lnTo>
                    <a:pt x="231" y="0"/>
                  </a:lnTo>
                  <a:lnTo>
                    <a:pt x="248" y="0"/>
                  </a:lnTo>
                  <a:lnTo>
                    <a:pt x="248" y="33"/>
                  </a:lnTo>
                  <a:lnTo>
                    <a:pt x="267" y="67"/>
                  </a:lnTo>
                  <a:lnTo>
                    <a:pt x="285" y="67"/>
                  </a:lnTo>
                  <a:lnTo>
                    <a:pt x="302" y="67"/>
                  </a:lnTo>
                  <a:lnTo>
                    <a:pt x="319" y="67"/>
                  </a:lnTo>
                  <a:lnTo>
                    <a:pt x="336" y="67"/>
                  </a:lnTo>
                  <a:lnTo>
                    <a:pt x="354" y="50"/>
                  </a:lnTo>
                  <a:lnTo>
                    <a:pt x="371" y="50"/>
                  </a:lnTo>
                  <a:lnTo>
                    <a:pt x="390" y="67"/>
                  </a:lnTo>
                  <a:lnTo>
                    <a:pt x="425" y="67"/>
                  </a:lnTo>
                  <a:lnTo>
                    <a:pt x="425" y="85"/>
                  </a:lnTo>
                  <a:lnTo>
                    <a:pt x="442" y="102"/>
                  </a:lnTo>
                  <a:lnTo>
                    <a:pt x="478" y="119"/>
                  </a:lnTo>
                  <a:lnTo>
                    <a:pt x="496" y="119"/>
                  </a:lnTo>
                  <a:lnTo>
                    <a:pt x="515" y="119"/>
                  </a:lnTo>
                  <a:lnTo>
                    <a:pt x="532" y="119"/>
                  </a:lnTo>
                  <a:lnTo>
                    <a:pt x="549" y="136"/>
                  </a:lnTo>
                  <a:lnTo>
                    <a:pt x="584" y="154"/>
                  </a:lnTo>
                  <a:lnTo>
                    <a:pt x="601" y="154"/>
                  </a:lnTo>
                  <a:lnTo>
                    <a:pt x="601" y="171"/>
                  </a:lnTo>
                  <a:lnTo>
                    <a:pt x="619" y="171"/>
                  </a:lnTo>
                  <a:lnTo>
                    <a:pt x="638" y="171"/>
                  </a:lnTo>
                  <a:lnTo>
                    <a:pt x="655" y="188"/>
                  </a:lnTo>
                  <a:lnTo>
                    <a:pt x="638" y="188"/>
                  </a:lnTo>
                  <a:lnTo>
                    <a:pt x="619" y="205"/>
                  </a:lnTo>
                  <a:lnTo>
                    <a:pt x="601" y="205"/>
                  </a:lnTo>
                  <a:lnTo>
                    <a:pt x="619" y="205"/>
                  </a:lnTo>
                  <a:lnTo>
                    <a:pt x="638" y="205"/>
                  </a:lnTo>
                  <a:lnTo>
                    <a:pt x="655" y="205"/>
                  </a:lnTo>
                  <a:lnTo>
                    <a:pt x="655" y="225"/>
                  </a:lnTo>
                  <a:lnTo>
                    <a:pt x="638" y="225"/>
                  </a:lnTo>
                  <a:lnTo>
                    <a:pt x="619" y="242"/>
                  </a:lnTo>
                  <a:lnTo>
                    <a:pt x="638" y="242"/>
                  </a:lnTo>
                  <a:lnTo>
                    <a:pt x="655" y="242"/>
                  </a:lnTo>
                  <a:lnTo>
                    <a:pt x="655" y="259"/>
                  </a:lnTo>
                  <a:lnTo>
                    <a:pt x="672" y="276"/>
                  </a:lnTo>
                  <a:lnTo>
                    <a:pt x="690" y="294"/>
                  </a:lnTo>
                  <a:lnTo>
                    <a:pt x="707" y="294"/>
                  </a:lnTo>
                  <a:lnTo>
                    <a:pt x="707" y="311"/>
                  </a:lnTo>
                  <a:lnTo>
                    <a:pt x="724" y="311"/>
                  </a:lnTo>
                  <a:lnTo>
                    <a:pt x="741" y="311"/>
                  </a:lnTo>
                  <a:lnTo>
                    <a:pt x="761" y="328"/>
                  </a:lnTo>
                  <a:lnTo>
                    <a:pt x="778" y="328"/>
                  </a:lnTo>
                  <a:lnTo>
                    <a:pt x="778" y="346"/>
                  </a:lnTo>
                  <a:lnTo>
                    <a:pt x="795" y="346"/>
                  </a:lnTo>
                  <a:lnTo>
                    <a:pt x="778" y="346"/>
                  </a:lnTo>
                  <a:lnTo>
                    <a:pt x="778" y="361"/>
                  </a:lnTo>
                  <a:lnTo>
                    <a:pt x="778" y="378"/>
                  </a:lnTo>
                  <a:lnTo>
                    <a:pt x="761" y="378"/>
                  </a:lnTo>
                  <a:lnTo>
                    <a:pt x="741" y="37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92" name="Freeform 370"/>
            <p:cNvSpPr>
              <a:spLocks/>
            </p:cNvSpPr>
            <p:nvPr/>
          </p:nvSpPr>
          <p:spPr bwMode="auto">
            <a:xfrm>
              <a:off x="3505322" y="2094527"/>
              <a:ext cx="749725" cy="367558"/>
            </a:xfrm>
            <a:custGeom>
              <a:avLst/>
              <a:gdLst>
                <a:gd name="T0" fmla="*/ 85 w 848"/>
                <a:gd name="T1" fmla="*/ 5 h 430"/>
                <a:gd name="T2" fmla="*/ 96 w 848"/>
                <a:gd name="T3" fmla="*/ 3 h 430"/>
                <a:gd name="T4" fmla="*/ 104 w 848"/>
                <a:gd name="T5" fmla="*/ 7 h 430"/>
                <a:gd name="T6" fmla="*/ 104 w 848"/>
                <a:gd name="T7" fmla="*/ 9 h 430"/>
                <a:gd name="T8" fmla="*/ 87 w 848"/>
                <a:gd name="T9" fmla="*/ 15 h 430"/>
                <a:gd name="T10" fmla="*/ 96 w 848"/>
                <a:gd name="T11" fmla="*/ 15 h 430"/>
                <a:gd name="T12" fmla="*/ 82 w 848"/>
                <a:gd name="T13" fmla="*/ 22 h 430"/>
                <a:gd name="T14" fmla="*/ 71 w 848"/>
                <a:gd name="T15" fmla="*/ 28 h 430"/>
                <a:gd name="T16" fmla="*/ 65 w 848"/>
                <a:gd name="T17" fmla="*/ 28 h 430"/>
                <a:gd name="T18" fmla="*/ 60 w 848"/>
                <a:gd name="T19" fmla="*/ 33 h 430"/>
                <a:gd name="T20" fmla="*/ 60 w 848"/>
                <a:gd name="T21" fmla="*/ 37 h 430"/>
                <a:gd name="T22" fmla="*/ 54 w 848"/>
                <a:gd name="T23" fmla="*/ 43 h 430"/>
                <a:gd name="T24" fmla="*/ 49 w 848"/>
                <a:gd name="T25" fmla="*/ 46 h 430"/>
                <a:gd name="T26" fmla="*/ 47 w 848"/>
                <a:gd name="T27" fmla="*/ 50 h 430"/>
                <a:gd name="T28" fmla="*/ 45 w 848"/>
                <a:gd name="T29" fmla="*/ 54 h 430"/>
                <a:gd name="T30" fmla="*/ 36 w 848"/>
                <a:gd name="T31" fmla="*/ 52 h 430"/>
                <a:gd name="T32" fmla="*/ 25 w 848"/>
                <a:gd name="T33" fmla="*/ 52 h 430"/>
                <a:gd name="T34" fmla="*/ 21 w 848"/>
                <a:gd name="T35" fmla="*/ 54 h 430"/>
                <a:gd name="T36" fmla="*/ 9 w 848"/>
                <a:gd name="T37" fmla="*/ 52 h 430"/>
                <a:gd name="T38" fmla="*/ 18 w 848"/>
                <a:gd name="T39" fmla="*/ 48 h 430"/>
                <a:gd name="T40" fmla="*/ 16 w 848"/>
                <a:gd name="T41" fmla="*/ 43 h 430"/>
                <a:gd name="T42" fmla="*/ 25 w 848"/>
                <a:gd name="T43" fmla="*/ 46 h 430"/>
                <a:gd name="T44" fmla="*/ 23 w 848"/>
                <a:gd name="T45" fmla="*/ 43 h 430"/>
                <a:gd name="T46" fmla="*/ 18 w 848"/>
                <a:gd name="T47" fmla="*/ 41 h 430"/>
                <a:gd name="T48" fmla="*/ 16 w 848"/>
                <a:gd name="T49" fmla="*/ 37 h 430"/>
                <a:gd name="T50" fmla="*/ 23 w 848"/>
                <a:gd name="T51" fmla="*/ 37 h 430"/>
                <a:gd name="T52" fmla="*/ 25 w 848"/>
                <a:gd name="T53" fmla="*/ 28 h 430"/>
                <a:gd name="T54" fmla="*/ 21 w 848"/>
                <a:gd name="T55" fmla="*/ 26 h 430"/>
                <a:gd name="T56" fmla="*/ 21 w 848"/>
                <a:gd name="T57" fmla="*/ 24 h 430"/>
                <a:gd name="T58" fmla="*/ 27 w 848"/>
                <a:gd name="T59" fmla="*/ 24 h 430"/>
                <a:gd name="T60" fmla="*/ 36 w 848"/>
                <a:gd name="T61" fmla="*/ 28 h 430"/>
                <a:gd name="T62" fmla="*/ 31 w 848"/>
                <a:gd name="T63" fmla="*/ 24 h 430"/>
                <a:gd name="T64" fmla="*/ 38 w 848"/>
                <a:gd name="T65" fmla="*/ 24 h 430"/>
                <a:gd name="T66" fmla="*/ 45 w 848"/>
                <a:gd name="T67" fmla="*/ 22 h 430"/>
                <a:gd name="T68" fmla="*/ 36 w 848"/>
                <a:gd name="T69" fmla="*/ 22 h 430"/>
                <a:gd name="T70" fmla="*/ 27 w 848"/>
                <a:gd name="T71" fmla="*/ 22 h 430"/>
                <a:gd name="T72" fmla="*/ 21 w 848"/>
                <a:gd name="T73" fmla="*/ 22 h 430"/>
                <a:gd name="T74" fmla="*/ 12 w 848"/>
                <a:gd name="T75" fmla="*/ 22 h 430"/>
                <a:gd name="T76" fmla="*/ 14 w 848"/>
                <a:gd name="T77" fmla="*/ 18 h 430"/>
                <a:gd name="T78" fmla="*/ 9 w 848"/>
                <a:gd name="T79" fmla="*/ 15 h 430"/>
                <a:gd name="T80" fmla="*/ 14 w 848"/>
                <a:gd name="T81" fmla="*/ 15 h 430"/>
                <a:gd name="T82" fmla="*/ 7 w 848"/>
                <a:gd name="T83" fmla="*/ 15 h 430"/>
                <a:gd name="T84" fmla="*/ 5 w 848"/>
                <a:gd name="T85" fmla="*/ 15 h 430"/>
                <a:gd name="T86" fmla="*/ 3 w 848"/>
                <a:gd name="T87" fmla="*/ 13 h 430"/>
                <a:gd name="T88" fmla="*/ 16 w 848"/>
                <a:gd name="T89" fmla="*/ 9 h 430"/>
                <a:gd name="T90" fmla="*/ 25 w 848"/>
                <a:gd name="T91" fmla="*/ 7 h 430"/>
                <a:gd name="T92" fmla="*/ 31 w 848"/>
                <a:gd name="T93" fmla="*/ 7 h 430"/>
                <a:gd name="T94" fmla="*/ 38 w 848"/>
                <a:gd name="T95" fmla="*/ 5 h 430"/>
                <a:gd name="T96" fmla="*/ 45 w 848"/>
                <a:gd name="T97" fmla="*/ 3 h 430"/>
                <a:gd name="T98" fmla="*/ 56 w 848"/>
                <a:gd name="T99" fmla="*/ 0 h 430"/>
                <a:gd name="T100" fmla="*/ 62 w 848"/>
                <a:gd name="T101" fmla="*/ 3 h 430"/>
                <a:gd name="T102" fmla="*/ 67 w 848"/>
                <a:gd name="T103" fmla="*/ 0 h 430"/>
                <a:gd name="T104" fmla="*/ 76 w 848"/>
                <a:gd name="T105" fmla="*/ 0 h 4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8"/>
                <a:gd name="T160" fmla="*/ 0 h 430"/>
                <a:gd name="T161" fmla="*/ 848 w 848"/>
                <a:gd name="T162" fmla="*/ 430 h 4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8" h="430">
                  <a:moveTo>
                    <a:pt x="708" y="17"/>
                  </a:moveTo>
                  <a:lnTo>
                    <a:pt x="689" y="35"/>
                  </a:lnTo>
                  <a:lnTo>
                    <a:pt x="672" y="35"/>
                  </a:lnTo>
                  <a:lnTo>
                    <a:pt x="708" y="35"/>
                  </a:lnTo>
                  <a:lnTo>
                    <a:pt x="725" y="17"/>
                  </a:lnTo>
                  <a:lnTo>
                    <a:pt x="760" y="17"/>
                  </a:lnTo>
                  <a:lnTo>
                    <a:pt x="777" y="35"/>
                  </a:lnTo>
                  <a:lnTo>
                    <a:pt x="814" y="52"/>
                  </a:lnTo>
                  <a:lnTo>
                    <a:pt x="831" y="52"/>
                  </a:lnTo>
                  <a:lnTo>
                    <a:pt x="848" y="52"/>
                  </a:lnTo>
                  <a:lnTo>
                    <a:pt x="848" y="69"/>
                  </a:lnTo>
                  <a:lnTo>
                    <a:pt x="831" y="69"/>
                  </a:lnTo>
                  <a:lnTo>
                    <a:pt x="777" y="87"/>
                  </a:lnTo>
                  <a:lnTo>
                    <a:pt x="743" y="104"/>
                  </a:lnTo>
                  <a:lnTo>
                    <a:pt x="689" y="121"/>
                  </a:lnTo>
                  <a:lnTo>
                    <a:pt x="708" y="121"/>
                  </a:lnTo>
                  <a:lnTo>
                    <a:pt x="743" y="121"/>
                  </a:lnTo>
                  <a:lnTo>
                    <a:pt x="760" y="121"/>
                  </a:lnTo>
                  <a:lnTo>
                    <a:pt x="725" y="138"/>
                  </a:lnTo>
                  <a:lnTo>
                    <a:pt x="689" y="156"/>
                  </a:lnTo>
                  <a:lnTo>
                    <a:pt x="654" y="173"/>
                  </a:lnTo>
                  <a:lnTo>
                    <a:pt x="620" y="173"/>
                  </a:lnTo>
                  <a:lnTo>
                    <a:pt x="583" y="207"/>
                  </a:lnTo>
                  <a:lnTo>
                    <a:pt x="566" y="225"/>
                  </a:lnTo>
                  <a:lnTo>
                    <a:pt x="549" y="225"/>
                  </a:lnTo>
                  <a:lnTo>
                    <a:pt x="531" y="225"/>
                  </a:lnTo>
                  <a:lnTo>
                    <a:pt x="514" y="225"/>
                  </a:lnTo>
                  <a:lnTo>
                    <a:pt x="478" y="242"/>
                  </a:lnTo>
                  <a:lnTo>
                    <a:pt x="459" y="257"/>
                  </a:lnTo>
                  <a:lnTo>
                    <a:pt x="478" y="257"/>
                  </a:lnTo>
                  <a:lnTo>
                    <a:pt x="478" y="275"/>
                  </a:lnTo>
                  <a:lnTo>
                    <a:pt x="459" y="275"/>
                  </a:lnTo>
                  <a:lnTo>
                    <a:pt x="478" y="292"/>
                  </a:lnTo>
                  <a:lnTo>
                    <a:pt x="459" y="309"/>
                  </a:lnTo>
                  <a:lnTo>
                    <a:pt x="441" y="326"/>
                  </a:lnTo>
                  <a:lnTo>
                    <a:pt x="424" y="344"/>
                  </a:lnTo>
                  <a:lnTo>
                    <a:pt x="407" y="344"/>
                  </a:lnTo>
                  <a:lnTo>
                    <a:pt x="389" y="344"/>
                  </a:lnTo>
                  <a:lnTo>
                    <a:pt x="389" y="361"/>
                  </a:lnTo>
                  <a:lnTo>
                    <a:pt x="353" y="378"/>
                  </a:lnTo>
                  <a:lnTo>
                    <a:pt x="353" y="396"/>
                  </a:lnTo>
                  <a:lnTo>
                    <a:pt x="372" y="396"/>
                  </a:lnTo>
                  <a:lnTo>
                    <a:pt x="389" y="396"/>
                  </a:lnTo>
                  <a:lnTo>
                    <a:pt x="372" y="413"/>
                  </a:lnTo>
                  <a:lnTo>
                    <a:pt x="353" y="430"/>
                  </a:lnTo>
                  <a:lnTo>
                    <a:pt x="318" y="430"/>
                  </a:lnTo>
                  <a:lnTo>
                    <a:pt x="301" y="430"/>
                  </a:lnTo>
                  <a:lnTo>
                    <a:pt x="284" y="413"/>
                  </a:lnTo>
                  <a:lnTo>
                    <a:pt x="247" y="413"/>
                  </a:lnTo>
                  <a:lnTo>
                    <a:pt x="213" y="413"/>
                  </a:lnTo>
                  <a:lnTo>
                    <a:pt x="196" y="413"/>
                  </a:lnTo>
                  <a:lnTo>
                    <a:pt x="196" y="430"/>
                  </a:lnTo>
                  <a:lnTo>
                    <a:pt x="178" y="430"/>
                  </a:lnTo>
                  <a:lnTo>
                    <a:pt x="161" y="430"/>
                  </a:lnTo>
                  <a:lnTo>
                    <a:pt x="124" y="413"/>
                  </a:lnTo>
                  <a:lnTo>
                    <a:pt x="90" y="413"/>
                  </a:lnTo>
                  <a:lnTo>
                    <a:pt x="71" y="413"/>
                  </a:lnTo>
                  <a:lnTo>
                    <a:pt x="90" y="396"/>
                  </a:lnTo>
                  <a:lnTo>
                    <a:pt x="124" y="378"/>
                  </a:lnTo>
                  <a:lnTo>
                    <a:pt x="142" y="378"/>
                  </a:lnTo>
                  <a:lnTo>
                    <a:pt x="124" y="361"/>
                  </a:lnTo>
                  <a:lnTo>
                    <a:pt x="107" y="344"/>
                  </a:lnTo>
                  <a:lnTo>
                    <a:pt x="124" y="344"/>
                  </a:lnTo>
                  <a:lnTo>
                    <a:pt x="161" y="344"/>
                  </a:lnTo>
                  <a:lnTo>
                    <a:pt x="178" y="344"/>
                  </a:lnTo>
                  <a:lnTo>
                    <a:pt x="196" y="361"/>
                  </a:lnTo>
                  <a:lnTo>
                    <a:pt x="213" y="361"/>
                  </a:lnTo>
                  <a:lnTo>
                    <a:pt x="196" y="344"/>
                  </a:lnTo>
                  <a:lnTo>
                    <a:pt x="178" y="344"/>
                  </a:lnTo>
                  <a:lnTo>
                    <a:pt x="178" y="326"/>
                  </a:lnTo>
                  <a:lnTo>
                    <a:pt x="161" y="326"/>
                  </a:lnTo>
                  <a:lnTo>
                    <a:pt x="142" y="326"/>
                  </a:lnTo>
                  <a:lnTo>
                    <a:pt x="124" y="326"/>
                  </a:lnTo>
                  <a:lnTo>
                    <a:pt x="124" y="309"/>
                  </a:lnTo>
                  <a:lnTo>
                    <a:pt x="124" y="292"/>
                  </a:lnTo>
                  <a:lnTo>
                    <a:pt x="142" y="292"/>
                  </a:lnTo>
                  <a:lnTo>
                    <a:pt x="161" y="292"/>
                  </a:lnTo>
                  <a:lnTo>
                    <a:pt x="178" y="292"/>
                  </a:lnTo>
                  <a:lnTo>
                    <a:pt x="196" y="275"/>
                  </a:lnTo>
                  <a:lnTo>
                    <a:pt x="213" y="257"/>
                  </a:lnTo>
                  <a:lnTo>
                    <a:pt x="196" y="225"/>
                  </a:lnTo>
                  <a:lnTo>
                    <a:pt x="161" y="225"/>
                  </a:lnTo>
                  <a:lnTo>
                    <a:pt x="142" y="207"/>
                  </a:lnTo>
                  <a:lnTo>
                    <a:pt x="161" y="207"/>
                  </a:lnTo>
                  <a:lnTo>
                    <a:pt x="178" y="207"/>
                  </a:lnTo>
                  <a:lnTo>
                    <a:pt x="161" y="207"/>
                  </a:lnTo>
                  <a:lnTo>
                    <a:pt x="161" y="190"/>
                  </a:lnTo>
                  <a:lnTo>
                    <a:pt x="178" y="190"/>
                  </a:lnTo>
                  <a:lnTo>
                    <a:pt x="196" y="190"/>
                  </a:lnTo>
                  <a:lnTo>
                    <a:pt x="213" y="190"/>
                  </a:lnTo>
                  <a:lnTo>
                    <a:pt x="247" y="207"/>
                  </a:lnTo>
                  <a:lnTo>
                    <a:pt x="247" y="225"/>
                  </a:lnTo>
                  <a:lnTo>
                    <a:pt x="284" y="225"/>
                  </a:lnTo>
                  <a:lnTo>
                    <a:pt x="267" y="225"/>
                  </a:lnTo>
                  <a:lnTo>
                    <a:pt x="247" y="207"/>
                  </a:lnTo>
                  <a:lnTo>
                    <a:pt x="247" y="190"/>
                  </a:lnTo>
                  <a:lnTo>
                    <a:pt x="267" y="190"/>
                  </a:lnTo>
                  <a:lnTo>
                    <a:pt x="284" y="190"/>
                  </a:lnTo>
                  <a:lnTo>
                    <a:pt x="301" y="190"/>
                  </a:lnTo>
                  <a:lnTo>
                    <a:pt x="318" y="173"/>
                  </a:lnTo>
                  <a:lnTo>
                    <a:pt x="336" y="173"/>
                  </a:lnTo>
                  <a:lnTo>
                    <a:pt x="353" y="173"/>
                  </a:lnTo>
                  <a:lnTo>
                    <a:pt x="336" y="173"/>
                  </a:lnTo>
                  <a:lnTo>
                    <a:pt x="301" y="173"/>
                  </a:lnTo>
                  <a:lnTo>
                    <a:pt x="284" y="173"/>
                  </a:lnTo>
                  <a:lnTo>
                    <a:pt x="247" y="173"/>
                  </a:lnTo>
                  <a:lnTo>
                    <a:pt x="230" y="173"/>
                  </a:lnTo>
                  <a:lnTo>
                    <a:pt x="213" y="173"/>
                  </a:lnTo>
                  <a:lnTo>
                    <a:pt x="196" y="173"/>
                  </a:lnTo>
                  <a:lnTo>
                    <a:pt x="178" y="173"/>
                  </a:lnTo>
                  <a:lnTo>
                    <a:pt x="161" y="173"/>
                  </a:lnTo>
                  <a:lnTo>
                    <a:pt x="142" y="173"/>
                  </a:lnTo>
                  <a:lnTo>
                    <a:pt x="124" y="173"/>
                  </a:lnTo>
                  <a:lnTo>
                    <a:pt x="90" y="173"/>
                  </a:lnTo>
                  <a:lnTo>
                    <a:pt x="71" y="156"/>
                  </a:lnTo>
                  <a:lnTo>
                    <a:pt x="90" y="156"/>
                  </a:lnTo>
                  <a:lnTo>
                    <a:pt x="107" y="138"/>
                  </a:lnTo>
                  <a:lnTo>
                    <a:pt x="90" y="138"/>
                  </a:lnTo>
                  <a:lnTo>
                    <a:pt x="71" y="138"/>
                  </a:lnTo>
                  <a:lnTo>
                    <a:pt x="71" y="121"/>
                  </a:lnTo>
                  <a:lnTo>
                    <a:pt x="90" y="121"/>
                  </a:lnTo>
                  <a:lnTo>
                    <a:pt x="124" y="121"/>
                  </a:lnTo>
                  <a:lnTo>
                    <a:pt x="107" y="121"/>
                  </a:lnTo>
                  <a:lnTo>
                    <a:pt x="90" y="121"/>
                  </a:lnTo>
                  <a:lnTo>
                    <a:pt x="71" y="121"/>
                  </a:lnTo>
                  <a:lnTo>
                    <a:pt x="53" y="121"/>
                  </a:lnTo>
                  <a:lnTo>
                    <a:pt x="71" y="121"/>
                  </a:lnTo>
                  <a:lnTo>
                    <a:pt x="53" y="121"/>
                  </a:lnTo>
                  <a:lnTo>
                    <a:pt x="36" y="121"/>
                  </a:lnTo>
                  <a:lnTo>
                    <a:pt x="17" y="121"/>
                  </a:lnTo>
                  <a:lnTo>
                    <a:pt x="0" y="121"/>
                  </a:lnTo>
                  <a:lnTo>
                    <a:pt x="17" y="104"/>
                  </a:lnTo>
                  <a:lnTo>
                    <a:pt x="71" y="87"/>
                  </a:lnTo>
                  <a:lnTo>
                    <a:pt x="107" y="69"/>
                  </a:lnTo>
                  <a:lnTo>
                    <a:pt x="124" y="69"/>
                  </a:lnTo>
                  <a:lnTo>
                    <a:pt x="161" y="52"/>
                  </a:lnTo>
                  <a:lnTo>
                    <a:pt x="178" y="52"/>
                  </a:lnTo>
                  <a:lnTo>
                    <a:pt x="196" y="52"/>
                  </a:lnTo>
                  <a:lnTo>
                    <a:pt x="213" y="52"/>
                  </a:lnTo>
                  <a:lnTo>
                    <a:pt x="247" y="69"/>
                  </a:lnTo>
                  <a:lnTo>
                    <a:pt x="247" y="52"/>
                  </a:lnTo>
                  <a:lnTo>
                    <a:pt x="267" y="35"/>
                  </a:lnTo>
                  <a:lnTo>
                    <a:pt x="284" y="35"/>
                  </a:lnTo>
                  <a:lnTo>
                    <a:pt x="301" y="35"/>
                  </a:lnTo>
                  <a:lnTo>
                    <a:pt x="301" y="17"/>
                  </a:lnTo>
                  <a:lnTo>
                    <a:pt x="318" y="17"/>
                  </a:lnTo>
                  <a:lnTo>
                    <a:pt x="353" y="17"/>
                  </a:lnTo>
                  <a:lnTo>
                    <a:pt x="389" y="17"/>
                  </a:lnTo>
                  <a:lnTo>
                    <a:pt x="424" y="17"/>
                  </a:lnTo>
                  <a:lnTo>
                    <a:pt x="441" y="0"/>
                  </a:lnTo>
                  <a:lnTo>
                    <a:pt x="459" y="0"/>
                  </a:lnTo>
                  <a:lnTo>
                    <a:pt x="478" y="17"/>
                  </a:lnTo>
                  <a:lnTo>
                    <a:pt x="495" y="17"/>
                  </a:lnTo>
                  <a:lnTo>
                    <a:pt x="495" y="0"/>
                  </a:lnTo>
                  <a:lnTo>
                    <a:pt x="514" y="0"/>
                  </a:lnTo>
                  <a:lnTo>
                    <a:pt x="531" y="0"/>
                  </a:lnTo>
                  <a:lnTo>
                    <a:pt x="549" y="0"/>
                  </a:lnTo>
                  <a:lnTo>
                    <a:pt x="566" y="0"/>
                  </a:lnTo>
                  <a:lnTo>
                    <a:pt x="602" y="0"/>
                  </a:lnTo>
                  <a:lnTo>
                    <a:pt x="654" y="17"/>
                  </a:lnTo>
                  <a:lnTo>
                    <a:pt x="708" y="17"/>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893" name="Freeform 371"/>
            <p:cNvSpPr>
              <a:spLocks/>
            </p:cNvSpPr>
            <p:nvPr/>
          </p:nvSpPr>
          <p:spPr bwMode="auto">
            <a:xfrm>
              <a:off x="3972798" y="2063755"/>
              <a:ext cx="1427123" cy="1032578"/>
            </a:xfrm>
            <a:custGeom>
              <a:avLst/>
              <a:gdLst>
                <a:gd name="T0" fmla="*/ 75 w 1618"/>
                <a:gd name="T1" fmla="*/ 97 h 1209"/>
                <a:gd name="T2" fmla="*/ 66 w 1618"/>
                <a:gd name="T3" fmla="*/ 95 h 1209"/>
                <a:gd name="T4" fmla="*/ 66 w 1618"/>
                <a:gd name="T5" fmla="*/ 88 h 1209"/>
                <a:gd name="T6" fmla="*/ 57 w 1618"/>
                <a:gd name="T7" fmla="*/ 88 h 1209"/>
                <a:gd name="T8" fmla="*/ 57 w 1618"/>
                <a:gd name="T9" fmla="*/ 79 h 1209"/>
                <a:gd name="T10" fmla="*/ 44 w 1618"/>
                <a:gd name="T11" fmla="*/ 62 h 1209"/>
                <a:gd name="T12" fmla="*/ 26 w 1618"/>
                <a:gd name="T13" fmla="*/ 60 h 1209"/>
                <a:gd name="T14" fmla="*/ 20 w 1618"/>
                <a:gd name="T15" fmla="*/ 60 h 1209"/>
                <a:gd name="T16" fmla="*/ 15 w 1618"/>
                <a:gd name="T17" fmla="*/ 56 h 1209"/>
                <a:gd name="T18" fmla="*/ 6 w 1618"/>
                <a:gd name="T19" fmla="*/ 54 h 1209"/>
                <a:gd name="T20" fmla="*/ 15 w 1618"/>
                <a:gd name="T21" fmla="*/ 51 h 1209"/>
                <a:gd name="T22" fmla="*/ 20 w 1618"/>
                <a:gd name="T23" fmla="*/ 47 h 1209"/>
                <a:gd name="T24" fmla="*/ 5 w 1618"/>
                <a:gd name="T25" fmla="*/ 47 h 1209"/>
                <a:gd name="T26" fmla="*/ 9 w 1618"/>
                <a:gd name="T27" fmla="*/ 41 h 1209"/>
                <a:gd name="T28" fmla="*/ 22 w 1618"/>
                <a:gd name="T29" fmla="*/ 36 h 1209"/>
                <a:gd name="T30" fmla="*/ 18 w 1618"/>
                <a:gd name="T31" fmla="*/ 28 h 1209"/>
                <a:gd name="T32" fmla="*/ 33 w 1618"/>
                <a:gd name="T33" fmla="*/ 19 h 1209"/>
                <a:gd name="T34" fmla="*/ 44 w 1618"/>
                <a:gd name="T35" fmla="*/ 15 h 1209"/>
                <a:gd name="T36" fmla="*/ 59 w 1618"/>
                <a:gd name="T37" fmla="*/ 10 h 1209"/>
                <a:gd name="T38" fmla="*/ 66 w 1618"/>
                <a:gd name="T39" fmla="*/ 12 h 1209"/>
                <a:gd name="T40" fmla="*/ 82 w 1618"/>
                <a:gd name="T41" fmla="*/ 10 h 1209"/>
                <a:gd name="T42" fmla="*/ 84 w 1618"/>
                <a:gd name="T43" fmla="*/ 10 h 1209"/>
                <a:gd name="T44" fmla="*/ 88 w 1618"/>
                <a:gd name="T45" fmla="*/ 4 h 1209"/>
                <a:gd name="T46" fmla="*/ 103 w 1618"/>
                <a:gd name="T47" fmla="*/ 4 h 1209"/>
                <a:gd name="T48" fmla="*/ 120 w 1618"/>
                <a:gd name="T49" fmla="*/ 0 h 1209"/>
                <a:gd name="T50" fmla="*/ 150 w 1618"/>
                <a:gd name="T51" fmla="*/ 2 h 1209"/>
                <a:gd name="T52" fmla="*/ 172 w 1618"/>
                <a:gd name="T53" fmla="*/ 8 h 1209"/>
                <a:gd name="T54" fmla="*/ 148 w 1618"/>
                <a:gd name="T55" fmla="*/ 12 h 1209"/>
                <a:gd name="T56" fmla="*/ 152 w 1618"/>
                <a:gd name="T57" fmla="*/ 12 h 1209"/>
                <a:gd name="T58" fmla="*/ 159 w 1618"/>
                <a:gd name="T59" fmla="*/ 19 h 1209"/>
                <a:gd name="T60" fmla="*/ 172 w 1618"/>
                <a:gd name="T61" fmla="*/ 17 h 1209"/>
                <a:gd name="T62" fmla="*/ 172 w 1618"/>
                <a:gd name="T63" fmla="*/ 19 h 1209"/>
                <a:gd name="T64" fmla="*/ 185 w 1618"/>
                <a:gd name="T65" fmla="*/ 17 h 1209"/>
                <a:gd name="T66" fmla="*/ 196 w 1618"/>
                <a:gd name="T67" fmla="*/ 15 h 1209"/>
                <a:gd name="T68" fmla="*/ 202 w 1618"/>
                <a:gd name="T69" fmla="*/ 19 h 1209"/>
                <a:gd name="T70" fmla="*/ 189 w 1618"/>
                <a:gd name="T71" fmla="*/ 28 h 1209"/>
                <a:gd name="T72" fmla="*/ 181 w 1618"/>
                <a:gd name="T73" fmla="*/ 32 h 1209"/>
                <a:gd name="T74" fmla="*/ 174 w 1618"/>
                <a:gd name="T75" fmla="*/ 41 h 1209"/>
                <a:gd name="T76" fmla="*/ 181 w 1618"/>
                <a:gd name="T77" fmla="*/ 45 h 1209"/>
                <a:gd name="T78" fmla="*/ 185 w 1618"/>
                <a:gd name="T79" fmla="*/ 51 h 1209"/>
                <a:gd name="T80" fmla="*/ 174 w 1618"/>
                <a:gd name="T81" fmla="*/ 56 h 1209"/>
                <a:gd name="T82" fmla="*/ 181 w 1618"/>
                <a:gd name="T83" fmla="*/ 64 h 1209"/>
                <a:gd name="T84" fmla="*/ 181 w 1618"/>
                <a:gd name="T85" fmla="*/ 69 h 1209"/>
                <a:gd name="T86" fmla="*/ 172 w 1618"/>
                <a:gd name="T87" fmla="*/ 77 h 1209"/>
                <a:gd name="T88" fmla="*/ 170 w 1618"/>
                <a:gd name="T89" fmla="*/ 77 h 1209"/>
                <a:gd name="T90" fmla="*/ 165 w 1618"/>
                <a:gd name="T91" fmla="*/ 82 h 1209"/>
                <a:gd name="T92" fmla="*/ 172 w 1618"/>
                <a:gd name="T93" fmla="*/ 88 h 1209"/>
                <a:gd name="T94" fmla="*/ 165 w 1618"/>
                <a:gd name="T95" fmla="*/ 90 h 1209"/>
                <a:gd name="T96" fmla="*/ 161 w 1618"/>
                <a:gd name="T97" fmla="*/ 97 h 1209"/>
                <a:gd name="T98" fmla="*/ 163 w 1618"/>
                <a:gd name="T99" fmla="*/ 101 h 1209"/>
                <a:gd name="T100" fmla="*/ 141 w 1618"/>
                <a:gd name="T101" fmla="*/ 107 h 1209"/>
                <a:gd name="T102" fmla="*/ 135 w 1618"/>
                <a:gd name="T103" fmla="*/ 112 h 1209"/>
                <a:gd name="T104" fmla="*/ 123 w 1618"/>
                <a:gd name="T105" fmla="*/ 120 h 1209"/>
                <a:gd name="T106" fmla="*/ 116 w 1618"/>
                <a:gd name="T107" fmla="*/ 120 h 1209"/>
                <a:gd name="T108" fmla="*/ 107 w 1618"/>
                <a:gd name="T109" fmla="*/ 129 h 1209"/>
                <a:gd name="T110" fmla="*/ 101 w 1618"/>
                <a:gd name="T111" fmla="*/ 138 h 1209"/>
                <a:gd name="T112" fmla="*/ 99 w 1618"/>
                <a:gd name="T113" fmla="*/ 151 h 1209"/>
                <a:gd name="T114" fmla="*/ 93 w 1618"/>
                <a:gd name="T115" fmla="*/ 148 h 1209"/>
                <a:gd name="T116" fmla="*/ 82 w 1618"/>
                <a:gd name="T117" fmla="*/ 144 h 1209"/>
                <a:gd name="T118" fmla="*/ 73 w 1618"/>
                <a:gd name="T119" fmla="*/ 133 h 1209"/>
                <a:gd name="T120" fmla="*/ 71 w 1618"/>
                <a:gd name="T121" fmla="*/ 127 h 1209"/>
                <a:gd name="T122" fmla="*/ 63 w 1618"/>
                <a:gd name="T123" fmla="*/ 119 h 1209"/>
                <a:gd name="T124" fmla="*/ 69 w 1618"/>
                <a:gd name="T125" fmla="*/ 107 h 1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8"/>
                <a:gd name="T190" fmla="*/ 0 h 1209"/>
                <a:gd name="T191" fmla="*/ 1618 w 1618"/>
                <a:gd name="T192" fmla="*/ 1209 h 1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8" h="1209">
                  <a:moveTo>
                    <a:pt x="545" y="846"/>
                  </a:moveTo>
                  <a:lnTo>
                    <a:pt x="562" y="846"/>
                  </a:lnTo>
                  <a:lnTo>
                    <a:pt x="562" y="829"/>
                  </a:lnTo>
                  <a:lnTo>
                    <a:pt x="579" y="811"/>
                  </a:lnTo>
                  <a:lnTo>
                    <a:pt x="599" y="777"/>
                  </a:lnTo>
                  <a:lnTo>
                    <a:pt x="562" y="777"/>
                  </a:lnTo>
                  <a:lnTo>
                    <a:pt x="510" y="777"/>
                  </a:lnTo>
                  <a:lnTo>
                    <a:pt x="493" y="742"/>
                  </a:lnTo>
                  <a:lnTo>
                    <a:pt x="510" y="742"/>
                  </a:lnTo>
                  <a:lnTo>
                    <a:pt x="527" y="760"/>
                  </a:lnTo>
                  <a:lnTo>
                    <a:pt x="545" y="760"/>
                  </a:lnTo>
                  <a:lnTo>
                    <a:pt x="562" y="760"/>
                  </a:lnTo>
                  <a:lnTo>
                    <a:pt x="562" y="742"/>
                  </a:lnTo>
                  <a:lnTo>
                    <a:pt x="562" y="725"/>
                  </a:lnTo>
                  <a:lnTo>
                    <a:pt x="527" y="708"/>
                  </a:lnTo>
                  <a:lnTo>
                    <a:pt x="510" y="691"/>
                  </a:lnTo>
                  <a:lnTo>
                    <a:pt x="510" y="708"/>
                  </a:lnTo>
                  <a:lnTo>
                    <a:pt x="493" y="708"/>
                  </a:lnTo>
                  <a:lnTo>
                    <a:pt x="476" y="725"/>
                  </a:lnTo>
                  <a:lnTo>
                    <a:pt x="458" y="708"/>
                  </a:lnTo>
                  <a:lnTo>
                    <a:pt x="458" y="691"/>
                  </a:lnTo>
                  <a:lnTo>
                    <a:pt x="458" y="673"/>
                  </a:lnTo>
                  <a:lnTo>
                    <a:pt x="476" y="673"/>
                  </a:lnTo>
                  <a:lnTo>
                    <a:pt x="476" y="656"/>
                  </a:lnTo>
                  <a:lnTo>
                    <a:pt x="458" y="639"/>
                  </a:lnTo>
                  <a:lnTo>
                    <a:pt x="458" y="621"/>
                  </a:lnTo>
                  <a:lnTo>
                    <a:pt x="458" y="589"/>
                  </a:lnTo>
                  <a:lnTo>
                    <a:pt x="422" y="552"/>
                  </a:lnTo>
                  <a:lnTo>
                    <a:pt x="405" y="518"/>
                  </a:lnTo>
                  <a:lnTo>
                    <a:pt x="351" y="501"/>
                  </a:lnTo>
                  <a:lnTo>
                    <a:pt x="316" y="466"/>
                  </a:lnTo>
                  <a:lnTo>
                    <a:pt x="263" y="466"/>
                  </a:lnTo>
                  <a:lnTo>
                    <a:pt x="245" y="466"/>
                  </a:lnTo>
                  <a:lnTo>
                    <a:pt x="228" y="466"/>
                  </a:lnTo>
                  <a:lnTo>
                    <a:pt x="211" y="483"/>
                  </a:lnTo>
                  <a:lnTo>
                    <a:pt x="193" y="483"/>
                  </a:lnTo>
                  <a:lnTo>
                    <a:pt x="193" y="466"/>
                  </a:lnTo>
                  <a:lnTo>
                    <a:pt x="176" y="466"/>
                  </a:lnTo>
                  <a:lnTo>
                    <a:pt x="176" y="483"/>
                  </a:lnTo>
                  <a:lnTo>
                    <a:pt x="157" y="483"/>
                  </a:lnTo>
                  <a:lnTo>
                    <a:pt x="140" y="483"/>
                  </a:lnTo>
                  <a:lnTo>
                    <a:pt x="122" y="466"/>
                  </a:lnTo>
                  <a:lnTo>
                    <a:pt x="105" y="466"/>
                  </a:lnTo>
                  <a:lnTo>
                    <a:pt x="105" y="449"/>
                  </a:lnTo>
                  <a:lnTo>
                    <a:pt x="122" y="449"/>
                  </a:lnTo>
                  <a:lnTo>
                    <a:pt x="122" y="432"/>
                  </a:lnTo>
                  <a:lnTo>
                    <a:pt x="105" y="432"/>
                  </a:lnTo>
                  <a:lnTo>
                    <a:pt x="88" y="432"/>
                  </a:lnTo>
                  <a:lnTo>
                    <a:pt x="71" y="432"/>
                  </a:lnTo>
                  <a:lnTo>
                    <a:pt x="53" y="432"/>
                  </a:lnTo>
                  <a:lnTo>
                    <a:pt x="53" y="414"/>
                  </a:lnTo>
                  <a:lnTo>
                    <a:pt x="71" y="414"/>
                  </a:lnTo>
                  <a:lnTo>
                    <a:pt x="88" y="414"/>
                  </a:lnTo>
                  <a:lnTo>
                    <a:pt x="105" y="414"/>
                  </a:lnTo>
                  <a:lnTo>
                    <a:pt x="122" y="414"/>
                  </a:lnTo>
                  <a:lnTo>
                    <a:pt x="122" y="397"/>
                  </a:lnTo>
                  <a:lnTo>
                    <a:pt x="157" y="397"/>
                  </a:lnTo>
                  <a:lnTo>
                    <a:pt x="176" y="397"/>
                  </a:lnTo>
                  <a:lnTo>
                    <a:pt x="176" y="380"/>
                  </a:lnTo>
                  <a:lnTo>
                    <a:pt x="157" y="380"/>
                  </a:lnTo>
                  <a:lnTo>
                    <a:pt x="140" y="380"/>
                  </a:lnTo>
                  <a:lnTo>
                    <a:pt x="122" y="380"/>
                  </a:lnTo>
                  <a:lnTo>
                    <a:pt x="105" y="380"/>
                  </a:lnTo>
                  <a:lnTo>
                    <a:pt x="71" y="380"/>
                  </a:lnTo>
                  <a:lnTo>
                    <a:pt x="36" y="380"/>
                  </a:lnTo>
                  <a:lnTo>
                    <a:pt x="0" y="345"/>
                  </a:lnTo>
                  <a:lnTo>
                    <a:pt x="17" y="328"/>
                  </a:lnTo>
                  <a:lnTo>
                    <a:pt x="36" y="328"/>
                  </a:lnTo>
                  <a:lnTo>
                    <a:pt x="53" y="328"/>
                  </a:lnTo>
                  <a:lnTo>
                    <a:pt x="71" y="328"/>
                  </a:lnTo>
                  <a:lnTo>
                    <a:pt x="88" y="311"/>
                  </a:lnTo>
                  <a:lnTo>
                    <a:pt x="105" y="311"/>
                  </a:lnTo>
                  <a:lnTo>
                    <a:pt x="122" y="311"/>
                  </a:lnTo>
                  <a:lnTo>
                    <a:pt x="157" y="311"/>
                  </a:lnTo>
                  <a:lnTo>
                    <a:pt x="176" y="293"/>
                  </a:lnTo>
                  <a:lnTo>
                    <a:pt x="193" y="278"/>
                  </a:lnTo>
                  <a:lnTo>
                    <a:pt x="211" y="261"/>
                  </a:lnTo>
                  <a:lnTo>
                    <a:pt x="176" y="243"/>
                  </a:lnTo>
                  <a:lnTo>
                    <a:pt x="157" y="243"/>
                  </a:lnTo>
                  <a:lnTo>
                    <a:pt x="140" y="226"/>
                  </a:lnTo>
                  <a:lnTo>
                    <a:pt x="157" y="209"/>
                  </a:lnTo>
                  <a:lnTo>
                    <a:pt x="193" y="209"/>
                  </a:lnTo>
                  <a:lnTo>
                    <a:pt x="228" y="192"/>
                  </a:lnTo>
                  <a:lnTo>
                    <a:pt x="245" y="155"/>
                  </a:lnTo>
                  <a:lnTo>
                    <a:pt x="263" y="155"/>
                  </a:lnTo>
                  <a:lnTo>
                    <a:pt x="280" y="172"/>
                  </a:lnTo>
                  <a:lnTo>
                    <a:pt x="297" y="155"/>
                  </a:lnTo>
                  <a:lnTo>
                    <a:pt x="297" y="138"/>
                  </a:lnTo>
                  <a:lnTo>
                    <a:pt x="316" y="121"/>
                  </a:lnTo>
                  <a:lnTo>
                    <a:pt x="351" y="121"/>
                  </a:lnTo>
                  <a:lnTo>
                    <a:pt x="368" y="103"/>
                  </a:lnTo>
                  <a:lnTo>
                    <a:pt x="405" y="103"/>
                  </a:lnTo>
                  <a:lnTo>
                    <a:pt x="422" y="86"/>
                  </a:lnTo>
                  <a:lnTo>
                    <a:pt x="458" y="86"/>
                  </a:lnTo>
                  <a:lnTo>
                    <a:pt x="476" y="86"/>
                  </a:lnTo>
                  <a:lnTo>
                    <a:pt x="493" y="103"/>
                  </a:lnTo>
                  <a:lnTo>
                    <a:pt x="510" y="121"/>
                  </a:lnTo>
                  <a:lnTo>
                    <a:pt x="510" y="103"/>
                  </a:lnTo>
                  <a:lnTo>
                    <a:pt x="510" y="86"/>
                  </a:lnTo>
                  <a:lnTo>
                    <a:pt x="527" y="103"/>
                  </a:lnTo>
                  <a:lnTo>
                    <a:pt x="562" y="103"/>
                  </a:lnTo>
                  <a:lnTo>
                    <a:pt x="562" y="86"/>
                  </a:lnTo>
                  <a:lnTo>
                    <a:pt x="579" y="86"/>
                  </a:lnTo>
                  <a:lnTo>
                    <a:pt x="616" y="86"/>
                  </a:lnTo>
                  <a:lnTo>
                    <a:pt x="650" y="86"/>
                  </a:lnTo>
                  <a:lnTo>
                    <a:pt x="668" y="103"/>
                  </a:lnTo>
                  <a:lnTo>
                    <a:pt x="685" y="103"/>
                  </a:lnTo>
                  <a:lnTo>
                    <a:pt x="702" y="103"/>
                  </a:lnTo>
                  <a:lnTo>
                    <a:pt x="685" y="103"/>
                  </a:lnTo>
                  <a:lnTo>
                    <a:pt x="668" y="86"/>
                  </a:lnTo>
                  <a:lnTo>
                    <a:pt x="650" y="69"/>
                  </a:lnTo>
                  <a:lnTo>
                    <a:pt x="668" y="69"/>
                  </a:lnTo>
                  <a:lnTo>
                    <a:pt x="685" y="69"/>
                  </a:lnTo>
                  <a:lnTo>
                    <a:pt x="685" y="52"/>
                  </a:lnTo>
                  <a:lnTo>
                    <a:pt x="702" y="34"/>
                  </a:lnTo>
                  <a:lnTo>
                    <a:pt x="739" y="34"/>
                  </a:lnTo>
                  <a:lnTo>
                    <a:pt x="756" y="34"/>
                  </a:lnTo>
                  <a:lnTo>
                    <a:pt x="773" y="34"/>
                  </a:lnTo>
                  <a:lnTo>
                    <a:pt x="808" y="34"/>
                  </a:lnTo>
                  <a:lnTo>
                    <a:pt x="827" y="34"/>
                  </a:lnTo>
                  <a:lnTo>
                    <a:pt x="844" y="34"/>
                  </a:lnTo>
                  <a:lnTo>
                    <a:pt x="862" y="34"/>
                  </a:lnTo>
                  <a:lnTo>
                    <a:pt x="881" y="34"/>
                  </a:lnTo>
                  <a:lnTo>
                    <a:pt x="915" y="17"/>
                  </a:lnTo>
                  <a:lnTo>
                    <a:pt x="967" y="0"/>
                  </a:lnTo>
                  <a:lnTo>
                    <a:pt x="1004" y="0"/>
                  </a:lnTo>
                  <a:lnTo>
                    <a:pt x="1055" y="0"/>
                  </a:lnTo>
                  <a:lnTo>
                    <a:pt x="1090" y="0"/>
                  </a:lnTo>
                  <a:lnTo>
                    <a:pt x="1161" y="0"/>
                  </a:lnTo>
                  <a:lnTo>
                    <a:pt x="1196" y="17"/>
                  </a:lnTo>
                  <a:lnTo>
                    <a:pt x="1249" y="34"/>
                  </a:lnTo>
                  <a:lnTo>
                    <a:pt x="1286" y="52"/>
                  </a:lnTo>
                  <a:lnTo>
                    <a:pt x="1320" y="52"/>
                  </a:lnTo>
                  <a:lnTo>
                    <a:pt x="1338" y="52"/>
                  </a:lnTo>
                  <a:lnTo>
                    <a:pt x="1372" y="69"/>
                  </a:lnTo>
                  <a:lnTo>
                    <a:pt x="1355" y="86"/>
                  </a:lnTo>
                  <a:lnTo>
                    <a:pt x="1320" y="86"/>
                  </a:lnTo>
                  <a:lnTo>
                    <a:pt x="1267" y="86"/>
                  </a:lnTo>
                  <a:lnTo>
                    <a:pt x="1249" y="103"/>
                  </a:lnTo>
                  <a:lnTo>
                    <a:pt x="1178" y="103"/>
                  </a:lnTo>
                  <a:lnTo>
                    <a:pt x="1090" y="103"/>
                  </a:lnTo>
                  <a:lnTo>
                    <a:pt x="1073" y="103"/>
                  </a:lnTo>
                  <a:lnTo>
                    <a:pt x="1090" y="121"/>
                  </a:lnTo>
                  <a:lnTo>
                    <a:pt x="1161" y="103"/>
                  </a:lnTo>
                  <a:lnTo>
                    <a:pt x="1213" y="103"/>
                  </a:lnTo>
                  <a:lnTo>
                    <a:pt x="1267" y="103"/>
                  </a:lnTo>
                  <a:lnTo>
                    <a:pt x="1249" y="121"/>
                  </a:lnTo>
                  <a:lnTo>
                    <a:pt x="1230" y="155"/>
                  </a:lnTo>
                  <a:lnTo>
                    <a:pt x="1213" y="155"/>
                  </a:lnTo>
                  <a:lnTo>
                    <a:pt x="1267" y="155"/>
                  </a:lnTo>
                  <a:lnTo>
                    <a:pt x="1303" y="121"/>
                  </a:lnTo>
                  <a:lnTo>
                    <a:pt x="1338" y="103"/>
                  </a:lnTo>
                  <a:lnTo>
                    <a:pt x="1355" y="103"/>
                  </a:lnTo>
                  <a:lnTo>
                    <a:pt x="1355" y="121"/>
                  </a:lnTo>
                  <a:lnTo>
                    <a:pt x="1372" y="138"/>
                  </a:lnTo>
                  <a:lnTo>
                    <a:pt x="1338" y="155"/>
                  </a:lnTo>
                  <a:lnTo>
                    <a:pt x="1320" y="192"/>
                  </a:lnTo>
                  <a:lnTo>
                    <a:pt x="1303" y="209"/>
                  </a:lnTo>
                  <a:lnTo>
                    <a:pt x="1338" y="192"/>
                  </a:lnTo>
                  <a:lnTo>
                    <a:pt x="1372" y="155"/>
                  </a:lnTo>
                  <a:lnTo>
                    <a:pt x="1389" y="138"/>
                  </a:lnTo>
                  <a:lnTo>
                    <a:pt x="1407" y="138"/>
                  </a:lnTo>
                  <a:lnTo>
                    <a:pt x="1443" y="138"/>
                  </a:lnTo>
                  <a:lnTo>
                    <a:pt x="1460" y="138"/>
                  </a:lnTo>
                  <a:lnTo>
                    <a:pt x="1478" y="138"/>
                  </a:lnTo>
                  <a:lnTo>
                    <a:pt x="1495" y="138"/>
                  </a:lnTo>
                  <a:lnTo>
                    <a:pt x="1495" y="121"/>
                  </a:lnTo>
                  <a:lnTo>
                    <a:pt x="1512" y="121"/>
                  </a:lnTo>
                  <a:lnTo>
                    <a:pt x="1547" y="121"/>
                  </a:lnTo>
                  <a:lnTo>
                    <a:pt x="1566" y="121"/>
                  </a:lnTo>
                  <a:lnTo>
                    <a:pt x="1566" y="103"/>
                  </a:lnTo>
                  <a:lnTo>
                    <a:pt x="1601" y="103"/>
                  </a:lnTo>
                  <a:lnTo>
                    <a:pt x="1618" y="121"/>
                  </a:lnTo>
                  <a:lnTo>
                    <a:pt x="1618" y="138"/>
                  </a:lnTo>
                  <a:lnTo>
                    <a:pt x="1618" y="155"/>
                  </a:lnTo>
                  <a:lnTo>
                    <a:pt x="1566" y="172"/>
                  </a:lnTo>
                  <a:lnTo>
                    <a:pt x="1547" y="192"/>
                  </a:lnTo>
                  <a:lnTo>
                    <a:pt x="1512" y="209"/>
                  </a:lnTo>
                  <a:lnTo>
                    <a:pt x="1530" y="209"/>
                  </a:lnTo>
                  <a:lnTo>
                    <a:pt x="1512" y="226"/>
                  </a:lnTo>
                  <a:lnTo>
                    <a:pt x="1495" y="226"/>
                  </a:lnTo>
                  <a:lnTo>
                    <a:pt x="1495" y="243"/>
                  </a:lnTo>
                  <a:lnTo>
                    <a:pt x="1478" y="261"/>
                  </a:lnTo>
                  <a:lnTo>
                    <a:pt x="1460" y="261"/>
                  </a:lnTo>
                  <a:lnTo>
                    <a:pt x="1443" y="261"/>
                  </a:lnTo>
                  <a:lnTo>
                    <a:pt x="1443" y="278"/>
                  </a:lnTo>
                  <a:lnTo>
                    <a:pt x="1443" y="293"/>
                  </a:lnTo>
                  <a:lnTo>
                    <a:pt x="1426" y="311"/>
                  </a:lnTo>
                  <a:lnTo>
                    <a:pt x="1407" y="328"/>
                  </a:lnTo>
                  <a:lnTo>
                    <a:pt x="1389" y="328"/>
                  </a:lnTo>
                  <a:lnTo>
                    <a:pt x="1389" y="345"/>
                  </a:lnTo>
                  <a:lnTo>
                    <a:pt x="1389" y="362"/>
                  </a:lnTo>
                  <a:lnTo>
                    <a:pt x="1407" y="362"/>
                  </a:lnTo>
                  <a:lnTo>
                    <a:pt x="1426" y="362"/>
                  </a:lnTo>
                  <a:lnTo>
                    <a:pt x="1443" y="362"/>
                  </a:lnTo>
                  <a:lnTo>
                    <a:pt x="1443" y="380"/>
                  </a:lnTo>
                  <a:lnTo>
                    <a:pt x="1460" y="380"/>
                  </a:lnTo>
                  <a:lnTo>
                    <a:pt x="1443" y="380"/>
                  </a:lnTo>
                  <a:lnTo>
                    <a:pt x="1478" y="397"/>
                  </a:lnTo>
                  <a:lnTo>
                    <a:pt x="1478" y="414"/>
                  </a:lnTo>
                  <a:lnTo>
                    <a:pt x="1460" y="432"/>
                  </a:lnTo>
                  <a:lnTo>
                    <a:pt x="1443" y="432"/>
                  </a:lnTo>
                  <a:lnTo>
                    <a:pt x="1407" y="432"/>
                  </a:lnTo>
                  <a:lnTo>
                    <a:pt x="1389" y="432"/>
                  </a:lnTo>
                  <a:lnTo>
                    <a:pt x="1389" y="449"/>
                  </a:lnTo>
                  <a:lnTo>
                    <a:pt x="1407" y="449"/>
                  </a:lnTo>
                  <a:lnTo>
                    <a:pt x="1426" y="449"/>
                  </a:lnTo>
                  <a:lnTo>
                    <a:pt x="1443" y="483"/>
                  </a:lnTo>
                  <a:lnTo>
                    <a:pt x="1443" y="501"/>
                  </a:lnTo>
                  <a:lnTo>
                    <a:pt x="1443" y="518"/>
                  </a:lnTo>
                  <a:lnTo>
                    <a:pt x="1426" y="518"/>
                  </a:lnTo>
                  <a:lnTo>
                    <a:pt x="1407" y="518"/>
                  </a:lnTo>
                  <a:lnTo>
                    <a:pt x="1407" y="535"/>
                  </a:lnTo>
                  <a:lnTo>
                    <a:pt x="1426" y="552"/>
                  </a:lnTo>
                  <a:lnTo>
                    <a:pt x="1443" y="552"/>
                  </a:lnTo>
                  <a:lnTo>
                    <a:pt x="1426" y="572"/>
                  </a:lnTo>
                  <a:lnTo>
                    <a:pt x="1407" y="572"/>
                  </a:lnTo>
                  <a:lnTo>
                    <a:pt x="1407" y="589"/>
                  </a:lnTo>
                  <a:lnTo>
                    <a:pt x="1389" y="606"/>
                  </a:lnTo>
                  <a:lnTo>
                    <a:pt x="1372" y="621"/>
                  </a:lnTo>
                  <a:lnTo>
                    <a:pt x="1355" y="621"/>
                  </a:lnTo>
                  <a:lnTo>
                    <a:pt x="1338" y="606"/>
                  </a:lnTo>
                  <a:lnTo>
                    <a:pt x="1320" y="606"/>
                  </a:lnTo>
                  <a:lnTo>
                    <a:pt x="1338" y="621"/>
                  </a:lnTo>
                  <a:lnTo>
                    <a:pt x="1355" y="621"/>
                  </a:lnTo>
                  <a:lnTo>
                    <a:pt x="1372" y="656"/>
                  </a:lnTo>
                  <a:lnTo>
                    <a:pt x="1372" y="673"/>
                  </a:lnTo>
                  <a:lnTo>
                    <a:pt x="1355" y="673"/>
                  </a:lnTo>
                  <a:lnTo>
                    <a:pt x="1338" y="673"/>
                  </a:lnTo>
                  <a:lnTo>
                    <a:pt x="1320" y="656"/>
                  </a:lnTo>
                  <a:lnTo>
                    <a:pt x="1303" y="621"/>
                  </a:lnTo>
                  <a:lnTo>
                    <a:pt x="1286" y="621"/>
                  </a:lnTo>
                  <a:lnTo>
                    <a:pt x="1286" y="639"/>
                  </a:lnTo>
                  <a:lnTo>
                    <a:pt x="1338" y="673"/>
                  </a:lnTo>
                  <a:lnTo>
                    <a:pt x="1372" y="708"/>
                  </a:lnTo>
                  <a:lnTo>
                    <a:pt x="1389" y="742"/>
                  </a:lnTo>
                  <a:lnTo>
                    <a:pt x="1389" y="760"/>
                  </a:lnTo>
                  <a:lnTo>
                    <a:pt x="1372" y="760"/>
                  </a:lnTo>
                  <a:lnTo>
                    <a:pt x="1338" y="742"/>
                  </a:lnTo>
                  <a:lnTo>
                    <a:pt x="1320" y="725"/>
                  </a:lnTo>
                  <a:lnTo>
                    <a:pt x="1286" y="725"/>
                  </a:lnTo>
                  <a:lnTo>
                    <a:pt x="1267" y="725"/>
                  </a:lnTo>
                  <a:lnTo>
                    <a:pt x="1286" y="725"/>
                  </a:lnTo>
                  <a:lnTo>
                    <a:pt x="1267" y="742"/>
                  </a:lnTo>
                  <a:lnTo>
                    <a:pt x="1286" y="777"/>
                  </a:lnTo>
                  <a:lnTo>
                    <a:pt x="1338" y="777"/>
                  </a:lnTo>
                  <a:lnTo>
                    <a:pt x="1372" y="777"/>
                  </a:lnTo>
                  <a:lnTo>
                    <a:pt x="1355" y="777"/>
                  </a:lnTo>
                  <a:lnTo>
                    <a:pt x="1338" y="794"/>
                  </a:lnTo>
                  <a:lnTo>
                    <a:pt x="1303" y="811"/>
                  </a:lnTo>
                  <a:lnTo>
                    <a:pt x="1267" y="829"/>
                  </a:lnTo>
                  <a:lnTo>
                    <a:pt x="1213" y="846"/>
                  </a:lnTo>
                  <a:lnTo>
                    <a:pt x="1196" y="846"/>
                  </a:lnTo>
                  <a:lnTo>
                    <a:pt x="1161" y="863"/>
                  </a:lnTo>
                  <a:lnTo>
                    <a:pt x="1125" y="863"/>
                  </a:lnTo>
                  <a:lnTo>
                    <a:pt x="1107" y="863"/>
                  </a:lnTo>
                  <a:lnTo>
                    <a:pt x="1090" y="863"/>
                  </a:lnTo>
                  <a:lnTo>
                    <a:pt x="1090" y="881"/>
                  </a:lnTo>
                  <a:lnTo>
                    <a:pt x="1090" y="898"/>
                  </a:lnTo>
                  <a:lnTo>
                    <a:pt x="1073" y="898"/>
                  </a:lnTo>
                  <a:lnTo>
                    <a:pt x="1055" y="915"/>
                  </a:lnTo>
                  <a:lnTo>
                    <a:pt x="1038" y="932"/>
                  </a:lnTo>
                  <a:lnTo>
                    <a:pt x="1038" y="952"/>
                  </a:lnTo>
                  <a:lnTo>
                    <a:pt x="1021" y="952"/>
                  </a:lnTo>
                  <a:lnTo>
                    <a:pt x="984" y="967"/>
                  </a:lnTo>
                  <a:lnTo>
                    <a:pt x="967" y="967"/>
                  </a:lnTo>
                  <a:lnTo>
                    <a:pt x="950" y="967"/>
                  </a:lnTo>
                  <a:lnTo>
                    <a:pt x="950" y="952"/>
                  </a:lnTo>
                  <a:lnTo>
                    <a:pt x="933" y="952"/>
                  </a:lnTo>
                  <a:lnTo>
                    <a:pt x="933" y="967"/>
                  </a:lnTo>
                  <a:lnTo>
                    <a:pt x="933" y="984"/>
                  </a:lnTo>
                  <a:lnTo>
                    <a:pt x="915" y="1001"/>
                  </a:lnTo>
                  <a:lnTo>
                    <a:pt x="862" y="1001"/>
                  </a:lnTo>
                  <a:lnTo>
                    <a:pt x="862" y="1019"/>
                  </a:lnTo>
                  <a:lnTo>
                    <a:pt x="862" y="1036"/>
                  </a:lnTo>
                  <a:lnTo>
                    <a:pt x="862" y="1053"/>
                  </a:lnTo>
                  <a:lnTo>
                    <a:pt x="862" y="1070"/>
                  </a:lnTo>
                  <a:lnTo>
                    <a:pt x="827" y="1070"/>
                  </a:lnTo>
                  <a:lnTo>
                    <a:pt x="827" y="1105"/>
                  </a:lnTo>
                  <a:lnTo>
                    <a:pt x="808" y="1105"/>
                  </a:lnTo>
                  <a:lnTo>
                    <a:pt x="808" y="1122"/>
                  </a:lnTo>
                  <a:lnTo>
                    <a:pt x="827" y="1157"/>
                  </a:lnTo>
                  <a:lnTo>
                    <a:pt x="808" y="1157"/>
                  </a:lnTo>
                  <a:lnTo>
                    <a:pt x="808" y="1191"/>
                  </a:lnTo>
                  <a:lnTo>
                    <a:pt x="790" y="1209"/>
                  </a:lnTo>
                  <a:lnTo>
                    <a:pt x="773" y="1209"/>
                  </a:lnTo>
                  <a:lnTo>
                    <a:pt x="773" y="1191"/>
                  </a:lnTo>
                  <a:lnTo>
                    <a:pt x="756" y="1191"/>
                  </a:lnTo>
                  <a:lnTo>
                    <a:pt x="756" y="1209"/>
                  </a:lnTo>
                  <a:lnTo>
                    <a:pt x="739" y="1191"/>
                  </a:lnTo>
                  <a:lnTo>
                    <a:pt x="721" y="1157"/>
                  </a:lnTo>
                  <a:lnTo>
                    <a:pt x="702" y="1157"/>
                  </a:lnTo>
                  <a:lnTo>
                    <a:pt x="685" y="1157"/>
                  </a:lnTo>
                  <a:lnTo>
                    <a:pt x="668" y="1157"/>
                  </a:lnTo>
                  <a:lnTo>
                    <a:pt x="650" y="1157"/>
                  </a:lnTo>
                  <a:lnTo>
                    <a:pt x="633" y="1157"/>
                  </a:lnTo>
                  <a:lnTo>
                    <a:pt x="633" y="1140"/>
                  </a:lnTo>
                  <a:lnTo>
                    <a:pt x="633" y="1122"/>
                  </a:lnTo>
                  <a:lnTo>
                    <a:pt x="616" y="1105"/>
                  </a:lnTo>
                  <a:lnTo>
                    <a:pt x="579" y="1070"/>
                  </a:lnTo>
                  <a:lnTo>
                    <a:pt x="562" y="1053"/>
                  </a:lnTo>
                  <a:lnTo>
                    <a:pt x="562" y="1036"/>
                  </a:lnTo>
                  <a:lnTo>
                    <a:pt x="579" y="1036"/>
                  </a:lnTo>
                  <a:lnTo>
                    <a:pt x="579" y="1019"/>
                  </a:lnTo>
                  <a:lnTo>
                    <a:pt x="562" y="1019"/>
                  </a:lnTo>
                  <a:lnTo>
                    <a:pt x="545" y="1019"/>
                  </a:lnTo>
                  <a:lnTo>
                    <a:pt x="545" y="1001"/>
                  </a:lnTo>
                  <a:lnTo>
                    <a:pt x="527" y="1001"/>
                  </a:lnTo>
                  <a:lnTo>
                    <a:pt x="510" y="967"/>
                  </a:lnTo>
                  <a:lnTo>
                    <a:pt x="510" y="952"/>
                  </a:lnTo>
                  <a:lnTo>
                    <a:pt x="510" y="932"/>
                  </a:lnTo>
                  <a:lnTo>
                    <a:pt x="510" y="915"/>
                  </a:lnTo>
                  <a:lnTo>
                    <a:pt x="510" y="898"/>
                  </a:lnTo>
                  <a:lnTo>
                    <a:pt x="527" y="881"/>
                  </a:lnTo>
                  <a:lnTo>
                    <a:pt x="545" y="863"/>
                  </a:lnTo>
                  <a:lnTo>
                    <a:pt x="545" y="84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4" name="Freeform 372"/>
            <p:cNvSpPr>
              <a:spLocks/>
            </p:cNvSpPr>
            <p:nvPr/>
          </p:nvSpPr>
          <p:spPr bwMode="auto">
            <a:xfrm>
              <a:off x="4392644" y="2727067"/>
              <a:ext cx="77619" cy="44449"/>
            </a:xfrm>
            <a:custGeom>
              <a:avLst/>
              <a:gdLst>
                <a:gd name="T0" fmla="*/ 3 w 86"/>
                <a:gd name="T1" fmla="*/ 7 h 52"/>
                <a:gd name="T2" fmla="*/ 3 w 86"/>
                <a:gd name="T3" fmla="*/ 5 h 52"/>
                <a:gd name="T4" fmla="*/ 0 w 86"/>
                <a:gd name="T5" fmla="*/ 3 h 52"/>
                <a:gd name="T6" fmla="*/ 0 w 86"/>
                <a:gd name="T7" fmla="*/ 0 h 52"/>
                <a:gd name="T8" fmla="*/ 3 w 86"/>
                <a:gd name="T9" fmla="*/ 0 h 52"/>
                <a:gd name="T10" fmla="*/ 5 w 86"/>
                <a:gd name="T11" fmla="*/ 0 h 52"/>
                <a:gd name="T12" fmla="*/ 7 w 86"/>
                <a:gd name="T13" fmla="*/ 0 h 52"/>
                <a:gd name="T14" fmla="*/ 12 w 86"/>
                <a:gd name="T15" fmla="*/ 3 h 52"/>
                <a:gd name="T16" fmla="*/ 9 w 86"/>
                <a:gd name="T17" fmla="*/ 5 h 52"/>
                <a:gd name="T18" fmla="*/ 7 w 86"/>
                <a:gd name="T19" fmla="*/ 7 h 52"/>
                <a:gd name="T20" fmla="*/ 5 w 86"/>
                <a:gd name="T21" fmla="*/ 7 h 52"/>
                <a:gd name="T22" fmla="*/ 3 w 86"/>
                <a:gd name="T23" fmla="*/ 7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52"/>
                <a:gd name="T38" fmla="*/ 86 w 8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52">
                  <a:moveTo>
                    <a:pt x="17" y="52"/>
                  </a:moveTo>
                  <a:lnTo>
                    <a:pt x="17" y="34"/>
                  </a:lnTo>
                  <a:lnTo>
                    <a:pt x="0" y="17"/>
                  </a:lnTo>
                  <a:lnTo>
                    <a:pt x="0" y="0"/>
                  </a:lnTo>
                  <a:lnTo>
                    <a:pt x="17" y="0"/>
                  </a:lnTo>
                  <a:lnTo>
                    <a:pt x="34" y="0"/>
                  </a:lnTo>
                  <a:lnTo>
                    <a:pt x="51" y="0"/>
                  </a:lnTo>
                  <a:lnTo>
                    <a:pt x="86" y="17"/>
                  </a:lnTo>
                  <a:lnTo>
                    <a:pt x="69" y="34"/>
                  </a:lnTo>
                  <a:lnTo>
                    <a:pt x="51" y="52"/>
                  </a:lnTo>
                  <a:lnTo>
                    <a:pt x="34" y="52"/>
                  </a:lnTo>
                  <a:lnTo>
                    <a:pt x="17" y="52"/>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5" name="Freeform 373"/>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6" name="Freeform 374"/>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7" name="Freeform 375"/>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8" name="Freeform 376"/>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899" name="Freeform 377"/>
            <p:cNvSpPr>
              <a:spLocks/>
            </p:cNvSpPr>
            <p:nvPr/>
          </p:nvSpPr>
          <p:spPr bwMode="auto">
            <a:xfrm>
              <a:off x="5618664" y="3619461"/>
              <a:ext cx="305182" cy="275240"/>
            </a:xfrm>
            <a:custGeom>
              <a:avLst/>
              <a:gdLst>
                <a:gd name="T0" fmla="*/ 26 w 345"/>
                <a:gd name="T1" fmla="*/ 0 h 320"/>
                <a:gd name="T2" fmla="*/ 26 w 345"/>
                <a:gd name="T3" fmla="*/ 0 h 320"/>
                <a:gd name="T4" fmla="*/ 22 w 345"/>
                <a:gd name="T5" fmla="*/ 2 h 320"/>
                <a:gd name="T6" fmla="*/ 22 w 345"/>
                <a:gd name="T7" fmla="*/ 6 h 320"/>
                <a:gd name="T8" fmla="*/ 18 w 345"/>
                <a:gd name="T9" fmla="*/ 8 h 320"/>
                <a:gd name="T10" fmla="*/ 15 w 345"/>
                <a:gd name="T11" fmla="*/ 10 h 320"/>
                <a:gd name="T12" fmla="*/ 13 w 345"/>
                <a:gd name="T13" fmla="*/ 10 h 320"/>
                <a:gd name="T14" fmla="*/ 11 w 345"/>
                <a:gd name="T15" fmla="*/ 8 h 320"/>
                <a:gd name="T16" fmla="*/ 9 w 345"/>
                <a:gd name="T17" fmla="*/ 8 h 320"/>
                <a:gd name="T18" fmla="*/ 11 w 345"/>
                <a:gd name="T19" fmla="*/ 12 h 320"/>
                <a:gd name="T20" fmla="*/ 7 w 345"/>
                <a:gd name="T21" fmla="*/ 14 h 320"/>
                <a:gd name="T22" fmla="*/ 7 w 345"/>
                <a:gd name="T23" fmla="*/ 12 h 320"/>
                <a:gd name="T24" fmla="*/ 0 w 345"/>
                <a:gd name="T25" fmla="*/ 14 h 320"/>
                <a:gd name="T26" fmla="*/ 0 w 345"/>
                <a:gd name="T27" fmla="*/ 16 h 320"/>
                <a:gd name="T28" fmla="*/ 9 w 345"/>
                <a:gd name="T29" fmla="*/ 18 h 320"/>
                <a:gd name="T30" fmla="*/ 13 w 345"/>
                <a:gd name="T31" fmla="*/ 25 h 320"/>
                <a:gd name="T32" fmla="*/ 13 w 345"/>
                <a:gd name="T33" fmla="*/ 26 h 320"/>
                <a:gd name="T34" fmla="*/ 11 w 345"/>
                <a:gd name="T35" fmla="*/ 37 h 320"/>
                <a:gd name="T36" fmla="*/ 15 w 345"/>
                <a:gd name="T37" fmla="*/ 38 h 320"/>
                <a:gd name="T38" fmla="*/ 26 w 345"/>
                <a:gd name="T39" fmla="*/ 41 h 320"/>
                <a:gd name="T40" fmla="*/ 26 w 345"/>
                <a:gd name="T41" fmla="*/ 38 h 320"/>
                <a:gd name="T42" fmla="*/ 31 w 345"/>
                <a:gd name="T43" fmla="*/ 37 h 320"/>
                <a:gd name="T44" fmla="*/ 37 w 345"/>
                <a:gd name="T45" fmla="*/ 38 h 320"/>
                <a:gd name="T46" fmla="*/ 39 w 345"/>
                <a:gd name="T47" fmla="*/ 38 h 320"/>
                <a:gd name="T48" fmla="*/ 41 w 345"/>
                <a:gd name="T49" fmla="*/ 35 h 320"/>
                <a:gd name="T50" fmla="*/ 39 w 345"/>
                <a:gd name="T51" fmla="*/ 31 h 320"/>
                <a:gd name="T52" fmla="*/ 39 w 345"/>
                <a:gd name="T53" fmla="*/ 26 h 320"/>
                <a:gd name="T54" fmla="*/ 39 w 345"/>
                <a:gd name="T55" fmla="*/ 23 h 320"/>
                <a:gd name="T56" fmla="*/ 37 w 345"/>
                <a:gd name="T57" fmla="*/ 25 h 320"/>
                <a:gd name="T58" fmla="*/ 37 w 345"/>
                <a:gd name="T59" fmla="*/ 23 h 320"/>
                <a:gd name="T60" fmla="*/ 39 w 345"/>
                <a:gd name="T61" fmla="*/ 18 h 320"/>
                <a:gd name="T62" fmla="*/ 41 w 345"/>
                <a:gd name="T63" fmla="*/ 18 h 320"/>
                <a:gd name="T64" fmla="*/ 44 w 345"/>
                <a:gd name="T65" fmla="*/ 12 h 320"/>
                <a:gd name="T66" fmla="*/ 37 w 345"/>
                <a:gd name="T67" fmla="*/ 8 h 320"/>
                <a:gd name="T68" fmla="*/ 35 w 345"/>
                <a:gd name="T69" fmla="*/ 8 h 320"/>
                <a:gd name="T70" fmla="*/ 33 w 345"/>
                <a:gd name="T71" fmla="*/ 8 h 320"/>
                <a:gd name="T72" fmla="*/ 33 w 345"/>
                <a:gd name="T73" fmla="*/ 6 h 320"/>
                <a:gd name="T74" fmla="*/ 31 w 345"/>
                <a:gd name="T75" fmla="*/ 6 h 320"/>
                <a:gd name="T76" fmla="*/ 31 w 345"/>
                <a:gd name="T77" fmla="*/ 4 h 320"/>
                <a:gd name="T78" fmla="*/ 26 w 345"/>
                <a:gd name="T79" fmla="*/ 2 h 320"/>
                <a:gd name="T80" fmla="*/ 26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900" name="Freeform 378"/>
            <p:cNvSpPr>
              <a:spLocks/>
            </p:cNvSpPr>
            <p:nvPr/>
          </p:nvSpPr>
          <p:spPr bwMode="auto">
            <a:xfrm>
              <a:off x="6797056" y="3961374"/>
              <a:ext cx="458655" cy="382943"/>
            </a:xfrm>
            <a:custGeom>
              <a:avLst/>
              <a:gdLst>
                <a:gd name="T0" fmla="*/ 60 w 520"/>
                <a:gd name="T1" fmla="*/ 56 h 449"/>
                <a:gd name="T2" fmla="*/ 60 w 520"/>
                <a:gd name="T3" fmla="*/ 56 h 449"/>
                <a:gd name="T4" fmla="*/ 45 w 520"/>
                <a:gd name="T5" fmla="*/ 54 h 449"/>
                <a:gd name="T6" fmla="*/ 43 w 520"/>
                <a:gd name="T7" fmla="*/ 50 h 449"/>
                <a:gd name="T8" fmla="*/ 36 w 520"/>
                <a:gd name="T9" fmla="*/ 52 h 449"/>
                <a:gd name="T10" fmla="*/ 33 w 520"/>
                <a:gd name="T11" fmla="*/ 52 h 449"/>
                <a:gd name="T12" fmla="*/ 25 w 520"/>
                <a:gd name="T13" fmla="*/ 46 h 449"/>
                <a:gd name="T14" fmla="*/ 21 w 520"/>
                <a:gd name="T15" fmla="*/ 40 h 449"/>
                <a:gd name="T16" fmla="*/ 17 w 520"/>
                <a:gd name="T17" fmla="*/ 38 h 449"/>
                <a:gd name="T18" fmla="*/ 15 w 520"/>
                <a:gd name="T19" fmla="*/ 38 h 449"/>
                <a:gd name="T20" fmla="*/ 12 w 520"/>
                <a:gd name="T21" fmla="*/ 36 h 449"/>
                <a:gd name="T22" fmla="*/ 10 w 520"/>
                <a:gd name="T23" fmla="*/ 30 h 449"/>
                <a:gd name="T24" fmla="*/ 6 w 520"/>
                <a:gd name="T25" fmla="*/ 28 h 449"/>
                <a:gd name="T26" fmla="*/ 4 w 520"/>
                <a:gd name="T27" fmla="*/ 24 h 449"/>
                <a:gd name="T28" fmla="*/ 6 w 520"/>
                <a:gd name="T29" fmla="*/ 20 h 449"/>
                <a:gd name="T30" fmla="*/ 6 w 520"/>
                <a:gd name="T31" fmla="*/ 16 h 449"/>
                <a:gd name="T32" fmla="*/ 4 w 520"/>
                <a:gd name="T33" fmla="*/ 16 h 449"/>
                <a:gd name="T34" fmla="*/ 2 w 520"/>
                <a:gd name="T35" fmla="*/ 12 h 449"/>
                <a:gd name="T36" fmla="*/ 0 w 520"/>
                <a:gd name="T37" fmla="*/ 2 h 449"/>
                <a:gd name="T38" fmla="*/ 2 w 520"/>
                <a:gd name="T39" fmla="*/ 0 h 449"/>
                <a:gd name="T40" fmla="*/ 4 w 520"/>
                <a:gd name="T41" fmla="*/ 4 h 449"/>
                <a:gd name="T42" fmla="*/ 6 w 520"/>
                <a:gd name="T43" fmla="*/ 4 h 449"/>
                <a:gd name="T44" fmla="*/ 8 w 520"/>
                <a:gd name="T45" fmla="*/ 4 h 449"/>
                <a:gd name="T46" fmla="*/ 12 w 520"/>
                <a:gd name="T47" fmla="*/ 2 h 449"/>
                <a:gd name="T48" fmla="*/ 15 w 520"/>
                <a:gd name="T49" fmla="*/ 2 h 449"/>
                <a:gd name="T50" fmla="*/ 12 w 520"/>
                <a:gd name="T51" fmla="*/ 4 h 449"/>
                <a:gd name="T52" fmla="*/ 17 w 520"/>
                <a:gd name="T53" fmla="*/ 6 h 449"/>
                <a:gd name="T54" fmla="*/ 17 w 520"/>
                <a:gd name="T55" fmla="*/ 10 h 449"/>
                <a:gd name="T56" fmla="*/ 25 w 520"/>
                <a:gd name="T57" fmla="*/ 14 h 449"/>
                <a:gd name="T58" fmla="*/ 34 w 520"/>
                <a:gd name="T59" fmla="*/ 14 h 449"/>
                <a:gd name="T60" fmla="*/ 34 w 520"/>
                <a:gd name="T61" fmla="*/ 10 h 449"/>
                <a:gd name="T62" fmla="*/ 38 w 520"/>
                <a:gd name="T63" fmla="*/ 8 h 449"/>
                <a:gd name="T64" fmla="*/ 45 w 520"/>
                <a:gd name="T65" fmla="*/ 8 h 449"/>
                <a:gd name="T66" fmla="*/ 58 w 520"/>
                <a:gd name="T67" fmla="*/ 14 h 449"/>
                <a:gd name="T68" fmla="*/ 58 w 520"/>
                <a:gd name="T69" fmla="*/ 16 h 449"/>
                <a:gd name="T70" fmla="*/ 58 w 520"/>
                <a:gd name="T71" fmla="*/ 18 h 449"/>
                <a:gd name="T72" fmla="*/ 58 w 520"/>
                <a:gd name="T73" fmla="*/ 20 h 449"/>
                <a:gd name="T74" fmla="*/ 56 w 520"/>
                <a:gd name="T75" fmla="*/ 24 h 449"/>
                <a:gd name="T76" fmla="*/ 56 w 520"/>
                <a:gd name="T77" fmla="*/ 32 h 449"/>
                <a:gd name="T78" fmla="*/ 60 w 520"/>
                <a:gd name="T79" fmla="*/ 34 h 449"/>
                <a:gd name="T80" fmla="*/ 60 w 520"/>
                <a:gd name="T81" fmla="*/ 36 h 449"/>
                <a:gd name="T82" fmla="*/ 58 w 520"/>
                <a:gd name="T83" fmla="*/ 40 h 449"/>
                <a:gd name="T84" fmla="*/ 60 w 520"/>
                <a:gd name="T85" fmla="*/ 44 h 449"/>
                <a:gd name="T86" fmla="*/ 62 w 520"/>
                <a:gd name="T87" fmla="*/ 46 h 449"/>
                <a:gd name="T88" fmla="*/ 65 w 520"/>
                <a:gd name="T89" fmla="*/ 50 h 449"/>
                <a:gd name="T90" fmla="*/ 60 w 520"/>
                <a:gd name="T91" fmla="*/ 52 h 449"/>
                <a:gd name="T92" fmla="*/ 60 w 520"/>
                <a:gd name="T93" fmla="*/ 56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1" name="Freeform 380"/>
            <p:cNvSpPr>
              <a:spLocks/>
            </p:cNvSpPr>
            <p:nvPr/>
          </p:nvSpPr>
          <p:spPr bwMode="auto">
            <a:xfrm>
              <a:off x="5391101" y="4262258"/>
              <a:ext cx="12348" cy="13677"/>
            </a:xfrm>
            <a:custGeom>
              <a:avLst/>
              <a:gdLst>
                <a:gd name="T0" fmla="*/ 1 w 16"/>
                <a:gd name="T1" fmla="*/ 0 h 15"/>
                <a:gd name="T2" fmla="*/ 1 w 16"/>
                <a:gd name="T3" fmla="*/ 0 h 15"/>
                <a:gd name="T4" fmla="*/ 0 w 16"/>
                <a:gd name="T5" fmla="*/ 2 h 15"/>
                <a:gd name="T6" fmla="*/ 1 w 16"/>
                <a:gd name="T7" fmla="*/ 2 h 15"/>
                <a:gd name="T8" fmla="*/ 1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2" name="Freeform 381"/>
            <p:cNvSpPr>
              <a:spLocks/>
            </p:cNvSpPr>
            <p:nvPr/>
          </p:nvSpPr>
          <p:spPr bwMode="auto">
            <a:xfrm>
              <a:off x="6537739" y="4576818"/>
              <a:ext cx="351048" cy="246178"/>
            </a:xfrm>
            <a:custGeom>
              <a:avLst/>
              <a:gdLst>
                <a:gd name="T0" fmla="*/ 30 w 399"/>
                <a:gd name="T1" fmla="*/ 9 h 288"/>
                <a:gd name="T2" fmla="*/ 30 w 399"/>
                <a:gd name="T3" fmla="*/ 9 h 288"/>
                <a:gd name="T4" fmla="*/ 30 w 399"/>
                <a:gd name="T5" fmla="*/ 12 h 288"/>
                <a:gd name="T6" fmla="*/ 30 w 399"/>
                <a:gd name="T7" fmla="*/ 14 h 288"/>
                <a:gd name="T8" fmla="*/ 32 w 399"/>
                <a:gd name="T9" fmla="*/ 14 h 288"/>
                <a:gd name="T10" fmla="*/ 32 w 399"/>
                <a:gd name="T11" fmla="*/ 17 h 288"/>
                <a:gd name="T12" fmla="*/ 37 w 399"/>
                <a:gd name="T13" fmla="*/ 20 h 288"/>
                <a:gd name="T14" fmla="*/ 47 w 399"/>
                <a:gd name="T15" fmla="*/ 22 h 288"/>
                <a:gd name="T16" fmla="*/ 49 w 399"/>
                <a:gd name="T17" fmla="*/ 22 h 288"/>
                <a:gd name="T18" fmla="*/ 41 w 399"/>
                <a:gd name="T19" fmla="*/ 33 h 288"/>
                <a:gd name="T20" fmla="*/ 34 w 399"/>
                <a:gd name="T21" fmla="*/ 33 h 288"/>
                <a:gd name="T22" fmla="*/ 30 w 399"/>
                <a:gd name="T23" fmla="*/ 36 h 288"/>
                <a:gd name="T24" fmla="*/ 25 w 399"/>
                <a:gd name="T25" fmla="*/ 35 h 288"/>
                <a:gd name="T26" fmla="*/ 19 w 399"/>
                <a:gd name="T27" fmla="*/ 36 h 288"/>
                <a:gd name="T28" fmla="*/ 8 w 399"/>
                <a:gd name="T29" fmla="*/ 35 h 288"/>
                <a:gd name="T30" fmla="*/ 8 w 399"/>
                <a:gd name="T31" fmla="*/ 30 h 288"/>
                <a:gd name="T32" fmla="*/ 6 w 399"/>
                <a:gd name="T33" fmla="*/ 30 h 288"/>
                <a:gd name="T34" fmla="*/ 2 w 399"/>
                <a:gd name="T35" fmla="*/ 24 h 288"/>
                <a:gd name="T36" fmla="*/ 0 w 399"/>
                <a:gd name="T37" fmla="*/ 22 h 288"/>
                <a:gd name="T38" fmla="*/ 2 w 399"/>
                <a:gd name="T39" fmla="*/ 20 h 288"/>
                <a:gd name="T40" fmla="*/ 4 w 399"/>
                <a:gd name="T41" fmla="*/ 14 h 288"/>
                <a:gd name="T42" fmla="*/ 10 w 399"/>
                <a:gd name="T43" fmla="*/ 6 h 288"/>
                <a:gd name="T44" fmla="*/ 10 w 399"/>
                <a:gd name="T45" fmla="*/ 2 h 288"/>
                <a:gd name="T46" fmla="*/ 13 w 399"/>
                <a:gd name="T47" fmla="*/ 2 h 288"/>
                <a:gd name="T48" fmla="*/ 15 w 399"/>
                <a:gd name="T49" fmla="*/ 5 h 288"/>
                <a:gd name="T50" fmla="*/ 15 w 399"/>
                <a:gd name="T51" fmla="*/ 0 h 288"/>
                <a:gd name="T52" fmla="*/ 17 w 399"/>
                <a:gd name="T53" fmla="*/ 2 h 288"/>
                <a:gd name="T54" fmla="*/ 23 w 399"/>
                <a:gd name="T55" fmla="*/ 2 h 288"/>
                <a:gd name="T56" fmla="*/ 30 w 399"/>
                <a:gd name="T57" fmla="*/ 9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3" name="Freeform 382"/>
            <p:cNvSpPr>
              <a:spLocks/>
            </p:cNvSpPr>
            <p:nvPr/>
          </p:nvSpPr>
          <p:spPr bwMode="auto">
            <a:xfrm>
              <a:off x="6491873" y="4891379"/>
              <a:ext cx="75855" cy="68383"/>
            </a:xfrm>
            <a:custGeom>
              <a:avLst/>
              <a:gdLst>
                <a:gd name="T0" fmla="*/ 0 w 87"/>
                <a:gd name="T1" fmla="*/ 7 h 80"/>
                <a:gd name="T2" fmla="*/ 0 w 87"/>
                <a:gd name="T3" fmla="*/ 7 h 80"/>
                <a:gd name="T4" fmla="*/ 2 w 87"/>
                <a:gd name="T5" fmla="*/ 10 h 80"/>
                <a:gd name="T6" fmla="*/ 2 w 87"/>
                <a:gd name="T7" fmla="*/ 7 h 80"/>
                <a:gd name="T8" fmla="*/ 6 w 87"/>
                <a:gd name="T9" fmla="*/ 10 h 80"/>
                <a:gd name="T10" fmla="*/ 8 w 87"/>
                <a:gd name="T11" fmla="*/ 7 h 80"/>
                <a:gd name="T12" fmla="*/ 6 w 87"/>
                <a:gd name="T13" fmla="*/ 7 h 80"/>
                <a:gd name="T14" fmla="*/ 10 w 87"/>
                <a:gd name="T15" fmla="*/ 1 h 80"/>
                <a:gd name="T16" fmla="*/ 8 w 87"/>
                <a:gd name="T17" fmla="*/ 1 h 80"/>
                <a:gd name="T18" fmla="*/ 6 w 87"/>
                <a:gd name="T19" fmla="*/ 0 h 80"/>
                <a:gd name="T20" fmla="*/ 2 w 87"/>
                <a:gd name="T21" fmla="*/ 1 h 80"/>
                <a:gd name="T22" fmla="*/ 0 w 87"/>
                <a:gd name="T23" fmla="*/ 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0"/>
                <a:gd name="T38" fmla="*/ 87 w 87"/>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0">
                  <a:moveTo>
                    <a:pt x="0" y="63"/>
                  </a:moveTo>
                  <a:lnTo>
                    <a:pt x="0" y="63"/>
                  </a:lnTo>
                  <a:lnTo>
                    <a:pt x="17" y="80"/>
                  </a:lnTo>
                  <a:lnTo>
                    <a:pt x="17" y="63"/>
                  </a:lnTo>
                  <a:lnTo>
                    <a:pt x="52" y="80"/>
                  </a:lnTo>
                  <a:lnTo>
                    <a:pt x="69" y="63"/>
                  </a:lnTo>
                  <a:lnTo>
                    <a:pt x="52" y="63"/>
                  </a:lnTo>
                  <a:lnTo>
                    <a:pt x="87" y="15"/>
                  </a:lnTo>
                  <a:lnTo>
                    <a:pt x="69" y="15"/>
                  </a:lnTo>
                  <a:lnTo>
                    <a:pt x="52" y="0"/>
                  </a:lnTo>
                  <a:lnTo>
                    <a:pt x="17" y="15"/>
                  </a:lnTo>
                  <a:lnTo>
                    <a:pt x="0"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4" name="Freeform 383"/>
            <p:cNvSpPr>
              <a:spLocks/>
            </p:cNvSpPr>
            <p:nvPr/>
          </p:nvSpPr>
          <p:spPr bwMode="auto">
            <a:xfrm>
              <a:off x="6019106" y="5028144"/>
              <a:ext cx="305182" cy="273531"/>
            </a:xfrm>
            <a:custGeom>
              <a:avLst/>
              <a:gdLst>
                <a:gd name="T0" fmla="*/ 0 w 345"/>
                <a:gd name="T1" fmla="*/ 36 h 321"/>
                <a:gd name="T2" fmla="*/ 0 w 345"/>
                <a:gd name="T3" fmla="*/ 36 h 321"/>
                <a:gd name="T4" fmla="*/ 5 w 345"/>
                <a:gd name="T5" fmla="*/ 36 h 321"/>
                <a:gd name="T6" fmla="*/ 9 w 345"/>
                <a:gd name="T7" fmla="*/ 36 h 321"/>
                <a:gd name="T8" fmla="*/ 22 w 345"/>
                <a:gd name="T9" fmla="*/ 38 h 321"/>
                <a:gd name="T10" fmla="*/ 26 w 345"/>
                <a:gd name="T11" fmla="*/ 38 h 321"/>
                <a:gd name="T12" fmla="*/ 35 w 345"/>
                <a:gd name="T13" fmla="*/ 40 h 321"/>
                <a:gd name="T14" fmla="*/ 39 w 345"/>
                <a:gd name="T15" fmla="*/ 38 h 321"/>
                <a:gd name="T16" fmla="*/ 35 w 345"/>
                <a:gd name="T17" fmla="*/ 34 h 321"/>
                <a:gd name="T18" fmla="*/ 35 w 345"/>
                <a:gd name="T19" fmla="*/ 24 h 321"/>
                <a:gd name="T20" fmla="*/ 44 w 345"/>
                <a:gd name="T21" fmla="*/ 22 h 321"/>
                <a:gd name="T22" fmla="*/ 41 w 345"/>
                <a:gd name="T23" fmla="*/ 16 h 321"/>
                <a:gd name="T24" fmla="*/ 35 w 345"/>
                <a:gd name="T25" fmla="*/ 18 h 321"/>
                <a:gd name="T26" fmla="*/ 35 w 345"/>
                <a:gd name="T27" fmla="*/ 16 h 321"/>
                <a:gd name="T28" fmla="*/ 37 w 345"/>
                <a:gd name="T29" fmla="*/ 14 h 321"/>
                <a:gd name="T30" fmla="*/ 35 w 345"/>
                <a:gd name="T31" fmla="*/ 12 h 321"/>
                <a:gd name="T32" fmla="*/ 35 w 345"/>
                <a:gd name="T33" fmla="*/ 6 h 321"/>
                <a:gd name="T34" fmla="*/ 31 w 345"/>
                <a:gd name="T35" fmla="*/ 4 h 321"/>
                <a:gd name="T36" fmla="*/ 26 w 345"/>
                <a:gd name="T37" fmla="*/ 4 h 321"/>
                <a:gd name="T38" fmla="*/ 26 w 345"/>
                <a:gd name="T39" fmla="*/ 6 h 321"/>
                <a:gd name="T40" fmla="*/ 22 w 345"/>
                <a:gd name="T41" fmla="*/ 8 h 321"/>
                <a:gd name="T42" fmla="*/ 18 w 345"/>
                <a:gd name="T43" fmla="*/ 4 h 321"/>
                <a:gd name="T44" fmla="*/ 18 w 345"/>
                <a:gd name="T45" fmla="*/ 0 h 321"/>
                <a:gd name="T46" fmla="*/ 16 w 345"/>
                <a:gd name="T47" fmla="*/ 0 h 321"/>
                <a:gd name="T48" fmla="*/ 7 w 345"/>
                <a:gd name="T49" fmla="*/ 0 h 321"/>
                <a:gd name="T50" fmla="*/ 3 w 345"/>
                <a:gd name="T51" fmla="*/ 2 h 321"/>
                <a:gd name="T52" fmla="*/ 5 w 345"/>
                <a:gd name="T53" fmla="*/ 8 h 321"/>
                <a:gd name="T54" fmla="*/ 5 w 345"/>
                <a:gd name="T55" fmla="*/ 10 h 321"/>
                <a:gd name="T56" fmla="*/ 7 w 345"/>
                <a:gd name="T57" fmla="*/ 18 h 321"/>
                <a:gd name="T58" fmla="*/ 7 w 345"/>
                <a:gd name="T59" fmla="*/ 22 h 321"/>
                <a:gd name="T60" fmla="*/ 3 w 345"/>
                <a:gd name="T61" fmla="*/ 24 h 321"/>
                <a:gd name="T62" fmla="*/ 0 w 345"/>
                <a:gd name="T63" fmla="*/ 32 h 321"/>
                <a:gd name="T64" fmla="*/ 0 w 345"/>
                <a:gd name="T65" fmla="*/ 36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905" name="Freeform 384"/>
            <p:cNvSpPr>
              <a:spLocks/>
            </p:cNvSpPr>
            <p:nvPr/>
          </p:nvSpPr>
          <p:spPr bwMode="auto">
            <a:xfrm>
              <a:off x="6368388" y="3701520"/>
              <a:ext cx="91731" cy="95736"/>
            </a:xfrm>
            <a:custGeom>
              <a:avLst/>
              <a:gdLst>
                <a:gd name="T0" fmla="*/ 0 w 104"/>
                <a:gd name="T1" fmla="*/ 2 h 111"/>
                <a:gd name="T2" fmla="*/ 0 w 104"/>
                <a:gd name="T3" fmla="*/ 2 h 111"/>
                <a:gd name="T4" fmla="*/ 3 w 104"/>
                <a:gd name="T5" fmla="*/ 2 h 111"/>
                <a:gd name="T6" fmla="*/ 7 w 104"/>
                <a:gd name="T7" fmla="*/ 8 h 111"/>
                <a:gd name="T8" fmla="*/ 7 w 104"/>
                <a:gd name="T9" fmla="*/ 14 h 111"/>
                <a:gd name="T10" fmla="*/ 9 w 104"/>
                <a:gd name="T11" fmla="*/ 10 h 111"/>
                <a:gd name="T12" fmla="*/ 13 w 104"/>
                <a:gd name="T13" fmla="*/ 10 h 111"/>
                <a:gd name="T14" fmla="*/ 13 w 104"/>
                <a:gd name="T15" fmla="*/ 8 h 111"/>
                <a:gd name="T16" fmla="*/ 11 w 104"/>
                <a:gd name="T17" fmla="*/ 4 h 111"/>
                <a:gd name="T18" fmla="*/ 11 w 104"/>
                <a:gd name="T19" fmla="*/ 2 h 111"/>
                <a:gd name="T20" fmla="*/ 5 w 104"/>
                <a:gd name="T21" fmla="*/ 0 h 111"/>
                <a:gd name="T22" fmla="*/ 0 w 104"/>
                <a:gd name="T23" fmla="*/ 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6" name="Freeform 385"/>
            <p:cNvSpPr>
              <a:spLocks/>
            </p:cNvSpPr>
            <p:nvPr/>
          </p:nvSpPr>
          <p:spPr bwMode="auto">
            <a:xfrm>
              <a:off x="6368388" y="3701520"/>
              <a:ext cx="91731" cy="95736"/>
            </a:xfrm>
            <a:custGeom>
              <a:avLst/>
              <a:gdLst>
                <a:gd name="T0" fmla="*/ 0 w 104"/>
                <a:gd name="T1" fmla="*/ 2 h 111"/>
                <a:gd name="T2" fmla="*/ 0 w 104"/>
                <a:gd name="T3" fmla="*/ 2 h 111"/>
                <a:gd name="T4" fmla="*/ 3 w 104"/>
                <a:gd name="T5" fmla="*/ 2 h 111"/>
                <a:gd name="T6" fmla="*/ 7 w 104"/>
                <a:gd name="T7" fmla="*/ 8 h 111"/>
                <a:gd name="T8" fmla="*/ 7 w 104"/>
                <a:gd name="T9" fmla="*/ 14 h 111"/>
                <a:gd name="T10" fmla="*/ 9 w 104"/>
                <a:gd name="T11" fmla="*/ 10 h 111"/>
                <a:gd name="T12" fmla="*/ 13 w 104"/>
                <a:gd name="T13" fmla="*/ 10 h 111"/>
                <a:gd name="T14" fmla="*/ 13 w 104"/>
                <a:gd name="T15" fmla="*/ 8 h 111"/>
                <a:gd name="T16" fmla="*/ 11 w 104"/>
                <a:gd name="T17" fmla="*/ 4 h 111"/>
                <a:gd name="T18" fmla="*/ 11 w 104"/>
                <a:gd name="T19" fmla="*/ 2 h 111"/>
                <a:gd name="T20" fmla="*/ 5 w 104"/>
                <a:gd name="T21" fmla="*/ 0 h 111"/>
                <a:gd name="T22" fmla="*/ 0 w 104"/>
                <a:gd name="T23" fmla="*/ 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7" name="Freeform 386"/>
            <p:cNvSpPr>
              <a:spLocks/>
            </p:cNvSpPr>
            <p:nvPr/>
          </p:nvSpPr>
          <p:spPr bwMode="auto">
            <a:xfrm>
              <a:off x="5862104" y="3660491"/>
              <a:ext cx="15877" cy="13677"/>
            </a:xfrm>
            <a:custGeom>
              <a:avLst/>
              <a:gdLst>
                <a:gd name="T0" fmla="*/ 0 w 17"/>
                <a:gd name="T1" fmla="*/ 2 h 15"/>
                <a:gd name="T2" fmla="*/ 0 w 17"/>
                <a:gd name="T3" fmla="*/ 2 h 15"/>
                <a:gd name="T4" fmla="*/ 0 w 17"/>
                <a:gd name="T5" fmla="*/ 0 h 15"/>
                <a:gd name="T6" fmla="*/ 3 w 17"/>
                <a:gd name="T7" fmla="*/ 0 h 15"/>
                <a:gd name="T8" fmla="*/ 3 w 17"/>
                <a:gd name="T9" fmla="*/ 2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close/>
                </a:path>
              </a:pathLst>
            </a:custGeom>
            <a:solidFill>
              <a:srgbClr val="D4DF33"/>
            </a:solidFill>
            <a:ln w="9525">
              <a:solidFill>
                <a:srgbClr val="F2F2F2"/>
              </a:solidFill>
              <a:round/>
              <a:headEnd/>
              <a:tailEnd/>
            </a:ln>
          </p:spPr>
          <p:txBody>
            <a:bodyPr/>
            <a:lstStyle/>
            <a:p>
              <a:endParaRPr lang="en-US" dirty="0">
                <a:solidFill>
                  <a:srgbClr val="575757"/>
                </a:solidFill>
              </a:endParaRPr>
            </a:p>
          </p:txBody>
        </p:sp>
        <p:sp>
          <p:nvSpPr>
            <p:cNvPr id="908" name="Freeform 387"/>
            <p:cNvSpPr>
              <a:spLocks/>
            </p:cNvSpPr>
            <p:nvPr/>
          </p:nvSpPr>
          <p:spPr bwMode="auto">
            <a:xfrm>
              <a:off x="5862104" y="3660491"/>
              <a:ext cx="15877" cy="13677"/>
            </a:xfrm>
            <a:custGeom>
              <a:avLst/>
              <a:gdLst>
                <a:gd name="T0" fmla="*/ 0 w 17"/>
                <a:gd name="T1" fmla="*/ 2 h 15"/>
                <a:gd name="T2" fmla="*/ 0 w 17"/>
                <a:gd name="T3" fmla="*/ 2 h 15"/>
                <a:gd name="T4" fmla="*/ 0 w 17"/>
                <a:gd name="T5" fmla="*/ 0 h 15"/>
                <a:gd name="T6" fmla="*/ 3 w 17"/>
                <a:gd name="T7" fmla="*/ 0 h 15"/>
                <a:gd name="T8" fmla="*/ 3 w 17"/>
                <a:gd name="T9" fmla="*/ 2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09" name="Freeform 388"/>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0" name="Freeform 389"/>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1" name="Freeform 390"/>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2" name="Freeform 391"/>
            <p:cNvSpPr>
              <a:spLocks/>
            </p:cNvSpPr>
            <p:nvPr/>
          </p:nvSpPr>
          <p:spPr bwMode="auto">
            <a:xfrm>
              <a:off x="5953836" y="3742550"/>
              <a:ext cx="15877" cy="13677"/>
            </a:xfrm>
            <a:custGeom>
              <a:avLst/>
              <a:gdLst>
                <a:gd name="T0" fmla="*/ 3 w 17"/>
                <a:gd name="T1" fmla="*/ 2 h 15"/>
                <a:gd name="T2" fmla="*/ 3 w 17"/>
                <a:gd name="T3" fmla="*/ 2 h 15"/>
                <a:gd name="T4" fmla="*/ 0 w 17"/>
                <a:gd name="T5" fmla="*/ 0 h 15"/>
                <a:gd name="T6" fmla="*/ 3 w 17"/>
                <a:gd name="T7" fmla="*/ 2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17" y="15"/>
                  </a:moveTo>
                  <a:lnTo>
                    <a:pt x="17" y="15"/>
                  </a:lnTo>
                  <a:lnTo>
                    <a:pt x="0" y="0"/>
                  </a:lnTo>
                  <a:lnTo>
                    <a:pt x="17"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3" name="Freeform 392"/>
            <p:cNvSpPr>
              <a:spLocks/>
            </p:cNvSpPr>
            <p:nvPr/>
          </p:nvSpPr>
          <p:spPr bwMode="auto">
            <a:xfrm>
              <a:off x="6214916" y="3715197"/>
              <a:ext cx="231092" cy="150442"/>
            </a:xfrm>
            <a:custGeom>
              <a:avLst/>
              <a:gdLst>
                <a:gd name="T0" fmla="*/ 5 w 261"/>
                <a:gd name="T1" fmla="*/ 16 h 177"/>
                <a:gd name="T2" fmla="*/ 5 w 261"/>
                <a:gd name="T3" fmla="*/ 16 h 177"/>
                <a:gd name="T4" fmla="*/ 9 w 261"/>
                <a:gd name="T5" fmla="*/ 16 h 177"/>
                <a:gd name="T6" fmla="*/ 9 w 261"/>
                <a:gd name="T7" fmla="*/ 18 h 177"/>
                <a:gd name="T8" fmla="*/ 11 w 261"/>
                <a:gd name="T9" fmla="*/ 20 h 177"/>
                <a:gd name="T10" fmla="*/ 13 w 261"/>
                <a:gd name="T11" fmla="*/ 20 h 177"/>
                <a:gd name="T12" fmla="*/ 20 w 261"/>
                <a:gd name="T13" fmla="*/ 22 h 177"/>
                <a:gd name="T14" fmla="*/ 24 w 261"/>
                <a:gd name="T15" fmla="*/ 18 h 177"/>
                <a:gd name="T16" fmla="*/ 31 w 261"/>
                <a:gd name="T17" fmla="*/ 20 h 177"/>
                <a:gd name="T18" fmla="*/ 31 w 261"/>
                <a:gd name="T19" fmla="*/ 18 h 177"/>
                <a:gd name="T20" fmla="*/ 33 w 261"/>
                <a:gd name="T21" fmla="*/ 16 h 177"/>
                <a:gd name="T22" fmla="*/ 33 w 261"/>
                <a:gd name="T23" fmla="*/ 14 h 177"/>
                <a:gd name="T24" fmla="*/ 29 w 261"/>
                <a:gd name="T25" fmla="*/ 14 h 177"/>
                <a:gd name="T26" fmla="*/ 29 w 261"/>
                <a:gd name="T27" fmla="*/ 12 h 177"/>
                <a:gd name="T28" fmla="*/ 29 w 261"/>
                <a:gd name="T29" fmla="*/ 6 h 177"/>
                <a:gd name="T30" fmla="*/ 24 w 261"/>
                <a:gd name="T31" fmla="*/ 0 h 177"/>
                <a:gd name="T32" fmla="*/ 22 w 261"/>
                <a:gd name="T33" fmla="*/ 0 h 177"/>
                <a:gd name="T34" fmla="*/ 18 w 261"/>
                <a:gd name="T35" fmla="*/ 2 h 177"/>
                <a:gd name="T36" fmla="*/ 16 w 261"/>
                <a:gd name="T37" fmla="*/ 2 h 177"/>
                <a:gd name="T38" fmla="*/ 9 w 261"/>
                <a:gd name="T39" fmla="*/ 2 h 177"/>
                <a:gd name="T40" fmla="*/ 7 w 261"/>
                <a:gd name="T41" fmla="*/ 2 h 177"/>
                <a:gd name="T42" fmla="*/ 5 w 261"/>
                <a:gd name="T43" fmla="*/ 10 h 177"/>
                <a:gd name="T44" fmla="*/ 0 w 261"/>
                <a:gd name="T45" fmla="*/ 10 h 177"/>
                <a:gd name="T46" fmla="*/ 5 w 261"/>
                <a:gd name="T47" fmla="*/ 16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4" name="Freeform 393"/>
            <p:cNvSpPr>
              <a:spLocks/>
            </p:cNvSpPr>
            <p:nvPr/>
          </p:nvSpPr>
          <p:spPr bwMode="auto">
            <a:xfrm>
              <a:off x="6214916" y="3715197"/>
              <a:ext cx="231092" cy="150442"/>
            </a:xfrm>
            <a:custGeom>
              <a:avLst/>
              <a:gdLst>
                <a:gd name="T0" fmla="*/ 5 w 261"/>
                <a:gd name="T1" fmla="*/ 16 h 177"/>
                <a:gd name="T2" fmla="*/ 5 w 261"/>
                <a:gd name="T3" fmla="*/ 16 h 177"/>
                <a:gd name="T4" fmla="*/ 9 w 261"/>
                <a:gd name="T5" fmla="*/ 16 h 177"/>
                <a:gd name="T6" fmla="*/ 9 w 261"/>
                <a:gd name="T7" fmla="*/ 18 h 177"/>
                <a:gd name="T8" fmla="*/ 11 w 261"/>
                <a:gd name="T9" fmla="*/ 20 h 177"/>
                <a:gd name="T10" fmla="*/ 13 w 261"/>
                <a:gd name="T11" fmla="*/ 20 h 177"/>
                <a:gd name="T12" fmla="*/ 20 w 261"/>
                <a:gd name="T13" fmla="*/ 22 h 177"/>
                <a:gd name="T14" fmla="*/ 24 w 261"/>
                <a:gd name="T15" fmla="*/ 18 h 177"/>
                <a:gd name="T16" fmla="*/ 31 w 261"/>
                <a:gd name="T17" fmla="*/ 20 h 177"/>
                <a:gd name="T18" fmla="*/ 31 w 261"/>
                <a:gd name="T19" fmla="*/ 18 h 177"/>
                <a:gd name="T20" fmla="*/ 33 w 261"/>
                <a:gd name="T21" fmla="*/ 16 h 177"/>
                <a:gd name="T22" fmla="*/ 33 w 261"/>
                <a:gd name="T23" fmla="*/ 14 h 177"/>
                <a:gd name="T24" fmla="*/ 29 w 261"/>
                <a:gd name="T25" fmla="*/ 14 h 177"/>
                <a:gd name="T26" fmla="*/ 29 w 261"/>
                <a:gd name="T27" fmla="*/ 12 h 177"/>
                <a:gd name="T28" fmla="*/ 29 w 261"/>
                <a:gd name="T29" fmla="*/ 6 h 177"/>
                <a:gd name="T30" fmla="*/ 24 w 261"/>
                <a:gd name="T31" fmla="*/ 0 h 177"/>
                <a:gd name="T32" fmla="*/ 22 w 261"/>
                <a:gd name="T33" fmla="*/ 0 h 177"/>
                <a:gd name="T34" fmla="*/ 18 w 261"/>
                <a:gd name="T35" fmla="*/ 2 h 177"/>
                <a:gd name="T36" fmla="*/ 16 w 261"/>
                <a:gd name="T37" fmla="*/ 2 h 177"/>
                <a:gd name="T38" fmla="*/ 9 w 261"/>
                <a:gd name="T39" fmla="*/ 2 h 177"/>
                <a:gd name="T40" fmla="*/ 7 w 261"/>
                <a:gd name="T41" fmla="*/ 2 h 177"/>
                <a:gd name="T42" fmla="*/ 5 w 261"/>
                <a:gd name="T43" fmla="*/ 10 h 177"/>
                <a:gd name="T44" fmla="*/ 0 w 261"/>
                <a:gd name="T45" fmla="*/ 10 h 177"/>
                <a:gd name="T46" fmla="*/ 5 w 261"/>
                <a:gd name="T47" fmla="*/ 16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5" name="Freeform 394"/>
            <p:cNvSpPr>
              <a:spLocks/>
            </p:cNvSpPr>
            <p:nvPr/>
          </p:nvSpPr>
          <p:spPr bwMode="auto">
            <a:xfrm>
              <a:off x="7086362" y="4316964"/>
              <a:ext cx="15877" cy="27353"/>
            </a:xfrm>
            <a:custGeom>
              <a:avLst/>
              <a:gdLst>
                <a:gd name="T0" fmla="*/ 3 w 17"/>
                <a:gd name="T1" fmla="*/ 4 h 33"/>
                <a:gd name="T2" fmla="*/ 3 w 17"/>
                <a:gd name="T3" fmla="*/ 4 h 33"/>
                <a:gd name="T4" fmla="*/ 0 w 17"/>
                <a:gd name="T5" fmla="*/ 2 h 33"/>
                <a:gd name="T6" fmla="*/ 0 w 17"/>
                <a:gd name="T7" fmla="*/ 0 h 33"/>
                <a:gd name="T8" fmla="*/ 3 w 17"/>
                <a:gd name="T9" fmla="*/ 0 h 33"/>
                <a:gd name="T10" fmla="*/ 3 w 17"/>
                <a:gd name="T11" fmla="*/ 4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6" name="Freeform 395"/>
            <p:cNvSpPr>
              <a:spLocks/>
            </p:cNvSpPr>
            <p:nvPr/>
          </p:nvSpPr>
          <p:spPr bwMode="auto">
            <a:xfrm>
              <a:off x="7086362" y="4316964"/>
              <a:ext cx="15877" cy="27353"/>
            </a:xfrm>
            <a:custGeom>
              <a:avLst/>
              <a:gdLst>
                <a:gd name="T0" fmla="*/ 3 w 17"/>
                <a:gd name="T1" fmla="*/ 4 h 33"/>
                <a:gd name="T2" fmla="*/ 3 w 17"/>
                <a:gd name="T3" fmla="*/ 4 h 33"/>
                <a:gd name="T4" fmla="*/ 0 w 17"/>
                <a:gd name="T5" fmla="*/ 2 h 33"/>
                <a:gd name="T6" fmla="*/ 0 w 17"/>
                <a:gd name="T7" fmla="*/ 0 h 33"/>
                <a:gd name="T8" fmla="*/ 3 w 17"/>
                <a:gd name="T9" fmla="*/ 0 h 33"/>
                <a:gd name="T10" fmla="*/ 3 w 17"/>
                <a:gd name="T11" fmla="*/ 4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rgbClr val="295E7E"/>
            </a:solidFill>
            <a:ln w="9525">
              <a:solidFill>
                <a:srgbClr val="F2F2F2"/>
              </a:solidFill>
              <a:round/>
              <a:headEnd/>
              <a:tailEnd/>
            </a:ln>
          </p:spPr>
          <p:txBody>
            <a:bodyPr/>
            <a:lstStyle/>
            <a:p>
              <a:endParaRPr lang="en-US" dirty="0">
                <a:solidFill>
                  <a:srgbClr val="575757"/>
                </a:solidFill>
              </a:endParaRPr>
            </a:p>
          </p:txBody>
        </p:sp>
        <p:sp>
          <p:nvSpPr>
            <p:cNvPr id="917" name="Freeform 396"/>
            <p:cNvSpPr>
              <a:spLocks/>
            </p:cNvSpPr>
            <p:nvPr/>
          </p:nvSpPr>
          <p:spPr bwMode="auto">
            <a:xfrm>
              <a:off x="8478205" y="4795642"/>
              <a:ext cx="45866" cy="13677"/>
            </a:xfrm>
            <a:custGeom>
              <a:avLst/>
              <a:gdLst>
                <a:gd name="T0" fmla="*/ 0 w 52"/>
                <a:gd name="T1" fmla="*/ 2 h 15"/>
                <a:gd name="T2" fmla="*/ 0 w 52"/>
                <a:gd name="T3" fmla="*/ 2 h 15"/>
                <a:gd name="T4" fmla="*/ 3 w 52"/>
                <a:gd name="T5" fmla="*/ 2 h 15"/>
                <a:gd name="T6" fmla="*/ 5 w 52"/>
                <a:gd name="T7" fmla="*/ 2 h 15"/>
                <a:gd name="T8" fmla="*/ 7 w 52"/>
                <a:gd name="T9" fmla="*/ 0 h 15"/>
                <a:gd name="T10" fmla="*/ 5 w 52"/>
                <a:gd name="T11" fmla="*/ 0 h 15"/>
                <a:gd name="T12" fmla="*/ 0 w 52"/>
                <a:gd name="T13" fmla="*/ 2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8" name="Freeform 397"/>
            <p:cNvSpPr>
              <a:spLocks/>
            </p:cNvSpPr>
            <p:nvPr/>
          </p:nvSpPr>
          <p:spPr bwMode="auto">
            <a:xfrm>
              <a:off x="8478205" y="4795642"/>
              <a:ext cx="45866" cy="13677"/>
            </a:xfrm>
            <a:custGeom>
              <a:avLst/>
              <a:gdLst>
                <a:gd name="T0" fmla="*/ 0 w 52"/>
                <a:gd name="T1" fmla="*/ 2 h 15"/>
                <a:gd name="T2" fmla="*/ 0 w 52"/>
                <a:gd name="T3" fmla="*/ 2 h 15"/>
                <a:gd name="T4" fmla="*/ 3 w 52"/>
                <a:gd name="T5" fmla="*/ 2 h 15"/>
                <a:gd name="T6" fmla="*/ 5 w 52"/>
                <a:gd name="T7" fmla="*/ 2 h 15"/>
                <a:gd name="T8" fmla="*/ 7 w 52"/>
                <a:gd name="T9" fmla="*/ 0 h 15"/>
                <a:gd name="T10" fmla="*/ 5 w 52"/>
                <a:gd name="T11" fmla="*/ 0 h 15"/>
                <a:gd name="T12" fmla="*/ 0 w 52"/>
                <a:gd name="T13" fmla="*/ 2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19" name="Freeform 398"/>
            <p:cNvSpPr>
              <a:spLocks/>
            </p:cNvSpPr>
            <p:nvPr/>
          </p:nvSpPr>
          <p:spPr bwMode="auto">
            <a:xfrm>
              <a:off x="8434102" y="2443279"/>
              <a:ext cx="28225" cy="41030"/>
            </a:xfrm>
            <a:custGeom>
              <a:avLst/>
              <a:gdLst>
                <a:gd name="T0" fmla="*/ 4 w 33"/>
                <a:gd name="T1" fmla="*/ 6 h 48"/>
                <a:gd name="T2" fmla="*/ 4 w 33"/>
                <a:gd name="T3" fmla="*/ 6 h 48"/>
                <a:gd name="T4" fmla="*/ 4 w 33"/>
                <a:gd name="T5" fmla="*/ 3 h 48"/>
                <a:gd name="T6" fmla="*/ 0 w 33"/>
                <a:gd name="T7" fmla="*/ 0 h 48"/>
                <a:gd name="T8" fmla="*/ 0 w 33"/>
                <a:gd name="T9" fmla="*/ 3 h 48"/>
                <a:gd name="T10" fmla="*/ 4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0" name="Freeform 399"/>
            <p:cNvSpPr>
              <a:spLocks/>
            </p:cNvSpPr>
            <p:nvPr/>
          </p:nvSpPr>
          <p:spPr bwMode="auto">
            <a:xfrm>
              <a:off x="8434102" y="2443279"/>
              <a:ext cx="28225" cy="41030"/>
            </a:xfrm>
            <a:custGeom>
              <a:avLst/>
              <a:gdLst>
                <a:gd name="T0" fmla="*/ 4 w 33"/>
                <a:gd name="T1" fmla="*/ 6 h 48"/>
                <a:gd name="T2" fmla="*/ 4 w 33"/>
                <a:gd name="T3" fmla="*/ 6 h 48"/>
                <a:gd name="T4" fmla="*/ 4 w 33"/>
                <a:gd name="T5" fmla="*/ 3 h 48"/>
                <a:gd name="T6" fmla="*/ 0 w 33"/>
                <a:gd name="T7" fmla="*/ 0 h 48"/>
                <a:gd name="T8" fmla="*/ 0 w 33"/>
                <a:gd name="T9" fmla="*/ 3 h 48"/>
                <a:gd name="T10" fmla="*/ 4 w 33"/>
                <a:gd name="T11" fmla="*/ 6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1" name="Freeform 400"/>
            <p:cNvSpPr>
              <a:spLocks/>
            </p:cNvSpPr>
            <p:nvPr/>
          </p:nvSpPr>
          <p:spPr bwMode="auto">
            <a:xfrm>
              <a:off x="5313482" y="4535790"/>
              <a:ext cx="151710" cy="95736"/>
            </a:xfrm>
            <a:custGeom>
              <a:avLst/>
              <a:gdLst>
                <a:gd name="T0" fmla="*/ 2 w 173"/>
                <a:gd name="T1" fmla="*/ 11 h 113"/>
                <a:gd name="T2" fmla="*/ 2 w 173"/>
                <a:gd name="T3" fmla="*/ 11 h 113"/>
                <a:gd name="T4" fmla="*/ 4 w 173"/>
                <a:gd name="T5" fmla="*/ 11 h 113"/>
                <a:gd name="T6" fmla="*/ 8 w 173"/>
                <a:gd name="T7" fmla="*/ 10 h 113"/>
                <a:gd name="T8" fmla="*/ 10 w 173"/>
                <a:gd name="T9" fmla="*/ 11 h 113"/>
                <a:gd name="T10" fmla="*/ 13 w 173"/>
                <a:gd name="T11" fmla="*/ 10 h 113"/>
                <a:gd name="T12" fmla="*/ 8 w 173"/>
                <a:gd name="T13" fmla="*/ 10 h 113"/>
                <a:gd name="T14" fmla="*/ 2 w 173"/>
                <a:gd name="T15" fmla="*/ 10 h 113"/>
                <a:gd name="T16" fmla="*/ 0 w 173"/>
                <a:gd name="T17" fmla="*/ 5 h 113"/>
                <a:gd name="T18" fmla="*/ 2 w 173"/>
                <a:gd name="T19" fmla="*/ 2 h 113"/>
                <a:gd name="T20" fmla="*/ 4 w 173"/>
                <a:gd name="T21" fmla="*/ 0 h 113"/>
                <a:gd name="T22" fmla="*/ 8 w 173"/>
                <a:gd name="T23" fmla="*/ 0 h 113"/>
                <a:gd name="T24" fmla="*/ 15 w 173"/>
                <a:gd name="T25" fmla="*/ 2 h 113"/>
                <a:gd name="T26" fmla="*/ 17 w 173"/>
                <a:gd name="T27" fmla="*/ 5 h 113"/>
                <a:gd name="T28" fmla="*/ 21 w 173"/>
                <a:gd name="T29" fmla="*/ 14 h 113"/>
                <a:gd name="T30" fmla="*/ 13 w 173"/>
                <a:gd name="T31" fmla="*/ 14 h 113"/>
                <a:gd name="T32" fmla="*/ 2 w 173"/>
                <a:gd name="T33" fmla="*/ 14 h 113"/>
                <a:gd name="T34" fmla="*/ 2 w 173"/>
                <a:gd name="T35" fmla="*/ 11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2" name="Freeform 401"/>
            <p:cNvSpPr>
              <a:spLocks/>
            </p:cNvSpPr>
            <p:nvPr/>
          </p:nvSpPr>
          <p:spPr bwMode="auto">
            <a:xfrm>
              <a:off x="5313482" y="4535790"/>
              <a:ext cx="151710" cy="95736"/>
            </a:xfrm>
            <a:custGeom>
              <a:avLst/>
              <a:gdLst>
                <a:gd name="T0" fmla="*/ 2 w 173"/>
                <a:gd name="T1" fmla="*/ 11 h 113"/>
                <a:gd name="T2" fmla="*/ 2 w 173"/>
                <a:gd name="T3" fmla="*/ 11 h 113"/>
                <a:gd name="T4" fmla="*/ 4 w 173"/>
                <a:gd name="T5" fmla="*/ 11 h 113"/>
                <a:gd name="T6" fmla="*/ 8 w 173"/>
                <a:gd name="T7" fmla="*/ 10 h 113"/>
                <a:gd name="T8" fmla="*/ 10 w 173"/>
                <a:gd name="T9" fmla="*/ 11 h 113"/>
                <a:gd name="T10" fmla="*/ 13 w 173"/>
                <a:gd name="T11" fmla="*/ 10 h 113"/>
                <a:gd name="T12" fmla="*/ 8 w 173"/>
                <a:gd name="T13" fmla="*/ 10 h 113"/>
                <a:gd name="T14" fmla="*/ 2 w 173"/>
                <a:gd name="T15" fmla="*/ 10 h 113"/>
                <a:gd name="T16" fmla="*/ 0 w 173"/>
                <a:gd name="T17" fmla="*/ 5 h 113"/>
                <a:gd name="T18" fmla="*/ 2 w 173"/>
                <a:gd name="T19" fmla="*/ 2 h 113"/>
                <a:gd name="T20" fmla="*/ 4 w 173"/>
                <a:gd name="T21" fmla="*/ 0 h 113"/>
                <a:gd name="T22" fmla="*/ 8 w 173"/>
                <a:gd name="T23" fmla="*/ 0 h 113"/>
                <a:gd name="T24" fmla="*/ 15 w 173"/>
                <a:gd name="T25" fmla="*/ 2 h 113"/>
                <a:gd name="T26" fmla="*/ 17 w 173"/>
                <a:gd name="T27" fmla="*/ 5 h 113"/>
                <a:gd name="T28" fmla="*/ 21 w 173"/>
                <a:gd name="T29" fmla="*/ 14 h 113"/>
                <a:gd name="T30" fmla="*/ 13 w 173"/>
                <a:gd name="T31" fmla="*/ 14 h 113"/>
                <a:gd name="T32" fmla="*/ 2 w 173"/>
                <a:gd name="T33" fmla="*/ 14 h 113"/>
                <a:gd name="T34" fmla="*/ 2 w 173"/>
                <a:gd name="T35" fmla="*/ 11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3" name="Freeform 402"/>
            <p:cNvSpPr>
              <a:spLocks/>
            </p:cNvSpPr>
            <p:nvPr/>
          </p:nvSpPr>
          <p:spPr bwMode="auto">
            <a:xfrm>
              <a:off x="5327595" y="4604171"/>
              <a:ext cx="75855" cy="13677"/>
            </a:xfrm>
            <a:custGeom>
              <a:avLst/>
              <a:gdLst>
                <a:gd name="T0" fmla="*/ 0 w 87"/>
                <a:gd name="T1" fmla="*/ 2 h 15"/>
                <a:gd name="T2" fmla="*/ 0 w 87"/>
                <a:gd name="T3" fmla="*/ 2 h 15"/>
                <a:gd name="T4" fmla="*/ 2 w 87"/>
                <a:gd name="T5" fmla="*/ 2 h 15"/>
                <a:gd name="T6" fmla="*/ 6 w 87"/>
                <a:gd name="T7" fmla="*/ 0 h 15"/>
                <a:gd name="T8" fmla="*/ 8 w 87"/>
                <a:gd name="T9" fmla="*/ 2 h 15"/>
                <a:gd name="T10" fmla="*/ 10 w 87"/>
                <a:gd name="T11" fmla="*/ 0 h 15"/>
                <a:gd name="T12" fmla="*/ 6 w 87"/>
                <a:gd name="T13" fmla="*/ 0 h 15"/>
                <a:gd name="T14" fmla="*/ 0 w 87"/>
                <a:gd name="T15" fmla="*/ 0 h 15"/>
                <a:gd name="T16" fmla="*/ 0 w 87"/>
                <a:gd name="T17" fmla="*/ 2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4" name="Freeform 403"/>
            <p:cNvSpPr>
              <a:spLocks/>
            </p:cNvSpPr>
            <p:nvPr/>
          </p:nvSpPr>
          <p:spPr bwMode="auto">
            <a:xfrm>
              <a:off x="5327595" y="4604171"/>
              <a:ext cx="75855" cy="13677"/>
            </a:xfrm>
            <a:custGeom>
              <a:avLst/>
              <a:gdLst>
                <a:gd name="T0" fmla="*/ 0 w 87"/>
                <a:gd name="T1" fmla="*/ 2 h 15"/>
                <a:gd name="T2" fmla="*/ 0 w 87"/>
                <a:gd name="T3" fmla="*/ 2 h 15"/>
                <a:gd name="T4" fmla="*/ 2 w 87"/>
                <a:gd name="T5" fmla="*/ 2 h 15"/>
                <a:gd name="T6" fmla="*/ 6 w 87"/>
                <a:gd name="T7" fmla="*/ 0 h 15"/>
                <a:gd name="T8" fmla="*/ 8 w 87"/>
                <a:gd name="T9" fmla="*/ 2 h 15"/>
                <a:gd name="T10" fmla="*/ 10 w 87"/>
                <a:gd name="T11" fmla="*/ 0 h 15"/>
                <a:gd name="T12" fmla="*/ 6 w 87"/>
                <a:gd name="T13" fmla="*/ 0 h 15"/>
                <a:gd name="T14" fmla="*/ 0 w 87"/>
                <a:gd name="T15" fmla="*/ 0 h 15"/>
                <a:gd name="T16" fmla="*/ 0 w 87"/>
                <a:gd name="T17" fmla="*/ 2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5" name="Freeform 404"/>
            <p:cNvSpPr>
              <a:spLocks/>
            </p:cNvSpPr>
            <p:nvPr/>
          </p:nvSpPr>
          <p:spPr bwMode="auto">
            <a:xfrm>
              <a:off x="5327595" y="4631524"/>
              <a:ext cx="75855" cy="41030"/>
            </a:xfrm>
            <a:custGeom>
              <a:avLst/>
              <a:gdLst>
                <a:gd name="T0" fmla="*/ 6 w 87"/>
                <a:gd name="T1" fmla="*/ 6 h 48"/>
                <a:gd name="T2" fmla="*/ 6 w 87"/>
                <a:gd name="T3" fmla="*/ 6 h 48"/>
                <a:gd name="T4" fmla="*/ 10 w 87"/>
                <a:gd name="T5" fmla="*/ 2 h 48"/>
                <a:gd name="T6" fmla="*/ 10 w 87"/>
                <a:gd name="T7" fmla="*/ 0 h 48"/>
                <a:gd name="T8" fmla="*/ 0 w 87"/>
                <a:gd name="T9" fmla="*/ 0 h 48"/>
                <a:gd name="T10" fmla="*/ 4 w 87"/>
                <a:gd name="T11" fmla="*/ 2 h 48"/>
                <a:gd name="T12" fmla="*/ 4 w 87"/>
                <a:gd name="T13" fmla="*/ 3 h 48"/>
                <a:gd name="T14" fmla="*/ 6 w 87"/>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6" name="Freeform 405"/>
            <p:cNvSpPr>
              <a:spLocks/>
            </p:cNvSpPr>
            <p:nvPr/>
          </p:nvSpPr>
          <p:spPr bwMode="auto">
            <a:xfrm>
              <a:off x="5327595" y="4631524"/>
              <a:ext cx="75855" cy="41030"/>
            </a:xfrm>
            <a:custGeom>
              <a:avLst/>
              <a:gdLst>
                <a:gd name="T0" fmla="*/ 6 w 87"/>
                <a:gd name="T1" fmla="*/ 6 h 48"/>
                <a:gd name="T2" fmla="*/ 6 w 87"/>
                <a:gd name="T3" fmla="*/ 6 h 48"/>
                <a:gd name="T4" fmla="*/ 10 w 87"/>
                <a:gd name="T5" fmla="*/ 2 h 48"/>
                <a:gd name="T6" fmla="*/ 10 w 87"/>
                <a:gd name="T7" fmla="*/ 0 h 48"/>
                <a:gd name="T8" fmla="*/ 0 w 87"/>
                <a:gd name="T9" fmla="*/ 0 h 48"/>
                <a:gd name="T10" fmla="*/ 4 w 87"/>
                <a:gd name="T11" fmla="*/ 2 h 48"/>
                <a:gd name="T12" fmla="*/ 4 w 87"/>
                <a:gd name="T13" fmla="*/ 3 h 48"/>
                <a:gd name="T14" fmla="*/ 6 w 87"/>
                <a:gd name="T15" fmla="*/ 6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7" name="Freeform 406"/>
            <p:cNvSpPr>
              <a:spLocks/>
            </p:cNvSpPr>
            <p:nvPr/>
          </p:nvSpPr>
          <p:spPr bwMode="auto">
            <a:xfrm>
              <a:off x="5373461" y="4631524"/>
              <a:ext cx="167586" cy="109412"/>
            </a:xfrm>
            <a:custGeom>
              <a:avLst/>
              <a:gdLst>
                <a:gd name="T0" fmla="*/ 22 w 190"/>
                <a:gd name="T1" fmla="*/ 17 h 126"/>
                <a:gd name="T2" fmla="*/ 22 w 190"/>
                <a:gd name="T3" fmla="*/ 17 h 126"/>
                <a:gd name="T4" fmla="*/ 24 w 190"/>
                <a:gd name="T5" fmla="*/ 17 h 126"/>
                <a:gd name="T6" fmla="*/ 24 w 190"/>
                <a:gd name="T7" fmla="*/ 14 h 126"/>
                <a:gd name="T8" fmla="*/ 24 w 190"/>
                <a:gd name="T9" fmla="*/ 13 h 126"/>
                <a:gd name="T10" fmla="*/ 24 w 190"/>
                <a:gd name="T11" fmla="*/ 10 h 126"/>
                <a:gd name="T12" fmla="*/ 24 w 190"/>
                <a:gd name="T13" fmla="*/ 8 h 126"/>
                <a:gd name="T14" fmla="*/ 20 w 190"/>
                <a:gd name="T15" fmla="*/ 0 h 126"/>
                <a:gd name="T16" fmla="*/ 15 w 190"/>
                <a:gd name="T17" fmla="*/ 2 h 126"/>
                <a:gd name="T18" fmla="*/ 11 w 190"/>
                <a:gd name="T19" fmla="*/ 2 h 126"/>
                <a:gd name="T20" fmla="*/ 13 w 190"/>
                <a:gd name="T21" fmla="*/ 0 h 126"/>
                <a:gd name="T22" fmla="*/ 5 w 190"/>
                <a:gd name="T23" fmla="*/ 0 h 126"/>
                <a:gd name="T24" fmla="*/ 5 w 190"/>
                <a:gd name="T25" fmla="*/ 2 h 126"/>
                <a:gd name="T26" fmla="*/ 0 w 190"/>
                <a:gd name="T27" fmla="*/ 6 h 126"/>
                <a:gd name="T28" fmla="*/ 6 w 190"/>
                <a:gd name="T29" fmla="*/ 10 h 126"/>
                <a:gd name="T30" fmla="*/ 9 w 190"/>
                <a:gd name="T31" fmla="*/ 8 h 126"/>
                <a:gd name="T32" fmla="*/ 11 w 190"/>
                <a:gd name="T33" fmla="*/ 8 h 126"/>
                <a:gd name="T34" fmla="*/ 15 w 190"/>
                <a:gd name="T35" fmla="*/ 13 h 126"/>
                <a:gd name="T36" fmla="*/ 15 w 190"/>
                <a:gd name="T37" fmla="*/ 14 h 126"/>
                <a:gd name="T38" fmla="*/ 18 w 190"/>
                <a:gd name="T39" fmla="*/ 13 h 126"/>
                <a:gd name="T40" fmla="*/ 20 w 190"/>
                <a:gd name="T41" fmla="*/ 17 h 126"/>
                <a:gd name="T42" fmla="*/ 22 w 190"/>
                <a:gd name="T43" fmla="*/ 1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8" name="Freeform 407"/>
            <p:cNvSpPr>
              <a:spLocks/>
            </p:cNvSpPr>
            <p:nvPr/>
          </p:nvSpPr>
          <p:spPr bwMode="auto">
            <a:xfrm>
              <a:off x="5373461" y="4631524"/>
              <a:ext cx="167586" cy="109412"/>
            </a:xfrm>
            <a:custGeom>
              <a:avLst/>
              <a:gdLst>
                <a:gd name="T0" fmla="*/ 22 w 190"/>
                <a:gd name="T1" fmla="*/ 17 h 126"/>
                <a:gd name="T2" fmla="*/ 22 w 190"/>
                <a:gd name="T3" fmla="*/ 17 h 126"/>
                <a:gd name="T4" fmla="*/ 24 w 190"/>
                <a:gd name="T5" fmla="*/ 17 h 126"/>
                <a:gd name="T6" fmla="*/ 24 w 190"/>
                <a:gd name="T7" fmla="*/ 14 h 126"/>
                <a:gd name="T8" fmla="*/ 24 w 190"/>
                <a:gd name="T9" fmla="*/ 13 h 126"/>
                <a:gd name="T10" fmla="*/ 24 w 190"/>
                <a:gd name="T11" fmla="*/ 10 h 126"/>
                <a:gd name="T12" fmla="*/ 24 w 190"/>
                <a:gd name="T13" fmla="*/ 8 h 126"/>
                <a:gd name="T14" fmla="*/ 20 w 190"/>
                <a:gd name="T15" fmla="*/ 0 h 126"/>
                <a:gd name="T16" fmla="*/ 15 w 190"/>
                <a:gd name="T17" fmla="*/ 2 h 126"/>
                <a:gd name="T18" fmla="*/ 11 w 190"/>
                <a:gd name="T19" fmla="*/ 2 h 126"/>
                <a:gd name="T20" fmla="*/ 13 w 190"/>
                <a:gd name="T21" fmla="*/ 0 h 126"/>
                <a:gd name="T22" fmla="*/ 5 w 190"/>
                <a:gd name="T23" fmla="*/ 0 h 126"/>
                <a:gd name="T24" fmla="*/ 5 w 190"/>
                <a:gd name="T25" fmla="*/ 2 h 126"/>
                <a:gd name="T26" fmla="*/ 0 w 190"/>
                <a:gd name="T27" fmla="*/ 6 h 126"/>
                <a:gd name="T28" fmla="*/ 6 w 190"/>
                <a:gd name="T29" fmla="*/ 10 h 126"/>
                <a:gd name="T30" fmla="*/ 9 w 190"/>
                <a:gd name="T31" fmla="*/ 8 h 126"/>
                <a:gd name="T32" fmla="*/ 11 w 190"/>
                <a:gd name="T33" fmla="*/ 8 h 126"/>
                <a:gd name="T34" fmla="*/ 15 w 190"/>
                <a:gd name="T35" fmla="*/ 13 h 126"/>
                <a:gd name="T36" fmla="*/ 15 w 190"/>
                <a:gd name="T37" fmla="*/ 14 h 126"/>
                <a:gd name="T38" fmla="*/ 18 w 190"/>
                <a:gd name="T39" fmla="*/ 13 h 126"/>
                <a:gd name="T40" fmla="*/ 20 w 190"/>
                <a:gd name="T41" fmla="*/ 17 h 126"/>
                <a:gd name="T42" fmla="*/ 22 w 190"/>
                <a:gd name="T43" fmla="*/ 1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29" name="Freeform 408"/>
            <p:cNvSpPr>
              <a:spLocks/>
            </p:cNvSpPr>
            <p:nvPr/>
          </p:nvSpPr>
          <p:spPr bwMode="auto">
            <a:xfrm>
              <a:off x="5419326" y="4686230"/>
              <a:ext cx="63507" cy="68383"/>
            </a:xfrm>
            <a:custGeom>
              <a:avLst/>
              <a:gdLst>
                <a:gd name="T0" fmla="*/ 0 w 71"/>
                <a:gd name="T1" fmla="*/ 1 h 81"/>
                <a:gd name="T2" fmla="*/ 0 w 71"/>
                <a:gd name="T3" fmla="*/ 1 h 81"/>
                <a:gd name="T4" fmla="*/ 3 w 71"/>
                <a:gd name="T5" fmla="*/ 0 h 81"/>
                <a:gd name="T6" fmla="*/ 5 w 71"/>
                <a:gd name="T7" fmla="*/ 0 h 81"/>
                <a:gd name="T8" fmla="*/ 9 w 71"/>
                <a:gd name="T9" fmla="*/ 4 h 81"/>
                <a:gd name="T10" fmla="*/ 9 w 71"/>
                <a:gd name="T11" fmla="*/ 6 h 81"/>
                <a:gd name="T12" fmla="*/ 5 w 71"/>
                <a:gd name="T13" fmla="*/ 10 h 81"/>
                <a:gd name="T14" fmla="*/ 3 w 71"/>
                <a:gd name="T15" fmla="*/ 7 h 81"/>
                <a:gd name="T16" fmla="*/ 0 w 71"/>
                <a:gd name="T17" fmla="*/ 7 h 81"/>
                <a:gd name="T18" fmla="*/ 0 w 71"/>
                <a:gd name="T19" fmla="*/ 1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0" name="Freeform 409"/>
            <p:cNvSpPr>
              <a:spLocks/>
            </p:cNvSpPr>
            <p:nvPr/>
          </p:nvSpPr>
          <p:spPr bwMode="auto">
            <a:xfrm>
              <a:off x="5419326" y="4686230"/>
              <a:ext cx="63507" cy="68383"/>
            </a:xfrm>
            <a:custGeom>
              <a:avLst/>
              <a:gdLst>
                <a:gd name="T0" fmla="*/ 0 w 71"/>
                <a:gd name="T1" fmla="*/ 1 h 81"/>
                <a:gd name="T2" fmla="*/ 0 w 71"/>
                <a:gd name="T3" fmla="*/ 1 h 81"/>
                <a:gd name="T4" fmla="*/ 3 w 71"/>
                <a:gd name="T5" fmla="*/ 0 h 81"/>
                <a:gd name="T6" fmla="*/ 5 w 71"/>
                <a:gd name="T7" fmla="*/ 0 h 81"/>
                <a:gd name="T8" fmla="*/ 9 w 71"/>
                <a:gd name="T9" fmla="*/ 4 h 81"/>
                <a:gd name="T10" fmla="*/ 9 w 71"/>
                <a:gd name="T11" fmla="*/ 6 h 81"/>
                <a:gd name="T12" fmla="*/ 5 w 71"/>
                <a:gd name="T13" fmla="*/ 10 h 81"/>
                <a:gd name="T14" fmla="*/ 3 w 71"/>
                <a:gd name="T15" fmla="*/ 7 h 81"/>
                <a:gd name="T16" fmla="*/ 0 w 71"/>
                <a:gd name="T17" fmla="*/ 7 h 81"/>
                <a:gd name="T18" fmla="*/ 0 w 71"/>
                <a:gd name="T19" fmla="*/ 1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1" name="Freeform 410"/>
            <p:cNvSpPr>
              <a:spLocks/>
            </p:cNvSpPr>
            <p:nvPr/>
          </p:nvSpPr>
          <p:spPr bwMode="auto">
            <a:xfrm>
              <a:off x="5449315" y="4713583"/>
              <a:ext cx="109372" cy="95736"/>
            </a:xfrm>
            <a:custGeom>
              <a:avLst/>
              <a:gdLst>
                <a:gd name="T0" fmla="*/ 16 w 122"/>
                <a:gd name="T1" fmla="*/ 14 h 111"/>
                <a:gd name="T2" fmla="*/ 16 w 122"/>
                <a:gd name="T3" fmla="*/ 14 h 111"/>
                <a:gd name="T4" fmla="*/ 16 w 122"/>
                <a:gd name="T5" fmla="*/ 10 h 111"/>
                <a:gd name="T6" fmla="*/ 11 w 122"/>
                <a:gd name="T7" fmla="*/ 8 h 111"/>
                <a:gd name="T8" fmla="*/ 11 w 122"/>
                <a:gd name="T9" fmla="*/ 4 h 111"/>
                <a:gd name="T10" fmla="*/ 9 w 122"/>
                <a:gd name="T11" fmla="*/ 4 h 111"/>
                <a:gd name="T12" fmla="*/ 7 w 122"/>
                <a:gd name="T13" fmla="*/ 0 h 111"/>
                <a:gd name="T14" fmla="*/ 5 w 122"/>
                <a:gd name="T15" fmla="*/ 2 h 111"/>
                <a:gd name="T16" fmla="*/ 0 w 122"/>
                <a:gd name="T17" fmla="*/ 6 h 111"/>
                <a:gd name="T18" fmla="*/ 11 w 122"/>
                <a:gd name="T19" fmla="*/ 14 h 111"/>
                <a:gd name="T20" fmla="*/ 16 w 122"/>
                <a:gd name="T21" fmla="*/ 14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2" name="Freeform 411"/>
            <p:cNvSpPr>
              <a:spLocks/>
            </p:cNvSpPr>
            <p:nvPr/>
          </p:nvSpPr>
          <p:spPr bwMode="auto">
            <a:xfrm>
              <a:off x="5449315" y="4713583"/>
              <a:ext cx="109372" cy="95736"/>
            </a:xfrm>
            <a:custGeom>
              <a:avLst/>
              <a:gdLst>
                <a:gd name="T0" fmla="*/ 16 w 122"/>
                <a:gd name="T1" fmla="*/ 14 h 111"/>
                <a:gd name="T2" fmla="*/ 16 w 122"/>
                <a:gd name="T3" fmla="*/ 14 h 111"/>
                <a:gd name="T4" fmla="*/ 16 w 122"/>
                <a:gd name="T5" fmla="*/ 10 h 111"/>
                <a:gd name="T6" fmla="*/ 11 w 122"/>
                <a:gd name="T7" fmla="*/ 8 h 111"/>
                <a:gd name="T8" fmla="*/ 11 w 122"/>
                <a:gd name="T9" fmla="*/ 4 h 111"/>
                <a:gd name="T10" fmla="*/ 9 w 122"/>
                <a:gd name="T11" fmla="*/ 4 h 111"/>
                <a:gd name="T12" fmla="*/ 7 w 122"/>
                <a:gd name="T13" fmla="*/ 0 h 111"/>
                <a:gd name="T14" fmla="*/ 5 w 122"/>
                <a:gd name="T15" fmla="*/ 2 h 111"/>
                <a:gd name="T16" fmla="*/ 0 w 122"/>
                <a:gd name="T17" fmla="*/ 6 h 111"/>
                <a:gd name="T18" fmla="*/ 11 w 122"/>
                <a:gd name="T19" fmla="*/ 14 h 111"/>
                <a:gd name="T20" fmla="*/ 16 w 122"/>
                <a:gd name="T21" fmla="*/ 14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3" name="Freeform 412"/>
            <p:cNvSpPr>
              <a:spLocks/>
            </p:cNvSpPr>
            <p:nvPr/>
          </p:nvSpPr>
          <p:spPr bwMode="auto">
            <a:xfrm>
              <a:off x="5526933" y="4672555"/>
              <a:ext cx="153473" cy="136765"/>
            </a:xfrm>
            <a:custGeom>
              <a:avLst/>
              <a:gdLst>
                <a:gd name="T0" fmla="*/ 20 w 173"/>
                <a:gd name="T1" fmla="*/ 18 h 159"/>
                <a:gd name="T2" fmla="*/ 20 w 173"/>
                <a:gd name="T3" fmla="*/ 18 h 159"/>
                <a:gd name="T4" fmla="*/ 20 w 173"/>
                <a:gd name="T5" fmla="*/ 12 h 159"/>
                <a:gd name="T6" fmla="*/ 22 w 173"/>
                <a:gd name="T7" fmla="*/ 8 h 159"/>
                <a:gd name="T8" fmla="*/ 20 w 173"/>
                <a:gd name="T9" fmla="*/ 4 h 159"/>
                <a:gd name="T10" fmla="*/ 18 w 173"/>
                <a:gd name="T11" fmla="*/ 2 h 159"/>
                <a:gd name="T12" fmla="*/ 13 w 173"/>
                <a:gd name="T13" fmla="*/ 2 h 159"/>
                <a:gd name="T14" fmla="*/ 11 w 173"/>
                <a:gd name="T15" fmla="*/ 0 h 159"/>
                <a:gd name="T16" fmla="*/ 9 w 173"/>
                <a:gd name="T17" fmla="*/ 2 h 159"/>
                <a:gd name="T18" fmla="*/ 7 w 173"/>
                <a:gd name="T19" fmla="*/ 0 h 159"/>
                <a:gd name="T20" fmla="*/ 5 w 173"/>
                <a:gd name="T21" fmla="*/ 2 h 159"/>
                <a:gd name="T22" fmla="*/ 3 w 173"/>
                <a:gd name="T23" fmla="*/ 2 h 159"/>
                <a:gd name="T24" fmla="*/ 3 w 173"/>
                <a:gd name="T25" fmla="*/ 4 h 159"/>
                <a:gd name="T26" fmla="*/ 3 w 173"/>
                <a:gd name="T27" fmla="*/ 6 h 159"/>
                <a:gd name="T28" fmla="*/ 3 w 173"/>
                <a:gd name="T29" fmla="*/ 8 h 159"/>
                <a:gd name="T30" fmla="*/ 3 w 173"/>
                <a:gd name="T31" fmla="*/ 10 h 159"/>
                <a:gd name="T32" fmla="*/ 0 w 173"/>
                <a:gd name="T33" fmla="*/ 10 h 159"/>
                <a:gd name="T34" fmla="*/ 0 w 173"/>
                <a:gd name="T35" fmla="*/ 14 h 159"/>
                <a:gd name="T36" fmla="*/ 5 w 173"/>
                <a:gd name="T37" fmla="*/ 16 h 159"/>
                <a:gd name="T38" fmla="*/ 5 w 173"/>
                <a:gd name="T39" fmla="*/ 20 h 159"/>
                <a:gd name="T40" fmla="*/ 9 w 173"/>
                <a:gd name="T41" fmla="*/ 18 h 159"/>
                <a:gd name="T42" fmla="*/ 16 w 173"/>
                <a:gd name="T43" fmla="*/ 18 h 159"/>
                <a:gd name="T44" fmla="*/ 20 w 173"/>
                <a:gd name="T45" fmla="*/ 1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4" name="Freeform 413"/>
            <p:cNvSpPr>
              <a:spLocks/>
            </p:cNvSpPr>
            <p:nvPr/>
          </p:nvSpPr>
          <p:spPr bwMode="auto">
            <a:xfrm>
              <a:off x="5526933" y="4672555"/>
              <a:ext cx="153473" cy="136765"/>
            </a:xfrm>
            <a:custGeom>
              <a:avLst/>
              <a:gdLst>
                <a:gd name="T0" fmla="*/ 20 w 173"/>
                <a:gd name="T1" fmla="*/ 18 h 159"/>
                <a:gd name="T2" fmla="*/ 20 w 173"/>
                <a:gd name="T3" fmla="*/ 18 h 159"/>
                <a:gd name="T4" fmla="*/ 20 w 173"/>
                <a:gd name="T5" fmla="*/ 12 h 159"/>
                <a:gd name="T6" fmla="*/ 22 w 173"/>
                <a:gd name="T7" fmla="*/ 8 h 159"/>
                <a:gd name="T8" fmla="*/ 20 w 173"/>
                <a:gd name="T9" fmla="*/ 4 h 159"/>
                <a:gd name="T10" fmla="*/ 18 w 173"/>
                <a:gd name="T11" fmla="*/ 2 h 159"/>
                <a:gd name="T12" fmla="*/ 13 w 173"/>
                <a:gd name="T13" fmla="*/ 2 h 159"/>
                <a:gd name="T14" fmla="*/ 11 w 173"/>
                <a:gd name="T15" fmla="*/ 0 h 159"/>
                <a:gd name="T16" fmla="*/ 9 w 173"/>
                <a:gd name="T17" fmla="*/ 2 h 159"/>
                <a:gd name="T18" fmla="*/ 7 w 173"/>
                <a:gd name="T19" fmla="*/ 0 h 159"/>
                <a:gd name="T20" fmla="*/ 5 w 173"/>
                <a:gd name="T21" fmla="*/ 2 h 159"/>
                <a:gd name="T22" fmla="*/ 3 w 173"/>
                <a:gd name="T23" fmla="*/ 2 h 159"/>
                <a:gd name="T24" fmla="*/ 3 w 173"/>
                <a:gd name="T25" fmla="*/ 4 h 159"/>
                <a:gd name="T26" fmla="*/ 3 w 173"/>
                <a:gd name="T27" fmla="*/ 6 h 159"/>
                <a:gd name="T28" fmla="*/ 3 w 173"/>
                <a:gd name="T29" fmla="*/ 8 h 159"/>
                <a:gd name="T30" fmla="*/ 3 w 173"/>
                <a:gd name="T31" fmla="*/ 10 h 159"/>
                <a:gd name="T32" fmla="*/ 0 w 173"/>
                <a:gd name="T33" fmla="*/ 10 h 159"/>
                <a:gd name="T34" fmla="*/ 0 w 173"/>
                <a:gd name="T35" fmla="*/ 14 h 159"/>
                <a:gd name="T36" fmla="*/ 5 w 173"/>
                <a:gd name="T37" fmla="*/ 16 h 159"/>
                <a:gd name="T38" fmla="*/ 5 w 173"/>
                <a:gd name="T39" fmla="*/ 20 h 159"/>
                <a:gd name="T40" fmla="*/ 9 w 173"/>
                <a:gd name="T41" fmla="*/ 18 h 159"/>
                <a:gd name="T42" fmla="*/ 16 w 173"/>
                <a:gd name="T43" fmla="*/ 18 h 159"/>
                <a:gd name="T44" fmla="*/ 20 w 173"/>
                <a:gd name="T45" fmla="*/ 1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5" name="Freeform 414"/>
            <p:cNvSpPr>
              <a:spLocks/>
            </p:cNvSpPr>
            <p:nvPr/>
          </p:nvSpPr>
          <p:spPr bwMode="auto">
            <a:xfrm>
              <a:off x="5604552" y="4576818"/>
              <a:ext cx="181698" cy="123089"/>
            </a:xfrm>
            <a:custGeom>
              <a:avLst/>
              <a:gdLst>
                <a:gd name="T0" fmla="*/ 0 w 208"/>
                <a:gd name="T1" fmla="*/ 14 h 144"/>
                <a:gd name="T2" fmla="*/ 0 w 208"/>
                <a:gd name="T3" fmla="*/ 14 h 144"/>
                <a:gd name="T4" fmla="*/ 2 w 208"/>
                <a:gd name="T5" fmla="*/ 12 h 144"/>
                <a:gd name="T6" fmla="*/ 6 w 208"/>
                <a:gd name="T7" fmla="*/ 6 h 144"/>
                <a:gd name="T8" fmla="*/ 10 w 208"/>
                <a:gd name="T9" fmla="*/ 5 h 144"/>
                <a:gd name="T10" fmla="*/ 15 w 208"/>
                <a:gd name="T11" fmla="*/ 0 h 144"/>
                <a:gd name="T12" fmla="*/ 19 w 208"/>
                <a:gd name="T13" fmla="*/ 0 h 144"/>
                <a:gd name="T14" fmla="*/ 19 w 208"/>
                <a:gd name="T15" fmla="*/ 5 h 144"/>
                <a:gd name="T16" fmla="*/ 23 w 208"/>
                <a:gd name="T17" fmla="*/ 9 h 144"/>
                <a:gd name="T18" fmla="*/ 25 w 208"/>
                <a:gd name="T19" fmla="*/ 9 h 144"/>
                <a:gd name="T20" fmla="*/ 25 w 208"/>
                <a:gd name="T21" fmla="*/ 10 h 144"/>
                <a:gd name="T22" fmla="*/ 21 w 208"/>
                <a:gd name="T23" fmla="*/ 12 h 144"/>
                <a:gd name="T24" fmla="*/ 17 w 208"/>
                <a:gd name="T25" fmla="*/ 12 h 144"/>
                <a:gd name="T26" fmla="*/ 8 w 208"/>
                <a:gd name="T27" fmla="*/ 12 h 144"/>
                <a:gd name="T28" fmla="*/ 8 w 208"/>
                <a:gd name="T29" fmla="*/ 14 h 144"/>
                <a:gd name="T30" fmla="*/ 8 w 208"/>
                <a:gd name="T31" fmla="*/ 18 h 144"/>
                <a:gd name="T32" fmla="*/ 6 w 208"/>
                <a:gd name="T33" fmla="*/ 17 h 144"/>
                <a:gd name="T34" fmla="*/ 2 w 208"/>
                <a:gd name="T35" fmla="*/ 17 h 144"/>
                <a:gd name="T36" fmla="*/ 0 w 208"/>
                <a:gd name="T37" fmla="*/ 14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6" name="Freeform 415"/>
            <p:cNvSpPr>
              <a:spLocks/>
            </p:cNvSpPr>
            <p:nvPr/>
          </p:nvSpPr>
          <p:spPr bwMode="auto">
            <a:xfrm>
              <a:off x="5604552" y="4576818"/>
              <a:ext cx="181698" cy="123089"/>
            </a:xfrm>
            <a:custGeom>
              <a:avLst/>
              <a:gdLst>
                <a:gd name="T0" fmla="*/ 0 w 208"/>
                <a:gd name="T1" fmla="*/ 14 h 144"/>
                <a:gd name="T2" fmla="*/ 0 w 208"/>
                <a:gd name="T3" fmla="*/ 14 h 144"/>
                <a:gd name="T4" fmla="*/ 2 w 208"/>
                <a:gd name="T5" fmla="*/ 12 h 144"/>
                <a:gd name="T6" fmla="*/ 6 w 208"/>
                <a:gd name="T7" fmla="*/ 6 h 144"/>
                <a:gd name="T8" fmla="*/ 10 w 208"/>
                <a:gd name="T9" fmla="*/ 5 h 144"/>
                <a:gd name="T10" fmla="*/ 15 w 208"/>
                <a:gd name="T11" fmla="*/ 0 h 144"/>
                <a:gd name="T12" fmla="*/ 19 w 208"/>
                <a:gd name="T13" fmla="*/ 0 h 144"/>
                <a:gd name="T14" fmla="*/ 19 w 208"/>
                <a:gd name="T15" fmla="*/ 5 h 144"/>
                <a:gd name="T16" fmla="*/ 23 w 208"/>
                <a:gd name="T17" fmla="*/ 9 h 144"/>
                <a:gd name="T18" fmla="*/ 25 w 208"/>
                <a:gd name="T19" fmla="*/ 9 h 144"/>
                <a:gd name="T20" fmla="*/ 25 w 208"/>
                <a:gd name="T21" fmla="*/ 10 h 144"/>
                <a:gd name="T22" fmla="*/ 21 w 208"/>
                <a:gd name="T23" fmla="*/ 12 h 144"/>
                <a:gd name="T24" fmla="*/ 17 w 208"/>
                <a:gd name="T25" fmla="*/ 12 h 144"/>
                <a:gd name="T26" fmla="*/ 8 w 208"/>
                <a:gd name="T27" fmla="*/ 12 h 144"/>
                <a:gd name="T28" fmla="*/ 8 w 208"/>
                <a:gd name="T29" fmla="*/ 14 h 144"/>
                <a:gd name="T30" fmla="*/ 8 w 208"/>
                <a:gd name="T31" fmla="*/ 18 h 144"/>
                <a:gd name="T32" fmla="*/ 6 w 208"/>
                <a:gd name="T33" fmla="*/ 17 h 144"/>
                <a:gd name="T34" fmla="*/ 2 w 208"/>
                <a:gd name="T35" fmla="*/ 17 h 144"/>
                <a:gd name="T36" fmla="*/ 0 w 208"/>
                <a:gd name="T37" fmla="*/ 14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7" name="Freeform 416"/>
            <p:cNvSpPr>
              <a:spLocks/>
            </p:cNvSpPr>
            <p:nvPr/>
          </p:nvSpPr>
          <p:spPr bwMode="auto">
            <a:xfrm>
              <a:off x="5664530" y="4658877"/>
              <a:ext cx="91731" cy="136765"/>
            </a:xfrm>
            <a:custGeom>
              <a:avLst/>
              <a:gdLst>
                <a:gd name="T0" fmla="*/ 0 w 104"/>
                <a:gd name="T1" fmla="*/ 6 h 162"/>
                <a:gd name="T2" fmla="*/ 0 w 104"/>
                <a:gd name="T3" fmla="*/ 6 h 162"/>
                <a:gd name="T4" fmla="*/ 0 w 104"/>
                <a:gd name="T5" fmla="*/ 2 h 162"/>
                <a:gd name="T6" fmla="*/ 0 w 104"/>
                <a:gd name="T7" fmla="*/ 0 h 162"/>
                <a:gd name="T8" fmla="*/ 9 w 104"/>
                <a:gd name="T9" fmla="*/ 0 h 162"/>
                <a:gd name="T10" fmla="*/ 11 w 104"/>
                <a:gd name="T11" fmla="*/ 8 h 162"/>
                <a:gd name="T12" fmla="*/ 13 w 104"/>
                <a:gd name="T13" fmla="*/ 14 h 162"/>
                <a:gd name="T14" fmla="*/ 13 w 104"/>
                <a:gd name="T15" fmla="*/ 16 h 162"/>
                <a:gd name="T16" fmla="*/ 3 w 104"/>
                <a:gd name="T17" fmla="*/ 20 h 162"/>
                <a:gd name="T18" fmla="*/ 0 w 104"/>
                <a:gd name="T19" fmla="*/ 20 h 162"/>
                <a:gd name="T20" fmla="*/ 0 w 104"/>
                <a:gd name="T21" fmla="*/ 14 h 162"/>
                <a:gd name="T22" fmla="*/ 3 w 104"/>
                <a:gd name="T23" fmla="*/ 10 h 162"/>
                <a:gd name="T24" fmla="*/ 0 w 104"/>
                <a:gd name="T25" fmla="*/ 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8" name="Freeform 417"/>
            <p:cNvSpPr>
              <a:spLocks/>
            </p:cNvSpPr>
            <p:nvPr/>
          </p:nvSpPr>
          <p:spPr bwMode="auto">
            <a:xfrm>
              <a:off x="5664530" y="4658877"/>
              <a:ext cx="91731" cy="136765"/>
            </a:xfrm>
            <a:custGeom>
              <a:avLst/>
              <a:gdLst>
                <a:gd name="T0" fmla="*/ 0 w 104"/>
                <a:gd name="T1" fmla="*/ 6 h 162"/>
                <a:gd name="T2" fmla="*/ 0 w 104"/>
                <a:gd name="T3" fmla="*/ 6 h 162"/>
                <a:gd name="T4" fmla="*/ 0 w 104"/>
                <a:gd name="T5" fmla="*/ 2 h 162"/>
                <a:gd name="T6" fmla="*/ 0 w 104"/>
                <a:gd name="T7" fmla="*/ 0 h 162"/>
                <a:gd name="T8" fmla="*/ 9 w 104"/>
                <a:gd name="T9" fmla="*/ 0 h 162"/>
                <a:gd name="T10" fmla="*/ 11 w 104"/>
                <a:gd name="T11" fmla="*/ 8 h 162"/>
                <a:gd name="T12" fmla="*/ 13 w 104"/>
                <a:gd name="T13" fmla="*/ 14 h 162"/>
                <a:gd name="T14" fmla="*/ 13 w 104"/>
                <a:gd name="T15" fmla="*/ 16 h 162"/>
                <a:gd name="T16" fmla="*/ 3 w 104"/>
                <a:gd name="T17" fmla="*/ 20 h 162"/>
                <a:gd name="T18" fmla="*/ 0 w 104"/>
                <a:gd name="T19" fmla="*/ 20 h 162"/>
                <a:gd name="T20" fmla="*/ 0 w 104"/>
                <a:gd name="T21" fmla="*/ 14 h 162"/>
                <a:gd name="T22" fmla="*/ 3 w 104"/>
                <a:gd name="T23" fmla="*/ 10 h 162"/>
                <a:gd name="T24" fmla="*/ 0 w 104"/>
                <a:gd name="T25" fmla="*/ 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39" name="Freeform 418"/>
            <p:cNvSpPr>
              <a:spLocks/>
            </p:cNvSpPr>
            <p:nvPr/>
          </p:nvSpPr>
          <p:spPr bwMode="auto">
            <a:xfrm>
              <a:off x="5726272" y="4658877"/>
              <a:ext cx="45866" cy="109412"/>
            </a:xfrm>
            <a:custGeom>
              <a:avLst/>
              <a:gdLst>
                <a:gd name="T0" fmla="*/ 5 w 52"/>
                <a:gd name="T1" fmla="*/ 0 h 129"/>
                <a:gd name="T2" fmla="*/ 5 w 52"/>
                <a:gd name="T3" fmla="*/ 0 h 129"/>
                <a:gd name="T4" fmla="*/ 0 w 52"/>
                <a:gd name="T5" fmla="*/ 0 h 129"/>
                <a:gd name="T6" fmla="*/ 3 w 52"/>
                <a:gd name="T7" fmla="*/ 8 h 129"/>
                <a:gd name="T8" fmla="*/ 5 w 52"/>
                <a:gd name="T9" fmla="*/ 14 h 129"/>
                <a:gd name="T10" fmla="*/ 5 w 52"/>
                <a:gd name="T11" fmla="*/ 16 h 129"/>
                <a:gd name="T12" fmla="*/ 7 w 52"/>
                <a:gd name="T13" fmla="*/ 16 h 129"/>
                <a:gd name="T14" fmla="*/ 7 w 52"/>
                <a:gd name="T15" fmla="*/ 8 h 129"/>
                <a:gd name="T16" fmla="*/ 7 w 52"/>
                <a:gd name="T17" fmla="*/ 4 h 129"/>
                <a:gd name="T18" fmla="*/ 5 w 52"/>
                <a:gd name="T19" fmla="*/ 2 h 129"/>
                <a:gd name="T20" fmla="*/ 5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0" name="Freeform 419"/>
            <p:cNvSpPr>
              <a:spLocks/>
            </p:cNvSpPr>
            <p:nvPr/>
          </p:nvSpPr>
          <p:spPr bwMode="auto">
            <a:xfrm>
              <a:off x="5726272" y="4658877"/>
              <a:ext cx="45866" cy="109412"/>
            </a:xfrm>
            <a:custGeom>
              <a:avLst/>
              <a:gdLst>
                <a:gd name="T0" fmla="*/ 5 w 52"/>
                <a:gd name="T1" fmla="*/ 0 h 129"/>
                <a:gd name="T2" fmla="*/ 5 w 52"/>
                <a:gd name="T3" fmla="*/ 0 h 129"/>
                <a:gd name="T4" fmla="*/ 0 w 52"/>
                <a:gd name="T5" fmla="*/ 0 h 129"/>
                <a:gd name="T6" fmla="*/ 3 w 52"/>
                <a:gd name="T7" fmla="*/ 8 h 129"/>
                <a:gd name="T8" fmla="*/ 5 w 52"/>
                <a:gd name="T9" fmla="*/ 14 h 129"/>
                <a:gd name="T10" fmla="*/ 5 w 52"/>
                <a:gd name="T11" fmla="*/ 16 h 129"/>
                <a:gd name="T12" fmla="*/ 7 w 52"/>
                <a:gd name="T13" fmla="*/ 16 h 129"/>
                <a:gd name="T14" fmla="*/ 7 w 52"/>
                <a:gd name="T15" fmla="*/ 8 h 129"/>
                <a:gd name="T16" fmla="*/ 7 w 52"/>
                <a:gd name="T17" fmla="*/ 4 h 129"/>
                <a:gd name="T18" fmla="*/ 5 w 52"/>
                <a:gd name="T19" fmla="*/ 2 h 129"/>
                <a:gd name="T20" fmla="*/ 5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1" name="Freeform 420"/>
            <p:cNvSpPr>
              <a:spLocks/>
            </p:cNvSpPr>
            <p:nvPr/>
          </p:nvSpPr>
          <p:spPr bwMode="auto">
            <a:xfrm>
              <a:off x="5756261" y="4631524"/>
              <a:ext cx="61742" cy="136765"/>
            </a:xfrm>
            <a:custGeom>
              <a:avLst/>
              <a:gdLst>
                <a:gd name="T0" fmla="*/ 5 w 69"/>
                <a:gd name="T1" fmla="*/ 2 h 159"/>
                <a:gd name="T2" fmla="*/ 5 w 69"/>
                <a:gd name="T3" fmla="*/ 2 h 159"/>
                <a:gd name="T4" fmla="*/ 0 w 69"/>
                <a:gd name="T5" fmla="*/ 4 h 159"/>
                <a:gd name="T6" fmla="*/ 0 w 69"/>
                <a:gd name="T7" fmla="*/ 6 h 159"/>
                <a:gd name="T8" fmla="*/ 3 w 69"/>
                <a:gd name="T9" fmla="*/ 8 h 159"/>
                <a:gd name="T10" fmla="*/ 3 w 69"/>
                <a:gd name="T11" fmla="*/ 12 h 159"/>
                <a:gd name="T12" fmla="*/ 3 w 69"/>
                <a:gd name="T13" fmla="*/ 20 h 159"/>
                <a:gd name="T14" fmla="*/ 7 w 69"/>
                <a:gd name="T15" fmla="*/ 20 h 159"/>
                <a:gd name="T16" fmla="*/ 7 w 69"/>
                <a:gd name="T17" fmla="*/ 14 h 159"/>
                <a:gd name="T18" fmla="*/ 9 w 69"/>
                <a:gd name="T19" fmla="*/ 6 h 159"/>
                <a:gd name="T20" fmla="*/ 9 w 69"/>
                <a:gd name="T21" fmla="*/ 2 h 159"/>
                <a:gd name="T22" fmla="*/ 7 w 69"/>
                <a:gd name="T23" fmla="*/ 0 h 159"/>
                <a:gd name="T24" fmla="*/ 5 w 69"/>
                <a:gd name="T25" fmla="*/ 0 h 159"/>
                <a:gd name="T26" fmla="*/ 5 w 69"/>
                <a:gd name="T27" fmla="*/ 2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2" name="Freeform 421"/>
            <p:cNvSpPr>
              <a:spLocks/>
            </p:cNvSpPr>
            <p:nvPr/>
          </p:nvSpPr>
          <p:spPr bwMode="auto">
            <a:xfrm>
              <a:off x="5756261" y="4631524"/>
              <a:ext cx="61742" cy="136765"/>
            </a:xfrm>
            <a:custGeom>
              <a:avLst/>
              <a:gdLst>
                <a:gd name="T0" fmla="*/ 5 w 69"/>
                <a:gd name="T1" fmla="*/ 2 h 159"/>
                <a:gd name="T2" fmla="*/ 5 w 69"/>
                <a:gd name="T3" fmla="*/ 2 h 159"/>
                <a:gd name="T4" fmla="*/ 0 w 69"/>
                <a:gd name="T5" fmla="*/ 4 h 159"/>
                <a:gd name="T6" fmla="*/ 0 w 69"/>
                <a:gd name="T7" fmla="*/ 6 h 159"/>
                <a:gd name="T8" fmla="*/ 3 w 69"/>
                <a:gd name="T9" fmla="*/ 8 h 159"/>
                <a:gd name="T10" fmla="*/ 3 w 69"/>
                <a:gd name="T11" fmla="*/ 12 h 159"/>
                <a:gd name="T12" fmla="*/ 3 w 69"/>
                <a:gd name="T13" fmla="*/ 20 h 159"/>
                <a:gd name="T14" fmla="*/ 7 w 69"/>
                <a:gd name="T15" fmla="*/ 20 h 159"/>
                <a:gd name="T16" fmla="*/ 7 w 69"/>
                <a:gd name="T17" fmla="*/ 14 h 159"/>
                <a:gd name="T18" fmla="*/ 9 w 69"/>
                <a:gd name="T19" fmla="*/ 6 h 159"/>
                <a:gd name="T20" fmla="*/ 9 w 69"/>
                <a:gd name="T21" fmla="*/ 2 h 159"/>
                <a:gd name="T22" fmla="*/ 7 w 69"/>
                <a:gd name="T23" fmla="*/ 0 h 159"/>
                <a:gd name="T24" fmla="*/ 5 w 69"/>
                <a:gd name="T25" fmla="*/ 0 h 159"/>
                <a:gd name="T26" fmla="*/ 5 w 69"/>
                <a:gd name="T27" fmla="*/ 2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3" name="Freeform 422"/>
            <p:cNvSpPr>
              <a:spLocks/>
            </p:cNvSpPr>
            <p:nvPr/>
          </p:nvSpPr>
          <p:spPr bwMode="auto">
            <a:xfrm>
              <a:off x="6031454" y="5000791"/>
              <a:ext cx="15877" cy="27353"/>
            </a:xfrm>
            <a:custGeom>
              <a:avLst/>
              <a:gdLst>
                <a:gd name="T0" fmla="*/ 3 w 17"/>
                <a:gd name="T1" fmla="*/ 0 h 31"/>
                <a:gd name="T2" fmla="*/ 3 w 17"/>
                <a:gd name="T3" fmla="*/ 0 h 31"/>
                <a:gd name="T4" fmla="*/ 0 w 17"/>
                <a:gd name="T5" fmla="*/ 4 h 31"/>
                <a:gd name="T6" fmla="*/ 0 w 17"/>
                <a:gd name="T7" fmla="*/ 2 h 31"/>
                <a:gd name="T8" fmla="*/ 0 w 17"/>
                <a:gd name="T9" fmla="*/ 0 h 31"/>
                <a:gd name="T10" fmla="*/ 3 w 17"/>
                <a:gd name="T11" fmla="*/ 0 h 31"/>
                <a:gd name="T12" fmla="*/ 0 60000 65536"/>
                <a:gd name="T13" fmla="*/ 0 60000 65536"/>
                <a:gd name="T14" fmla="*/ 0 60000 65536"/>
                <a:gd name="T15" fmla="*/ 0 60000 65536"/>
                <a:gd name="T16" fmla="*/ 0 60000 65536"/>
                <a:gd name="T17" fmla="*/ 0 60000 65536"/>
                <a:gd name="T18" fmla="*/ 0 w 17"/>
                <a:gd name="T19" fmla="*/ 0 h 31"/>
                <a:gd name="T20" fmla="*/ 17 w 1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7" h="31">
                  <a:moveTo>
                    <a:pt x="17" y="0"/>
                  </a:moveTo>
                  <a:lnTo>
                    <a:pt x="17" y="0"/>
                  </a:lnTo>
                  <a:lnTo>
                    <a:pt x="0" y="31"/>
                  </a:lnTo>
                  <a:lnTo>
                    <a:pt x="0" y="16"/>
                  </a:lnTo>
                  <a:lnTo>
                    <a:pt x="0" y="0"/>
                  </a:lnTo>
                  <a:lnTo>
                    <a:pt x="17"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4" name="Freeform 423"/>
            <p:cNvSpPr>
              <a:spLocks/>
            </p:cNvSpPr>
            <p:nvPr/>
          </p:nvSpPr>
          <p:spPr bwMode="auto">
            <a:xfrm>
              <a:off x="6031454" y="5000791"/>
              <a:ext cx="15877" cy="27353"/>
            </a:xfrm>
            <a:custGeom>
              <a:avLst/>
              <a:gdLst>
                <a:gd name="T0" fmla="*/ 3 w 17"/>
                <a:gd name="T1" fmla="*/ 0 h 31"/>
                <a:gd name="T2" fmla="*/ 3 w 17"/>
                <a:gd name="T3" fmla="*/ 0 h 31"/>
                <a:gd name="T4" fmla="*/ 0 w 17"/>
                <a:gd name="T5" fmla="*/ 4 h 31"/>
                <a:gd name="T6" fmla="*/ 0 w 17"/>
                <a:gd name="T7" fmla="*/ 2 h 31"/>
                <a:gd name="T8" fmla="*/ 0 w 17"/>
                <a:gd name="T9" fmla="*/ 0 h 31"/>
                <a:gd name="T10" fmla="*/ 3 w 17"/>
                <a:gd name="T11" fmla="*/ 0 h 31"/>
                <a:gd name="T12" fmla="*/ 0 60000 65536"/>
                <a:gd name="T13" fmla="*/ 0 60000 65536"/>
                <a:gd name="T14" fmla="*/ 0 60000 65536"/>
                <a:gd name="T15" fmla="*/ 0 60000 65536"/>
                <a:gd name="T16" fmla="*/ 0 60000 65536"/>
                <a:gd name="T17" fmla="*/ 0 60000 65536"/>
                <a:gd name="T18" fmla="*/ 0 w 17"/>
                <a:gd name="T19" fmla="*/ 0 h 31"/>
                <a:gd name="T20" fmla="*/ 17 w 1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7" h="31">
                  <a:moveTo>
                    <a:pt x="17" y="0"/>
                  </a:moveTo>
                  <a:lnTo>
                    <a:pt x="17" y="0"/>
                  </a:lnTo>
                  <a:lnTo>
                    <a:pt x="0" y="31"/>
                  </a:lnTo>
                  <a:lnTo>
                    <a:pt x="0" y="16"/>
                  </a:lnTo>
                  <a:lnTo>
                    <a:pt x="0" y="0"/>
                  </a:lnTo>
                  <a:lnTo>
                    <a:pt x="17"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5" name="Freeform 424"/>
            <p:cNvSpPr>
              <a:spLocks/>
            </p:cNvSpPr>
            <p:nvPr/>
          </p:nvSpPr>
          <p:spPr bwMode="auto">
            <a:xfrm>
              <a:off x="9273794" y="3797256"/>
              <a:ext cx="45866" cy="41030"/>
            </a:xfrm>
            <a:custGeom>
              <a:avLst/>
              <a:gdLst>
                <a:gd name="T0" fmla="*/ 0 w 52"/>
                <a:gd name="T1" fmla="*/ 6 h 48"/>
                <a:gd name="T2" fmla="*/ 0 w 52"/>
                <a:gd name="T3" fmla="*/ 6 h 48"/>
                <a:gd name="T4" fmla="*/ 7 w 52"/>
                <a:gd name="T5" fmla="*/ 0 h 48"/>
                <a:gd name="T6" fmla="*/ 5 w 52"/>
                <a:gd name="T7" fmla="*/ 3 h 48"/>
                <a:gd name="T8" fmla="*/ 0 w 52"/>
                <a:gd name="T9" fmla="*/ 6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6" name="Freeform 425"/>
            <p:cNvSpPr>
              <a:spLocks/>
            </p:cNvSpPr>
            <p:nvPr/>
          </p:nvSpPr>
          <p:spPr bwMode="auto">
            <a:xfrm>
              <a:off x="9042701" y="3484405"/>
              <a:ext cx="15877" cy="11967"/>
            </a:xfrm>
            <a:custGeom>
              <a:avLst/>
              <a:gdLst>
                <a:gd name="T0" fmla="*/ 0 w 18"/>
                <a:gd name="T1" fmla="*/ 0 h 15"/>
                <a:gd name="T2" fmla="*/ 0 w 18"/>
                <a:gd name="T3" fmla="*/ 0 h 15"/>
                <a:gd name="T4" fmla="*/ 2 w 18"/>
                <a:gd name="T5" fmla="*/ 1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7" name="Freeform 426"/>
            <p:cNvSpPr>
              <a:spLocks/>
            </p:cNvSpPr>
            <p:nvPr/>
          </p:nvSpPr>
          <p:spPr bwMode="auto">
            <a:xfrm>
              <a:off x="9042701" y="3484405"/>
              <a:ext cx="15877" cy="11967"/>
            </a:xfrm>
            <a:custGeom>
              <a:avLst/>
              <a:gdLst>
                <a:gd name="T0" fmla="*/ 0 w 18"/>
                <a:gd name="T1" fmla="*/ 0 h 15"/>
                <a:gd name="T2" fmla="*/ 0 w 18"/>
                <a:gd name="T3" fmla="*/ 0 h 15"/>
                <a:gd name="T4" fmla="*/ 2 w 18"/>
                <a:gd name="T5" fmla="*/ 1 h 15"/>
                <a:gd name="T6" fmla="*/ 2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8" name="Freeform 429"/>
            <p:cNvSpPr>
              <a:spLocks/>
            </p:cNvSpPr>
            <p:nvPr/>
          </p:nvSpPr>
          <p:spPr bwMode="auto">
            <a:xfrm>
              <a:off x="5939723" y="4822995"/>
              <a:ext cx="14111" cy="13677"/>
            </a:xfrm>
            <a:custGeom>
              <a:avLst/>
              <a:gdLst>
                <a:gd name="T0" fmla="*/ 0 w 18"/>
                <a:gd name="T1" fmla="*/ 2 h 18"/>
                <a:gd name="T2" fmla="*/ 0 w 18"/>
                <a:gd name="T3" fmla="*/ 2 h 18"/>
                <a:gd name="T4" fmla="*/ 2 w 18"/>
                <a:gd name="T5" fmla="*/ 0 h 18"/>
                <a:gd name="T6" fmla="*/ 0 w 18"/>
                <a:gd name="T7" fmla="*/ 0 h 18"/>
                <a:gd name="T8" fmla="*/ 0 w 18"/>
                <a:gd name="T9" fmla="*/ 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49" name="Freeform 430"/>
            <p:cNvSpPr>
              <a:spLocks/>
            </p:cNvSpPr>
            <p:nvPr/>
          </p:nvSpPr>
          <p:spPr bwMode="auto">
            <a:xfrm>
              <a:off x="5939723" y="4822995"/>
              <a:ext cx="14111" cy="13677"/>
            </a:xfrm>
            <a:custGeom>
              <a:avLst/>
              <a:gdLst>
                <a:gd name="T0" fmla="*/ 0 w 18"/>
                <a:gd name="T1" fmla="*/ 2 h 18"/>
                <a:gd name="T2" fmla="*/ 0 w 18"/>
                <a:gd name="T3" fmla="*/ 2 h 18"/>
                <a:gd name="T4" fmla="*/ 2 w 18"/>
                <a:gd name="T5" fmla="*/ 0 h 18"/>
                <a:gd name="T6" fmla="*/ 0 w 18"/>
                <a:gd name="T7" fmla="*/ 0 h 18"/>
                <a:gd name="T8" fmla="*/ 0 w 18"/>
                <a:gd name="T9" fmla="*/ 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0" name="Freeform 431"/>
            <p:cNvSpPr>
              <a:spLocks/>
            </p:cNvSpPr>
            <p:nvPr/>
          </p:nvSpPr>
          <p:spPr bwMode="auto">
            <a:xfrm>
              <a:off x="8492316" y="5082850"/>
              <a:ext cx="31753" cy="0"/>
            </a:xfrm>
            <a:custGeom>
              <a:avLst/>
              <a:gdLst>
                <a:gd name="T0" fmla="*/ 0 w 37"/>
                <a:gd name="T1" fmla="*/ 0 w 37"/>
                <a:gd name="T2" fmla="*/ 2 w 37"/>
                <a:gd name="T3" fmla="*/ 4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1" name="Freeform 432"/>
            <p:cNvSpPr>
              <a:spLocks/>
            </p:cNvSpPr>
            <p:nvPr/>
          </p:nvSpPr>
          <p:spPr bwMode="auto">
            <a:xfrm>
              <a:off x="8629913" y="4494759"/>
              <a:ext cx="91731" cy="123089"/>
            </a:xfrm>
            <a:custGeom>
              <a:avLst/>
              <a:gdLst>
                <a:gd name="T0" fmla="*/ 0 w 104"/>
                <a:gd name="T1" fmla="*/ 9 h 143"/>
                <a:gd name="T2" fmla="*/ 0 w 104"/>
                <a:gd name="T3" fmla="*/ 9 h 143"/>
                <a:gd name="T4" fmla="*/ 0 w 104"/>
                <a:gd name="T5" fmla="*/ 12 h 143"/>
                <a:gd name="T6" fmla="*/ 3 w 104"/>
                <a:gd name="T7" fmla="*/ 15 h 143"/>
                <a:gd name="T8" fmla="*/ 3 w 104"/>
                <a:gd name="T9" fmla="*/ 16 h 143"/>
                <a:gd name="T10" fmla="*/ 5 w 104"/>
                <a:gd name="T11" fmla="*/ 16 h 143"/>
                <a:gd name="T12" fmla="*/ 7 w 104"/>
                <a:gd name="T13" fmla="*/ 16 h 143"/>
                <a:gd name="T14" fmla="*/ 9 w 104"/>
                <a:gd name="T15" fmla="*/ 18 h 143"/>
                <a:gd name="T16" fmla="*/ 9 w 104"/>
                <a:gd name="T17" fmla="*/ 16 h 143"/>
                <a:gd name="T18" fmla="*/ 11 w 104"/>
                <a:gd name="T19" fmla="*/ 18 h 143"/>
                <a:gd name="T20" fmla="*/ 13 w 104"/>
                <a:gd name="T21" fmla="*/ 18 h 143"/>
                <a:gd name="T22" fmla="*/ 11 w 104"/>
                <a:gd name="T23" fmla="*/ 16 h 143"/>
                <a:gd name="T24" fmla="*/ 13 w 104"/>
                <a:gd name="T25" fmla="*/ 16 h 143"/>
                <a:gd name="T26" fmla="*/ 9 w 104"/>
                <a:gd name="T27" fmla="*/ 15 h 143"/>
                <a:gd name="T28" fmla="*/ 7 w 104"/>
                <a:gd name="T29" fmla="*/ 16 h 143"/>
                <a:gd name="T30" fmla="*/ 5 w 104"/>
                <a:gd name="T31" fmla="*/ 12 h 143"/>
                <a:gd name="T32" fmla="*/ 9 w 104"/>
                <a:gd name="T33" fmla="*/ 6 h 143"/>
                <a:gd name="T34" fmla="*/ 7 w 104"/>
                <a:gd name="T35" fmla="*/ 4 h 143"/>
                <a:gd name="T36" fmla="*/ 9 w 104"/>
                <a:gd name="T37" fmla="*/ 0 h 143"/>
                <a:gd name="T38" fmla="*/ 7 w 104"/>
                <a:gd name="T39" fmla="*/ 3 h 143"/>
                <a:gd name="T40" fmla="*/ 3 w 104"/>
                <a:gd name="T41" fmla="*/ 0 h 143"/>
                <a:gd name="T42" fmla="*/ 0 w 104"/>
                <a:gd name="T43" fmla="*/ 9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2" name="Freeform 433"/>
            <p:cNvSpPr>
              <a:spLocks/>
            </p:cNvSpPr>
            <p:nvPr/>
          </p:nvSpPr>
          <p:spPr bwMode="auto">
            <a:xfrm>
              <a:off x="8629913" y="4494759"/>
              <a:ext cx="91731" cy="123089"/>
            </a:xfrm>
            <a:custGeom>
              <a:avLst/>
              <a:gdLst>
                <a:gd name="T0" fmla="*/ 0 w 104"/>
                <a:gd name="T1" fmla="*/ 9 h 143"/>
                <a:gd name="T2" fmla="*/ 0 w 104"/>
                <a:gd name="T3" fmla="*/ 9 h 143"/>
                <a:gd name="T4" fmla="*/ 0 w 104"/>
                <a:gd name="T5" fmla="*/ 12 h 143"/>
                <a:gd name="T6" fmla="*/ 3 w 104"/>
                <a:gd name="T7" fmla="*/ 15 h 143"/>
                <a:gd name="T8" fmla="*/ 3 w 104"/>
                <a:gd name="T9" fmla="*/ 16 h 143"/>
                <a:gd name="T10" fmla="*/ 5 w 104"/>
                <a:gd name="T11" fmla="*/ 16 h 143"/>
                <a:gd name="T12" fmla="*/ 7 w 104"/>
                <a:gd name="T13" fmla="*/ 16 h 143"/>
                <a:gd name="T14" fmla="*/ 9 w 104"/>
                <a:gd name="T15" fmla="*/ 18 h 143"/>
                <a:gd name="T16" fmla="*/ 9 w 104"/>
                <a:gd name="T17" fmla="*/ 16 h 143"/>
                <a:gd name="T18" fmla="*/ 11 w 104"/>
                <a:gd name="T19" fmla="*/ 18 h 143"/>
                <a:gd name="T20" fmla="*/ 13 w 104"/>
                <a:gd name="T21" fmla="*/ 18 h 143"/>
                <a:gd name="T22" fmla="*/ 11 w 104"/>
                <a:gd name="T23" fmla="*/ 16 h 143"/>
                <a:gd name="T24" fmla="*/ 13 w 104"/>
                <a:gd name="T25" fmla="*/ 16 h 143"/>
                <a:gd name="T26" fmla="*/ 9 w 104"/>
                <a:gd name="T27" fmla="*/ 15 h 143"/>
                <a:gd name="T28" fmla="*/ 7 w 104"/>
                <a:gd name="T29" fmla="*/ 16 h 143"/>
                <a:gd name="T30" fmla="*/ 5 w 104"/>
                <a:gd name="T31" fmla="*/ 12 h 143"/>
                <a:gd name="T32" fmla="*/ 9 w 104"/>
                <a:gd name="T33" fmla="*/ 6 h 143"/>
                <a:gd name="T34" fmla="*/ 7 w 104"/>
                <a:gd name="T35" fmla="*/ 4 h 143"/>
                <a:gd name="T36" fmla="*/ 9 w 104"/>
                <a:gd name="T37" fmla="*/ 0 h 143"/>
                <a:gd name="T38" fmla="*/ 7 w 104"/>
                <a:gd name="T39" fmla="*/ 3 h 143"/>
                <a:gd name="T40" fmla="*/ 3 w 104"/>
                <a:gd name="T41" fmla="*/ 0 h 143"/>
                <a:gd name="T42" fmla="*/ 0 w 104"/>
                <a:gd name="T43" fmla="*/ 9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3" name="Freeform 438"/>
            <p:cNvSpPr>
              <a:spLocks/>
            </p:cNvSpPr>
            <p:nvPr/>
          </p:nvSpPr>
          <p:spPr bwMode="auto">
            <a:xfrm>
              <a:off x="6460120" y="3210874"/>
              <a:ext cx="61742" cy="80350"/>
            </a:xfrm>
            <a:custGeom>
              <a:avLst/>
              <a:gdLst>
                <a:gd name="T0" fmla="*/ 0 w 69"/>
                <a:gd name="T1" fmla="*/ 4 h 96"/>
                <a:gd name="T2" fmla="*/ 0 w 69"/>
                <a:gd name="T3" fmla="*/ 4 h 96"/>
                <a:gd name="T4" fmla="*/ 3 w 69"/>
                <a:gd name="T5" fmla="*/ 6 h 96"/>
                <a:gd name="T6" fmla="*/ 5 w 69"/>
                <a:gd name="T7" fmla="*/ 11 h 96"/>
                <a:gd name="T8" fmla="*/ 7 w 69"/>
                <a:gd name="T9" fmla="*/ 10 h 96"/>
                <a:gd name="T10" fmla="*/ 9 w 69"/>
                <a:gd name="T11" fmla="*/ 10 h 96"/>
                <a:gd name="T12" fmla="*/ 9 w 69"/>
                <a:gd name="T13" fmla="*/ 6 h 96"/>
                <a:gd name="T14" fmla="*/ 5 w 69"/>
                <a:gd name="T15" fmla="*/ 0 h 96"/>
                <a:gd name="T16" fmla="*/ 3 w 69"/>
                <a:gd name="T17" fmla="*/ 0 h 96"/>
                <a:gd name="T18" fmla="*/ 0 w 69"/>
                <a:gd name="T19" fmla="*/ 4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4" name="Freeform 439"/>
            <p:cNvSpPr>
              <a:spLocks/>
            </p:cNvSpPr>
            <p:nvPr/>
          </p:nvSpPr>
          <p:spPr bwMode="auto">
            <a:xfrm>
              <a:off x="6569492" y="3156168"/>
              <a:ext cx="45866" cy="82059"/>
            </a:xfrm>
            <a:custGeom>
              <a:avLst/>
              <a:gdLst>
                <a:gd name="T0" fmla="*/ 0 w 51"/>
                <a:gd name="T1" fmla="*/ 7 h 96"/>
                <a:gd name="T2" fmla="*/ 0 w 51"/>
                <a:gd name="T3" fmla="*/ 7 h 96"/>
                <a:gd name="T4" fmla="*/ 5 w 51"/>
                <a:gd name="T5" fmla="*/ 10 h 96"/>
                <a:gd name="T6" fmla="*/ 5 w 51"/>
                <a:gd name="T7" fmla="*/ 12 h 96"/>
                <a:gd name="T8" fmla="*/ 7 w 51"/>
                <a:gd name="T9" fmla="*/ 12 h 96"/>
                <a:gd name="T10" fmla="*/ 5 w 51"/>
                <a:gd name="T11" fmla="*/ 6 h 96"/>
                <a:gd name="T12" fmla="*/ 5 w 51"/>
                <a:gd name="T13" fmla="*/ 2 h 96"/>
                <a:gd name="T14" fmla="*/ 3 w 51"/>
                <a:gd name="T15" fmla="*/ 2 h 96"/>
                <a:gd name="T16" fmla="*/ 0 w 51"/>
                <a:gd name="T17" fmla="*/ 0 h 96"/>
                <a:gd name="T18" fmla="*/ 3 w 51"/>
                <a:gd name="T19" fmla="*/ 2 h 96"/>
                <a:gd name="T20" fmla="*/ 3 w 51"/>
                <a:gd name="T21" fmla="*/ 3 h 96"/>
                <a:gd name="T22" fmla="*/ 0 w 51"/>
                <a:gd name="T23" fmla="*/ 3 h 96"/>
                <a:gd name="T24" fmla="*/ 0 w 51"/>
                <a:gd name="T25" fmla="*/ 7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5" name="Freeform 440"/>
            <p:cNvSpPr>
              <a:spLocks/>
            </p:cNvSpPr>
            <p:nvPr/>
          </p:nvSpPr>
          <p:spPr bwMode="auto">
            <a:xfrm>
              <a:off x="3799920" y="4699908"/>
              <a:ext cx="15877" cy="13677"/>
            </a:xfrm>
            <a:custGeom>
              <a:avLst/>
              <a:gdLst>
                <a:gd name="T0" fmla="*/ 3 w 17"/>
                <a:gd name="T1" fmla="*/ 2 h 18"/>
                <a:gd name="T2" fmla="*/ 3 w 17"/>
                <a:gd name="T3" fmla="*/ 2 h 18"/>
                <a:gd name="T4" fmla="*/ 3 w 17"/>
                <a:gd name="T5" fmla="*/ 0 h 18"/>
                <a:gd name="T6" fmla="*/ 0 w 17"/>
                <a:gd name="T7" fmla="*/ 0 h 18"/>
                <a:gd name="T8" fmla="*/ 3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6" name="Freeform 441"/>
            <p:cNvSpPr>
              <a:spLocks/>
            </p:cNvSpPr>
            <p:nvPr/>
          </p:nvSpPr>
          <p:spPr bwMode="auto">
            <a:xfrm>
              <a:off x="3799920" y="4699908"/>
              <a:ext cx="15877" cy="13677"/>
            </a:xfrm>
            <a:custGeom>
              <a:avLst/>
              <a:gdLst>
                <a:gd name="T0" fmla="*/ 3 w 17"/>
                <a:gd name="T1" fmla="*/ 2 h 18"/>
                <a:gd name="T2" fmla="*/ 3 w 17"/>
                <a:gd name="T3" fmla="*/ 2 h 18"/>
                <a:gd name="T4" fmla="*/ 3 w 17"/>
                <a:gd name="T5" fmla="*/ 0 h 18"/>
                <a:gd name="T6" fmla="*/ 0 w 17"/>
                <a:gd name="T7" fmla="*/ 0 h 18"/>
                <a:gd name="T8" fmla="*/ 3 w 17"/>
                <a:gd name="T9" fmla="*/ 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7" name="Freeform 442"/>
            <p:cNvSpPr>
              <a:spLocks/>
            </p:cNvSpPr>
            <p:nvPr/>
          </p:nvSpPr>
          <p:spPr bwMode="auto">
            <a:xfrm>
              <a:off x="4244463" y="4672555"/>
              <a:ext cx="14111" cy="13677"/>
            </a:xfrm>
            <a:custGeom>
              <a:avLst/>
              <a:gdLst>
                <a:gd name="T0" fmla="*/ 0 w 17"/>
                <a:gd name="T1" fmla="*/ 2 h 15"/>
                <a:gd name="T2" fmla="*/ 0 w 17"/>
                <a:gd name="T3" fmla="*/ 2 h 15"/>
                <a:gd name="T4" fmla="*/ 2 w 17"/>
                <a:gd name="T5" fmla="*/ 2 h 15"/>
                <a:gd name="T6" fmla="*/ 2 w 17"/>
                <a:gd name="T7" fmla="*/ 0 h 15"/>
                <a:gd name="T8" fmla="*/ 0 w 17"/>
                <a:gd name="T9" fmla="*/ 0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8" name="Freeform 443"/>
            <p:cNvSpPr>
              <a:spLocks/>
            </p:cNvSpPr>
            <p:nvPr/>
          </p:nvSpPr>
          <p:spPr bwMode="auto">
            <a:xfrm>
              <a:off x="4244463" y="4672555"/>
              <a:ext cx="14111" cy="13677"/>
            </a:xfrm>
            <a:custGeom>
              <a:avLst/>
              <a:gdLst>
                <a:gd name="T0" fmla="*/ 0 w 17"/>
                <a:gd name="T1" fmla="*/ 2 h 15"/>
                <a:gd name="T2" fmla="*/ 0 w 17"/>
                <a:gd name="T3" fmla="*/ 2 h 15"/>
                <a:gd name="T4" fmla="*/ 2 w 17"/>
                <a:gd name="T5" fmla="*/ 2 h 15"/>
                <a:gd name="T6" fmla="*/ 2 w 17"/>
                <a:gd name="T7" fmla="*/ 0 h 15"/>
                <a:gd name="T8" fmla="*/ 0 w 17"/>
                <a:gd name="T9" fmla="*/ 0 h 15"/>
                <a:gd name="T10" fmla="*/ 0 w 17"/>
                <a:gd name="T11" fmla="*/ 2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59" name="Freeform 444"/>
            <p:cNvSpPr>
              <a:spLocks/>
            </p:cNvSpPr>
            <p:nvPr/>
          </p:nvSpPr>
          <p:spPr bwMode="auto">
            <a:xfrm>
              <a:off x="4122743" y="4494759"/>
              <a:ext cx="28225" cy="13677"/>
            </a:xfrm>
            <a:custGeom>
              <a:avLst/>
              <a:gdLst>
                <a:gd name="T0" fmla="*/ 0 w 33"/>
                <a:gd name="T1" fmla="*/ 2 h 17"/>
                <a:gd name="T2" fmla="*/ 0 w 33"/>
                <a:gd name="T3" fmla="*/ 2 h 17"/>
                <a:gd name="T4" fmla="*/ 4 w 33"/>
                <a:gd name="T5" fmla="*/ 2 h 17"/>
                <a:gd name="T6" fmla="*/ 0 w 33"/>
                <a:gd name="T7" fmla="*/ 0 h 17"/>
                <a:gd name="T8" fmla="*/ 0 w 33"/>
                <a:gd name="T9" fmla="*/ 2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0" name="Freeform 445"/>
            <p:cNvSpPr>
              <a:spLocks/>
            </p:cNvSpPr>
            <p:nvPr/>
          </p:nvSpPr>
          <p:spPr bwMode="auto">
            <a:xfrm>
              <a:off x="4122743" y="4494759"/>
              <a:ext cx="28225" cy="13677"/>
            </a:xfrm>
            <a:custGeom>
              <a:avLst/>
              <a:gdLst>
                <a:gd name="T0" fmla="*/ 0 w 33"/>
                <a:gd name="T1" fmla="*/ 2 h 17"/>
                <a:gd name="T2" fmla="*/ 0 w 33"/>
                <a:gd name="T3" fmla="*/ 2 h 17"/>
                <a:gd name="T4" fmla="*/ 4 w 33"/>
                <a:gd name="T5" fmla="*/ 2 h 17"/>
                <a:gd name="T6" fmla="*/ 0 w 33"/>
                <a:gd name="T7" fmla="*/ 0 h 17"/>
                <a:gd name="T8" fmla="*/ 0 w 33"/>
                <a:gd name="T9" fmla="*/ 2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1" name="Freeform 446"/>
            <p:cNvSpPr>
              <a:spLocks/>
            </p:cNvSpPr>
            <p:nvPr/>
          </p:nvSpPr>
          <p:spPr bwMode="auto">
            <a:xfrm>
              <a:off x="4244463" y="4549465"/>
              <a:ext cx="14111" cy="13677"/>
            </a:xfrm>
            <a:custGeom>
              <a:avLst/>
              <a:gdLst>
                <a:gd name="T0" fmla="*/ 0 w 17"/>
                <a:gd name="T1" fmla="*/ 0 h 15"/>
                <a:gd name="T2" fmla="*/ 0 w 17"/>
                <a:gd name="T3" fmla="*/ 0 h 15"/>
                <a:gd name="T4" fmla="*/ 0 w 17"/>
                <a:gd name="T5" fmla="*/ 2 h 15"/>
                <a:gd name="T6" fmla="*/ 2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2" name="Freeform 447"/>
            <p:cNvSpPr>
              <a:spLocks/>
            </p:cNvSpPr>
            <p:nvPr/>
          </p:nvSpPr>
          <p:spPr bwMode="auto">
            <a:xfrm>
              <a:off x="4244463" y="4549465"/>
              <a:ext cx="14111" cy="13677"/>
            </a:xfrm>
            <a:custGeom>
              <a:avLst/>
              <a:gdLst>
                <a:gd name="T0" fmla="*/ 0 w 17"/>
                <a:gd name="T1" fmla="*/ 0 h 15"/>
                <a:gd name="T2" fmla="*/ 0 w 17"/>
                <a:gd name="T3" fmla="*/ 0 h 15"/>
                <a:gd name="T4" fmla="*/ 0 w 17"/>
                <a:gd name="T5" fmla="*/ 2 h 15"/>
                <a:gd name="T6" fmla="*/ 2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3" name="Freeform 448"/>
            <p:cNvSpPr>
              <a:spLocks/>
            </p:cNvSpPr>
            <p:nvPr/>
          </p:nvSpPr>
          <p:spPr bwMode="auto">
            <a:xfrm>
              <a:off x="3845785" y="4344317"/>
              <a:ext cx="15877" cy="41030"/>
            </a:xfrm>
            <a:custGeom>
              <a:avLst/>
              <a:gdLst>
                <a:gd name="T0" fmla="*/ 0 w 17"/>
                <a:gd name="T1" fmla="*/ 0 h 48"/>
                <a:gd name="T2" fmla="*/ 0 w 17"/>
                <a:gd name="T3" fmla="*/ 0 h 48"/>
                <a:gd name="T4" fmla="*/ 0 w 17"/>
                <a:gd name="T5" fmla="*/ 2 h 48"/>
                <a:gd name="T6" fmla="*/ 3 w 17"/>
                <a:gd name="T7" fmla="*/ 6 h 48"/>
                <a:gd name="T8" fmla="*/ 3 w 17"/>
                <a:gd name="T9" fmla="*/ 2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4" name="Freeform 449"/>
            <p:cNvSpPr>
              <a:spLocks/>
            </p:cNvSpPr>
            <p:nvPr/>
          </p:nvSpPr>
          <p:spPr bwMode="auto">
            <a:xfrm>
              <a:off x="3845785" y="4344317"/>
              <a:ext cx="15877" cy="41030"/>
            </a:xfrm>
            <a:custGeom>
              <a:avLst/>
              <a:gdLst>
                <a:gd name="T0" fmla="*/ 0 w 17"/>
                <a:gd name="T1" fmla="*/ 0 h 48"/>
                <a:gd name="T2" fmla="*/ 0 w 17"/>
                <a:gd name="T3" fmla="*/ 0 h 48"/>
                <a:gd name="T4" fmla="*/ 0 w 17"/>
                <a:gd name="T5" fmla="*/ 2 h 48"/>
                <a:gd name="T6" fmla="*/ 3 w 17"/>
                <a:gd name="T7" fmla="*/ 6 h 48"/>
                <a:gd name="T8" fmla="*/ 3 w 17"/>
                <a:gd name="T9" fmla="*/ 2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5" name="Freeform 450"/>
            <p:cNvSpPr>
              <a:spLocks/>
            </p:cNvSpPr>
            <p:nvPr/>
          </p:nvSpPr>
          <p:spPr bwMode="auto">
            <a:xfrm>
              <a:off x="3953394" y="3935731"/>
              <a:ext cx="45866" cy="11967"/>
            </a:xfrm>
            <a:custGeom>
              <a:avLst/>
              <a:gdLst>
                <a:gd name="T0" fmla="*/ 0 w 51"/>
                <a:gd name="T1" fmla="*/ 1 h 16"/>
                <a:gd name="T2" fmla="*/ 0 w 51"/>
                <a:gd name="T3" fmla="*/ 1 h 16"/>
                <a:gd name="T4" fmla="*/ 7 w 51"/>
                <a:gd name="T5" fmla="*/ 0 h 16"/>
                <a:gd name="T6" fmla="*/ 5 w 51"/>
                <a:gd name="T7" fmla="*/ 0 h 16"/>
                <a:gd name="T8" fmla="*/ 0 w 51"/>
                <a:gd name="T9" fmla="*/ 1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16"/>
                  </a:moveTo>
                  <a:lnTo>
                    <a:pt x="0" y="16"/>
                  </a:lnTo>
                  <a:lnTo>
                    <a:pt x="51" y="0"/>
                  </a:lnTo>
                  <a:lnTo>
                    <a:pt x="34"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6" name="Freeform 451"/>
            <p:cNvSpPr>
              <a:spLocks/>
            </p:cNvSpPr>
            <p:nvPr/>
          </p:nvSpPr>
          <p:spPr bwMode="auto">
            <a:xfrm>
              <a:off x="3953394" y="3935731"/>
              <a:ext cx="45866" cy="11967"/>
            </a:xfrm>
            <a:custGeom>
              <a:avLst/>
              <a:gdLst>
                <a:gd name="T0" fmla="*/ 0 w 51"/>
                <a:gd name="T1" fmla="*/ 1 h 16"/>
                <a:gd name="T2" fmla="*/ 0 w 51"/>
                <a:gd name="T3" fmla="*/ 1 h 16"/>
                <a:gd name="T4" fmla="*/ 7 w 51"/>
                <a:gd name="T5" fmla="*/ 0 h 16"/>
                <a:gd name="T6" fmla="*/ 5 w 51"/>
                <a:gd name="T7" fmla="*/ 0 h 16"/>
                <a:gd name="T8" fmla="*/ 0 w 51"/>
                <a:gd name="T9" fmla="*/ 1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16"/>
                  </a:moveTo>
                  <a:lnTo>
                    <a:pt x="0" y="16"/>
                  </a:lnTo>
                  <a:lnTo>
                    <a:pt x="51" y="0"/>
                  </a:lnTo>
                  <a:lnTo>
                    <a:pt x="34" y="0"/>
                  </a:lnTo>
                  <a:lnTo>
                    <a:pt x="0" y="1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7" name="Freeform 452"/>
            <p:cNvSpPr>
              <a:spLocks/>
            </p:cNvSpPr>
            <p:nvPr/>
          </p:nvSpPr>
          <p:spPr bwMode="auto">
            <a:xfrm>
              <a:off x="3953394" y="3935731"/>
              <a:ext cx="45866" cy="11967"/>
            </a:xfrm>
            <a:custGeom>
              <a:avLst/>
              <a:gdLst>
                <a:gd name="T0" fmla="*/ 0 w 51"/>
                <a:gd name="T1" fmla="*/ 1 h 16"/>
                <a:gd name="T2" fmla="*/ 7 w 51"/>
                <a:gd name="T3" fmla="*/ 0 h 16"/>
                <a:gd name="T4" fmla="*/ 5 w 51"/>
                <a:gd name="T5" fmla="*/ 0 h 16"/>
                <a:gd name="T6" fmla="*/ 0 w 51"/>
                <a:gd name="T7" fmla="*/ 1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8" name="Freeform 453"/>
            <p:cNvSpPr>
              <a:spLocks/>
            </p:cNvSpPr>
            <p:nvPr/>
          </p:nvSpPr>
          <p:spPr bwMode="auto">
            <a:xfrm>
              <a:off x="3953394" y="3935731"/>
              <a:ext cx="45866" cy="11967"/>
            </a:xfrm>
            <a:custGeom>
              <a:avLst/>
              <a:gdLst>
                <a:gd name="T0" fmla="*/ 0 w 51"/>
                <a:gd name="T1" fmla="*/ 1 h 16"/>
                <a:gd name="T2" fmla="*/ 7 w 51"/>
                <a:gd name="T3" fmla="*/ 0 h 16"/>
                <a:gd name="T4" fmla="*/ 5 w 51"/>
                <a:gd name="T5" fmla="*/ 0 h 16"/>
                <a:gd name="T6" fmla="*/ 0 w 51"/>
                <a:gd name="T7" fmla="*/ 1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69" name="Freeform 454"/>
            <p:cNvSpPr>
              <a:spLocks/>
            </p:cNvSpPr>
            <p:nvPr/>
          </p:nvSpPr>
          <p:spPr bwMode="auto">
            <a:xfrm>
              <a:off x="3799920" y="3427989"/>
              <a:ext cx="31753" cy="27353"/>
            </a:xfrm>
            <a:custGeom>
              <a:avLst/>
              <a:gdLst>
                <a:gd name="T0" fmla="*/ 0 w 34"/>
                <a:gd name="T1" fmla="*/ 2 h 33"/>
                <a:gd name="T2" fmla="*/ 0 w 34"/>
                <a:gd name="T3" fmla="*/ 2 h 33"/>
                <a:gd name="T4" fmla="*/ 5 w 34"/>
                <a:gd name="T5" fmla="*/ 4 h 33"/>
                <a:gd name="T6" fmla="*/ 5 w 34"/>
                <a:gd name="T7" fmla="*/ 0 h 33"/>
                <a:gd name="T8" fmla="*/ 0 w 34"/>
                <a:gd name="T9" fmla="*/ 2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0" name="Freeform 455"/>
            <p:cNvSpPr>
              <a:spLocks/>
            </p:cNvSpPr>
            <p:nvPr/>
          </p:nvSpPr>
          <p:spPr bwMode="auto">
            <a:xfrm>
              <a:off x="3799920" y="3427989"/>
              <a:ext cx="31753" cy="27353"/>
            </a:xfrm>
            <a:custGeom>
              <a:avLst/>
              <a:gdLst>
                <a:gd name="T0" fmla="*/ 0 w 34"/>
                <a:gd name="T1" fmla="*/ 2 h 33"/>
                <a:gd name="T2" fmla="*/ 0 w 34"/>
                <a:gd name="T3" fmla="*/ 2 h 33"/>
                <a:gd name="T4" fmla="*/ 5 w 34"/>
                <a:gd name="T5" fmla="*/ 4 h 33"/>
                <a:gd name="T6" fmla="*/ 5 w 34"/>
                <a:gd name="T7" fmla="*/ 0 h 33"/>
                <a:gd name="T8" fmla="*/ 0 w 34"/>
                <a:gd name="T9" fmla="*/ 2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1" name="Freeform 456"/>
            <p:cNvSpPr>
              <a:spLocks/>
            </p:cNvSpPr>
            <p:nvPr/>
          </p:nvSpPr>
          <p:spPr bwMode="auto">
            <a:xfrm>
              <a:off x="3754054" y="3551078"/>
              <a:ext cx="31753" cy="15386"/>
            </a:xfrm>
            <a:custGeom>
              <a:avLst/>
              <a:gdLst>
                <a:gd name="T0" fmla="*/ 0 w 34"/>
                <a:gd name="T1" fmla="*/ 0 h 17"/>
                <a:gd name="T2" fmla="*/ 0 w 34"/>
                <a:gd name="T3" fmla="*/ 0 h 17"/>
                <a:gd name="T4" fmla="*/ 5 w 34"/>
                <a:gd name="T5" fmla="*/ 3 h 17"/>
                <a:gd name="T6" fmla="*/ 5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2" name="Freeform 457"/>
            <p:cNvSpPr>
              <a:spLocks/>
            </p:cNvSpPr>
            <p:nvPr/>
          </p:nvSpPr>
          <p:spPr bwMode="auto">
            <a:xfrm>
              <a:off x="3754054" y="3551078"/>
              <a:ext cx="31753" cy="15386"/>
            </a:xfrm>
            <a:custGeom>
              <a:avLst/>
              <a:gdLst>
                <a:gd name="T0" fmla="*/ 0 w 34"/>
                <a:gd name="T1" fmla="*/ 0 h 17"/>
                <a:gd name="T2" fmla="*/ 0 w 34"/>
                <a:gd name="T3" fmla="*/ 0 h 17"/>
                <a:gd name="T4" fmla="*/ 5 w 34"/>
                <a:gd name="T5" fmla="*/ 3 h 17"/>
                <a:gd name="T6" fmla="*/ 5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3" name="Freeform 458"/>
            <p:cNvSpPr>
              <a:spLocks/>
            </p:cNvSpPr>
            <p:nvPr/>
          </p:nvSpPr>
          <p:spPr bwMode="auto">
            <a:xfrm>
              <a:off x="2639169" y="3633137"/>
              <a:ext cx="123484" cy="82059"/>
            </a:xfrm>
            <a:custGeom>
              <a:avLst/>
              <a:gdLst>
                <a:gd name="T0" fmla="*/ 0 w 140"/>
                <a:gd name="T1" fmla="*/ 0 h 96"/>
                <a:gd name="T2" fmla="*/ 0 w 140"/>
                <a:gd name="T3" fmla="*/ 0 h 96"/>
                <a:gd name="T4" fmla="*/ 2 w 140"/>
                <a:gd name="T5" fmla="*/ 5 h 96"/>
                <a:gd name="T6" fmla="*/ 6 w 140"/>
                <a:gd name="T7" fmla="*/ 6 h 96"/>
                <a:gd name="T8" fmla="*/ 10 w 140"/>
                <a:gd name="T9" fmla="*/ 9 h 96"/>
                <a:gd name="T10" fmla="*/ 10 w 140"/>
                <a:gd name="T11" fmla="*/ 11 h 96"/>
                <a:gd name="T12" fmla="*/ 15 w 140"/>
                <a:gd name="T13" fmla="*/ 12 h 96"/>
                <a:gd name="T14" fmla="*/ 18 w 140"/>
                <a:gd name="T15" fmla="*/ 12 h 96"/>
                <a:gd name="T16" fmla="*/ 9 w 140"/>
                <a:gd name="T17" fmla="*/ 3 h 96"/>
                <a:gd name="T18" fmla="*/ 2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74" name="Freeform 459"/>
            <p:cNvSpPr>
              <a:spLocks/>
            </p:cNvSpPr>
            <p:nvPr/>
          </p:nvSpPr>
          <p:spPr bwMode="auto">
            <a:xfrm>
              <a:off x="2639169" y="3633137"/>
              <a:ext cx="123484" cy="82059"/>
            </a:xfrm>
            <a:custGeom>
              <a:avLst/>
              <a:gdLst>
                <a:gd name="T0" fmla="*/ 0 w 140"/>
                <a:gd name="T1" fmla="*/ 0 h 96"/>
                <a:gd name="T2" fmla="*/ 0 w 140"/>
                <a:gd name="T3" fmla="*/ 0 h 96"/>
                <a:gd name="T4" fmla="*/ 2 w 140"/>
                <a:gd name="T5" fmla="*/ 5 h 96"/>
                <a:gd name="T6" fmla="*/ 6 w 140"/>
                <a:gd name="T7" fmla="*/ 6 h 96"/>
                <a:gd name="T8" fmla="*/ 10 w 140"/>
                <a:gd name="T9" fmla="*/ 9 h 96"/>
                <a:gd name="T10" fmla="*/ 10 w 140"/>
                <a:gd name="T11" fmla="*/ 11 h 96"/>
                <a:gd name="T12" fmla="*/ 15 w 140"/>
                <a:gd name="T13" fmla="*/ 12 h 96"/>
                <a:gd name="T14" fmla="*/ 18 w 140"/>
                <a:gd name="T15" fmla="*/ 12 h 96"/>
                <a:gd name="T16" fmla="*/ 9 w 140"/>
                <a:gd name="T17" fmla="*/ 3 h 96"/>
                <a:gd name="T18" fmla="*/ 2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75" name="Freeform 462"/>
            <p:cNvSpPr>
              <a:spLocks/>
            </p:cNvSpPr>
            <p:nvPr/>
          </p:nvSpPr>
          <p:spPr bwMode="auto">
            <a:xfrm>
              <a:off x="3861662" y="4303288"/>
              <a:ext cx="15877" cy="27353"/>
            </a:xfrm>
            <a:custGeom>
              <a:avLst/>
              <a:gdLst>
                <a:gd name="T0" fmla="*/ 0 w 17"/>
                <a:gd name="T1" fmla="*/ 0 h 31"/>
                <a:gd name="T2" fmla="*/ 0 w 17"/>
                <a:gd name="T3" fmla="*/ 0 h 31"/>
                <a:gd name="T4" fmla="*/ 3 w 17"/>
                <a:gd name="T5" fmla="*/ 2 h 31"/>
                <a:gd name="T6" fmla="*/ 3 w 17"/>
                <a:gd name="T7" fmla="*/ 4 h 31"/>
                <a:gd name="T8" fmla="*/ 0 w 17"/>
                <a:gd name="T9" fmla="*/ 0 h 31"/>
                <a:gd name="T10" fmla="*/ 0 60000 65536"/>
                <a:gd name="T11" fmla="*/ 0 60000 65536"/>
                <a:gd name="T12" fmla="*/ 0 60000 65536"/>
                <a:gd name="T13" fmla="*/ 0 60000 65536"/>
                <a:gd name="T14" fmla="*/ 0 60000 65536"/>
                <a:gd name="T15" fmla="*/ 0 w 17"/>
                <a:gd name="T16" fmla="*/ 0 h 31"/>
                <a:gd name="T17" fmla="*/ 17 w 17"/>
                <a:gd name="T18" fmla="*/ 31 h 31"/>
              </a:gdLst>
              <a:ahLst/>
              <a:cxnLst>
                <a:cxn ang="T10">
                  <a:pos x="T0" y="T1"/>
                </a:cxn>
                <a:cxn ang="T11">
                  <a:pos x="T2" y="T3"/>
                </a:cxn>
                <a:cxn ang="T12">
                  <a:pos x="T4" y="T5"/>
                </a:cxn>
                <a:cxn ang="T13">
                  <a:pos x="T6" y="T7"/>
                </a:cxn>
                <a:cxn ang="T14">
                  <a:pos x="T8" y="T9"/>
                </a:cxn>
              </a:cxnLst>
              <a:rect l="T15" t="T16" r="T17" b="T18"/>
              <a:pathLst>
                <a:path w="17" h="31">
                  <a:moveTo>
                    <a:pt x="0" y="0"/>
                  </a:moveTo>
                  <a:lnTo>
                    <a:pt x="0" y="0"/>
                  </a:lnTo>
                  <a:lnTo>
                    <a:pt x="17" y="15"/>
                  </a:lnTo>
                  <a:lnTo>
                    <a:pt x="17" y="31"/>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6" name="Freeform 463"/>
            <p:cNvSpPr>
              <a:spLocks/>
            </p:cNvSpPr>
            <p:nvPr/>
          </p:nvSpPr>
          <p:spPr bwMode="auto">
            <a:xfrm>
              <a:off x="3861662" y="4303288"/>
              <a:ext cx="15877" cy="27353"/>
            </a:xfrm>
            <a:custGeom>
              <a:avLst/>
              <a:gdLst>
                <a:gd name="T0" fmla="*/ 0 w 17"/>
                <a:gd name="T1" fmla="*/ 0 h 31"/>
                <a:gd name="T2" fmla="*/ 0 w 17"/>
                <a:gd name="T3" fmla="*/ 0 h 31"/>
                <a:gd name="T4" fmla="*/ 3 w 17"/>
                <a:gd name="T5" fmla="*/ 2 h 31"/>
                <a:gd name="T6" fmla="*/ 3 w 17"/>
                <a:gd name="T7" fmla="*/ 4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7" name="Freeform 464"/>
            <p:cNvSpPr>
              <a:spLocks/>
            </p:cNvSpPr>
            <p:nvPr/>
          </p:nvSpPr>
          <p:spPr bwMode="auto">
            <a:xfrm>
              <a:off x="3877538" y="4330641"/>
              <a:ext cx="14111" cy="27353"/>
            </a:xfrm>
            <a:custGeom>
              <a:avLst/>
              <a:gdLst>
                <a:gd name="T0" fmla="*/ 0 w 17"/>
                <a:gd name="T1" fmla="*/ 0 h 32"/>
                <a:gd name="T2" fmla="*/ 0 w 17"/>
                <a:gd name="T3" fmla="*/ 0 h 32"/>
                <a:gd name="T4" fmla="*/ 2 w 17"/>
                <a:gd name="T5" fmla="*/ 2 h 32"/>
                <a:gd name="T6" fmla="*/ 2 w 17"/>
                <a:gd name="T7" fmla="*/ 4 h 32"/>
                <a:gd name="T8" fmla="*/ 0 w 17"/>
                <a:gd name="T9" fmla="*/ 0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0"/>
                  </a:moveTo>
                  <a:lnTo>
                    <a:pt x="0" y="0"/>
                  </a:lnTo>
                  <a:lnTo>
                    <a:pt x="17" y="17"/>
                  </a:lnTo>
                  <a:lnTo>
                    <a:pt x="17" y="32"/>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8" name="Freeform 465"/>
            <p:cNvSpPr>
              <a:spLocks/>
            </p:cNvSpPr>
            <p:nvPr/>
          </p:nvSpPr>
          <p:spPr bwMode="auto">
            <a:xfrm>
              <a:off x="3877538" y="4330641"/>
              <a:ext cx="14111" cy="27353"/>
            </a:xfrm>
            <a:custGeom>
              <a:avLst/>
              <a:gdLst>
                <a:gd name="T0" fmla="*/ 0 w 17"/>
                <a:gd name="T1" fmla="*/ 0 h 32"/>
                <a:gd name="T2" fmla="*/ 0 w 17"/>
                <a:gd name="T3" fmla="*/ 0 h 32"/>
                <a:gd name="T4" fmla="*/ 2 w 17"/>
                <a:gd name="T5" fmla="*/ 2 h 32"/>
                <a:gd name="T6" fmla="*/ 2 w 17"/>
                <a:gd name="T7" fmla="*/ 4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79" name="Freeform 466"/>
            <p:cNvSpPr>
              <a:spLocks/>
            </p:cNvSpPr>
            <p:nvPr/>
          </p:nvSpPr>
          <p:spPr bwMode="auto">
            <a:xfrm>
              <a:off x="3937515" y="4399023"/>
              <a:ext cx="15877" cy="13677"/>
            </a:xfrm>
            <a:custGeom>
              <a:avLst/>
              <a:gdLst>
                <a:gd name="T0" fmla="*/ 0 w 18"/>
                <a:gd name="T1" fmla="*/ 0 h 16"/>
                <a:gd name="T2" fmla="*/ 0 w 18"/>
                <a:gd name="T3" fmla="*/ 0 h 16"/>
                <a:gd name="T4" fmla="*/ 2 w 18"/>
                <a:gd name="T5" fmla="*/ 2 h 16"/>
                <a:gd name="T6" fmla="*/ 0 w 18"/>
                <a:gd name="T7" fmla="*/ 2 h 16"/>
                <a:gd name="T8" fmla="*/ 0 w 18"/>
                <a:gd name="T9" fmla="*/ 0 h 16"/>
                <a:gd name="T10" fmla="*/ 0 60000 65536"/>
                <a:gd name="T11" fmla="*/ 0 60000 65536"/>
                <a:gd name="T12" fmla="*/ 0 60000 65536"/>
                <a:gd name="T13" fmla="*/ 0 60000 65536"/>
                <a:gd name="T14" fmla="*/ 0 60000 65536"/>
                <a:gd name="T15" fmla="*/ 0 w 18"/>
                <a:gd name="T16" fmla="*/ 0 h 16"/>
                <a:gd name="T17" fmla="*/ 18 w 18"/>
                <a:gd name="T18" fmla="*/ 16 h 16"/>
              </a:gdLst>
              <a:ahLst/>
              <a:cxnLst>
                <a:cxn ang="T10">
                  <a:pos x="T0" y="T1"/>
                </a:cxn>
                <a:cxn ang="T11">
                  <a:pos x="T2" y="T3"/>
                </a:cxn>
                <a:cxn ang="T12">
                  <a:pos x="T4" y="T5"/>
                </a:cxn>
                <a:cxn ang="T13">
                  <a:pos x="T6" y="T7"/>
                </a:cxn>
                <a:cxn ang="T14">
                  <a:pos x="T8" y="T9"/>
                </a:cxn>
              </a:cxnLst>
              <a:rect l="T15" t="T16" r="T17" b="T18"/>
              <a:pathLst>
                <a:path w="18" h="16">
                  <a:moveTo>
                    <a:pt x="0" y="0"/>
                  </a:moveTo>
                  <a:lnTo>
                    <a:pt x="0" y="0"/>
                  </a:lnTo>
                  <a:lnTo>
                    <a:pt x="18" y="16"/>
                  </a:lnTo>
                  <a:lnTo>
                    <a:pt x="0" y="16"/>
                  </a:lnTo>
                  <a:lnTo>
                    <a:pt x="0" y="0"/>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80" name="Freeform 467"/>
            <p:cNvSpPr>
              <a:spLocks/>
            </p:cNvSpPr>
            <p:nvPr/>
          </p:nvSpPr>
          <p:spPr bwMode="auto">
            <a:xfrm>
              <a:off x="3937515" y="4399023"/>
              <a:ext cx="15877" cy="13677"/>
            </a:xfrm>
            <a:custGeom>
              <a:avLst/>
              <a:gdLst>
                <a:gd name="T0" fmla="*/ 0 w 18"/>
                <a:gd name="T1" fmla="*/ 0 h 16"/>
                <a:gd name="T2" fmla="*/ 0 w 18"/>
                <a:gd name="T3" fmla="*/ 0 h 16"/>
                <a:gd name="T4" fmla="*/ 2 w 18"/>
                <a:gd name="T5" fmla="*/ 2 h 16"/>
                <a:gd name="T6" fmla="*/ 0 w 18"/>
                <a:gd name="T7" fmla="*/ 2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81" name="Freeform 468"/>
            <p:cNvSpPr>
              <a:spLocks/>
            </p:cNvSpPr>
            <p:nvPr/>
          </p:nvSpPr>
          <p:spPr bwMode="auto">
            <a:xfrm>
              <a:off x="3985146" y="4426378"/>
              <a:ext cx="28225" cy="0"/>
            </a:xfrm>
            <a:custGeom>
              <a:avLst/>
              <a:gdLst>
                <a:gd name="T0" fmla="*/ 0 w 33"/>
                <a:gd name="T1" fmla="*/ 0 w 33"/>
                <a:gd name="T2" fmla="*/ 1 w 33"/>
                <a:gd name="T3" fmla="*/ 4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82" name="Freeform 470"/>
            <p:cNvSpPr>
              <a:spLocks/>
            </p:cNvSpPr>
            <p:nvPr/>
          </p:nvSpPr>
          <p:spPr bwMode="auto">
            <a:xfrm>
              <a:off x="2838508" y="2477470"/>
              <a:ext cx="51158" cy="13677"/>
            </a:xfrm>
            <a:custGeom>
              <a:avLst/>
              <a:gdLst>
                <a:gd name="T0" fmla="*/ 3 w 58"/>
                <a:gd name="T1" fmla="*/ 2 h 18"/>
                <a:gd name="T2" fmla="*/ 0 w 58"/>
                <a:gd name="T3" fmla="*/ 2 h 18"/>
                <a:gd name="T4" fmla="*/ 3 w 58"/>
                <a:gd name="T5" fmla="*/ 2 h 18"/>
                <a:gd name="T6" fmla="*/ 5 w 58"/>
                <a:gd name="T7" fmla="*/ 0 h 18"/>
                <a:gd name="T8" fmla="*/ 7 w 58"/>
                <a:gd name="T9" fmla="*/ 0 h 18"/>
                <a:gd name="T10" fmla="*/ 7 w 58"/>
                <a:gd name="T11" fmla="*/ 2 h 18"/>
                <a:gd name="T12" fmla="*/ 5 w 58"/>
                <a:gd name="T13" fmla="*/ 2 h 18"/>
                <a:gd name="T14" fmla="*/ 3 w 58"/>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8"/>
                <a:gd name="T26" fmla="*/ 58 w 5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8">
                  <a:moveTo>
                    <a:pt x="20" y="18"/>
                  </a:moveTo>
                  <a:lnTo>
                    <a:pt x="0" y="18"/>
                  </a:lnTo>
                  <a:lnTo>
                    <a:pt x="20" y="18"/>
                  </a:lnTo>
                  <a:lnTo>
                    <a:pt x="39" y="0"/>
                  </a:lnTo>
                  <a:lnTo>
                    <a:pt x="58" y="0"/>
                  </a:lnTo>
                  <a:lnTo>
                    <a:pt x="58" y="18"/>
                  </a:lnTo>
                  <a:lnTo>
                    <a:pt x="39" y="18"/>
                  </a:lnTo>
                  <a:lnTo>
                    <a:pt x="20"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3" name="Freeform 471"/>
            <p:cNvSpPr>
              <a:spLocks/>
            </p:cNvSpPr>
            <p:nvPr/>
          </p:nvSpPr>
          <p:spPr bwMode="auto">
            <a:xfrm>
              <a:off x="2838508" y="2477470"/>
              <a:ext cx="51158" cy="13677"/>
            </a:xfrm>
            <a:custGeom>
              <a:avLst/>
              <a:gdLst>
                <a:gd name="T0" fmla="*/ 3 w 58"/>
                <a:gd name="T1" fmla="*/ 2 h 18"/>
                <a:gd name="T2" fmla="*/ 0 w 58"/>
                <a:gd name="T3" fmla="*/ 2 h 18"/>
                <a:gd name="T4" fmla="*/ 3 w 58"/>
                <a:gd name="T5" fmla="*/ 2 h 18"/>
                <a:gd name="T6" fmla="*/ 5 w 58"/>
                <a:gd name="T7" fmla="*/ 0 h 18"/>
                <a:gd name="T8" fmla="*/ 7 w 58"/>
                <a:gd name="T9" fmla="*/ 0 h 18"/>
                <a:gd name="T10" fmla="*/ 7 w 58"/>
                <a:gd name="T11" fmla="*/ 2 h 18"/>
                <a:gd name="T12" fmla="*/ 5 w 58"/>
                <a:gd name="T13" fmla="*/ 2 h 18"/>
                <a:gd name="T14" fmla="*/ 3 w 58"/>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8"/>
                <a:gd name="T26" fmla="*/ 58 w 5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8">
                  <a:moveTo>
                    <a:pt x="20" y="18"/>
                  </a:moveTo>
                  <a:lnTo>
                    <a:pt x="0" y="18"/>
                  </a:lnTo>
                  <a:lnTo>
                    <a:pt x="20" y="18"/>
                  </a:lnTo>
                  <a:lnTo>
                    <a:pt x="39" y="0"/>
                  </a:lnTo>
                  <a:lnTo>
                    <a:pt x="58" y="0"/>
                  </a:lnTo>
                  <a:lnTo>
                    <a:pt x="58" y="18"/>
                  </a:lnTo>
                  <a:lnTo>
                    <a:pt x="39" y="18"/>
                  </a:lnTo>
                  <a:lnTo>
                    <a:pt x="20" y="18"/>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4" name="Freeform 472"/>
            <p:cNvSpPr>
              <a:spLocks/>
            </p:cNvSpPr>
            <p:nvPr/>
          </p:nvSpPr>
          <p:spPr bwMode="auto">
            <a:xfrm>
              <a:off x="2951408" y="2433021"/>
              <a:ext cx="29989" cy="0"/>
            </a:xfrm>
            <a:custGeom>
              <a:avLst/>
              <a:gdLst>
                <a:gd name="T0" fmla="*/ 2 w 35"/>
                <a:gd name="T1" fmla="*/ 0 w 35"/>
                <a:gd name="T2" fmla="*/ 2 w 35"/>
                <a:gd name="T3" fmla="*/ 4 w 35"/>
                <a:gd name="T4" fmla="*/ 2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5" name="Freeform 473"/>
            <p:cNvSpPr>
              <a:spLocks/>
            </p:cNvSpPr>
            <p:nvPr/>
          </p:nvSpPr>
          <p:spPr bwMode="auto">
            <a:xfrm>
              <a:off x="3198376" y="2491147"/>
              <a:ext cx="33517" cy="32482"/>
            </a:xfrm>
            <a:custGeom>
              <a:avLst/>
              <a:gdLst>
                <a:gd name="T0" fmla="*/ 2 w 39"/>
                <a:gd name="T1" fmla="*/ 0 h 36"/>
                <a:gd name="T2" fmla="*/ 4 w 39"/>
                <a:gd name="T3" fmla="*/ 3 h 36"/>
                <a:gd name="T4" fmla="*/ 2 w 39"/>
                <a:gd name="T5" fmla="*/ 5 h 36"/>
                <a:gd name="T6" fmla="*/ 0 w 39"/>
                <a:gd name="T7" fmla="*/ 5 h 36"/>
                <a:gd name="T8" fmla="*/ 0 w 39"/>
                <a:gd name="T9" fmla="*/ 3 h 36"/>
                <a:gd name="T10" fmla="*/ 0 w 39"/>
                <a:gd name="T11" fmla="*/ 0 h 36"/>
                <a:gd name="T12" fmla="*/ 2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6" name="Freeform 474"/>
            <p:cNvSpPr>
              <a:spLocks/>
            </p:cNvSpPr>
            <p:nvPr/>
          </p:nvSpPr>
          <p:spPr bwMode="auto">
            <a:xfrm>
              <a:off x="3198376" y="2491147"/>
              <a:ext cx="33517" cy="32482"/>
            </a:xfrm>
            <a:custGeom>
              <a:avLst/>
              <a:gdLst>
                <a:gd name="T0" fmla="*/ 2 w 39"/>
                <a:gd name="T1" fmla="*/ 0 h 36"/>
                <a:gd name="T2" fmla="*/ 4 w 39"/>
                <a:gd name="T3" fmla="*/ 3 h 36"/>
                <a:gd name="T4" fmla="*/ 2 w 39"/>
                <a:gd name="T5" fmla="*/ 5 h 36"/>
                <a:gd name="T6" fmla="*/ 0 w 39"/>
                <a:gd name="T7" fmla="*/ 5 h 36"/>
                <a:gd name="T8" fmla="*/ 0 w 39"/>
                <a:gd name="T9" fmla="*/ 3 h 36"/>
                <a:gd name="T10" fmla="*/ 0 w 39"/>
                <a:gd name="T11" fmla="*/ 0 h 36"/>
                <a:gd name="T12" fmla="*/ 2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7" name="Freeform 475"/>
            <p:cNvSpPr>
              <a:spLocks/>
            </p:cNvSpPr>
            <p:nvPr/>
          </p:nvSpPr>
          <p:spPr bwMode="auto">
            <a:xfrm>
              <a:off x="3258354" y="2374896"/>
              <a:ext cx="31753" cy="13677"/>
            </a:xfrm>
            <a:custGeom>
              <a:avLst/>
              <a:gdLst>
                <a:gd name="T0" fmla="*/ 0 w 37"/>
                <a:gd name="T1" fmla="*/ 2 h 16"/>
                <a:gd name="T2" fmla="*/ 0 w 37"/>
                <a:gd name="T3" fmla="*/ 0 h 16"/>
                <a:gd name="T4" fmla="*/ 2 w 37"/>
                <a:gd name="T5" fmla="*/ 0 h 16"/>
                <a:gd name="T6" fmla="*/ 2 w 37"/>
                <a:gd name="T7" fmla="*/ 2 h 16"/>
                <a:gd name="T8" fmla="*/ 4 w 37"/>
                <a:gd name="T9" fmla="*/ 2 h 16"/>
                <a:gd name="T10" fmla="*/ 2 w 37"/>
                <a:gd name="T11" fmla="*/ 2 h 16"/>
                <a:gd name="T12" fmla="*/ 0 w 37"/>
                <a:gd name="T13" fmla="*/ 2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8" name="Freeform 476"/>
            <p:cNvSpPr>
              <a:spLocks/>
            </p:cNvSpPr>
            <p:nvPr/>
          </p:nvSpPr>
          <p:spPr bwMode="auto">
            <a:xfrm>
              <a:off x="3258354" y="2374896"/>
              <a:ext cx="31753" cy="13677"/>
            </a:xfrm>
            <a:custGeom>
              <a:avLst/>
              <a:gdLst>
                <a:gd name="T0" fmla="*/ 0 w 37"/>
                <a:gd name="T1" fmla="*/ 2 h 16"/>
                <a:gd name="T2" fmla="*/ 0 w 37"/>
                <a:gd name="T3" fmla="*/ 0 h 16"/>
                <a:gd name="T4" fmla="*/ 2 w 37"/>
                <a:gd name="T5" fmla="*/ 0 h 16"/>
                <a:gd name="T6" fmla="*/ 2 w 37"/>
                <a:gd name="T7" fmla="*/ 2 h 16"/>
                <a:gd name="T8" fmla="*/ 4 w 37"/>
                <a:gd name="T9" fmla="*/ 2 h 16"/>
                <a:gd name="T10" fmla="*/ 2 w 37"/>
                <a:gd name="T11" fmla="*/ 2 h 16"/>
                <a:gd name="T12" fmla="*/ 0 w 37"/>
                <a:gd name="T13" fmla="*/ 2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89" name="Freeform 477"/>
            <p:cNvSpPr>
              <a:spLocks/>
            </p:cNvSpPr>
            <p:nvPr/>
          </p:nvSpPr>
          <p:spPr bwMode="auto">
            <a:xfrm>
              <a:off x="3819325" y="2771516"/>
              <a:ext cx="12348" cy="0"/>
            </a:xfrm>
            <a:custGeom>
              <a:avLst/>
              <a:gdLst>
                <a:gd name="T0" fmla="*/ 0 w 13"/>
                <a:gd name="T1" fmla="*/ 2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29BA74"/>
            </a:solidFill>
            <a:ln w="9525">
              <a:solidFill>
                <a:srgbClr val="F2F2F2"/>
              </a:solidFill>
              <a:round/>
              <a:headEnd/>
              <a:tailEnd/>
            </a:ln>
          </p:spPr>
          <p:txBody>
            <a:bodyPr/>
            <a:lstStyle/>
            <a:p>
              <a:endParaRPr lang="en-US" dirty="0">
                <a:solidFill>
                  <a:srgbClr val="575757"/>
                </a:solidFill>
              </a:endParaRPr>
            </a:p>
          </p:txBody>
        </p:sp>
        <p:sp>
          <p:nvSpPr>
            <p:cNvPr id="990" name="Freeform 478"/>
            <p:cNvSpPr>
              <a:spLocks/>
            </p:cNvSpPr>
            <p:nvPr/>
          </p:nvSpPr>
          <p:spPr bwMode="auto">
            <a:xfrm>
              <a:off x="5246449" y="2491147"/>
              <a:ext cx="61742" cy="32482"/>
            </a:xfrm>
            <a:custGeom>
              <a:avLst/>
              <a:gdLst>
                <a:gd name="T0" fmla="*/ 3 w 69"/>
                <a:gd name="T1" fmla="*/ 5 h 36"/>
                <a:gd name="T2" fmla="*/ 3 w 69"/>
                <a:gd name="T3" fmla="*/ 3 h 36"/>
                <a:gd name="T4" fmla="*/ 0 w 69"/>
                <a:gd name="T5" fmla="*/ 3 h 36"/>
                <a:gd name="T6" fmla="*/ 3 w 69"/>
                <a:gd name="T7" fmla="*/ 3 h 36"/>
                <a:gd name="T8" fmla="*/ 3 w 69"/>
                <a:gd name="T9" fmla="*/ 0 h 36"/>
                <a:gd name="T10" fmla="*/ 5 w 69"/>
                <a:gd name="T11" fmla="*/ 0 h 36"/>
                <a:gd name="T12" fmla="*/ 5 w 69"/>
                <a:gd name="T13" fmla="*/ 3 h 36"/>
                <a:gd name="T14" fmla="*/ 7 w 69"/>
                <a:gd name="T15" fmla="*/ 3 h 36"/>
                <a:gd name="T16" fmla="*/ 9 w 69"/>
                <a:gd name="T17" fmla="*/ 3 h 36"/>
                <a:gd name="T18" fmla="*/ 7 w 69"/>
                <a:gd name="T19" fmla="*/ 3 h 36"/>
                <a:gd name="T20" fmla="*/ 5 w 69"/>
                <a:gd name="T21" fmla="*/ 5 h 36"/>
                <a:gd name="T22" fmla="*/ 3 w 69"/>
                <a:gd name="T23" fmla="*/ 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91" name="Freeform 5"/>
            <p:cNvSpPr>
              <a:spLocks/>
            </p:cNvSpPr>
            <p:nvPr>
              <p:custDataLst>
                <p:tags r:id="rId20"/>
              </p:custDataLst>
            </p:nvPr>
          </p:nvSpPr>
          <p:spPr bwMode="auto">
            <a:xfrm>
              <a:off x="7379196" y="4025029"/>
              <a:ext cx="700331" cy="702231"/>
            </a:xfrm>
            <a:custGeom>
              <a:avLst/>
              <a:gdLst>
                <a:gd name="T0" fmla="*/ 90 w 795"/>
                <a:gd name="T1" fmla="*/ 26 h 768"/>
                <a:gd name="T2" fmla="*/ 99 w 795"/>
                <a:gd name="T3" fmla="*/ 30 h 768"/>
                <a:gd name="T4" fmla="*/ 95 w 795"/>
                <a:gd name="T5" fmla="*/ 35 h 768"/>
                <a:gd name="T6" fmla="*/ 88 w 795"/>
                <a:gd name="T7" fmla="*/ 44 h 768"/>
                <a:gd name="T8" fmla="*/ 84 w 795"/>
                <a:gd name="T9" fmla="*/ 50 h 768"/>
                <a:gd name="T10" fmla="*/ 82 w 795"/>
                <a:gd name="T11" fmla="*/ 47 h 768"/>
                <a:gd name="T12" fmla="*/ 79 w 795"/>
                <a:gd name="T13" fmla="*/ 47 h 768"/>
                <a:gd name="T14" fmla="*/ 77 w 795"/>
                <a:gd name="T15" fmla="*/ 44 h 768"/>
                <a:gd name="T16" fmla="*/ 73 w 795"/>
                <a:gd name="T17" fmla="*/ 41 h 768"/>
                <a:gd name="T18" fmla="*/ 71 w 795"/>
                <a:gd name="T19" fmla="*/ 36 h 768"/>
                <a:gd name="T20" fmla="*/ 69 w 795"/>
                <a:gd name="T21" fmla="*/ 38 h 768"/>
                <a:gd name="T22" fmla="*/ 69 w 795"/>
                <a:gd name="T23" fmla="*/ 42 h 768"/>
                <a:gd name="T24" fmla="*/ 69 w 795"/>
                <a:gd name="T25" fmla="*/ 52 h 768"/>
                <a:gd name="T26" fmla="*/ 64 w 795"/>
                <a:gd name="T27" fmla="*/ 52 h 768"/>
                <a:gd name="T28" fmla="*/ 58 w 795"/>
                <a:gd name="T29" fmla="*/ 60 h 768"/>
                <a:gd name="T30" fmla="*/ 47 w 795"/>
                <a:gd name="T31" fmla="*/ 71 h 768"/>
                <a:gd name="T32" fmla="*/ 43 w 795"/>
                <a:gd name="T33" fmla="*/ 72 h 768"/>
                <a:gd name="T34" fmla="*/ 41 w 795"/>
                <a:gd name="T35" fmla="*/ 74 h 768"/>
                <a:gd name="T36" fmla="*/ 38 w 795"/>
                <a:gd name="T37" fmla="*/ 84 h 768"/>
                <a:gd name="T38" fmla="*/ 36 w 795"/>
                <a:gd name="T39" fmla="*/ 92 h 768"/>
                <a:gd name="T40" fmla="*/ 32 w 795"/>
                <a:gd name="T41" fmla="*/ 96 h 768"/>
                <a:gd name="T42" fmla="*/ 21 w 795"/>
                <a:gd name="T43" fmla="*/ 77 h 768"/>
                <a:gd name="T44" fmla="*/ 15 w 795"/>
                <a:gd name="T45" fmla="*/ 58 h 768"/>
                <a:gd name="T46" fmla="*/ 13 w 795"/>
                <a:gd name="T47" fmla="*/ 54 h 768"/>
                <a:gd name="T48" fmla="*/ 2 w 795"/>
                <a:gd name="T49" fmla="*/ 50 h 768"/>
                <a:gd name="T50" fmla="*/ 6 w 795"/>
                <a:gd name="T51" fmla="*/ 48 h 768"/>
                <a:gd name="T52" fmla="*/ 0 w 795"/>
                <a:gd name="T53" fmla="*/ 47 h 768"/>
                <a:gd name="T54" fmla="*/ 8 w 795"/>
                <a:gd name="T55" fmla="*/ 44 h 768"/>
                <a:gd name="T56" fmla="*/ 8 w 795"/>
                <a:gd name="T57" fmla="*/ 38 h 768"/>
                <a:gd name="T58" fmla="*/ 6 w 795"/>
                <a:gd name="T59" fmla="*/ 36 h 768"/>
                <a:gd name="T60" fmla="*/ 4 w 795"/>
                <a:gd name="T61" fmla="*/ 32 h 768"/>
                <a:gd name="T62" fmla="*/ 8 w 795"/>
                <a:gd name="T63" fmla="*/ 32 h 768"/>
                <a:gd name="T64" fmla="*/ 23 w 795"/>
                <a:gd name="T65" fmla="*/ 18 h 768"/>
                <a:gd name="T66" fmla="*/ 23 w 795"/>
                <a:gd name="T67" fmla="*/ 17 h 768"/>
                <a:gd name="T68" fmla="*/ 19 w 795"/>
                <a:gd name="T69" fmla="*/ 12 h 768"/>
                <a:gd name="T70" fmla="*/ 19 w 795"/>
                <a:gd name="T71" fmla="*/ 6 h 768"/>
                <a:gd name="T72" fmla="*/ 25 w 795"/>
                <a:gd name="T73" fmla="*/ 6 h 768"/>
                <a:gd name="T74" fmla="*/ 32 w 795"/>
                <a:gd name="T75" fmla="*/ 2 h 768"/>
                <a:gd name="T76" fmla="*/ 41 w 795"/>
                <a:gd name="T77" fmla="*/ 2 h 768"/>
                <a:gd name="T78" fmla="*/ 36 w 795"/>
                <a:gd name="T79" fmla="*/ 11 h 768"/>
                <a:gd name="T80" fmla="*/ 34 w 795"/>
                <a:gd name="T81" fmla="*/ 14 h 768"/>
                <a:gd name="T82" fmla="*/ 43 w 795"/>
                <a:gd name="T83" fmla="*/ 23 h 768"/>
                <a:gd name="T84" fmla="*/ 45 w 795"/>
                <a:gd name="T85" fmla="*/ 30 h 768"/>
                <a:gd name="T86" fmla="*/ 67 w 795"/>
                <a:gd name="T87" fmla="*/ 36 h 768"/>
                <a:gd name="T88" fmla="*/ 67 w 795"/>
                <a:gd name="T89" fmla="*/ 30 h 768"/>
                <a:gd name="T90" fmla="*/ 71 w 795"/>
                <a:gd name="T91" fmla="*/ 32 h 768"/>
                <a:gd name="T92" fmla="*/ 79 w 795"/>
                <a:gd name="T93" fmla="*/ 35 h 768"/>
                <a:gd name="T94" fmla="*/ 79 w 795"/>
                <a:gd name="T95" fmla="*/ 30 h 7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5"/>
                <a:gd name="T145" fmla="*/ 0 h 768"/>
                <a:gd name="T146" fmla="*/ 795 w 795"/>
                <a:gd name="T147" fmla="*/ 768 h 768"/>
                <a:gd name="connsiteX0" fmla="*/ 9132 w 10000"/>
                <a:gd name="connsiteY0" fmla="*/ 2817 h 10109"/>
                <a:gd name="connsiteX1" fmla="*/ 9132 w 10000"/>
                <a:gd name="connsiteY1" fmla="*/ 2817 h 10109"/>
                <a:gd name="connsiteX2" fmla="*/ 9560 w 10000"/>
                <a:gd name="connsiteY2" fmla="*/ 2817 h 10109"/>
                <a:gd name="connsiteX3" fmla="*/ 10000 w 10000"/>
                <a:gd name="connsiteY3" fmla="*/ 3234 h 10109"/>
                <a:gd name="connsiteX4" fmla="*/ 10000 w 10000"/>
                <a:gd name="connsiteY4" fmla="*/ 3664 h 10109"/>
                <a:gd name="connsiteX5" fmla="*/ 9560 w 10000"/>
                <a:gd name="connsiteY5" fmla="*/ 3664 h 10109"/>
                <a:gd name="connsiteX6" fmla="*/ 9346 w 10000"/>
                <a:gd name="connsiteY6" fmla="*/ 3859 h 10109"/>
                <a:gd name="connsiteX7" fmla="*/ 8918 w 10000"/>
                <a:gd name="connsiteY7" fmla="*/ 4692 h 10109"/>
                <a:gd name="connsiteX8" fmla="*/ 8692 w 10000"/>
                <a:gd name="connsiteY8" fmla="*/ 4914 h 10109"/>
                <a:gd name="connsiteX9" fmla="*/ 8478 w 10000"/>
                <a:gd name="connsiteY9" fmla="*/ 5317 h 10109"/>
                <a:gd name="connsiteX10" fmla="*/ 8478 w 10000"/>
                <a:gd name="connsiteY10" fmla="*/ 5539 h 10109"/>
                <a:gd name="connsiteX11" fmla="*/ 8264 w 10000"/>
                <a:gd name="connsiteY11" fmla="*/ 4914 h 10109"/>
                <a:gd name="connsiteX12" fmla="*/ 8264 w 10000"/>
                <a:gd name="connsiteY12" fmla="*/ 4692 h 10109"/>
                <a:gd name="connsiteX13" fmla="*/ 8038 w 10000"/>
                <a:gd name="connsiteY13" fmla="*/ 4914 h 10109"/>
                <a:gd name="connsiteX14" fmla="*/ 7824 w 10000"/>
                <a:gd name="connsiteY14" fmla="*/ 4914 h 10109"/>
                <a:gd name="connsiteX15" fmla="*/ 7824 w 10000"/>
                <a:gd name="connsiteY15" fmla="*/ 4692 h 10109"/>
                <a:gd name="connsiteX16" fmla="*/ 8264 w 10000"/>
                <a:gd name="connsiteY16" fmla="*/ 4289 h 10109"/>
                <a:gd name="connsiteX17" fmla="*/ 7396 w 10000"/>
                <a:gd name="connsiteY17" fmla="*/ 4289 h 10109"/>
                <a:gd name="connsiteX18" fmla="*/ 7396 w 10000"/>
                <a:gd name="connsiteY18" fmla="*/ 3859 h 10109"/>
                <a:gd name="connsiteX19" fmla="*/ 7170 w 10000"/>
                <a:gd name="connsiteY19" fmla="*/ 3859 h 10109"/>
                <a:gd name="connsiteX20" fmla="*/ 6956 w 10000"/>
                <a:gd name="connsiteY20" fmla="*/ 3859 h 10109"/>
                <a:gd name="connsiteX21" fmla="*/ 6956 w 10000"/>
                <a:gd name="connsiteY21" fmla="*/ 4067 h 10109"/>
                <a:gd name="connsiteX22" fmla="*/ 6742 w 10000"/>
                <a:gd name="connsiteY22" fmla="*/ 4484 h 10109"/>
                <a:gd name="connsiteX23" fmla="*/ 6956 w 10000"/>
                <a:gd name="connsiteY23" fmla="*/ 4484 h 10109"/>
                <a:gd name="connsiteX24" fmla="*/ 7170 w 10000"/>
                <a:gd name="connsiteY24" fmla="*/ 5539 h 10109"/>
                <a:gd name="connsiteX25" fmla="*/ 6956 w 10000"/>
                <a:gd name="connsiteY25" fmla="*/ 5539 h 10109"/>
                <a:gd name="connsiteX26" fmla="*/ 6956 w 10000"/>
                <a:gd name="connsiteY26" fmla="*/ 5317 h 10109"/>
                <a:gd name="connsiteX27" fmla="*/ 6516 w 10000"/>
                <a:gd name="connsiteY27" fmla="*/ 5539 h 10109"/>
                <a:gd name="connsiteX28" fmla="*/ 6302 w 10000"/>
                <a:gd name="connsiteY28" fmla="*/ 6164 h 10109"/>
                <a:gd name="connsiteX29" fmla="*/ 5874 w 10000"/>
                <a:gd name="connsiteY29" fmla="*/ 6359 h 10109"/>
                <a:gd name="connsiteX30" fmla="*/ 4780 w 10000"/>
                <a:gd name="connsiteY30" fmla="*/ 7192 h 10109"/>
                <a:gd name="connsiteX31" fmla="*/ 4780 w 10000"/>
                <a:gd name="connsiteY31" fmla="*/ 7414 h 10109"/>
                <a:gd name="connsiteX32" fmla="*/ 4566 w 10000"/>
                <a:gd name="connsiteY32" fmla="*/ 7414 h 10109"/>
                <a:gd name="connsiteX33" fmla="*/ 4352 w 10000"/>
                <a:gd name="connsiteY33" fmla="*/ 7609 h 10109"/>
                <a:gd name="connsiteX34" fmla="*/ 4126 w 10000"/>
                <a:gd name="connsiteY34" fmla="*/ 7609 h 10109"/>
                <a:gd name="connsiteX35" fmla="*/ 4126 w 10000"/>
                <a:gd name="connsiteY35" fmla="*/ 7804 h 10109"/>
                <a:gd name="connsiteX36" fmla="*/ 4126 w 10000"/>
                <a:gd name="connsiteY36" fmla="*/ 8429 h 10109"/>
                <a:gd name="connsiteX37" fmla="*/ 3912 w 10000"/>
                <a:gd name="connsiteY37" fmla="*/ 8859 h 10109"/>
                <a:gd name="connsiteX38" fmla="*/ 3912 w 10000"/>
                <a:gd name="connsiteY38" fmla="*/ 9484 h 10109"/>
                <a:gd name="connsiteX39" fmla="*/ 3698 w 10000"/>
                <a:gd name="connsiteY39" fmla="*/ 9679 h 10109"/>
                <a:gd name="connsiteX40" fmla="*/ 3484 w 10000"/>
                <a:gd name="connsiteY40" fmla="*/ 9914 h 10109"/>
                <a:gd name="connsiteX41" fmla="*/ 3258 w 10000"/>
                <a:gd name="connsiteY41" fmla="*/ 10109 h 10109"/>
                <a:gd name="connsiteX42" fmla="*/ 2830 w 10000"/>
                <a:gd name="connsiteY42" fmla="*/ 9914 h 10109"/>
                <a:gd name="connsiteX43" fmla="*/ 2176 w 10000"/>
                <a:gd name="connsiteY43" fmla="*/ 8039 h 10109"/>
                <a:gd name="connsiteX44" fmla="*/ 1736 w 10000"/>
                <a:gd name="connsiteY44" fmla="*/ 7414 h 10109"/>
                <a:gd name="connsiteX45" fmla="*/ 1522 w 10000"/>
                <a:gd name="connsiteY45" fmla="*/ 6164 h 10109"/>
                <a:gd name="connsiteX46" fmla="*/ 1522 w 10000"/>
                <a:gd name="connsiteY46" fmla="*/ 5317 h 10109"/>
                <a:gd name="connsiteX47" fmla="*/ 1308 w 10000"/>
                <a:gd name="connsiteY47" fmla="*/ 5734 h 10109"/>
                <a:gd name="connsiteX48" fmla="*/ 868 w 10000"/>
                <a:gd name="connsiteY48" fmla="*/ 5942 h 10109"/>
                <a:gd name="connsiteX49" fmla="*/ 214 w 10000"/>
                <a:gd name="connsiteY49" fmla="*/ 5317 h 10109"/>
                <a:gd name="connsiteX50" fmla="*/ 654 w 10000"/>
                <a:gd name="connsiteY50" fmla="*/ 5317 h 10109"/>
                <a:gd name="connsiteX51" fmla="*/ 654 w 10000"/>
                <a:gd name="connsiteY51" fmla="*/ 5109 h 10109"/>
                <a:gd name="connsiteX52" fmla="*/ 440 w 10000"/>
                <a:gd name="connsiteY52" fmla="*/ 5109 h 10109"/>
                <a:gd name="connsiteX53" fmla="*/ 0 w 10000"/>
                <a:gd name="connsiteY53" fmla="*/ 4914 h 10109"/>
                <a:gd name="connsiteX54" fmla="*/ 214 w 10000"/>
                <a:gd name="connsiteY54" fmla="*/ 4692 h 10109"/>
                <a:gd name="connsiteX55" fmla="*/ 868 w 10000"/>
                <a:gd name="connsiteY55" fmla="*/ 4692 h 10109"/>
                <a:gd name="connsiteX56" fmla="*/ 868 w 10000"/>
                <a:gd name="connsiteY56" fmla="*/ 4484 h 10109"/>
                <a:gd name="connsiteX57" fmla="*/ 868 w 10000"/>
                <a:gd name="connsiteY57" fmla="*/ 4067 h 10109"/>
                <a:gd name="connsiteX58" fmla="*/ 654 w 10000"/>
                <a:gd name="connsiteY58" fmla="*/ 4067 h 10109"/>
                <a:gd name="connsiteX59" fmla="*/ 654 w 10000"/>
                <a:gd name="connsiteY59" fmla="*/ 3859 h 10109"/>
                <a:gd name="connsiteX60" fmla="*/ 440 w 10000"/>
                <a:gd name="connsiteY60" fmla="*/ 3859 h 10109"/>
                <a:gd name="connsiteX61" fmla="*/ 440 w 10000"/>
                <a:gd name="connsiteY61" fmla="*/ 3442 h 10109"/>
                <a:gd name="connsiteX62" fmla="*/ 654 w 10000"/>
                <a:gd name="connsiteY62" fmla="*/ 3234 h 10109"/>
                <a:gd name="connsiteX63" fmla="*/ 868 w 10000"/>
                <a:gd name="connsiteY63" fmla="*/ 3442 h 10109"/>
                <a:gd name="connsiteX64" fmla="*/ 1308 w 10000"/>
                <a:gd name="connsiteY64" fmla="*/ 3234 h 10109"/>
                <a:gd name="connsiteX65" fmla="*/ 2390 w 10000"/>
                <a:gd name="connsiteY65" fmla="*/ 1984 h 10109"/>
                <a:gd name="connsiteX66" fmla="*/ 2176 w 10000"/>
                <a:gd name="connsiteY66" fmla="*/ 1789 h 10109"/>
                <a:gd name="connsiteX67" fmla="*/ 2390 w 10000"/>
                <a:gd name="connsiteY67" fmla="*/ 1789 h 10109"/>
                <a:gd name="connsiteX68" fmla="*/ 2390 w 10000"/>
                <a:gd name="connsiteY68" fmla="*/ 1567 h 10109"/>
                <a:gd name="connsiteX69" fmla="*/ 1962 w 10000"/>
                <a:gd name="connsiteY69" fmla="*/ 1359 h 10109"/>
                <a:gd name="connsiteX70" fmla="*/ 2176 w 10000"/>
                <a:gd name="connsiteY70" fmla="*/ 942 h 10109"/>
                <a:gd name="connsiteX71" fmla="*/ 1962 w 10000"/>
                <a:gd name="connsiteY71" fmla="*/ 734 h 10109"/>
                <a:gd name="connsiteX72" fmla="*/ 2176 w 10000"/>
                <a:gd name="connsiteY72" fmla="*/ 539 h 10109"/>
                <a:gd name="connsiteX73" fmla="*/ 2604 w 10000"/>
                <a:gd name="connsiteY73" fmla="*/ 734 h 10109"/>
                <a:gd name="connsiteX74" fmla="*/ 2850 w 10000"/>
                <a:gd name="connsiteY74" fmla="*/ 0 h 10109"/>
                <a:gd name="connsiteX75" fmla="*/ 3258 w 10000"/>
                <a:gd name="connsiteY75" fmla="*/ 317 h 10109"/>
                <a:gd name="connsiteX76" fmla="*/ 3912 w 10000"/>
                <a:gd name="connsiteY76" fmla="*/ 109 h 10109"/>
                <a:gd name="connsiteX77" fmla="*/ 4126 w 10000"/>
                <a:gd name="connsiteY77" fmla="*/ 317 h 10109"/>
                <a:gd name="connsiteX78" fmla="*/ 4126 w 10000"/>
                <a:gd name="connsiteY78" fmla="*/ 734 h 10109"/>
                <a:gd name="connsiteX79" fmla="*/ 3698 w 10000"/>
                <a:gd name="connsiteY79" fmla="*/ 1164 h 10109"/>
                <a:gd name="connsiteX80" fmla="*/ 3912 w 10000"/>
                <a:gd name="connsiteY80" fmla="*/ 1567 h 10109"/>
                <a:gd name="connsiteX81" fmla="*/ 3484 w 10000"/>
                <a:gd name="connsiteY81" fmla="*/ 1567 h 10109"/>
                <a:gd name="connsiteX82" fmla="*/ 3698 w 10000"/>
                <a:gd name="connsiteY82" fmla="*/ 2192 h 10109"/>
                <a:gd name="connsiteX83" fmla="*/ 4352 w 10000"/>
                <a:gd name="connsiteY83" fmla="*/ 2414 h 10109"/>
                <a:gd name="connsiteX84" fmla="*/ 4126 w 10000"/>
                <a:gd name="connsiteY84" fmla="*/ 3039 h 10109"/>
                <a:gd name="connsiteX85" fmla="*/ 4566 w 10000"/>
                <a:gd name="connsiteY85" fmla="*/ 3234 h 10109"/>
                <a:gd name="connsiteX86" fmla="*/ 6516 w 10000"/>
                <a:gd name="connsiteY86" fmla="*/ 3859 h 10109"/>
                <a:gd name="connsiteX87" fmla="*/ 6742 w 10000"/>
                <a:gd name="connsiteY87" fmla="*/ 3859 h 10109"/>
                <a:gd name="connsiteX88" fmla="*/ 6742 w 10000"/>
                <a:gd name="connsiteY88" fmla="*/ 3664 h 10109"/>
                <a:gd name="connsiteX89" fmla="*/ 6742 w 10000"/>
                <a:gd name="connsiteY89" fmla="*/ 3234 h 10109"/>
                <a:gd name="connsiteX90" fmla="*/ 6956 w 10000"/>
                <a:gd name="connsiteY90" fmla="*/ 3234 h 10109"/>
                <a:gd name="connsiteX91" fmla="*/ 7170 w 10000"/>
                <a:gd name="connsiteY91" fmla="*/ 3442 h 10109"/>
                <a:gd name="connsiteX92" fmla="*/ 7170 w 10000"/>
                <a:gd name="connsiteY92" fmla="*/ 3664 h 10109"/>
                <a:gd name="connsiteX93" fmla="*/ 8038 w 10000"/>
                <a:gd name="connsiteY93" fmla="*/ 3664 h 10109"/>
                <a:gd name="connsiteX94" fmla="*/ 8264 w 10000"/>
                <a:gd name="connsiteY94" fmla="*/ 3664 h 10109"/>
                <a:gd name="connsiteX95" fmla="*/ 8038 w 10000"/>
                <a:gd name="connsiteY95" fmla="*/ 3234 h 10109"/>
                <a:gd name="connsiteX96" fmla="*/ 9132 w 10000"/>
                <a:gd name="connsiteY96" fmla="*/ 2817 h 10109"/>
                <a:gd name="connsiteX0" fmla="*/ 9132 w 10000"/>
                <a:gd name="connsiteY0" fmla="*/ 3119 h 10411"/>
                <a:gd name="connsiteX1" fmla="*/ 9132 w 10000"/>
                <a:gd name="connsiteY1" fmla="*/ 3119 h 10411"/>
                <a:gd name="connsiteX2" fmla="*/ 9560 w 10000"/>
                <a:gd name="connsiteY2" fmla="*/ 3119 h 10411"/>
                <a:gd name="connsiteX3" fmla="*/ 10000 w 10000"/>
                <a:gd name="connsiteY3" fmla="*/ 3536 h 10411"/>
                <a:gd name="connsiteX4" fmla="*/ 10000 w 10000"/>
                <a:gd name="connsiteY4" fmla="*/ 3966 h 10411"/>
                <a:gd name="connsiteX5" fmla="*/ 9560 w 10000"/>
                <a:gd name="connsiteY5" fmla="*/ 3966 h 10411"/>
                <a:gd name="connsiteX6" fmla="*/ 9346 w 10000"/>
                <a:gd name="connsiteY6" fmla="*/ 4161 h 10411"/>
                <a:gd name="connsiteX7" fmla="*/ 8918 w 10000"/>
                <a:gd name="connsiteY7" fmla="*/ 4994 h 10411"/>
                <a:gd name="connsiteX8" fmla="*/ 8692 w 10000"/>
                <a:gd name="connsiteY8" fmla="*/ 5216 h 10411"/>
                <a:gd name="connsiteX9" fmla="*/ 8478 w 10000"/>
                <a:gd name="connsiteY9" fmla="*/ 5619 h 10411"/>
                <a:gd name="connsiteX10" fmla="*/ 8478 w 10000"/>
                <a:gd name="connsiteY10" fmla="*/ 5841 h 10411"/>
                <a:gd name="connsiteX11" fmla="*/ 8264 w 10000"/>
                <a:gd name="connsiteY11" fmla="*/ 5216 h 10411"/>
                <a:gd name="connsiteX12" fmla="*/ 8264 w 10000"/>
                <a:gd name="connsiteY12" fmla="*/ 4994 h 10411"/>
                <a:gd name="connsiteX13" fmla="*/ 8038 w 10000"/>
                <a:gd name="connsiteY13" fmla="*/ 5216 h 10411"/>
                <a:gd name="connsiteX14" fmla="*/ 7824 w 10000"/>
                <a:gd name="connsiteY14" fmla="*/ 5216 h 10411"/>
                <a:gd name="connsiteX15" fmla="*/ 7824 w 10000"/>
                <a:gd name="connsiteY15" fmla="*/ 4994 h 10411"/>
                <a:gd name="connsiteX16" fmla="*/ 8264 w 10000"/>
                <a:gd name="connsiteY16" fmla="*/ 4591 h 10411"/>
                <a:gd name="connsiteX17" fmla="*/ 7396 w 10000"/>
                <a:gd name="connsiteY17" fmla="*/ 4591 h 10411"/>
                <a:gd name="connsiteX18" fmla="*/ 7396 w 10000"/>
                <a:gd name="connsiteY18" fmla="*/ 4161 h 10411"/>
                <a:gd name="connsiteX19" fmla="*/ 7170 w 10000"/>
                <a:gd name="connsiteY19" fmla="*/ 4161 h 10411"/>
                <a:gd name="connsiteX20" fmla="*/ 6956 w 10000"/>
                <a:gd name="connsiteY20" fmla="*/ 4161 h 10411"/>
                <a:gd name="connsiteX21" fmla="*/ 6956 w 10000"/>
                <a:gd name="connsiteY21" fmla="*/ 4369 h 10411"/>
                <a:gd name="connsiteX22" fmla="*/ 6742 w 10000"/>
                <a:gd name="connsiteY22" fmla="*/ 4786 h 10411"/>
                <a:gd name="connsiteX23" fmla="*/ 6956 w 10000"/>
                <a:gd name="connsiteY23" fmla="*/ 4786 h 10411"/>
                <a:gd name="connsiteX24" fmla="*/ 7170 w 10000"/>
                <a:gd name="connsiteY24" fmla="*/ 5841 h 10411"/>
                <a:gd name="connsiteX25" fmla="*/ 6956 w 10000"/>
                <a:gd name="connsiteY25" fmla="*/ 5841 h 10411"/>
                <a:gd name="connsiteX26" fmla="*/ 6956 w 10000"/>
                <a:gd name="connsiteY26" fmla="*/ 5619 h 10411"/>
                <a:gd name="connsiteX27" fmla="*/ 6516 w 10000"/>
                <a:gd name="connsiteY27" fmla="*/ 5841 h 10411"/>
                <a:gd name="connsiteX28" fmla="*/ 6302 w 10000"/>
                <a:gd name="connsiteY28" fmla="*/ 6466 h 10411"/>
                <a:gd name="connsiteX29" fmla="*/ 5874 w 10000"/>
                <a:gd name="connsiteY29" fmla="*/ 6661 h 10411"/>
                <a:gd name="connsiteX30" fmla="*/ 4780 w 10000"/>
                <a:gd name="connsiteY30" fmla="*/ 7494 h 10411"/>
                <a:gd name="connsiteX31" fmla="*/ 4780 w 10000"/>
                <a:gd name="connsiteY31" fmla="*/ 7716 h 10411"/>
                <a:gd name="connsiteX32" fmla="*/ 4566 w 10000"/>
                <a:gd name="connsiteY32" fmla="*/ 7716 h 10411"/>
                <a:gd name="connsiteX33" fmla="*/ 4352 w 10000"/>
                <a:gd name="connsiteY33" fmla="*/ 7911 h 10411"/>
                <a:gd name="connsiteX34" fmla="*/ 4126 w 10000"/>
                <a:gd name="connsiteY34" fmla="*/ 7911 h 10411"/>
                <a:gd name="connsiteX35" fmla="*/ 4126 w 10000"/>
                <a:gd name="connsiteY35" fmla="*/ 8106 h 10411"/>
                <a:gd name="connsiteX36" fmla="*/ 4126 w 10000"/>
                <a:gd name="connsiteY36" fmla="*/ 8731 h 10411"/>
                <a:gd name="connsiteX37" fmla="*/ 3912 w 10000"/>
                <a:gd name="connsiteY37" fmla="*/ 9161 h 10411"/>
                <a:gd name="connsiteX38" fmla="*/ 3912 w 10000"/>
                <a:gd name="connsiteY38" fmla="*/ 9786 h 10411"/>
                <a:gd name="connsiteX39" fmla="*/ 3698 w 10000"/>
                <a:gd name="connsiteY39" fmla="*/ 9981 h 10411"/>
                <a:gd name="connsiteX40" fmla="*/ 3484 w 10000"/>
                <a:gd name="connsiteY40" fmla="*/ 10216 h 10411"/>
                <a:gd name="connsiteX41" fmla="*/ 3258 w 10000"/>
                <a:gd name="connsiteY41" fmla="*/ 10411 h 10411"/>
                <a:gd name="connsiteX42" fmla="*/ 2830 w 10000"/>
                <a:gd name="connsiteY42" fmla="*/ 10216 h 10411"/>
                <a:gd name="connsiteX43" fmla="*/ 2176 w 10000"/>
                <a:gd name="connsiteY43" fmla="*/ 8341 h 10411"/>
                <a:gd name="connsiteX44" fmla="*/ 1736 w 10000"/>
                <a:gd name="connsiteY44" fmla="*/ 7716 h 10411"/>
                <a:gd name="connsiteX45" fmla="*/ 1522 w 10000"/>
                <a:gd name="connsiteY45" fmla="*/ 6466 h 10411"/>
                <a:gd name="connsiteX46" fmla="*/ 1522 w 10000"/>
                <a:gd name="connsiteY46" fmla="*/ 5619 h 10411"/>
                <a:gd name="connsiteX47" fmla="*/ 1308 w 10000"/>
                <a:gd name="connsiteY47" fmla="*/ 6036 h 10411"/>
                <a:gd name="connsiteX48" fmla="*/ 868 w 10000"/>
                <a:gd name="connsiteY48" fmla="*/ 6244 h 10411"/>
                <a:gd name="connsiteX49" fmla="*/ 214 w 10000"/>
                <a:gd name="connsiteY49" fmla="*/ 5619 h 10411"/>
                <a:gd name="connsiteX50" fmla="*/ 654 w 10000"/>
                <a:gd name="connsiteY50" fmla="*/ 5619 h 10411"/>
                <a:gd name="connsiteX51" fmla="*/ 654 w 10000"/>
                <a:gd name="connsiteY51" fmla="*/ 5411 h 10411"/>
                <a:gd name="connsiteX52" fmla="*/ 440 w 10000"/>
                <a:gd name="connsiteY52" fmla="*/ 5411 h 10411"/>
                <a:gd name="connsiteX53" fmla="*/ 0 w 10000"/>
                <a:gd name="connsiteY53" fmla="*/ 5216 h 10411"/>
                <a:gd name="connsiteX54" fmla="*/ 214 w 10000"/>
                <a:gd name="connsiteY54" fmla="*/ 4994 h 10411"/>
                <a:gd name="connsiteX55" fmla="*/ 868 w 10000"/>
                <a:gd name="connsiteY55" fmla="*/ 4994 h 10411"/>
                <a:gd name="connsiteX56" fmla="*/ 868 w 10000"/>
                <a:gd name="connsiteY56" fmla="*/ 4786 h 10411"/>
                <a:gd name="connsiteX57" fmla="*/ 868 w 10000"/>
                <a:gd name="connsiteY57" fmla="*/ 4369 h 10411"/>
                <a:gd name="connsiteX58" fmla="*/ 654 w 10000"/>
                <a:gd name="connsiteY58" fmla="*/ 4369 h 10411"/>
                <a:gd name="connsiteX59" fmla="*/ 654 w 10000"/>
                <a:gd name="connsiteY59" fmla="*/ 4161 h 10411"/>
                <a:gd name="connsiteX60" fmla="*/ 440 w 10000"/>
                <a:gd name="connsiteY60" fmla="*/ 4161 h 10411"/>
                <a:gd name="connsiteX61" fmla="*/ 440 w 10000"/>
                <a:gd name="connsiteY61" fmla="*/ 3744 h 10411"/>
                <a:gd name="connsiteX62" fmla="*/ 654 w 10000"/>
                <a:gd name="connsiteY62" fmla="*/ 3536 h 10411"/>
                <a:gd name="connsiteX63" fmla="*/ 868 w 10000"/>
                <a:gd name="connsiteY63" fmla="*/ 3744 h 10411"/>
                <a:gd name="connsiteX64" fmla="*/ 1308 w 10000"/>
                <a:gd name="connsiteY64" fmla="*/ 3536 h 10411"/>
                <a:gd name="connsiteX65" fmla="*/ 2390 w 10000"/>
                <a:gd name="connsiteY65" fmla="*/ 2286 h 10411"/>
                <a:gd name="connsiteX66" fmla="*/ 2176 w 10000"/>
                <a:gd name="connsiteY66" fmla="*/ 2091 h 10411"/>
                <a:gd name="connsiteX67" fmla="*/ 2390 w 10000"/>
                <a:gd name="connsiteY67" fmla="*/ 2091 h 10411"/>
                <a:gd name="connsiteX68" fmla="*/ 2390 w 10000"/>
                <a:gd name="connsiteY68" fmla="*/ 1869 h 10411"/>
                <a:gd name="connsiteX69" fmla="*/ 1962 w 10000"/>
                <a:gd name="connsiteY69" fmla="*/ 1661 h 10411"/>
                <a:gd name="connsiteX70" fmla="*/ 2176 w 10000"/>
                <a:gd name="connsiteY70" fmla="*/ 1244 h 10411"/>
                <a:gd name="connsiteX71" fmla="*/ 1962 w 10000"/>
                <a:gd name="connsiteY71" fmla="*/ 1036 h 10411"/>
                <a:gd name="connsiteX72" fmla="*/ 2176 w 10000"/>
                <a:gd name="connsiteY72" fmla="*/ 841 h 10411"/>
                <a:gd name="connsiteX73" fmla="*/ 2293 w 10000"/>
                <a:gd name="connsiteY73" fmla="*/ 0 h 10411"/>
                <a:gd name="connsiteX74" fmla="*/ 2850 w 10000"/>
                <a:gd name="connsiteY74" fmla="*/ 302 h 10411"/>
                <a:gd name="connsiteX75" fmla="*/ 3258 w 10000"/>
                <a:gd name="connsiteY75" fmla="*/ 619 h 10411"/>
                <a:gd name="connsiteX76" fmla="*/ 3912 w 10000"/>
                <a:gd name="connsiteY76" fmla="*/ 411 h 10411"/>
                <a:gd name="connsiteX77" fmla="*/ 4126 w 10000"/>
                <a:gd name="connsiteY77" fmla="*/ 619 h 10411"/>
                <a:gd name="connsiteX78" fmla="*/ 4126 w 10000"/>
                <a:gd name="connsiteY78" fmla="*/ 1036 h 10411"/>
                <a:gd name="connsiteX79" fmla="*/ 3698 w 10000"/>
                <a:gd name="connsiteY79" fmla="*/ 1466 h 10411"/>
                <a:gd name="connsiteX80" fmla="*/ 3912 w 10000"/>
                <a:gd name="connsiteY80" fmla="*/ 1869 h 10411"/>
                <a:gd name="connsiteX81" fmla="*/ 3484 w 10000"/>
                <a:gd name="connsiteY81" fmla="*/ 1869 h 10411"/>
                <a:gd name="connsiteX82" fmla="*/ 3698 w 10000"/>
                <a:gd name="connsiteY82" fmla="*/ 2494 h 10411"/>
                <a:gd name="connsiteX83" fmla="*/ 4352 w 10000"/>
                <a:gd name="connsiteY83" fmla="*/ 2716 h 10411"/>
                <a:gd name="connsiteX84" fmla="*/ 4126 w 10000"/>
                <a:gd name="connsiteY84" fmla="*/ 3341 h 10411"/>
                <a:gd name="connsiteX85" fmla="*/ 4566 w 10000"/>
                <a:gd name="connsiteY85" fmla="*/ 3536 h 10411"/>
                <a:gd name="connsiteX86" fmla="*/ 6516 w 10000"/>
                <a:gd name="connsiteY86" fmla="*/ 4161 h 10411"/>
                <a:gd name="connsiteX87" fmla="*/ 6742 w 10000"/>
                <a:gd name="connsiteY87" fmla="*/ 4161 h 10411"/>
                <a:gd name="connsiteX88" fmla="*/ 6742 w 10000"/>
                <a:gd name="connsiteY88" fmla="*/ 3966 h 10411"/>
                <a:gd name="connsiteX89" fmla="*/ 6742 w 10000"/>
                <a:gd name="connsiteY89" fmla="*/ 3536 h 10411"/>
                <a:gd name="connsiteX90" fmla="*/ 6956 w 10000"/>
                <a:gd name="connsiteY90" fmla="*/ 3536 h 10411"/>
                <a:gd name="connsiteX91" fmla="*/ 7170 w 10000"/>
                <a:gd name="connsiteY91" fmla="*/ 3744 h 10411"/>
                <a:gd name="connsiteX92" fmla="*/ 7170 w 10000"/>
                <a:gd name="connsiteY92" fmla="*/ 3966 h 10411"/>
                <a:gd name="connsiteX93" fmla="*/ 8038 w 10000"/>
                <a:gd name="connsiteY93" fmla="*/ 3966 h 10411"/>
                <a:gd name="connsiteX94" fmla="*/ 8264 w 10000"/>
                <a:gd name="connsiteY94" fmla="*/ 3966 h 10411"/>
                <a:gd name="connsiteX95" fmla="*/ 8038 w 10000"/>
                <a:gd name="connsiteY95" fmla="*/ 3536 h 10411"/>
                <a:gd name="connsiteX96" fmla="*/ 9132 w 10000"/>
                <a:gd name="connsiteY96" fmla="*/ 3119 h 10411"/>
                <a:gd name="connsiteX0" fmla="*/ 9132 w 10000"/>
                <a:gd name="connsiteY0" fmla="*/ 3119 h 10411"/>
                <a:gd name="connsiteX1" fmla="*/ 9132 w 10000"/>
                <a:gd name="connsiteY1" fmla="*/ 3119 h 10411"/>
                <a:gd name="connsiteX2" fmla="*/ 9560 w 10000"/>
                <a:gd name="connsiteY2" fmla="*/ 3119 h 10411"/>
                <a:gd name="connsiteX3" fmla="*/ 10000 w 10000"/>
                <a:gd name="connsiteY3" fmla="*/ 3536 h 10411"/>
                <a:gd name="connsiteX4" fmla="*/ 10000 w 10000"/>
                <a:gd name="connsiteY4" fmla="*/ 3966 h 10411"/>
                <a:gd name="connsiteX5" fmla="*/ 9560 w 10000"/>
                <a:gd name="connsiteY5" fmla="*/ 3966 h 10411"/>
                <a:gd name="connsiteX6" fmla="*/ 9346 w 10000"/>
                <a:gd name="connsiteY6" fmla="*/ 4161 h 10411"/>
                <a:gd name="connsiteX7" fmla="*/ 8918 w 10000"/>
                <a:gd name="connsiteY7" fmla="*/ 4994 h 10411"/>
                <a:gd name="connsiteX8" fmla="*/ 8692 w 10000"/>
                <a:gd name="connsiteY8" fmla="*/ 5216 h 10411"/>
                <a:gd name="connsiteX9" fmla="*/ 8478 w 10000"/>
                <a:gd name="connsiteY9" fmla="*/ 5619 h 10411"/>
                <a:gd name="connsiteX10" fmla="*/ 8478 w 10000"/>
                <a:gd name="connsiteY10" fmla="*/ 5841 h 10411"/>
                <a:gd name="connsiteX11" fmla="*/ 8264 w 10000"/>
                <a:gd name="connsiteY11" fmla="*/ 5216 h 10411"/>
                <a:gd name="connsiteX12" fmla="*/ 8264 w 10000"/>
                <a:gd name="connsiteY12" fmla="*/ 4994 h 10411"/>
                <a:gd name="connsiteX13" fmla="*/ 8038 w 10000"/>
                <a:gd name="connsiteY13" fmla="*/ 5216 h 10411"/>
                <a:gd name="connsiteX14" fmla="*/ 7824 w 10000"/>
                <a:gd name="connsiteY14" fmla="*/ 5216 h 10411"/>
                <a:gd name="connsiteX15" fmla="*/ 7824 w 10000"/>
                <a:gd name="connsiteY15" fmla="*/ 4994 h 10411"/>
                <a:gd name="connsiteX16" fmla="*/ 8264 w 10000"/>
                <a:gd name="connsiteY16" fmla="*/ 4591 h 10411"/>
                <a:gd name="connsiteX17" fmla="*/ 7396 w 10000"/>
                <a:gd name="connsiteY17" fmla="*/ 4591 h 10411"/>
                <a:gd name="connsiteX18" fmla="*/ 7396 w 10000"/>
                <a:gd name="connsiteY18" fmla="*/ 4161 h 10411"/>
                <a:gd name="connsiteX19" fmla="*/ 7170 w 10000"/>
                <a:gd name="connsiteY19" fmla="*/ 4161 h 10411"/>
                <a:gd name="connsiteX20" fmla="*/ 6956 w 10000"/>
                <a:gd name="connsiteY20" fmla="*/ 4161 h 10411"/>
                <a:gd name="connsiteX21" fmla="*/ 6956 w 10000"/>
                <a:gd name="connsiteY21" fmla="*/ 4369 h 10411"/>
                <a:gd name="connsiteX22" fmla="*/ 6742 w 10000"/>
                <a:gd name="connsiteY22" fmla="*/ 4786 h 10411"/>
                <a:gd name="connsiteX23" fmla="*/ 6956 w 10000"/>
                <a:gd name="connsiteY23" fmla="*/ 4786 h 10411"/>
                <a:gd name="connsiteX24" fmla="*/ 7170 w 10000"/>
                <a:gd name="connsiteY24" fmla="*/ 5841 h 10411"/>
                <a:gd name="connsiteX25" fmla="*/ 6956 w 10000"/>
                <a:gd name="connsiteY25" fmla="*/ 5841 h 10411"/>
                <a:gd name="connsiteX26" fmla="*/ 6956 w 10000"/>
                <a:gd name="connsiteY26" fmla="*/ 5619 h 10411"/>
                <a:gd name="connsiteX27" fmla="*/ 6516 w 10000"/>
                <a:gd name="connsiteY27" fmla="*/ 5841 h 10411"/>
                <a:gd name="connsiteX28" fmla="*/ 6302 w 10000"/>
                <a:gd name="connsiteY28" fmla="*/ 6466 h 10411"/>
                <a:gd name="connsiteX29" fmla="*/ 5874 w 10000"/>
                <a:gd name="connsiteY29" fmla="*/ 6661 h 10411"/>
                <a:gd name="connsiteX30" fmla="*/ 4780 w 10000"/>
                <a:gd name="connsiteY30" fmla="*/ 7494 h 10411"/>
                <a:gd name="connsiteX31" fmla="*/ 4780 w 10000"/>
                <a:gd name="connsiteY31" fmla="*/ 7716 h 10411"/>
                <a:gd name="connsiteX32" fmla="*/ 4566 w 10000"/>
                <a:gd name="connsiteY32" fmla="*/ 7716 h 10411"/>
                <a:gd name="connsiteX33" fmla="*/ 4352 w 10000"/>
                <a:gd name="connsiteY33" fmla="*/ 7911 h 10411"/>
                <a:gd name="connsiteX34" fmla="*/ 4126 w 10000"/>
                <a:gd name="connsiteY34" fmla="*/ 7911 h 10411"/>
                <a:gd name="connsiteX35" fmla="*/ 4126 w 10000"/>
                <a:gd name="connsiteY35" fmla="*/ 8106 h 10411"/>
                <a:gd name="connsiteX36" fmla="*/ 4126 w 10000"/>
                <a:gd name="connsiteY36" fmla="*/ 8731 h 10411"/>
                <a:gd name="connsiteX37" fmla="*/ 3912 w 10000"/>
                <a:gd name="connsiteY37" fmla="*/ 9161 h 10411"/>
                <a:gd name="connsiteX38" fmla="*/ 3912 w 10000"/>
                <a:gd name="connsiteY38" fmla="*/ 9786 h 10411"/>
                <a:gd name="connsiteX39" fmla="*/ 3698 w 10000"/>
                <a:gd name="connsiteY39" fmla="*/ 9981 h 10411"/>
                <a:gd name="connsiteX40" fmla="*/ 3484 w 10000"/>
                <a:gd name="connsiteY40" fmla="*/ 10216 h 10411"/>
                <a:gd name="connsiteX41" fmla="*/ 3258 w 10000"/>
                <a:gd name="connsiteY41" fmla="*/ 10411 h 10411"/>
                <a:gd name="connsiteX42" fmla="*/ 2830 w 10000"/>
                <a:gd name="connsiteY42" fmla="*/ 10216 h 10411"/>
                <a:gd name="connsiteX43" fmla="*/ 2176 w 10000"/>
                <a:gd name="connsiteY43" fmla="*/ 8341 h 10411"/>
                <a:gd name="connsiteX44" fmla="*/ 1736 w 10000"/>
                <a:gd name="connsiteY44" fmla="*/ 7716 h 10411"/>
                <a:gd name="connsiteX45" fmla="*/ 1522 w 10000"/>
                <a:gd name="connsiteY45" fmla="*/ 6466 h 10411"/>
                <a:gd name="connsiteX46" fmla="*/ 1522 w 10000"/>
                <a:gd name="connsiteY46" fmla="*/ 5619 h 10411"/>
                <a:gd name="connsiteX47" fmla="*/ 1308 w 10000"/>
                <a:gd name="connsiteY47" fmla="*/ 6036 h 10411"/>
                <a:gd name="connsiteX48" fmla="*/ 868 w 10000"/>
                <a:gd name="connsiteY48" fmla="*/ 6244 h 10411"/>
                <a:gd name="connsiteX49" fmla="*/ 214 w 10000"/>
                <a:gd name="connsiteY49" fmla="*/ 5619 h 10411"/>
                <a:gd name="connsiteX50" fmla="*/ 654 w 10000"/>
                <a:gd name="connsiteY50" fmla="*/ 5619 h 10411"/>
                <a:gd name="connsiteX51" fmla="*/ 654 w 10000"/>
                <a:gd name="connsiteY51" fmla="*/ 5411 h 10411"/>
                <a:gd name="connsiteX52" fmla="*/ 440 w 10000"/>
                <a:gd name="connsiteY52" fmla="*/ 5411 h 10411"/>
                <a:gd name="connsiteX53" fmla="*/ 0 w 10000"/>
                <a:gd name="connsiteY53" fmla="*/ 5216 h 10411"/>
                <a:gd name="connsiteX54" fmla="*/ 214 w 10000"/>
                <a:gd name="connsiteY54" fmla="*/ 4994 h 10411"/>
                <a:gd name="connsiteX55" fmla="*/ 868 w 10000"/>
                <a:gd name="connsiteY55" fmla="*/ 4994 h 10411"/>
                <a:gd name="connsiteX56" fmla="*/ 868 w 10000"/>
                <a:gd name="connsiteY56" fmla="*/ 4786 h 10411"/>
                <a:gd name="connsiteX57" fmla="*/ 868 w 10000"/>
                <a:gd name="connsiteY57" fmla="*/ 4369 h 10411"/>
                <a:gd name="connsiteX58" fmla="*/ 654 w 10000"/>
                <a:gd name="connsiteY58" fmla="*/ 4369 h 10411"/>
                <a:gd name="connsiteX59" fmla="*/ 654 w 10000"/>
                <a:gd name="connsiteY59" fmla="*/ 4161 h 10411"/>
                <a:gd name="connsiteX60" fmla="*/ 440 w 10000"/>
                <a:gd name="connsiteY60" fmla="*/ 4161 h 10411"/>
                <a:gd name="connsiteX61" fmla="*/ 440 w 10000"/>
                <a:gd name="connsiteY61" fmla="*/ 3744 h 10411"/>
                <a:gd name="connsiteX62" fmla="*/ 654 w 10000"/>
                <a:gd name="connsiteY62" fmla="*/ 3536 h 10411"/>
                <a:gd name="connsiteX63" fmla="*/ 868 w 10000"/>
                <a:gd name="connsiteY63" fmla="*/ 3744 h 10411"/>
                <a:gd name="connsiteX64" fmla="*/ 1308 w 10000"/>
                <a:gd name="connsiteY64" fmla="*/ 3536 h 10411"/>
                <a:gd name="connsiteX65" fmla="*/ 2390 w 10000"/>
                <a:gd name="connsiteY65" fmla="*/ 2286 h 10411"/>
                <a:gd name="connsiteX66" fmla="*/ 2176 w 10000"/>
                <a:gd name="connsiteY66" fmla="*/ 2091 h 10411"/>
                <a:gd name="connsiteX67" fmla="*/ 2390 w 10000"/>
                <a:gd name="connsiteY67" fmla="*/ 2091 h 10411"/>
                <a:gd name="connsiteX68" fmla="*/ 2390 w 10000"/>
                <a:gd name="connsiteY68" fmla="*/ 1869 h 10411"/>
                <a:gd name="connsiteX69" fmla="*/ 1962 w 10000"/>
                <a:gd name="connsiteY69" fmla="*/ 1661 h 10411"/>
                <a:gd name="connsiteX70" fmla="*/ 2176 w 10000"/>
                <a:gd name="connsiteY70" fmla="*/ 1244 h 10411"/>
                <a:gd name="connsiteX71" fmla="*/ 1962 w 10000"/>
                <a:gd name="connsiteY71" fmla="*/ 1036 h 10411"/>
                <a:gd name="connsiteX72" fmla="*/ 2176 w 10000"/>
                <a:gd name="connsiteY72" fmla="*/ 634 h 10411"/>
                <a:gd name="connsiteX73" fmla="*/ 2293 w 10000"/>
                <a:gd name="connsiteY73" fmla="*/ 0 h 10411"/>
                <a:gd name="connsiteX74" fmla="*/ 2850 w 10000"/>
                <a:gd name="connsiteY74" fmla="*/ 302 h 10411"/>
                <a:gd name="connsiteX75" fmla="*/ 3258 w 10000"/>
                <a:gd name="connsiteY75" fmla="*/ 619 h 10411"/>
                <a:gd name="connsiteX76" fmla="*/ 3912 w 10000"/>
                <a:gd name="connsiteY76" fmla="*/ 411 h 10411"/>
                <a:gd name="connsiteX77" fmla="*/ 4126 w 10000"/>
                <a:gd name="connsiteY77" fmla="*/ 619 h 10411"/>
                <a:gd name="connsiteX78" fmla="*/ 4126 w 10000"/>
                <a:gd name="connsiteY78" fmla="*/ 1036 h 10411"/>
                <a:gd name="connsiteX79" fmla="*/ 3698 w 10000"/>
                <a:gd name="connsiteY79" fmla="*/ 1466 h 10411"/>
                <a:gd name="connsiteX80" fmla="*/ 3912 w 10000"/>
                <a:gd name="connsiteY80" fmla="*/ 1869 h 10411"/>
                <a:gd name="connsiteX81" fmla="*/ 3484 w 10000"/>
                <a:gd name="connsiteY81" fmla="*/ 1869 h 10411"/>
                <a:gd name="connsiteX82" fmla="*/ 3698 w 10000"/>
                <a:gd name="connsiteY82" fmla="*/ 2494 h 10411"/>
                <a:gd name="connsiteX83" fmla="*/ 4352 w 10000"/>
                <a:gd name="connsiteY83" fmla="*/ 2716 h 10411"/>
                <a:gd name="connsiteX84" fmla="*/ 4126 w 10000"/>
                <a:gd name="connsiteY84" fmla="*/ 3341 h 10411"/>
                <a:gd name="connsiteX85" fmla="*/ 4566 w 10000"/>
                <a:gd name="connsiteY85" fmla="*/ 3536 h 10411"/>
                <a:gd name="connsiteX86" fmla="*/ 6516 w 10000"/>
                <a:gd name="connsiteY86" fmla="*/ 4161 h 10411"/>
                <a:gd name="connsiteX87" fmla="*/ 6742 w 10000"/>
                <a:gd name="connsiteY87" fmla="*/ 4161 h 10411"/>
                <a:gd name="connsiteX88" fmla="*/ 6742 w 10000"/>
                <a:gd name="connsiteY88" fmla="*/ 3966 h 10411"/>
                <a:gd name="connsiteX89" fmla="*/ 6742 w 10000"/>
                <a:gd name="connsiteY89" fmla="*/ 3536 h 10411"/>
                <a:gd name="connsiteX90" fmla="*/ 6956 w 10000"/>
                <a:gd name="connsiteY90" fmla="*/ 3536 h 10411"/>
                <a:gd name="connsiteX91" fmla="*/ 7170 w 10000"/>
                <a:gd name="connsiteY91" fmla="*/ 3744 h 10411"/>
                <a:gd name="connsiteX92" fmla="*/ 7170 w 10000"/>
                <a:gd name="connsiteY92" fmla="*/ 3966 h 10411"/>
                <a:gd name="connsiteX93" fmla="*/ 8038 w 10000"/>
                <a:gd name="connsiteY93" fmla="*/ 3966 h 10411"/>
                <a:gd name="connsiteX94" fmla="*/ 8264 w 10000"/>
                <a:gd name="connsiteY94" fmla="*/ 3966 h 10411"/>
                <a:gd name="connsiteX95" fmla="*/ 8038 w 10000"/>
                <a:gd name="connsiteY95" fmla="*/ 3536 h 10411"/>
                <a:gd name="connsiteX96" fmla="*/ 9132 w 10000"/>
                <a:gd name="connsiteY96" fmla="*/ 3119 h 10411"/>
                <a:gd name="connsiteX0" fmla="*/ 9132 w 10000"/>
                <a:gd name="connsiteY0" fmla="*/ 3119 h 10411"/>
                <a:gd name="connsiteX1" fmla="*/ 9132 w 10000"/>
                <a:gd name="connsiteY1" fmla="*/ 3119 h 10411"/>
                <a:gd name="connsiteX2" fmla="*/ 9560 w 10000"/>
                <a:gd name="connsiteY2" fmla="*/ 3119 h 10411"/>
                <a:gd name="connsiteX3" fmla="*/ 10000 w 10000"/>
                <a:gd name="connsiteY3" fmla="*/ 3536 h 10411"/>
                <a:gd name="connsiteX4" fmla="*/ 10000 w 10000"/>
                <a:gd name="connsiteY4" fmla="*/ 3966 h 10411"/>
                <a:gd name="connsiteX5" fmla="*/ 9560 w 10000"/>
                <a:gd name="connsiteY5" fmla="*/ 3966 h 10411"/>
                <a:gd name="connsiteX6" fmla="*/ 9346 w 10000"/>
                <a:gd name="connsiteY6" fmla="*/ 4161 h 10411"/>
                <a:gd name="connsiteX7" fmla="*/ 8918 w 10000"/>
                <a:gd name="connsiteY7" fmla="*/ 4994 h 10411"/>
                <a:gd name="connsiteX8" fmla="*/ 8692 w 10000"/>
                <a:gd name="connsiteY8" fmla="*/ 5216 h 10411"/>
                <a:gd name="connsiteX9" fmla="*/ 8478 w 10000"/>
                <a:gd name="connsiteY9" fmla="*/ 5619 h 10411"/>
                <a:gd name="connsiteX10" fmla="*/ 8478 w 10000"/>
                <a:gd name="connsiteY10" fmla="*/ 5841 h 10411"/>
                <a:gd name="connsiteX11" fmla="*/ 8264 w 10000"/>
                <a:gd name="connsiteY11" fmla="*/ 5216 h 10411"/>
                <a:gd name="connsiteX12" fmla="*/ 8264 w 10000"/>
                <a:gd name="connsiteY12" fmla="*/ 4994 h 10411"/>
                <a:gd name="connsiteX13" fmla="*/ 8038 w 10000"/>
                <a:gd name="connsiteY13" fmla="*/ 5216 h 10411"/>
                <a:gd name="connsiteX14" fmla="*/ 7824 w 10000"/>
                <a:gd name="connsiteY14" fmla="*/ 5216 h 10411"/>
                <a:gd name="connsiteX15" fmla="*/ 7824 w 10000"/>
                <a:gd name="connsiteY15" fmla="*/ 4994 h 10411"/>
                <a:gd name="connsiteX16" fmla="*/ 8264 w 10000"/>
                <a:gd name="connsiteY16" fmla="*/ 4591 h 10411"/>
                <a:gd name="connsiteX17" fmla="*/ 7396 w 10000"/>
                <a:gd name="connsiteY17" fmla="*/ 4591 h 10411"/>
                <a:gd name="connsiteX18" fmla="*/ 7396 w 10000"/>
                <a:gd name="connsiteY18" fmla="*/ 4161 h 10411"/>
                <a:gd name="connsiteX19" fmla="*/ 7170 w 10000"/>
                <a:gd name="connsiteY19" fmla="*/ 4161 h 10411"/>
                <a:gd name="connsiteX20" fmla="*/ 6956 w 10000"/>
                <a:gd name="connsiteY20" fmla="*/ 4161 h 10411"/>
                <a:gd name="connsiteX21" fmla="*/ 6956 w 10000"/>
                <a:gd name="connsiteY21" fmla="*/ 4369 h 10411"/>
                <a:gd name="connsiteX22" fmla="*/ 6742 w 10000"/>
                <a:gd name="connsiteY22" fmla="*/ 4786 h 10411"/>
                <a:gd name="connsiteX23" fmla="*/ 6956 w 10000"/>
                <a:gd name="connsiteY23" fmla="*/ 4786 h 10411"/>
                <a:gd name="connsiteX24" fmla="*/ 7170 w 10000"/>
                <a:gd name="connsiteY24" fmla="*/ 5841 h 10411"/>
                <a:gd name="connsiteX25" fmla="*/ 6956 w 10000"/>
                <a:gd name="connsiteY25" fmla="*/ 5841 h 10411"/>
                <a:gd name="connsiteX26" fmla="*/ 6956 w 10000"/>
                <a:gd name="connsiteY26" fmla="*/ 5619 h 10411"/>
                <a:gd name="connsiteX27" fmla="*/ 6516 w 10000"/>
                <a:gd name="connsiteY27" fmla="*/ 5841 h 10411"/>
                <a:gd name="connsiteX28" fmla="*/ 6302 w 10000"/>
                <a:gd name="connsiteY28" fmla="*/ 6466 h 10411"/>
                <a:gd name="connsiteX29" fmla="*/ 5874 w 10000"/>
                <a:gd name="connsiteY29" fmla="*/ 6661 h 10411"/>
                <a:gd name="connsiteX30" fmla="*/ 4780 w 10000"/>
                <a:gd name="connsiteY30" fmla="*/ 7494 h 10411"/>
                <a:gd name="connsiteX31" fmla="*/ 4780 w 10000"/>
                <a:gd name="connsiteY31" fmla="*/ 7716 h 10411"/>
                <a:gd name="connsiteX32" fmla="*/ 4566 w 10000"/>
                <a:gd name="connsiteY32" fmla="*/ 7716 h 10411"/>
                <a:gd name="connsiteX33" fmla="*/ 4352 w 10000"/>
                <a:gd name="connsiteY33" fmla="*/ 7911 h 10411"/>
                <a:gd name="connsiteX34" fmla="*/ 4126 w 10000"/>
                <a:gd name="connsiteY34" fmla="*/ 7911 h 10411"/>
                <a:gd name="connsiteX35" fmla="*/ 4126 w 10000"/>
                <a:gd name="connsiteY35" fmla="*/ 8106 h 10411"/>
                <a:gd name="connsiteX36" fmla="*/ 4126 w 10000"/>
                <a:gd name="connsiteY36" fmla="*/ 8731 h 10411"/>
                <a:gd name="connsiteX37" fmla="*/ 3912 w 10000"/>
                <a:gd name="connsiteY37" fmla="*/ 9161 h 10411"/>
                <a:gd name="connsiteX38" fmla="*/ 3912 w 10000"/>
                <a:gd name="connsiteY38" fmla="*/ 9786 h 10411"/>
                <a:gd name="connsiteX39" fmla="*/ 3698 w 10000"/>
                <a:gd name="connsiteY39" fmla="*/ 9981 h 10411"/>
                <a:gd name="connsiteX40" fmla="*/ 3484 w 10000"/>
                <a:gd name="connsiteY40" fmla="*/ 10216 h 10411"/>
                <a:gd name="connsiteX41" fmla="*/ 3258 w 10000"/>
                <a:gd name="connsiteY41" fmla="*/ 10411 h 10411"/>
                <a:gd name="connsiteX42" fmla="*/ 2830 w 10000"/>
                <a:gd name="connsiteY42" fmla="*/ 10216 h 10411"/>
                <a:gd name="connsiteX43" fmla="*/ 2176 w 10000"/>
                <a:gd name="connsiteY43" fmla="*/ 8341 h 10411"/>
                <a:gd name="connsiteX44" fmla="*/ 1736 w 10000"/>
                <a:gd name="connsiteY44" fmla="*/ 7716 h 10411"/>
                <a:gd name="connsiteX45" fmla="*/ 1522 w 10000"/>
                <a:gd name="connsiteY45" fmla="*/ 6466 h 10411"/>
                <a:gd name="connsiteX46" fmla="*/ 1522 w 10000"/>
                <a:gd name="connsiteY46" fmla="*/ 5619 h 10411"/>
                <a:gd name="connsiteX47" fmla="*/ 1308 w 10000"/>
                <a:gd name="connsiteY47" fmla="*/ 6036 h 10411"/>
                <a:gd name="connsiteX48" fmla="*/ 868 w 10000"/>
                <a:gd name="connsiteY48" fmla="*/ 6244 h 10411"/>
                <a:gd name="connsiteX49" fmla="*/ 214 w 10000"/>
                <a:gd name="connsiteY49" fmla="*/ 5619 h 10411"/>
                <a:gd name="connsiteX50" fmla="*/ 654 w 10000"/>
                <a:gd name="connsiteY50" fmla="*/ 5619 h 10411"/>
                <a:gd name="connsiteX51" fmla="*/ 654 w 10000"/>
                <a:gd name="connsiteY51" fmla="*/ 5411 h 10411"/>
                <a:gd name="connsiteX52" fmla="*/ 440 w 10000"/>
                <a:gd name="connsiteY52" fmla="*/ 5411 h 10411"/>
                <a:gd name="connsiteX53" fmla="*/ 0 w 10000"/>
                <a:gd name="connsiteY53" fmla="*/ 5216 h 10411"/>
                <a:gd name="connsiteX54" fmla="*/ 214 w 10000"/>
                <a:gd name="connsiteY54" fmla="*/ 4994 h 10411"/>
                <a:gd name="connsiteX55" fmla="*/ 868 w 10000"/>
                <a:gd name="connsiteY55" fmla="*/ 4994 h 10411"/>
                <a:gd name="connsiteX56" fmla="*/ 868 w 10000"/>
                <a:gd name="connsiteY56" fmla="*/ 4786 h 10411"/>
                <a:gd name="connsiteX57" fmla="*/ 868 w 10000"/>
                <a:gd name="connsiteY57" fmla="*/ 4369 h 10411"/>
                <a:gd name="connsiteX58" fmla="*/ 654 w 10000"/>
                <a:gd name="connsiteY58" fmla="*/ 4369 h 10411"/>
                <a:gd name="connsiteX59" fmla="*/ 654 w 10000"/>
                <a:gd name="connsiteY59" fmla="*/ 4161 h 10411"/>
                <a:gd name="connsiteX60" fmla="*/ 440 w 10000"/>
                <a:gd name="connsiteY60" fmla="*/ 4161 h 10411"/>
                <a:gd name="connsiteX61" fmla="*/ 440 w 10000"/>
                <a:gd name="connsiteY61" fmla="*/ 3744 h 10411"/>
                <a:gd name="connsiteX62" fmla="*/ 654 w 10000"/>
                <a:gd name="connsiteY62" fmla="*/ 3536 h 10411"/>
                <a:gd name="connsiteX63" fmla="*/ 868 w 10000"/>
                <a:gd name="connsiteY63" fmla="*/ 3744 h 10411"/>
                <a:gd name="connsiteX64" fmla="*/ 1308 w 10000"/>
                <a:gd name="connsiteY64" fmla="*/ 3536 h 10411"/>
                <a:gd name="connsiteX65" fmla="*/ 2390 w 10000"/>
                <a:gd name="connsiteY65" fmla="*/ 2286 h 10411"/>
                <a:gd name="connsiteX66" fmla="*/ 2176 w 10000"/>
                <a:gd name="connsiteY66" fmla="*/ 2091 h 10411"/>
                <a:gd name="connsiteX67" fmla="*/ 2390 w 10000"/>
                <a:gd name="connsiteY67" fmla="*/ 2091 h 10411"/>
                <a:gd name="connsiteX68" fmla="*/ 2390 w 10000"/>
                <a:gd name="connsiteY68" fmla="*/ 1869 h 10411"/>
                <a:gd name="connsiteX69" fmla="*/ 1962 w 10000"/>
                <a:gd name="connsiteY69" fmla="*/ 1661 h 10411"/>
                <a:gd name="connsiteX70" fmla="*/ 2176 w 10000"/>
                <a:gd name="connsiteY70" fmla="*/ 1244 h 10411"/>
                <a:gd name="connsiteX71" fmla="*/ 1962 w 10000"/>
                <a:gd name="connsiteY71" fmla="*/ 1036 h 10411"/>
                <a:gd name="connsiteX72" fmla="*/ 2176 w 10000"/>
                <a:gd name="connsiteY72" fmla="*/ 634 h 10411"/>
                <a:gd name="connsiteX73" fmla="*/ 2293 w 10000"/>
                <a:gd name="connsiteY73" fmla="*/ 0 h 10411"/>
                <a:gd name="connsiteX74" fmla="*/ 2224 w 10000"/>
                <a:gd name="connsiteY74" fmla="*/ 301 h 10411"/>
                <a:gd name="connsiteX75" fmla="*/ 2850 w 10000"/>
                <a:gd name="connsiteY75" fmla="*/ 302 h 10411"/>
                <a:gd name="connsiteX76" fmla="*/ 3258 w 10000"/>
                <a:gd name="connsiteY76" fmla="*/ 619 h 10411"/>
                <a:gd name="connsiteX77" fmla="*/ 3912 w 10000"/>
                <a:gd name="connsiteY77" fmla="*/ 411 h 10411"/>
                <a:gd name="connsiteX78" fmla="*/ 4126 w 10000"/>
                <a:gd name="connsiteY78" fmla="*/ 619 h 10411"/>
                <a:gd name="connsiteX79" fmla="*/ 4126 w 10000"/>
                <a:gd name="connsiteY79" fmla="*/ 1036 h 10411"/>
                <a:gd name="connsiteX80" fmla="*/ 3698 w 10000"/>
                <a:gd name="connsiteY80" fmla="*/ 1466 h 10411"/>
                <a:gd name="connsiteX81" fmla="*/ 3912 w 10000"/>
                <a:gd name="connsiteY81" fmla="*/ 1869 h 10411"/>
                <a:gd name="connsiteX82" fmla="*/ 3484 w 10000"/>
                <a:gd name="connsiteY82" fmla="*/ 1869 h 10411"/>
                <a:gd name="connsiteX83" fmla="*/ 3698 w 10000"/>
                <a:gd name="connsiteY83" fmla="*/ 2494 h 10411"/>
                <a:gd name="connsiteX84" fmla="*/ 4352 w 10000"/>
                <a:gd name="connsiteY84" fmla="*/ 2716 h 10411"/>
                <a:gd name="connsiteX85" fmla="*/ 4126 w 10000"/>
                <a:gd name="connsiteY85" fmla="*/ 3341 h 10411"/>
                <a:gd name="connsiteX86" fmla="*/ 4566 w 10000"/>
                <a:gd name="connsiteY86" fmla="*/ 3536 h 10411"/>
                <a:gd name="connsiteX87" fmla="*/ 6516 w 10000"/>
                <a:gd name="connsiteY87" fmla="*/ 4161 h 10411"/>
                <a:gd name="connsiteX88" fmla="*/ 6742 w 10000"/>
                <a:gd name="connsiteY88" fmla="*/ 4161 h 10411"/>
                <a:gd name="connsiteX89" fmla="*/ 6742 w 10000"/>
                <a:gd name="connsiteY89" fmla="*/ 3966 h 10411"/>
                <a:gd name="connsiteX90" fmla="*/ 6742 w 10000"/>
                <a:gd name="connsiteY90" fmla="*/ 3536 h 10411"/>
                <a:gd name="connsiteX91" fmla="*/ 6956 w 10000"/>
                <a:gd name="connsiteY91" fmla="*/ 3536 h 10411"/>
                <a:gd name="connsiteX92" fmla="*/ 7170 w 10000"/>
                <a:gd name="connsiteY92" fmla="*/ 3744 h 10411"/>
                <a:gd name="connsiteX93" fmla="*/ 7170 w 10000"/>
                <a:gd name="connsiteY93" fmla="*/ 3966 h 10411"/>
                <a:gd name="connsiteX94" fmla="*/ 8038 w 10000"/>
                <a:gd name="connsiteY94" fmla="*/ 3966 h 10411"/>
                <a:gd name="connsiteX95" fmla="*/ 8264 w 10000"/>
                <a:gd name="connsiteY95" fmla="*/ 3966 h 10411"/>
                <a:gd name="connsiteX96" fmla="*/ 8038 w 10000"/>
                <a:gd name="connsiteY96" fmla="*/ 3536 h 10411"/>
                <a:gd name="connsiteX97" fmla="*/ 9132 w 10000"/>
                <a:gd name="connsiteY97" fmla="*/ 3119 h 10411"/>
                <a:gd name="connsiteX0" fmla="*/ 9132 w 10000"/>
                <a:gd name="connsiteY0" fmla="*/ 3119 h 10411"/>
                <a:gd name="connsiteX1" fmla="*/ 9132 w 10000"/>
                <a:gd name="connsiteY1" fmla="*/ 3119 h 10411"/>
                <a:gd name="connsiteX2" fmla="*/ 9560 w 10000"/>
                <a:gd name="connsiteY2" fmla="*/ 3119 h 10411"/>
                <a:gd name="connsiteX3" fmla="*/ 10000 w 10000"/>
                <a:gd name="connsiteY3" fmla="*/ 3536 h 10411"/>
                <a:gd name="connsiteX4" fmla="*/ 10000 w 10000"/>
                <a:gd name="connsiteY4" fmla="*/ 3966 h 10411"/>
                <a:gd name="connsiteX5" fmla="*/ 9560 w 10000"/>
                <a:gd name="connsiteY5" fmla="*/ 3966 h 10411"/>
                <a:gd name="connsiteX6" fmla="*/ 9346 w 10000"/>
                <a:gd name="connsiteY6" fmla="*/ 4161 h 10411"/>
                <a:gd name="connsiteX7" fmla="*/ 8918 w 10000"/>
                <a:gd name="connsiteY7" fmla="*/ 4994 h 10411"/>
                <a:gd name="connsiteX8" fmla="*/ 8692 w 10000"/>
                <a:gd name="connsiteY8" fmla="*/ 5216 h 10411"/>
                <a:gd name="connsiteX9" fmla="*/ 8478 w 10000"/>
                <a:gd name="connsiteY9" fmla="*/ 5619 h 10411"/>
                <a:gd name="connsiteX10" fmla="*/ 8478 w 10000"/>
                <a:gd name="connsiteY10" fmla="*/ 5841 h 10411"/>
                <a:gd name="connsiteX11" fmla="*/ 8264 w 10000"/>
                <a:gd name="connsiteY11" fmla="*/ 5216 h 10411"/>
                <a:gd name="connsiteX12" fmla="*/ 8264 w 10000"/>
                <a:gd name="connsiteY12" fmla="*/ 4994 h 10411"/>
                <a:gd name="connsiteX13" fmla="*/ 8038 w 10000"/>
                <a:gd name="connsiteY13" fmla="*/ 5216 h 10411"/>
                <a:gd name="connsiteX14" fmla="*/ 7824 w 10000"/>
                <a:gd name="connsiteY14" fmla="*/ 5216 h 10411"/>
                <a:gd name="connsiteX15" fmla="*/ 7824 w 10000"/>
                <a:gd name="connsiteY15" fmla="*/ 4994 h 10411"/>
                <a:gd name="connsiteX16" fmla="*/ 8264 w 10000"/>
                <a:gd name="connsiteY16" fmla="*/ 4591 h 10411"/>
                <a:gd name="connsiteX17" fmla="*/ 7396 w 10000"/>
                <a:gd name="connsiteY17" fmla="*/ 4591 h 10411"/>
                <a:gd name="connsiteX18" fmla="*/ 7396 w 10000"/>
                <a:gd name="connsiteY18" fmla="*/ 4161 h 10411"/>
                <a:gd name="connsiteX19" fmla="*/ 7170 w 10000"/>
                <a:gd name="connsiteY19" fmla="*/ 4161 h 10411"/>
                <a:gd name="connsiteX20" fmla="*/ 6956 w 10000"/>
                <a:gd name="connsiteY20" fmla="*/ 4161 h 10411"/>
                <a:gd name="connsiteX21" fmla="*/ 6956 w 10000"/>
                <a:gd name="connsiteY21" fmla="*/ 4369 h 10411"/>
                <a:gd name="connsiteX22" fmla="*/ 6742 w 10000"/>
                <a:gd name="connsiteY22" fmla="*/ 4786 h 10411"/>
                <a:gd name="connsiteX23" fmla="*/ 6956 w 10000"/>
                <a:gd name="connsiteY23" fmla="*/ 4786 h 10411"/>
                <a:gd name="connsiteX24" fmla="*/ 7170 w 10000"/>
                <a:gd name="connsiteY24" fmla="*/ 5841 h 10411"/>
                <a:gd name="connsiteX25" fmla="*/ 6956 w 10000"/>
                <a:gd name="connsiteY25" fmla="*/ 5841 h 10411"/>
                <a:gd name="connsiteX26" fmla="*/ 6956 w 10000"/>
                <a:gd name="connsiteY26" fmla="*/ 5619 h 10411"/>
                <a:gd name="connsiteX27" fmla="*/ 6516 w 10000"/>
                <a:gd name="connsiteY27" fmla="*/ 5841 h 10411"/>
                <a:gd name="connsiteX28" fmla="*/ 6302 w 10000"/>
                <a:gd name="connsiteY28" fmla="*/ 6466 h 10411"/>
                <a:gd name="connsiteX29" fmla="*/ 5874 w 10000"/>
                <a:gd name="connsiteY29" fmla="*/ 6661 h 10411"/>
                <a:gd name="connsiteX30" fmla="*/ 4780 w 10000"/>
                <a:gd name="connsiteY30" fmla="*/ 7494 h 10411"/>
                <a:gd name="connsiteX31" fmla="*/ 4780 w 10000"/>
                <a:gd name="connsiteY31" fmla="*/ 7716 h 10411"/>
                <a:gd name="connsiteX32" fmla="*/ 4566 w 10000"/>
                <a:gd name="connsiteY32" fmla="*/ 7716 h 10411"/>
                <a:gd name="connsiteX33" fmla="*/ 4352 w 10000"/>
                <a:gd name="connsiteY33" fmla="*/ 7911 h 10411"/>
                <a:gd name="connsiteX34" fmla="*/ 4126 w 10000"/>
                <a:gd name="connsiteY34" fmla="*/ 7911 h 10411"/>
                <a:gd name="connsiteX35" fmla="*/ 4126 w 10000"/>
                <a:gd name="connsiteY35" fmla="*/ 8106 h 10411"/>
                <a:gd name="connsiteX36" fmla="*/ 4126 w 10000"/>
                <a:gd name="connsiteY36" fmla="*/ 8731 h 10411"/>
                <a:gd name="connsiteX37" fmla="*/ 3912 w 10000"/>
                <a:gd name="connsiteY37" fmla="*/ 9161 h 10411"/>
                <a:gd name="connsiteX38" fmla="*/ 3912 w 10000"/>
                <a:gd name="connsiteY38" fmla="*/ 9786 h 10411"/>
                <a:gd name="connsiteX39" fmla="*/ 3698 w 10000"/>
                <a:gd name="connsiteY39" fmla="*/ 9981 h 10411"/>
                <a:gd name="connsiteX40" fmla="*/ 3484 w 10000"/>
                <a:gd name="connsiteY40" fmla="*/ 10216 h 10411"/>
                <a:gd name="connsiteX41" fmla="*/ 3258 w 10000"/>
                <a:gd name="connsiteY41" fmla="*/ 10411 h 10411"/>
                <a:gd name="connsiteX42" fmla="*/ 2830 w 10000"/>
                <a:gd name="connsiteY42" fmla="*/ 10216 h 10411"/>
                <a:gd name="connsiteX43" fmla="*/ 2176 w 10000"/>
                <a:gd name="connsiteY43" fmla="*/ 8341 h 10411"/>
                <a:gd name="connsiteX44" fmla="*/ 1736 w 10000"/>
                <a:gd name="connsiteY44" fmla="*/ 7716 h 10411"/>
                <a:gd name="connsiteX45" fmla="*/ 1522 w 10000"/>
                <a:gd name="connsiteY45" fmla="*/ 6466 h 10411"/>
                <a:gd name="connsiteX46" fmla="*/ 1522 w 10000"/>
                <a:gd name="connsiteY46" fmla="*/ 5619 h 10411"/>
                <a:gd name="connsiteX47" fmla="*/ 1308 w 10000"/>
                <a:gd name="connsiteY47" fmla="*/ 6036 h 10411"/>
                <a:gd name="connsiteX48" fmla="*/ 868 w 10000"/>
                <a:gd name="connsiteY48" fmla="*/ 6244 h 10411"/>
                <a:gd name="connsiteX49" fmla="*/ 214 w 10000"/>
                <a:gd name="connsiteY49" fmla="*/ 5619 h 10411"/>
                <a:gd name="connsiteX50" fmla="*/ 654 w 10000"/>
                <a:gd name="connsiteY50" fmla="*/ 5619 h 10411"/>
                <a:gd name="connsiteX51" fmla="*/ 654 w 10000"/>
                <a:gd name="connsiteY51" fmla="*/ 5411 h 10411"/>
                <a:gd name="connsiteX52" fmla="*/ 440 w 10000"/>
                <a:gd name="connsiteY52" fmla="*/ 5411 h 10411"/>
                <a:gd name="connsiteX53" fmla="*/ 0 w 10000"/>
                <a:gd name="connsiteY53" fmla="*/ 5216 h 10411"/>
                <a:gd name="connsiteX54" fmla="*/ 214 w 10000"/>
                <a:gd name="connsiteY54" fmla="*/ 4994 h 10411"/>
                <a:gd name="connsiteX55" fmla="*/ 868 w 10000"/>
                <a:gd name="connsiteY55" fmla="*/ 4994 h 10411"/>
                <a:gd name="connsiteX56" fmla="*/ 868 w 10000"/>
                <a:gd name="connsiteY56" fmla="*/ 4786 h 10411"/>
                <a:gd name="connsiteX57" fmla="*/ 868 w 10000"/>
                <a:gd name="connsiteY57" fmla="*/ 4369 h 10411"/>
                <a:gd name="connsiteX58" fmla="*/ 654 w 10000"/>
                <a:gd name="connsiteY58" fmla="*/ 4369 h 10411"/>
                <a:gd name="connsiteX59" fmla="*/ 654 w 10000"/>
                <a:gd name="connsiteY59" fmla="*/ 4161 h 10411"/>
                <a:gd name="connsiteX60" fmla="*/ 440 w 10000"/>
                <a:gd name="connsiteY60" fmla="*/ 4161 h 10411"/>
                <a:gd name="connsiteX61" fmla="*/ 440 w 10000"/>
                <a:gd name="connsiteY61" fmla="*/ 3744 h 10411"/>
                <a:gd name="connsiteX62" fmla="*/ 654 w 10000"/>
                <a:gd name="connsiteY62" fmla="*/ 3536 h 10411"/>
                <a:gd name="connsiteX63" fmla="*/ 868 w 10000"/>
                <a:gd name="connsiteY63" fmla="*/ 3744 h 10411"/>
                <a:gd name="connsiteX64" fmla="*/ 1308 w 10000"/>
                <a:gd name="connsiteY64" fmla="*/ 3536 h 10411"/>
                <a:gd name="connsiteX65" fmla="*/ 2390 w 10000"/>
                <a:gd name="connsiteY65" fmla="*/ 2286 h 10411"/>
                <a:gd name="connsiteX66" fmla="*/ 2176 w 10000"/>
                <a:gd name="connsiteY66" fmla="*/ 2091 h 10411"/>
                <a:gd name="connsiteX67" fmla="*/ 2390 w 10000"/>
                <a:gd name="connsiteY67" fmla="*/ 2091 h 10411"/>
                <a:gd name="connsiteX68" fmla="*/ 2390 w 10000"/>
                <a:gd name="connsiteY68" fmla="*/ 1869 h 10411"/>
                <a:gd name="connsiteX69" fmla="*/ 1962 w 10000"/>
                <a:gd name="connsiteY69" fmla="*/ 1661 h 10411"/>
                <a:gd name="connsiteX70" fmla="*/ 2176 w 10000"/>
                <a:gd name="connsiteY70" fmla="*/ 1244 h 10411"/>
                <a:gd name="connsiteX71" fmla="*/ 1962 w 10000"/>
                <a:gd name="connsiteY71" fmla="*/ 1036 h 10411"/>
                <a:gd name="connsiteX72" fmla="*/ 2176 w 10000"/>
                <a:gd name="connsiteY72" fmla="*/ 634 h 10411"/>
                <a:gd name="connsiteX73" fmla="*/ 2293 w 10000"/>
                <a:gd name="connsiteY73" fmla="*/ 0 h 10411"/>
                <a:gd name="connsiteX74" fmla="*/ 1835 w 10000"/>
                <a:gd name="connsiteY74" fmla="*/ 177 h 10411"/>
                <a:gd name="connsiteX75" fmla="*/ 2850 w 10000"/>
                <a:gd name="connsiteY75" fmla="*/ 302 h 10411"/>
                <a:gd name="connsiteX76" fmla="*/ 3258 w 10000"/>
                <a:gd name="connsiteY76" fmla="*/ 619 h 10411"/>
                <a:gd name="connsiteX77" fmla="*/ 3912 w 10000"/>
                <a:gd name="connsiteY77" fmla="*/ 411 h 10411"/>
                <a:gd name="connsiteX78" fmla="*/ 4126 w 10000"/>
                <a:gd name="connsiteY78" fmla="*/ 619 h 10411"/>
                <a:gd name="connsiteX79" fmla="*/ 4126 w 10000"/>
                <a:gd name="connsiteY79" fmla="*/ 1036 h 10411"/>
                <a:gd name="connsiteX80" fmla="*/ 3698 w 10000"/>
                <a:gd name="connsiteY80" fmla="*/ 1466 h 10411"/>
                <a:gd name="connsiteX81" fmla="*/ 3912 w 10000"/>
                <a:gd name="connsiteY81" fmla="*/ 1869 h 10411"/>
                <a:gd name="connsiteX82" fmla="*/ 3484 w 10000"/>
                <a:gd name="connsiteY82" fmla="*/ 1869 h 10411"/>
                <a:gd name="connsiteX83" fmla="*/ 3698 w 10000"/>
                <a:gd name="connsiteY83" fmla="*/ 2494 h 10411"/>
                <a:gd name="connsiteX84" fmla="*/ 4352 w 10000"/>
                <a:gd name="connsiteY84" fmla="*/ 2716 h 10411"/>
                <a:gd name="connsiteX85" fmla="*/ 4126 w 10000"/>
                <a:gd name="connsiteY85" fmla="*/ 3341 h 10411"/>
                <a:gd name="connsiteX86" fmla="*/ 4566 w 10000"/>
                <a:gd name="connsiteY86" fmla="*/ 3536 h 10411"/>
                <a:gd name="connsiteX87" fmla="*/ 6516 w 10000"/>
                <a:gd name="connsiteY87" fmla="*/ 4161 h 10411"/>
                <a:gd name="connsiteX88" fmla="*/ 6742 w 10000"/>
                <a:gd name="connsiteY88" fmla="*/ 4161 h 10411"/>
                <a:gd name="connsiteX89" fmla="*/ 6742 w 10000"/>
                <a:gd name="connsiteY89" fmla="*/ 3966 h 10411"/>
                <a:gd name="connsiteX90" fmla="*/ 6742 w 10000"/>
                <a:gd name="connsiteY90" fmla="*/ 3536 h 10411"/>
                <a:gd name="connsiteX91" fmla="*/ 6956 w 10000"/>
                <a:gd name="connsiteY91" fmla="*/ 3536 h 10411"/>
                <a:gd name="connsiteX92" fmla="*/ 7170 w 10000"/>
                <a:gd name="connsiteY92" fmla="*/ 3744 h 10411"/>
                <a:gd name="connsiteX93" fmla="*/ 7170 w 10000"/>
                <a:gd name="connsiteY93" fmla="*/ 3966 h 10411"/>
                <a:gd name="connsiteX94" fmla="*/ 8038 w 10000"/>
                <a:gd name="connsiteY94" fmla="*/ 3966 h 10411"/>
                <a:gd name="connsiteX95" fmla="*/ 8264 w 10000"/>
                <a:gd name="connsiteY95" fmla="*/ 3966 h 10411"/>
                <a:gd name="connsiteX96" fmla="*/ 8038 w 10000"/>
                <a:gd name="connsiteY96" fmla="*/ 3536 h 10411"/>
                <a:gd name="connsiteX97" fmla="*/ 9132 w 10000"/>
                <a:gd name="connsiteY97" fmla="*/ 3119 h 10411"/>
                <a:gd name="connsiteX0" fmla="*/ 9132 w 10000"/>
                <a:gd name="connsiteY0" fmla="*/ 3586 h 10878"/>
                <a:gd name="connsiteX1" fmla="*/ 9132 w 10000"/>
                <a:gd name="connsiteY1" fmla="*/ 3586 h 10878"/>
                <a:gd name="connsiteX2" fmla="*/ 9560 w 10000"/>
                <a:gd name="connsiteY2" fmla="*/ 3586 h 10878"/>
                <a:gd name="connsiteX3" fmla="*/ 10000 w 10000"/>
                <a:gd name="connsiteY3" fmla="*/ 4003 h 10878"/>
                <a:gd name="connsiteX4" fmla="*/ 10000 w 10000"/>
                <a:gd name="connsiteY4" fmla="*/ 4433 h 10878"/>
                <a:gd name="connsiteX5" fmla="*/ 9560 w 10000"/>
                <a:gd name="connsiteY5" fmla="*/ 4433 h 10878"/>
                <a:gd name="connsiteX6" fmla="*/ 9346 w 10000"/>
                <a:gd name="connsiteY6" fmla="*/ 4628 h 10878"/>
                <a:gd name="connsiteX7" fmla="*/ 8918 w 10000"/>
                <a:gd name="connsiteY7" fmla="*/ 5461 h 10878"/>
                <a:gd name="connsiteX8" fmla="*/ 8692 w 10000"/>
                <a:gd name="connsiteY8" fmla="*/ 5683 h 10878"/>
                <a:gd name="connsiteX9" fmla="*/ 8478 w 10000"/>
                <a:gd name="connsiteY9" fmla="*/ 6086 h 10878"/>
                <a:gd name="connsiteX10" fmla="*/ 8478 w 10000"/>
                <a:gd name="connsiteY10" fmla="*/ 6308 h 10878"/>
                <a:gd name="connsiteX11" fmla="*/ 8264 w 10000"/>
                <a:gd name="connsiteY11" fmla="*/ 5683 h 10878"/>
                <a:gd name="connsiteX12" fmla="*/ 8264 w 10000"/>
                <a:gd name="connsiteY12" fmla="*/ 5461 h 10878"/>
                <a:gd name="connsiteX13" fmla="*/ 8038 w 10000"/>
                <a:gd name="connsiteY13" fmla="*/ 5683 h 10878"/>
                <a:gd name="connsiteX14" fmla="*/ 7824 w 10000"/>
                <a:gd name="connsiteY14" fmla="*/ 5683 h 10878"/>
                <a:gd name="connsiteX15" fmla="*/ 7824 w 10000"/>
                <a:gd name="connsiteY15" fmla="*/ 5461 h 10878"/>
                <a:gd name="connsiteX16" fmla="*/ 8264 w 10000"/>
                <a:gd name="connsiteY16" fmla="*/ 5058 h 10878"/>
                <a:gd name="connsiteX17" fmla="*/ 7396 w 10000"/>
                <a:gd name="connsiteY17" fmla="*/ 5058 h 10878"/>
                <a:gd name="connsiteX18" fmla="*/ 7396 w 10000"/>
                <a:gd name="connsiteY18" fmla="*/ 4628 h 10878"/>
                <a:gd name="connsiteX19" fmla="*/ 7170 w 10000"/>
                <a:gd name="connsiteY19" fmla="*/ 4628 h 10878"/>
                <a:gd name="connsiteX20" fmla="*/ 6956 w 10000"/>
                <a:gd name="connsiteY20" fmla="*/ 4628 h 10878"/>
                <a:gd name="connsiteX21" fmla="*/ 6956 w 10000"/>
                <a:gd name="connsiteY21" fmla="*/ 4836 h 10878"/>
                <a:gd name="connsiteX22" fmla="*/ 6742 w 10000"/>
                <a:gd name="connsiteY22" fmla="*/ 5253 h 10878"/>
                <a:gd name="connsiteX23" fmla="*/ 6956 w 10000"/>
                <a:gd name="connsiteY23" fmla="*/ 5253 h 10878"/>
                <a:gd name="connsiteX24" fmla="*/ 7170 w 10000"/>
                <a:gd name="connsiteY24" fmla="*/ 6308 h 10878"/>
                <a:gd name="connsiteX25" fmla="*/ 6956 w 10000"/>
                <a:gd name="connsiteY25" fmla="*/ 6308 h 10878"/>
                <a:gd name="connsiteX26" fmla="*/ 6956 w 10000"/>
                <a:gd name="connsiteY26" fmla="*/ 6086 h 10878"/>
                <a:gd name="connsiteX27" fmla="*/ 6516 w 10000"/>
                <a:gd name="connsiteY27" fmla="*/ 6308 h 10878"/>
                <a:gd name="connsiteX28" fmla="*/ 6302 w 10000"/>
                <a:gd name="connsiteY28" fmla="*/ 6933 h 10878"/>
                <a:gd name="connsiteX29" fmla="*/ 5874 w 10000"/>
                <a:gd name="connsiteY29" fmla="*/ 7128 h 10878"/>
                <a:gd name="connsiteX30" fmla="*/ 4780 w 10000"/>
                <a:gd name="connsiteY30" fmla="*/ 7961 h 10878"/>
                <a:gd name="connsiteX31" fmla="*/ 4780 w 10000"/>
                <a:gd name="connsiteY31" fmla="*/ 8183 h 10878"/>
                <a:gd name="connsiteX32" fmla="*/ 4566 w 10000"/>
                <a:gd name="connsiteY32" fmla="*/ 8183 h 10878"/>
                <a:gd name="connsiteX33" fmla="*/ 4352 w 10000"/>
                <a:gd name="connsiteY33" fmla="*/ 8378 h 10878"/>
                <a:gd name="connsiteX34" fmla="*/ 4126 w 10000"/>
                <a:gd name="connsiteY34" fmla="*/ 8378 h 10878"/>
                <a:gd name="connsiteX35" fmla="*/ 4126 w 10000"/>
                <a:gd name="connsiteY35" fmla="*/ 8573 h 10878"/>
                <a:gd name="connsiteX36" fmla="*/ 4126 w 10000"/>
                <a:gd name="connsiteY36" fmla="*/ 9198 h 10878"/>
                <a:gd name="connsiteX37" fmla="*/ 3912 w 10000"/>
                <a:gd name="connsiteY37" fmla="*/ 9628 h 10878"/>
                <a:gd name="connsiteX38" fmla="*/ 3912 w 10000"/>
                <a:gd name="connsiteY38" fmla="*/ 10253 h 10878"/>
                <a:gd name="connsiteX39" fmla="*/ 3698 w 10000"/>
                <a:gd name="connsiteY39" fmla="*/ 10448 h 10878"/>
                <a:gd name="connsiteX40" fmla="*/ 3484 w 10000"/>
                <a:gd name="connsiteY40" fmla="*/ 10683 h 10878"/>
                <a:gd name="connsiteX41" fmla="*/ 3258 w 10000"/>
                <a:gd name="connsiteY41" fmla="*/ 10878 h 10878"/>
                <a:gd name="connsiteX42" fmla="*/ 2830 w 10000"/>
                <a:gd name="connsiteY42" fmla="*/ 10683 h 10878"/>
                <a:gd name="connsiteX43" fmla="*/ 2176 w 10000"/>
                <a:gd name="connsiteY43" fmla="*/ 8808 h 10878"/>
                <a:gd name="connsiteX44" fmla="*/ 1736 w 10000"/>
                <a:gd name="connsiteY44" fmla="*/ 8183 h 10878"/>
                <a:gd name="connsiteX45" fmla="*/ 1522 w 10000"/>
                <a:gd name="connsiteY45" fmla="*/ 6933 h 10878"/>
                <a:gd name="connsiteX46" fmla="*/ 1522 w 10000"/>
                <a:gd name="connsiteY46" fmla="*/ 6086 h 10878"/>
                <a:gd name="connsiteX47" fmla="*/ 1308 w 10000"/>
                <a:gd name="connsiteY47" fmla="*/ 6503 h 10878"/>
                <a:gd name="connsiteX48" fmla="*/ 868 w 10000"/>
                <a:gd name="connsiteY48" fmla="*/ 6711 h 10878"/>
                <a:gd name="connsiteX49" fmla="*/ 214 w 10000"/>
                <a:gd name="connsiteY49" fmla="*/ 6086 h 10878"/>
                <a:gd name="connsiteX50" fmla="*/ 654 w 10000"/>
                <a:gd name="connsiteY50" fmla="*/ 6086 h 10878"/>
                <a:gd name="connsiteX51" fmla="*/ 654 w 10000"/>
                <a:gd name="connsiteY51" fmla="*/ 5878 h 10878"/>
                <a:gd name="connsiteX52" fmla="*/ 440 w 10000"/>
                <a:gd name="connsiteY52" fmla="*/ 5878 h 10878"/>
                <a:gd name="connsiteX53" fmla="*/ 0 w 10000"/>
                <a:gd name="connsiteY53" fmla="*/ 5683 h 10878"/>
                <a:gd name="connsiteX54" fmla="*/ 214 w 10000"/>
                <a:gd name="connsiteY54" fmla="*/ 5461 h 10878"/>
                <a:gd name="connsiteX55" fmla="*/ 868 w 10000"/>
                <a:gd name="connsiteY55" fmla="*/ 5461 h 10878"/>
                <a:gd name="connsiteX56" fmla="*/ 868 w 10000"/>
                <a:gd name="connsiteY56" fmla="*/ 5253 h 10878"/>
                <a:gd name="connsiteX57" fmla="*/ 868 w 10000"/>
                <a:gd name="connsiteY57" fmla="*/ 4836 h 10878"/>
                <a:gd name="connsiteX58" fmla="*/ 654 w 10000"/>
                <a:gd name="connsiteY58" fmla="*/ 4836 h 10878"/>
                <a:gd name="connsiteX59" fmla="*/ 654 w 10000"/>
                <a:gd name="connsiteY59" fmla="*/ 4628 h 10878"/>
                <a:gd name="connsiteX60" fmla="*/ 440 w 10000"/>
                <a:gd name="connsiteY60" fmla="*/ 4628 h 10878"/>
                <a:gd name="connsiteX61" fmla="*/ 440 w 10000"/>
                <a:gd name="connsiteY61" fmla="*/ 4211 h 10878"/>
                <a:gd name="connsiteX62" fmla="*/ 654 w 10000"/>
                <a:gd name="connsiteY62" fmla="*/ 4003 h 10878"/>
                <a:gd name="connsiteX63" fmla="*/ 868 w 10000"/>
                <a:gd name="connsiteY63" fmla="*/ 4211 h 10878"/>
                <a:gd name="connsiteX64" fmla="*/ 1308 w 10000"/>
                <a:gd name="connsiteY64" fmla="*/ 4003 h 10878"/>
                <a:gd name="connsiteX65" fmla="*/ 2390 w 10000"/>
                <a:gd name="connsiteY65" fmla="*/ 2753 h 10878"/>
                <a:gd name="connsiteX66" fmla="*/ 2176 w 10000"/>
                <a:gd name="connsiteY66" fmla="*/ 2558 h 10878"/>
                <a:gd name="connsiteX67" fmla="*/ 2390 w 10000"/>
                <a:gd name="connsiteY67" fmla="*/ 2558 h 10878"/>
                <a:gd name="connsiteX68" fmla="*/ 2390 w 10000"/>
                <a:gd name="connsiteY68" fmla="*/ 2336 h 10878"/>
                <a:gd name="connsiteX69" fmla="*/ 1962 w 10000"/>
                <a:gd name="connsiteY69" fmla="*/ 2128 h 10878"/>
                <a:gd name="connsiteX70" fmla="*/ 2176 w 10000"/>
                <a:gd name="connsiteY70" fmla="*/ 1711 h 10878"/>
                <a:gd name="connsiteX71" fmla="*/ 1962 w 10000"/>
                <a:gd name="connsiteY71" fmla="*/ 1503 h 10878"/>
                <a:gd name="connsiteX72" fmla="*/ 2176 w 10000"/>
                <a:gd name="connsiteY72" fmla="*/ 1101 h 10878"/>
                <a:gd name="connsiteX73" fmla="*/ 2293 w 10000"/>
                <a:gd name="connsiteY73" fmla="*/ 467 h 10878"/>
                <a:gd name="connsiteX74" fmla="*/ 2821 w 10000"/>
                <a:gd name="connsiteY74" fmla="*/ 100 h 10878"/>
                <a:gd name="connsiteX75" fmla="*/ 2850 w 10000"/>
                <a:gd name="connsiteY75" fmla="*/ 769 h 10878"/>
                <a:gd name="connsiteX76" fmla="*/ 3258 w 10000"/>
                <a:gd name="connsiteY76" fmla="*/ 1086 h 10878"/>
                <a:gd name="connsiteX77" fmla="*/ 3912 w 10000"/>
                <a:gd name="connsiteY77" fmla="*/ 878 h 10878"/>
                <a:gd name="connsiteX78" fmla="*/ 4126 w 10000"/>
                <a:gd name="connsiteY78" fmla="*/ 1086 h 10878"/>
                <a:gd name="connsiteX79" fmla="*/ 4126 w 10000"/>
                <a:gd name="connsiteY79" fmla="*/ 1503 h 10878"/>
                <a:gd name="connsiteX80" fmla="*/ 3698 w 10000"/>
                <a:gd name="connsiteY80" fmla="*/ 1933 h 10878"/>
                <a:gd name="connsiteX81" fmla="*/ 3912 w 10000"/>
                <a:gd name="connsiteY81" fmla="*/ 2336 h 10878"/>
                <a:gd name="connsiteX82" fmla="*/ 3484 w 10000"/>
                <a:gd name="connsiteY82" fmla="*/ 2336 h 10878"/>
                <a:gd name="connsiteX83" fmla="*/ 3698 w 10000"/>
                <a:gd name="connsiteY83" fmla="*/ 2961 h 10878"/>
                <a:gd name="connsiteX84" fmla="*/ 4352 w 10000"/>
                <a:gd name="connsiteY84" fmla="*/ 3183 h 10878"/>
                <a:gd name="connsiteX85" fmla="*/ 4126 w 10000"/>
                <a:gd name="connsiteY85" fmla="*/ 3808 h 10878"/>
                <a:gd name="connsiteX86" fmla="*/ 4566 w 10000"/>
                <a:gd name="connsiteY86" fmla="*/ 4003 h 10878"/>
                <a:gd name="connsiteX87" fmla="*/ 6516 w 10000"/>
                <a:gd name="connsiteY87" fmla="*/ 4628 h 10878"/>
                <a:gd name="connsiteX88" fmla="*/ 6742 w 10000"/>
                <a:gd name="connsiteY88" fmla="*/ 4628 h 10878"/>
                <a:gd name="connsiteX89" fmla="*/ 6742 w 10000"/>
                <a:gd name="connsiteY89" fmla="*/ 4433 h 10878"/>
                <a:gd name="connsiteX90" fmla="*/ 6742 w 10000"/>
                <a:gd name="connsiteY90" fmla="*/ 4003 h 10878"/>
                <a:gd name="connsiteX91" fmla="*/ 6956 w 10000"/>
                <a:gd name="connsiteY91" fmla="*/ 4003 h 10878"/>
                <a:gd name="connsiteX92" fmla="*/ 7170 w 10000"/>
                <a:gd name="connsiteY92" fmla="*/ 4211 h 10878"/>
                <a:gd name="connsiteX93" fmla="*/ 7170 w 10000"/>
                <a:gd name="connsiteY93" fmla="*/ 4433 h 10878"/>
                <a:gd name="connsiteX94" fmla="*/ 8038 w 10000"/>
                <a:gd name="connsiteY94" fmla="*/ 4433 h 10878"/>
                <a:gd name="connsiteX95" fmla="*/ 8264 w 10000"/>
                <a:gd name="connsiteY95" fmla="*/ 4433 h 10878"/>
                <a:gd name="connsiteX96" fmla="*/ 8038 w 10000"/>
                <a:gd name="connsiteY96" fmla="*/ 4003 h 10878"/>
                <a:gd name="connsiteX97" fmla="*/ 9132 w 10000"/>
                <a:gd name="connsiteY97" fmla="*/ 3586 h 10878"/>
                <a:gd name="connsiteX0" fmla="*/ 9132 w 10000"/>
                <a:gd name="connsiteY0" fmla="*/ 3586 h 10878"/>
                <a:gd name="connsiteX1" fmla="*/ 9132 w 10000"/>
                <a:gd name="connsiteY1" fmla="*/ 3586 h 10878"/>
                <a:gd name="connsiteX2" fmla="*/ 9560 w 10000"/>
                <a:gd name="connsiteY2" fmla="*/ 3586 h 10878"/>
                <a:gd name="connsiteX3" fmla="*/ 10000 w 10000"/>
                <a:gd name="connsiteY3" fmla="*/ 4003 h 10878"/>
                <a:gd name="connsiteX4" fmla="*/ 10000 w 10000"/>
                <a:gd name="connsiteY4" fmla="*/ 4433 h 10878"/>
                <a:gd name="connsiteX5" fmla="*/ 9560 w 10000"/>
                <a:gd name="connsiteY5" fmla="*/ 4433 h 10878"/>
                <a:gd name="connsiteX6" fmla="*/ 9346 w 10000"/>
                <a:gd name="connsiteY6" fmla="*/ 4628 h 10878"/>
                <a:gd name="connsiteX7" fmla="*/ 8918 w 10000"/>
                <a:gd name="connsiteY7" fmla="*/ 5461 h 10878"/>
                <a:gd name="connsiteX8" fmla="*/ 8692 w 10000"/>
                <a:gd name="connsiteY8" fmla="*/ 5683 h 10878"/>
                <a:gd name="connsiteX9" fmla="*/ 8478 w 10000"/>
                <a:gd name="connsiteY9" fmla="*/ 6086 h 10878"/>
                <a:gd name="connsiteX10" fmla="*/ 8478 w 10000"/>
                <a:gd name="connsiteY10" fmla="*/ 6308 h 10878"/>
                <a:gd name="connsiteX11" fmla="*/ 8264 w 10000"/>
                <a:gd name="connsiteY11" fmla="*/ 5683 h 10878"/>
                <a:gd name="connsiteX12" fmla="*/ 8264 w 10000"/>
                <a:gd name="connsiteY12" fmla="*/ 5461 h 10878"/>
                <a:gd name="connsiteX13" fmla="*/ 8038 w 10000"/>
                <a:gd name="connsiteY13" fmla="*/ 5683 h 10878"/>
                <a:gd name="connsiteX14" fmla="*/ 7824 w 10000"/>
                <a:gd name="connsiteY14" fmla="*/ 5683 h 10878"/>
                <a:gd name="connsiteX15" fmla="*/ 7824 w 10000"/>
                <a:gd name="connsiteY15" fmla="*/ 5461 h 10878"/>
                <a:gd name="connsiteX16" fmla="*/ 8264 w 10000"/>
                <a:gd name="connsiteY16" fmla="*/ 5058 h 10878"/>
                <a:gd name="connsiteX17" fmla="*/ 7396 w 10000"/>
                <a:gd name="connsiteY17" fmla="*/ 5058 h 10878"/>
                <a:gd name="connsiteX18" fmla="*/ 7396 w 10000"/>
                <a:gd name="connsiteY18" fmla="*/ 4628 h 10878"/>
                <a:gd name="connsiteX19" fmla="*/ 7170 w 10000"/>
                <a:gd name="connsiteY19" fmla="*/ 4628 h 10878"/>
                <a:gd name="connsiteX20" fmla="*/ 6956 w 10000"/>
                <a:gd name="connsiteY20" fmla="*/ 4628 h 10878"/>
                <a:gd name="connsiteX21" fmla="*/ 6956 w 10000"/>
                <a:gd name="connsiteY21" fmla="*/ 4836 h 10878"/>
                <a:gd name="connsiteX22" fmla="*/ 6742 w 10000"/>
                <a:gd name="connsiteY22" fmla="*/ 5253 h 10878"/>
                <a:gd name="connsiteX23" fmla="*/ 6956 w 10000"/>
                <a:gd name="connsiteY23" fmla="*/ 5253 h 10878"/>
                <a:gd name="connsiteX24" fmla="*/ 7170 w 10000"/>
                <a:gd name="connsiteY24" fmla="*/ 6308 h 10878"/>
                <a:gd name="connsiteX25" fmla="*/ 6956 w 10000"/>
                <a:gd name="connsiteY25" fmla="*/ 6308 h 10878"/>
                <a:gd name="connsiteX26" fmla="*/ 6956 w 10000"/>
                <a:gd name="connsiteY26" fmla="*/ 6086 h 10878"/>
                <a:gd name="connsiteX27" fmla="*/ 6516 w 10000"/>
                <a:gd name="connsiteY27" fmla="*/ 6308 h 10878"/>
                <a:gd name="connsiteX28" fmla="*/ 6302 w 10000"/>
                <a:gd name="connsiteY28" fmla="*/ 6933 h 10878"/>
                <a:gd name="connsiteX29" fmla="*/ 5874 w 10000"/>
                <a:gd name="connsiteY29" fmla="*/ 7128 h 10878"/>
                <a:gd name="connsiteX30" fmla="*/ 4780 w 10000"/>
                <a:gd name="connsiteY30" fmla="*/ 7961 h 10878"/>
                <a:gd name="connsiteX31" fmla="*/ 4780 w 10000"/>
                <a:gd name="connsiteY31" fmla="*/ 8183 h 10878"/>
                <a:gd name="connsiteX32" fmla="*/ 4566 w 10000"/>
                <a:gd name="connsiteY32" fmla="*/ 8183 h 10878"/>
                <a:gd name="connsiteX33" fmla="*/ 4352 w 10000"/>
                <a:gd name="connsiteY33" fmla="*/ 8378 h 10878"/>
                <a:gd name="connsiteX34" fmla="*/ 4126 w 10000"/>
                <a:gd name="connsiteY34" fmla="*/ 8378 h 10878"/>
                <a:gd name="connsiteX35" fmla="*/ 4126 w 10000"/>
                <a:gd name="connsiteY35" fmla="*/ 8573 h 10878"/>
                <a:gd name="connsiteX36" fmla="*/ 4126 w 10000"/>
                <a:gd name="connsiteY36" fmla="*/ 9198 h 10878"/>
                <a:gd name="connsiteX37" fmla="*/ 3912 w 10000"/>
                <a:gd name="connsiteY37" fmla="*/ 9628 h 10878"/>
                <a:gd name="connsiteX38" fmla="*/ 3912 w 10000"/>
                <a:gd name="connsiteY38" fmla="*/ 10253 h 10878"/>
                <a:gd name="connsiteX39" fmla="*/ 3698 w 10000"/>
                <a:gd name="connsiteY39" fmla="*/ 10448 h 10878"/>
                <a:gd name="connsiteX40" fmla="*/ 3484 w 10000"/>
                <a:gd name="connsiteY40" fmla="*/ 10683 h 10878"/>
                <a:gd name="connsiteX41" fmla="*/ 3258 w 10000"/>
                <a:gd name="connsiteY41" fmla="*/ 10878 h 10878"/>
                <a:gd name="connsiteX42" fmla="*/ 2830 w 10000"/>
                <a:gd name="connsiteY42" fmla="*/ 10683 h 10878"/>
                <a:gd name="connsiteX43" fmla="*/ 2176 w 10000"/>
                <a:gd name="connsiteY43" fmla="*/ 8808 h 10878"/>
                <a:gd name="connsiteX44" fmla="*/ 1736 w 10000"/>
                <a:gd name="connsiteY44" fmla="*/ 8183 h 10878"/>
                <a:gd name="connsiteX45" fmla="*/ 1522 w 10000"/>
                <a:gd name="connsiteY45" fmla="*/ 6933 h 10878"/>
                <a:gd name="connsiteX46" fmla="*/ 1522 w 10000"/>
                <a:gd name="connsiteY46" fmla="*/ 6086 h 10878"/>
                <a:gd name="connsiteX47" fmla="*/ 1308 w 10000"/>
                <a:gd name="connsiteY47" fmla="*/ 6503 h 10878"/>
                <a:gd name="connsiteX48" fmla="*/ 868 w 10000"/>
                <a:gd name="connsiteY48" fmla="*/ 6711 h 10878"/>
                <a:gd name="connsiteX49" fmla="*/ 214 w 10000"/>
                <a:gd name="connsiteY49" fmla="*/ 6086 h 10878"/>
                <a:gd name="connsiteX50" fmla="*/ 654 w 10000"/>
                <a:gd name="connsiteY50" fmla="*/ 6086 h 10878"/>
                <a:gd name="connsiteX51" fmla="*/ 654 w 10000"/>
                <a:gd name="connsiteY51" fmla="*/ 5878 h 10878"/>
                <a:gd name="connsiteX52" fmla="*/ 440 w 10000"/>
                <a:gd name="connsiteY52" fmla="*/ 5878 h 10878"/>
                <a:gd name="connsiteX53" fmla="*/ 0 w 10000"/>
                <a:gd name="connsiteY53" fmla="*/ 5683 h 10878"/>
                <a:gd name="connsiteX54" fmla="*/ 214 w 10000"/>
                <a:gd name="connsiteY54" fmla="*/ 5461 h 10878"/>
                <a:gd name="connsiteX55" fmla="*/ 868 w 10000"/>
                <a:gd name="connsiteY55" fmla="*/ 5461 h 10878"/>
                <a:gd name="connsiteX56" fmla="*/ 868 w 10000"/>
                <a:gd name="connsiteY56" fmla="*/ 5253 h 10878"/>
                <a:gd name="connsiteX57" fmla="*/ 868 w 10000"/>
                <a:gd name="connsiteY57" fmla="*/ 4836 h 10878"/>
                <a:gd name="connsiteX58" fmla="*/ 654 w 10000"/>
                <a:gd name="connsiteY58" fmla="*/ 4836 h 10878"/>
                <a:gd name="connsiteX59" fmla="*/ 654 w 10000"/>
                <a:gd name="connsiteY59" fmla="*/ 4628 h 10878"/>
                <a:gd name="connsiteX60" fmla="*/ 440 w 10000"/>
                <a:gd name="connsiteY60" fmla="*/ 4628 h 10878"/>
                <a:gd name="connsiteX61" fmla="*/ 440 w 10000"/>
                <a:gd name="connsiteY61" fmla="*/ 4211 h 10878"/>
                <a:gd name="connsiteX62" fmla="*/ 654 w 10000"/>
                <a:gd name="connsiteY62" fmla="*/ 4003 h 10878"/>
                <a:gd name="connsiteX63" fmla="*/ 868 w 10000"/>
                <a:gd name="connsiteY63" fmla="*/ 4211 h 10878"/>
                <a:gd name="connsiteX64" fmla="*/ 1308 w 10000"/>
                <a:gd name="connsiteY64" fmla="*/ 4003 h 10878"/>
                <a:gd name="connsiteX65" fmla="*/ 2390 w 10000"/>
                <a:gd name="connsiteY65" fmla="*/ 2753 h 10878"/>
                <a:gd name="connsiteX66" fmla="*/ 2176 w 10000"/>
                <a:gd name="connsiteY66" fmla="*/ 2558 h 10878"/>
                <a:gd name="connsiteX67" fmla="*/ 2390 w 10000"/>
                <a:gd name="connsiteY67" fmla="*/ 2558 h 10878"/>
                <a:gd name="connsiteX68" fmla="*/ 2390 w 10000"/>
                <a:gd name="connsiteY68" fmla="*/ 2336 h 10878"/>
                <a:gd name="connsiteX69" fmla="*/ 1962 w 10000"/>
                <a:gd name="connsiteY69" fmla="*/ 2128 h 10878"/>
                <a:gd name="connsiteX70" fmla="*/ 2176 w 10000"/>
                <a:gd name="connsiteY70" fmla="*/ 1711 h 10878"/>
                <a:gd name="connsiteX71" fmla="*/ 1962 w 10000"/>
                <a:gd name="connsiteY71" fmla="*/ 1503 h 10878"/>
                <a:gd name="connsiteX72" fmla="*/ 2176 w 10000"/>
                <a:gd name="connsiteY72" fmla="*/ 1101 h 10878"/>
                <a:gd name="connsiteX73" fmla="*/ 1715 w 10000"/>
                <a:gd name="connsiteY73" fmla="*/ 540 h 10878"/>
                <a:gd name="connsiteX74" fmla="*/ 2821 w 10000"/>
                <a:gd name="connsiteY74" fmla="*/ 100 h 10878"/>
                <a:gd name="connsiteX75" fmla="*/ 2850 w 10000"/>
                <a:gd name="connsiteY75" fmla="*/ 769 h 10878"/>
                <a:gd name="connsiteX76" fmla="*/ 3258 w 10000"/>
                <a:gd name="connsiteY76" fmla="*/ 1086 h 10878"/>
                <a:gd name="connsiteX77" fmla="*/ 3912 w 10000"/>
                <a:gd name="connsiteY77" fmla="*/ 878 h 10878"/>
                <a:gd name="connsiteX78" fmla="*/ 4126 w 10000"/>
                <a:gd name="connsiteY78" fmla="*/ 1086 h 10878"/>
                <a:gd name="connsiteX79" fmla="*/ 4126 w 10000"/>
                <a:gd name="connsiteY79" fmla="*/ 1503 h 10878"/>
                <a:gd name="connsiteX80" fmla="*/ 3698 w 10000"/>
                <a:gd name="connsiteY80" fmla="*/ 1933 h 10878"/>
                <a:gd name="connsiteX81" fmla="*/ 3912 w 10000"/>
                <a:gd name="connsiteY81" fmla="*/ 2336 h 10878"/>
                <a:gd name="connsiteX82" fmla="*/ 3484 w 10000"/>
                <a:gd name="connsiteY82" fmla="*/ 2336 h 10878"/>
                <a:gd name="connsiteX83" fmla="*/ 3698 w 10000"/>
                <a:gd name="connsiteY83" fmla="*/ 2961 h 10878"/>
                <a:gd name="connsiteX84" fmla="*/ 4352 w 10000"/>
                <a:gd name="connsiteY84" fmla="*/ 3183 h 10878"/>
                <a:gd name="connsiteX85" fmla="*/ 4126 w 10000"/>
                <a:gd name="connsiteY85" fmla="*/ 3808 h 10878"/>
                <a:gd name="connsiteX86" fmla="*/ 4566 w 10000"/>
                <a:gd name="connsiteY86" fmla="*/ 4003 h 10878"/>
                <a:gd name="connsiteX87" fmla="*/ 6516 w 10000"/>
                <a:gd name="connsiteY87" fmla="*/ 4628 h 10878"/>
                <a:gd name="connsiteX88" fmla="*/ 6742 w 10000"/>
                <a:gd name="connsiteY88" fmla="*/ 4628 h 10878"/>
                <a:gd name="connsiteX89" fmla="*/ 6742 w 10000"/>
                <a:gd name="connsiteY89" fmla="*/ 4433 h 10878"/>
                <a:gd name="connsiteX90" fmla="*/ 6742 w 10000"/>
                <a:gd name="connsiteY90" fmla="*/ 4003 h 10878"/>
                <a:gd name="connsiteX91" fmla="*/ 6956 w 10000"/>
                <a:gd name="connsiteY91" fmla="*/ 4003 h 10878"/>
                <a:gd name="connsiteX92" fmla="*/ 7170 w 10000"/>
                <a:gd name="connsiteY92" fmla="*/ 4211 h 10878"/>
                <a:gd name="connsiteX93" fmla="*/ 7170 w 10000"/>
                <a:gd name="connsiteY93" fmla="*/ 4433 h 10878"/>
                <a:gd name="connsiteX94" fmla="*/ 8038 w 10000"/>
                <a:gd name="connsiteY94" fmla="*/ 4433 h 10878"/>
                <a:gd name="connsiteX95" fmla="*/ 8264 w 10000"/>
                <a:gd name="connsiteY95" fmla="*/ 4433 h 10878"/>
                <a:gd name="connsiteX96" fmla="*/ 8038 w 10000"/>
                <a:gd name="connsiteY96" fmla="*/ 4003 h 10878"/>
                <a:gd name="connsiteX97" fmla="*/ 9132 w 10000"/>
                <a:gd name="connsiteY97" fmla="*/ 3586 h 10878"/>
                <a:gd name="connsiteX0" fmla="*/ 9132 w 10000"/>
                <a:gd name="connsiteY0" fmla="*/ 3405 h 10697"/>
                <a:gd name="connsiteX1" fmla="*/ 9132 w 10000"/>
                <a:gd name="connsiteY1" fmla="*/ 3405 h 10697"/>
                <a:gd name="connsiteX2" fmla="*/ 9560 w 10000"/>
                <a:gd name="connsiteY2" fmla="*/ 3405 h 10697"/>
                <a:gd name="connsiteX3" fmla="*/ 10000 w 10000"/>
                <a:gd name="connsiteY3" fmla="*/ 3822 h 10697"/>
                <a:gd name="connsiteX4" fmla="*/ 10000 w 10000"/>
                <a:gd name="connsiteY4" fmla="*/ 4252 h 10697"/>
                <a:gd name="connsiteX5" fmla="*/ 9560 w 10000"/>
                <a:gd name="connsiteY5" fmla="*/ 4252 h 10697"/>
                <a:gd name="connsiteX6" fmla="*/ 9346 w 10000"/>
                <a:gd name="connsiteY6" fmla="*/ 4447 h 10697"/>
                <a:gd name="connsiteX7" fmla="*/ 8918 w 10000"/>
                <a:gd name="connsiteY7" fmla="*/ 5280 h 10697"/>
                <a:gd name="connsiteX8" fmla="*/ 8692 w 10000"/>
                <a:gd name="connsiteY8" fmla="*/ 5502 h 10697"/>
                <a:gd name="connsiteX9" fmla="*/ 8478 w 10000"/>
                <a:gd name="connsiteY9" fmla="*/ 5905 h 10697"/>
                <a:gd name="connsiteX10" fmla="*/ 8478 w 10000"/>
                <a:gd name="connsiteY10" fmla="*/ 6127 h 10697"/>
                <a:gd name="connsiteX11" fmla="*/ 8264 w 10000"/>
                <a:gd name="connsiteY11" fmla="*/ 5502 h 10697"/>
                <a:gd name="connsiteX12" fmla="*/ 8264 w 10000"/>
                <a:gd name="connsiteY12" fmla="*/ 5280 h 10697"/>
                <a:gd name="connsiteX13" fmla="*/ 8038 w 10000"/>
                <a:gd name="connsiteY13" fmla="*/ 5502 h 10697"/>
                <a:gd name="connsiteX14" fmla="*/ 7824 w 10000"/>
                <a:gd name="connsiteY14" fmla="*/ 5502 h 10697"/>
                <a:gd name="connsiteX15" fmla="*/ 7824 w 10000"/>
                <a:gd name="connsiteY15" fmla="*/ 5280 h 10697"/>
                <a:gd name="connsiteX16" fmla="*/ 8264 w 10000"/>
                <a:gd name="connsiteY16" fmla="*/ 4877 h 10697"/>
                <a:gd name="connsiteX17" fmla="*/ 7396 w 10000"/>
                <a:gd name="connsiteY17" fmla="*/ 4877 h 10697"/>
                <a:gd name="connsiteX18" fmla="*/ 7396 w 10000"/>
                <a:gd name="connsiteY18" fmla="*/ 4447 h 10697"/>
                <a:gd name="connsiteX19" fmla="*/ 7170 w 10000"/>
                <a:gd name="connsiteY19" fmla="*/ 4447 h 10697"/>
                <a:gd name="connsiteX20" fmla="*/ 6956 w 10000"/>
                <a:gd name="connsiteY20" fmla="*/ 4447 h 10697"/>
                <a:gd name="connsiteX21" fmla="*/ 6956 w 10000"/>
                <a:gd name="connsiteY21" fmla="*/ 4655 h 10697"/>
                <a:gd name="connsiteX22" fmla="*/ 6742 w 10000"/>
                <a:gd name="connsiteY22" fmla="*/ 5072 h 10697"/>
                <a:gd name="connsiteX23" fmla="*/ 6956 w 10000"/>
                <a:gd name="connsiteY23" fmla="*/ 5072 h 10697"/>
                <a:gd name="connsiteX24" fmla="*/ 7170 w 10000"/>
                <a:gd name="connsiteY24" fmla="*/ 6127 h 10697"/>
                <a:gd name="connsiteX25" fmla="*/ 6956 w 10000"/>
                <a:gd name="connsiteY25" fmla="*/ 6127 h 10697"/>
                <a:gd name="connsiteX26" fmla="*/ 6956 w 10000"/>
                <a:gd name="connsiteY26" fmla="*/ 5905 h 10697"/>
                <a:gd name="connsiteX27" fmla="*/ 6516 w 10000"/>
                <a:gd name="connsiteY27" fmla="*/ 6127 h 10697"/>
                <a:gd name="connsiteX28" fmla="*/ 6302 w 10000"/>
                <a:gd name="connsiteY28" fmla="*/ 6752 h 10697"/>
                <a:gd name="connsiteX29" fmla="*/ 5874 w 10000"/>
                <a:gd name="connsiteY29" fmla="*/ 6947 h 10697"/>
                <a:gd name="connsiteX30" fmla="*/ 4780 w 10000"/>
                <a:gd name="connsiteY30" fmla="*/ 7780 h 10697"/>
                <a:gd name="connsiteX31" fmla="*/ 4780 w 10000"/>
                <a:gd name="connsiteY31" fmla="*/ 8002 h 10697"/>
                <a:gd name="connsiteX32" fmla="*/ 4566 w 10000"/>
                <a:gd name="connsiteY32" fmla="*/ 8002 h 10697"/>
                <a:gd name="connsiteX33" fmla="*/ 4352 w 10000"/>
                <a:gd name="connsiteY33" fmla="*/ 8197 h 10697"/>
                <a:gd name="connsiteX34" fmla="*/ 4126 w 10000"/>
                <a:gd name="connsiteY34" fmla="*/ 8197 h 10697"/>
                <a:gd name="connsiteX35" fmla="*/ 4126 w 10000"/>
                <a:gd name="connsiteY35" fmla="*/ 8392 h 10697"/>
                <a:gd name="connsiteX36" fmla="*/ 4126 w 10000"/>
                <a:gd name="connsiteY36" fmla="*/ 9017 h 10697"/>
                <a:gd name="connsiteX37" fmla="*/ 3912 w 10000"/>
                <a:gd name="connsiteY37" fmla="*/ 9447 h 10697"/>
                <a:gd name="connsiteX38" fmla="*/ 3912 w 10000"/>
                <a:gd name="connsiteY38" fmla="*/ 10072 h 10697"/>
                <a:gd name="connsiteX39" fmla="*/ 3698 w 10000"/>
                <a:gd name="connsiteY39" fmla="*/ 10267 h 10697"/>
                <a:gd name="connsiteX40" fmla="*/ 3484 w 10000"/>
                <a:gd name="connsiteY40" fmla="*/ 10502 h 10697"/>
                <a:gd name="connsiteX41" fmla="*/ 3258 w 10000"/>
                <a:gd name="connsiteY41" fmla="*/ 10697 h 10697"/>
                <a:gd name="connsiteX42" fmla="*/ 2830 w 10000"/>
                <a:gd name="connsiteY42" fmla="*/ 10502 h 10697"/>
                <a:gd name="connsiteX43" fmla="*/ 2176 w 10000"/>
                <a:gd name="connsiteY43" fmla="*/ 8627 h 10697"/>
                <a:gd name="connsiteX44" fmla="*/ 1736 w 10000"/>
                <a:gd name="connsiteY44" fmla="*/ 8002 h 10697"/>
                <a:gd name="connsiteX45" fmla="*/ 1522 w 10000"/>
                <a:gd name="connsiteY45" fmla="*/ 6752 h 10697"/>
                <a:gd name="connsiteX46" fmla="*/ 1522 w 10000"/>
                <a:gd name="connsiteY46" fmla="*/ 5905 h 10697"/>
                <a:gd name="connsiteX47" fmla="*/ 1308 w 10000"/>
                <a:gd name="connsiteY47" fmla="*/ 6322 h 10697"/>
                <a:gd name="connsiteX48" fmla="*/ 868 w 10000"/>
                <a:gd name="connsiteY48" fmla="*/ 6530 h 10697"/>
                <a:gd name="connsiteX49" fmla="*/ 214 w 10000"/>
                <a:gd name="connsiteY49" fmla="*/ 5905 h 10697"/>
                <a:gd name="connsiteX50" fmla="*/ 654 w 10000"/>
                <a:gd name="connsiteY50" fmla="*/ 5905 h 10697"/>
                <a:gd name="connsiteX51" fmla="*/ 654 w 10000"/>
                <a:gd name="connsiteY51" fmla="*/ 5697 h 10697"/>
                <a:gd name="connsiteX52" fmla="*/ 440 w 10000"/>
                <a:gd name="connsiteY52" fmla="*/ 5697 h 10697"/>
                <a:gd name="connsiteX53" fmla="*/ 0 w 10000"/>
                <a:gd name="connsiteY53" fmla="*/ 5502 h 10697"/>
                <a:gd name="connsiteX54" fmla="*/ 214 w 10000"/>
                <a:gd name="connsiteY54" fmla="*/ 5280 h 10697"/>
                <a:gd name="connsiteX55" fmla="*/ 868 w 10000"/>
                <a:gd name="connsiteY55" fmla="*/ 5280 h 10697"/>
                <a:gd name="connsiteX56" fmla="*/ 868 w 10000"/>
                <a:gd name="connsiteY56" fmla="*/ 5072 h 10697"/>
                <a:gd name="connsiteX57" fmla="*/ 868 w 10000"/>
                <a:gd name="connsiteY57" fmla="*/ 4655 h 10697"/>
                <a:gd name="connsiteX58" fmla="*/ 654 w 10000"/>
                <a:gd name="connsiteY58" fmla="*/ 4655 h 10697"/>
                <a:gd name="connsiteX59" fmla="*/ 654 w 10000"/>
                <a:gd name="connsiteY59" fmla="*/ 4447 h 10697"/>
                <a:gd name="connsiteX60" fmla="*/ 440 w 10000"/>
                <a:gd name="connsiteY60" fmla="*/ 4447 h 10697"/>
                <a:gd name="connsiteX61" fmla="*/ 440 w 10000"/>
                <a:gd name="connsiteY61" fmla="*/ 4030 h 10697"/>
                <a:gd name="connsiteX62" fmla="*/ 654 w 10000"/>
                <a:gd name="connsiteY62" fmla="*/ 3822 h 10697"/>
                <a:gd name="connsiteX63" fmla="*/ 868 w 10000"/>
                <a:gd name="connsiteY63" fmla="*/ 4030 h 10697"/>
                <a:gd name="connsiteX64" fmla="*/ 1308 w 10000"/>
                <a:gd name="connsiteY64" fmla="*/ 3822 h 10697"/>
                <a:gd name="connsiteX65" fmla="*/ 2390 w 10000"/>
                <a:gd name="connsiteY65" fmla="*/ 2572 h 10697"/>
                <a:gd name="connsiteX66" fmla="*/ 2176 w 10000"/>
                <a:gd name="connsiteY66" fmla="*/ 2377 h 10697"/>
                <a:gd name="connsiteX67" fmla="*/ 2390 w 10000"/>
                <a:gd name="connsiteY67" fmla="*/ 2377 h 10697"/>
                <a:gd name="connsiteX68" fmla="*/ 2390 w 10000"/>
                <a:gd name="connsiteY68" fmla="*/ 2155 h 10697"/>
                <a:gd name="connsiteX69" fmla="*/ 1962 w 10000"/>
                <a:gd name="connsiteY69" fmla="*/ 1947 h 10697"/>
                <a:gd name="connsiteX70" fmla="*/ 2176 w 10000"/>
                <a:gd name="connsiteY70" fmla="*/ 1530 h 10697"/>
                <a:gd name="connsiteX71" fmla="*/ 1962 w 10000"/>
                <a:gd name="connsiteY71" fmla="*/ 1322 h 10697"/>
                <a:gd name="connsiteX72" fmla="*/ 2176 w 10000"/>
                <a:gd name="connsiteY72" fmla="*/ 920 h 10697"/>
                <a:gd name="connsiteX73" fmla="*/ 1715 w 10000"/>
                <a:gd name="connsiteY73" fmla="*/ 359 h 10697"/>
                <a:gd name="connsiteX74" fmla="*/ 2209 w 10000"/>
                <a:gd name="connsiteY74" fmla="*/ 100 h 10697"/>
                <a:gd name="connsiteX75" fmla="*/ 2850 w 10000"/>
                <a:gd name="connsiteY75" fmla="*/ 588 h 10697"/>
                <a:gd name="connsiteX76" fmla="*/ 3258 w 10000"/>
                <a:gd name="connsiteY76" fmla="*/ 905 h 10697"/>
                <a:gd name="connsiteX77" fmla="*/ 3912 w 10000"/>
                <a:gd name="connsiteY77" fmla="*/ 697 h 10697"/>
                <a:gd name="connsiteX78" fmla="*/ 4126 w 10000"/>
                <a:gd name="connsiteY78" fmla="*/ 905 h 10697"/>
                <a:gd name="connsiteX79" fmla="*/ 4126 w 10000"/>
                <a:gd name="connsiteY79" fmla="*/ 1322 h 10697"/>
                <a:gd name="connsiteX80" fmla="*/ 3698 w 10000"/>
                <a:gd name="connsiteY80" fmla="*/ 1752 h 10697"/>
                <a:gd name="connsiteX81" fmla="*/ 3912 w 10000"/>
                <a:gd name="connsiteY81" fmla="*/ 2155 h 10697"/>
                <a:gd name="connsiteX82" fmla="*/ 3484 w 10000"/>
                <a:gd name="connsiteY82" fmla="*/ 2155 h 10697"/>
                <a:gd name="connsiteX83" fmla="*/ 3698 w 10000"/>
                <a:gd name="connsiteY83" fmla="*/ 2780 h 10697"/>
                <a:gd name="connsiteX84" fmla="*/ 4352 w 10000"/>
                <a:gd name="connsiteY84" fmla="*/ 3002 h 10697"/>
                <a:gd name="connsiteX85" fmla="*/ 4126 w 10000"/>
                <a:gd name="connsiteY85" fmla="*/ 3627 h 10697"/>
                <a:gd name="connsiteX86" fmla="*/ 4566 w 10000"/>
                <a:gd name="connsiteY86" fmla="*/ 3822 h 10697"/>
                <a:gd name="connsiteX87" fmla="*/ 6516 w 10000"/>
                <a:gd name="connsiteY87" fmla="*/ 4447 h 10697"/>
                <a:gd name="connsiteX88" fmla="*/ 6742 w 10000"/>
                <a:gd name="connsiteY88" fmla="*/ 4447 h 10697"/>
                <a:gd name="connsiteX89" fmla="*/ 6742 w 10000"/>
                <a:gd name="connsiteY89" fmla="*/ 4252 h 10697"/>
                <a:gd name="connsiteX90" fmla="*/ 6742 w 10000"/>
                <a:gd name="connsiteY90" fmla="*/ 3822 h 10697"/>
                <a:gd name="connsiteX91" fmla="*/ 6956 w 10000"/>
                <a:gd name="connsiteY91" fmla="*/ 3822 h 10697"/>
                <a:gd name="connsiteX92" fmla="*/ 7170 w 10000"/>
                <a:gd name="connsiteY92" fmla="*/ 4030 h 10697"/>
                <a:gd name="connsiteX93" fmla="*/ 7170 w 10000"/>
                <a:gd name="connsiteY93" fmla="*/ 4252 h 10697"/>
                <a:gd name="connsiteX94" fmla="*/ 8038 w 10000"/>
                <a:gd name="connsiteY94" fmla="*/ 4252 h 10697"/>
                <a:gd name="connsiteX95" fmla="*/ 8264 w 10000"/>
                <a:gd name="connsiteY95" fmla="*/ 4252 h 10697"/>
                <a:gd name="connsiteX96" fmla="*/ 8038 w 10000"/>
                <a:gd name="connsiteY96" fmla="*/ 3822 h 10697"/>
                <a:gd name="connsiteX97" fmla="*/ 9132 w 10000"/>
                <a:gd name="connsiteY97" fmla="*/ 3405 h 1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000" h="10697">
                  <a:moveTo>
                    <a:pt x="9132" y="3405"/>
                  </a:moveTo>
                  <a:lnTo>
                    <a:pt x="9132" y="3405"/>
                  </a:lnTo>
                  <a:lnTo>
                    <a:pt x="9560" y="3405"/>
                  </a:lnTo>
                  <a:lnTo>
                    <a:pt x="10000" y="3822"/>
                  </a:lnTo>
                  <a:lnTo>
                    <a:pt x="10000" y="4252"/>
                  </a:lnTo>
                  <a:lnTo>
                    <a:pt x="9560" y="4252"/>
                  </a:lnTo>
                  <a:lnTo>
                    <a:pt x="9346" y="4447"/>
                  </a:lnTo>
                  <a:lnTo>
                    <a:pt x="8918" y="5280"/>
                  </a:lnTo>
                  <a:lnTo>
                    <a:pt x="8692" y="5502"/>
                  </a:lnTo>
                  <a:lnTo>
                    <a:pt x="8478" y="5905"/>
                  </a:lnTo>
                  <a:lnTo>
                    <a:pt x="8478" y="6127"/>
                  </a:lnTo>
                  <a:lnTo>
                    <a:pt x="8264" y="5502"/>
                  </a:lnTo>
                  <a:lnTo>
                    <a:pt x="8264" y="5280"/>
                  </a:lnTo>
                  <a:lnTo>
                    <a:pt x="8038" y="5502"/>
                  </a:lnTo>
                  <a:lnTo>
                    <a:pt x="7824" y="5502"/>
                  </a:lnTo>
                  <a:lnTo>
                    <a:pt x="7824" y="5280"/>
                  </a:lnTo>
                  <a:lnTo>
                    <a:pt x="8264" y="4877"/>
                  </a:lnTo>
                  <a:lnTo>
                    <a:pt x="7396" y="4877"/>
                  </a:lnTo>
                  <a:lnTo>
                    <a:pt x="7396" y="4447"/>
                  </a:lnTo>
                  <a:lnTo>
                    <a:pt x="7170" y="4447"/>
                  </a:lnTo>
                  <a:lnTo>
                    <a:pt x="6956" y="4447"/>
                  </a:lnTo>
                  <a:lnTo>
                    <a:pt x="6956" y="4655"/>
                  </a:lnTo>
                  <a:lnTo>
                    <a:pt x="6742" y="5072"/>
                  </a:lnTo>
                  <a:lnTo>
                    <a:pt x="6956" y="5072"/>
                  </a:lnTo>
                  <a:cubicBezTo>
                    <a:pt x="7027" y="5424"/>
                    <a:pt x="7099" y="5775"/>
                    <a:pt x="7170" y="6127"/>
                  </a:cubicBezTo>
                  <a:lnTo>
                    <a:pt x="6956" y="6127"/>
                  </a:lnTo>
                  <a:lnTo>
                    <a:pt x="6956" y="5905"/>
                  </a:lnTo>
                  <a:lnTo>
                    <a:pt x="6516" y="6127"/>
                  </a:lnTo>
                  <a:lnTo>
                    <a:pt x="6302" y="6752"/>
                  </a:lnTo>
                  <a:lnTo>
                    <a:pt x="5874" y="6947"/>
                  </a:lnTo>
                  <a:lnTo>
                    <a:pt x="4780" y="7780"/>
                  </a:lnTo>
                  <a:lnTo>
                    <a:pt x="4780" y="8002"/>
                  </a:lnTo>
                  <a:lnTo>
                    <a:pt x="4566" y="8002"/>
                  </a:lnTo>
                  <a:lnTo>
                    <a:pt x="4352" y="8197"/>
                  </a:lnTo>
                  <a:lnTo>
                    <a:pt x="4126" y="8197"/>
                  </a:lnTo>
                  <a:lnTo>
                    <a:pt x="4126" y="8392"/>
                  </a:lnTo>
                  <a:lnTo>
                    <a:pt x="4126" y="9017"/>
                  </a:lnTo>
                  <a:lnTo>
                    <a:pt x="3912" y="9447"/>
                  </a:lnTo>
                  <a:lnTo>
                    <a:pt x="3912" y="10072"/>
                  </a:lnTo>
                  <a:lnTo>
                    <a:pt x="3698" y="10267"/>
                  </a:lnTo>
                  <a:lnTo>
                    <a:pt x="3484" y="10502"/>
                  </a:lnTo>
                  <a:lnTo>
                    <a:pt x="3258" y="10697"/>
                  </a:lnTo>
                  <a:lnTo>
                    <a:pt x="2830" y="10502"/>
                  </a:lnTo>
                  <a:lnTo>
                    <a:pt x="2176" y="8627"/>
                  </a:lnTo>
                  <a:lnTo>
                    <a:pt x="1736" y="8002"/>
                  </a:lnTo>
                  <a:cubicBezTo>
                    <a:pt x="1665" y="7585"/>
                    <a:pt x="1593" y="7169"/>
                    <a:pt x="1522" y="6752"/>
                  </a:cubicBezTo>
                  <a:lnTo>
                    <a:pt x="1522" y="5905"/>
                  </a:lnTo>
                  <a:lnTo>
                    <a:pt x="1308" y="6322"/>
                  </a:lnTo>
                  <a:lnTo>
                    <a:pt x="868" y="6530"/>
                  </a:lnTo>
                  <a:lnTo>
                    <a:pt x="214" y="5905"/>
                  </a:lnTo>
                  <a:lnTo>
                    <a:pt x="654" y="5905"/>
                  </a:lnTo>
                  <a:lnTo>
                    <a:pt x="654" y="5697"/>
                  </a:lnTo>
                  <a:lnTo>
                    <a:pt x="440" y="5697"/>
                  </a:lnTo>
                  <a:lnTo>
                    <a:pt x="0" y="5502"/>
                  </a:lnTo>
                  <a:lnTo>
                    <a:pt x="214" y="5280"/>
                  </a:lnTo>
                  <a:lnTo>
                    <a:pt x="868" y="5280"/>
                  </a:lnTo>
                  <a:lnTo>
                    <a:pt x="868" y="5072"/>
                  </a:lnTo>
                  <a:lnTo>
                    <a:pt x="868" y="4655"/>
                  </a:lnTo>
                  <a:lnTo>
                    <a:pt x="654" y="4655"/>
                  </a:lnTo>
                  <a:lnTo>
                    <a:pt x="654" y="4447"/>
                  </a:lnTo>
                  <a:lnTo>
                    <a:pt x="440" y="4447"/>
                  </a:lnTo>
                  <a:lnTo>
                    <a:pt x="440" y="4030"/>
                  </a:lnTo>
                  <a:lnTo>
                    <a:pt x="654" y="3822"/>
                  </a:lnTo>
                  <a:lnTo>
                    <a:pt x="868" y="4030"/>
                  </a:lnTo>
                  <a:lnTo>
                    <a:pt x="1308" y="3822"/>
                  </a:lnTo>
                  <a:lnTo>
                    <a:pt x="2390" y="2572"/>
                  </a:lnTo>
                  <a:lnTo>
                    <a:pt x="2176" y="2377"/>
                  </a:lnTo>
                  <a:lnTo>
                    <a:pt x="2390" y="2377"/>
                  </a:lnTo>
                  <a:lnTo>
                    <a:pt x="2390" y="2155"/>
                  </a:lnTo>
                  <a:lnTo>
                    <a:pt x="1962" y="1947"/>
                  </a:lnTo>
                  <a:lnTo>
                    <a:pt x="2176" y="1530"/>
                  </a:lnTo>
                  <a:lnTo>
                    <a:pt x="1962" y="1322"/>
                  </a:lnTo>
                  <a:lnTo>
                    <a:pt x="2176" y="920"/>
                  </a:lnTo>
                  <a:lnTo>
                    <a:pt x="1715" y="359"/>
                  </a:lnTo>
                  <a:cubicBezTo>
                    <a:pt x="1692" y="459"/>
                    <a:pt x="2232" y="0"/>
                    <a:pt x="2209" y="100"/>
                  </a:cubicBezTo>
                  <a:cubicBezTo>
                    <a:pt x="2219" y="323"/>
                    <a:pt x="2840" y="365"/>
                    <a:pt x="2850" y="588"/>
                  </a:cubicBezTo>
                  <a:lnTo>
                    <a:pt x="3258" y="905"/>
                  </a:lnTo>
                  <a:lnTo>
                    <a:pt x="3912" y="697"/>
                  </a:lnTo>
                  <a:lnTo>
                    <a:pt x="4126" y="905"/>
                  </a:lnTo>
                  <a:lnTo>
                    <a:pt x="4126" y="1322"/>
                  </a:lnTo>
                  <a:lnTo>
                    <a:pt x="3698" y="1752"/>
                  </a:lnTo>
                  <a:lnTo>
                    <a:pt x="3912" y="2155"/>
                  </a:lnTo>
                  <a:lnTo>
                    <a:pt x="3484" y="2155"/>
                  </a:lnTo>
                  <a:lnTo>
                    <a:pt x="3698" y="2780"/>
                  </a:lnTo>
                  <a:lnTo>
                    <a:pt x="4352" y="3002"/>
                  </a:lnTo>
                  <a:lnTo>
                    <a:pt x="4126" y="3627"/>
                  </a:lnTo>
                  <a:lnTo>
                    <a:pt x="4566" y="3822"/>
                  </a:lnTo>
                  <a:lnTo>
                    <a:pt x="6516" y="4447"/>
                  </a:lnTo>
                  <a:lnTo>
                    <a:pt x="6742" y="4447"/>
                  </a:lnTo>
                  <a:lnTo>
                    <a:pt x="6742" y="4252"/>
                  </a:lnTo>
                  <a:lnTo>
                    <a:pt x="6742" y="3822"/>
                  </a:lnTo>
                  <a:lnTo>
                    <a:pt x="6956" y="3822"/>
                  </a:lnTo>
                  <a:lnTo>
                    <a:pt x="7170" y="4030"/>
                  </a:lnTo>
                  <a:lnTo>
                    <a:pt x="7170" y="4252"/>
                  </a:lnTo>
                  <a:lnTo>
                    <a:pt x="8038" y="4252"/>
                  </a:lnTo>
                  <a:lnTo>
                    <a:pt x="8264" y="4252"/>
                  </a:lnTo>
                  <a:lnTo>
                    <a:pt x="8038" y="3822"/>
                  </a:lnTo>
                  <a:lnTo>
                    <a:pt x="9132" y="3405"/>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992" name="Freeform 70"/>
            <p:cNvSpPr>
              <a:spLocks/>
            </p:cNvSpPr>
            <p:nvPr>
              <p:custDataLst>
                <p:tags r:id="rId21"/>
              </p:custDataLst>
            </p:nvPr>
          </p:nvSpPr>
          <p:spPr bwMode="auto">
            <a:xfrm>
              <a:off x="7211609" y="4055538"/>
              <a:ext cx="334391" cy="329809"/>
            </a:xfrm>
            <a:custGeom>
              <a:avLst/>
              <a:gdLst>
                <a:gd name="T0" fmla="*/ 2 w 449"/>
                <a:gd name="T1" fmla="*/ 44 h 401"/>
                <a:gd name="T2" fmla="*/ 2 w 449"/>
                <a:gd name="T3" fmla="*/ 44 h 401"/>
                <a:gd name="T4" fmla="*/ 2 w 449"/>
                <a:gd name="T5" fmla="*/ 40 h 401"/>
                <a:gd name="T6" fmla="*/ 6 w 449"/>
                <a:gd name="T7" fmla="*/ 38 h 401"/>
                <a:gd name="T8" fmla="*/ 4 w 449"/>
                <a:gd name="T9" fmla="*/ 34 h 401"/>
                <a:gd name="T10" fmla="*/ 2 w 449"/>
                <a:gd name="T11" fmla="*/ 32 h 401"/>
                <a:gd name="T12" fmla="*/ 0 w 449"/>
                <a:gd name="T13" fmla="*/ 28 h 401"/>
                <a:gd name="T14" fmla="*/ 4 w 449"/>
                <a:gd name="T15" fmla="*/ 30 h 401"/>
                <a:gd name="T16" fmla="*/ 17 w 449"/>
                <a:gd name="T17" fmla="*/ 28 h 401"/>
                <a:gd name="T18" fmla="*/ 17 w 449"/>
                <a:gd name="T19" fmla="*/ 24 h 401"/>
                <a:gd name="T20" fmla="*/ 19 w 449"/>
                <a:gd name="T21" fmla="*/ 22 h 401"/>
                <a:gd name="T22" fmla="*/ 28 w 449"/>
                <a:gd name="T23" fmla="*/ 20 h 401"/>
                <a:gd name="T24" fmla="*/ 28 w 449"/>
                <a:gd name="T25" fmla="*/ 16 h 401"/>
                <a:gd name="T26" fmla="*/ 30 w 449"/>
                <a:gd name="T27" fmla="*/ 14 h 401"/>
                <a:gd name="T28" fmla="*/ 30 w 449"/>
                <a:gd name="T29" fmla="*/ 12 h 401"/>
                <a:gd name="T30" fmla="*/ 32 w 449"/>
                <a:gd name="T31" fmla="*/ 12 h 401"/>
                <a:gd name="T32" fmla="*/ 34 w 449"/>
                <a:gd name="T33" fmla="*/ 8 h 401"/>
                <a:gd name="T34" fmla="*/ 34 w 449"/>
                <a:gd name="T35" fmla="*/ 4 h 401"/>
                <a:gd name="T36" fmla="*/ 38 w 449"/>
                <a:gd name="T37" fmla="*/ 2 h 401"/>
                <a:gd name="T38" fmla="*/ 43 w 449"/>
                <a:gd name="T39" fmla="*/ 0 h 401"/>
                <a:gd name="T40" fmla="*/ 45 w 449"/>
                <a:gd name="T41" fmla="*/ 0 h 401"/>
                <a:gd name="T42" fmla="*/ 49 w 449"/>
                <a:gd name="T43" fmla="*/ 2 h 401"/>
                <a:gd name="T44" fmla="*/ 51 w 449"/>
                <a:gd name="T45" fmla="*/ 4 h 401"/>
                <a:gd name="T46" fmla="*/ 56 w 449"/>
                <a:gd name="T47" fmla="*/ 6 h 401"/>
                <a:gd name="T48" fmla="*/ 54 w 449"/>
                <a:gd name="T49" fmla="*/ 8 h 401"/>
                <a:gd name="T50" fmla="*/ 49 w 449"/>
                <a:gd name="T51" fmla="*/ 10 h 401"/>
                <a:gd name="T52" fmla="*/ 45 w 449"/>
                <a:gd name="T53" fmla="*/ 8 h 401"/>
                <a:gd name="T54" fmla="*/ 43 w 449"/>
                <a:gd name="T55" fmla="*/ 10 h 401"/>
                <a:gd name="T56" fmla="*/ 45 w 449"/>
                <a:gd name="T57" fmla="*/ 12 h 401"/>
                <a:gd name="T58" fmla="*/ 43 w 449"/>
                <a:gd name="T59" fmla="*/ 16 h 401"/>
                <a:gd name="T60" fmla="*/ 47 w 449"/>
                <a:gd name="T61" fmla="*/ 18 h 401"/>
                <a:gd name="T62" fmla="*/ 47 w 449"/>
                <a:gd name="T63" fmla="*/ 20 h 401"/>
                <a:gd name="T64" fmla="*/ 45 w 449"/>
                <a:gd name="T65" fmla="*/ 20 h 401"/>
                <a:gd name="T66" fmla="*/ 47 w 449"/>
                <a:gd name="T67" fmla="*/ 22 h 401"/>
                <a:gd name="T68" fmla="*/ 36 w 449"/>
                <a:gd name="T69" fmla="*/ 34 h 401"/>
                <a:gd name="T70" fmla="*/ 32 w 449"/>
                <a:gd name="T71" fmla="*/ 36 h 401"/>
                <a:gd name="T72" fmla="*/ 30 w 449"/>
                <a:gd name="T73" fmla="*/ 34 h 401"/>
                <a:gd name="T74" fmla="*/ 28 w 449"/>
                <a:gd name="T75" fmla="*/ 36 h 401"/>
                <a:gd name="T76" fmla="*/ 28 w 449"/>
                <a:gd name="T77" fmla="*/ 40 h 401"/>
                <a:gd name="T78" fmla="*/ 30 w 449"/>
                <a:gd name="T79" fmla="*/ 40 h 401"/>
                <a:gd name="T80" fmla="*/ 30 w 449"/>
                <a:gd name="T81" fmla="*/ 42 h 401"/>
                <a:gd name="T82" fmla="*/ 32 w 449"/>
                <a:gd name="T83" fmla="*/ 42 h 401"/>
                <a:gd name="T84" fmla="*/ 32 w 449"/>
                <a:gd name="T85" fmla="*/ 46 h 401"/>
                <a:gd name="T86" fmla="*/ 32 w 449"/>
                <a:gd name="T87" fmla="*/ 48 h 401"/>
                <a:gd name="T88" fmla="*/ 25 w 449"/>
                <a:gd name="T89" fmla="*/ 48 h 401"/>
                <a:gd name="T90" fmla="*/ 23 w 449"/>
                <a:gd name="T91" fmla="*/ 50 h 401"/>
                <a:gd name="T92" fmla="*/ 21 w 449"/>
                <a:gd name="T93" fmla="*/ 48 h 401"/>
                <a:gd name="T94" fmla="*/ 19 w 449"/>
                <a:gd name="T95" fmla="*/ 44 h 401"/>
                <a:gd name="T96" fmla="*/ 13 w 449"/>
                <a:gd name="T97" fmla="*/ 44 h 401"/>
                <a:gd name="T98" fmla="*/ 8 w 449"/>
                <a:gd name="T99" fmla="*/ 44 h 401"/>
                <a:gd name="T100" fmla="*/ 2 w 449"/>
                <a:gd name="T101" fmla="*/ 44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6927 w 10000"/>
                <a:gd name="connsiteY18" fmla="*/ 424 h 10000"/>
                <a:gd name="connsiteX19" fmla="*/ 7706 w 10000"/>
                <a:gd name="connsiteY19" fmla="*/ 0 h 10000"/>
                <a:gd name="connsiteX20" fmla="*/ 8085 w 10000"/>
                <a:gd name="connsiteY20" fmla="*/ 0 h 10000"/>
                <a:gd name="connsiteX21" fmla="*/ 8842 w 10000"/>
                <a:gd name="connsiteY21" fmla="*/ 424 h 10000"/>
                <a:gd name="connsiteX22" fmla="*/ 9243 w 10000"/>
                <a:gd name="connsiteY22" fmla="*/ 798 h 10000"/>
                <a:gd name="connsiteX23" fmla="*/ 10000 w 10000"/>
                <a:gd name="connsiteY23" fmla="*/ 1197 h 10000"/>
                <a:gd name="connsiteX24" fmla="*/ 9621 w 10000"/>
                <a:gd name="connsiteY24" fmla="*/ 1621 h 10000"/>
                <a:gd name="connsiteX25" fmla="*/ 8842 w 10000"/>
                <a:gd name="connsiteY25" fmla="*/ 1995 h 10000"/>
                <a:gd name="connsiteX26" fmla="*/ 8025 w 10000"/>
                <a:gd name="connsiteY26" fmla="*/ 1133 h 10000"/>
                <a:gd name="connsiteX27" fmla="*/ 7706 w 10000"/>
                <a:gd name="connsiteY27" fmla="*/ 1995 h 10000"/>
                <a:gd name="connsiteX28" fmla="*/ 8085 w 10000"/>
                <a:gd name="connsiteY28" fmla="*/ 2394 h 10000"/>
                <a:gd name="connsiteX29" fmla="*/ 7706 w 10000"/>
                <a:gd name="connsiteY29" fmla="*/ 3192 h 10000"/>
                <a:gd name="connsiteX30" fmla="*/ 8463 w 10000"/>
                <a:gd name="connsiteY30" fmla="*/ 3591 h 10000"/>
                <a:gd name="connsiteX31" fmla="*/ 8463 w 10000"/>
                <a:gd name="connsiteY31" fmla="*/ 4015 h 10000"/>
                <a:gd name="connsiteX32" fmla="*/ 8085 w 10000"/>
                <a:gd name="connsiteY32" fmla="*/ 4015 h 10000"/>
                <a:gd name="connsiteX33" fmla="*/ 8463 w 10000"/>
                <a:gd name="connsiteY33" fmla="*/ 4389 h 10000"/>
                <a:gd name="connsiteX34" fmla="*/ 6548 w 10000"/>
                <a:gd name="connsiteY34" fmla="*/ 6783 h 10000"/>
                <a:gd name="connsiteX35" fmla="*/ 5768 w 10000"/>
                <a:gd name="connsiteY35" fmla="*/ 7182 h 10000"/>
                <a:gd name="connsiteX36" fmla="*/ 5390 w 10000"/>
                <a:gd name="connsiteY36" fmla="*/ 6783 h 10000"/>
                <a:gd name="connsiteX37" fmla="*/ 5011 w 10000"/>
                <a:gd name="connsiteY37" fmla="*/ 7182 h 10000"/>
                <a:gd name="connsiteX38" fmla="*/ 5011 w 10000"/>
                <a:gd name="connsiteY38" fmla="*/ 7980 h 10000"/>
                <a:gd name="connsiteX39" fmla="*/ 5390 w 10000"/>
                <a:gd name="connsiteY39" fmla="*/ 7980 h 10000"/>
                <a:gd name="connsiteX40" fmla="*/ 5390 w 10000"/>
                <a:gd name="connsiteY40" fmla="*/ 8379 h 10000"/>
                <a:gd name="connsiteX41" fmla="*/ 5768 w 10000"/>
                <a:gd name="connsiteY41" fmla="*/ 8379 h 10000"/>
                <a:gd name="connsiteX42" fmla="*/ 5768 w 10000"/>
                <a:gd name="connsiteY42" fmla="*/ 9177 h 10000"/>
                <a:gd name="connsiteX43" fmla="*/ 5768 w 10000"/>
                <a:gd name="connsiteY43" fmla="*/ 9576 h 10000"/>
                <a:gd name="connsiteX44" fmla="*/ 4610 w 10000"/>
                <a:gd name="connsiteY44" fmla="*/ 9576 h 10000"/>
                <a:gd name="connsiteX45" fmla="*/ 4232 w 10000"/>
                <a:gd name="connsiteY45" fmla="*/ 10000 h 10000"/>
                <a:gd name="connsiteX46" fmla="*/ 3853 w 10000"/>
                <a:gd name="connsiteY46" fmla="*/ 9576 h 10000"/>
                <a:gd name="connsiteX47" fmla="*/ 3474 w 10000"/>
                <a:gd name="connsiteY47" fmla="*/ 8803 h 10000"/>
                <a:gd name="connsiteX48" fmla="*/ 2316 w 10000"/>
                <a:gd name="connsiteY48" fmla="*/ 8803 h 10000"/>
                <a:gd name="connsiteX49" fmla="*/ 1537 w 10000"/>
                <a:gd name="connsiteY49" fmla="*/ 8803 h 10000"/>
                <a:gd name="connsiteX50" fmla="*/ 379 w 10000"/>
                <a:gd name="connsiteY50" fmla="*/ 8803 h 10000"/>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7168 w 10000"/>
                <a:gd name="connsiteY18" fmla="*/ 354 h 10000"/>
                <a:gd name="connsiteX19" fmla="*/ 7706 w 10000"/>
                <a:gd name="connsiteY19" fmla="*/ 0 h 10000"/>
                <a:gd name="connsiteX20" fmla="*/ 8085 w 10000"/>
                <a:gd name="connsiteY20" fmla="*/ 0 h 10000"/>
                <a:gd name="connsiteX21" fmla="*/ 8842 w 10000"/>
                <a:gd name="connsiteY21" fmla="*/ 424 h 10000"/>
                <a:gd name="connsiteX22" fmla="*/ 9243 w 10000"/>
                <a:gd name="connsiteY22" fmla="*/ 798 h 10000"/>
                <a:gd name="connsiteX23" fmla="*/ 10000 w 10000"/>
                <a:gd name="connsiteY23" fmla="*/ 1197 h 10000"/>
                <a:gd name="connsiteX24" fmla="*/ 9621 w 10000"/>
                <a:gd name="connsiteY24" fmla="*/ 1621 h 10000"/>
                <a:gd name="connsiteX25" fmla="*/ 8842 w 10000"/>
                <a:gd name="connsiteY25" fmla="*/ 1995 h 10000"/>
                <a:gd name="connsiteX26" fmla="*/ 8025 w 10000"/>
                <a:gd name="connsiteY26" fmla="*/ 1133 h 10000"/>
                <a:gd name="connsiteX27" fmla="*/ 7706 w 10000"/>
                <a:gd name="connsiteY27" fmla="*/ 1995 h 10000"/>
                <a:gd name="connsiteX28" fmla="*/ 8085 w 10000"/>
                <a:gd name="connsiteY28" fmla="*/ 2394 h 10000"/>
                <a:gd name="connsiteX29" fmla="*/ 7706 w 10000"/>
                <a:gd name="connsiteY29" fmla="*/ 3192 h 10000"/>
                <a:gd name="connsiteX30" fmla="*/ 8463 w 10000"/>
                <a:gd name="connsiteY30" fmla="*/ 3591 h 10000"/>
                <a:gd name="connsiteX31" fmla="*/ 8463 w 10000"/>
                <a:gd name="connsiteY31" fmla="*/ 4015 h 10000"/>
                <a:gd name="connsiteX32" fmla="*/ 8085 w 10000"/>
                <a:gd name="connsiteY32" fmla="*/ 4015 h 10000"/>
                <a:gd name="connsiteX33" fmla="*/ 8463 w 10000"/>
                <a:gd name="connsiteY33" fmla="*/ 4389 h 10000"/>
                <a:gd name="connsiteX34" fmla="*/ 6548 w 10000"/>
                <a:gd name="connsiteY34" fmla="*/ 6783 h 10000"/>
                <a:gd name="connsiteX35" fmla="*/ 5768 w 10000"/>
                <a:gd name="connsiteY35" fmla="*/ 7182 h 10000"/>
                <a:gd name="connsiteX36" fmla="*/ 5390 w 10000"/>
                <a:gd name="connsiteY36" fmla="*/ 6783 h 10000"/>
                <a:gd name="connsiteX37" fmla="*/ 5011 w 10000"/>
                <a:gd name="connsiteY37" fmla="*/ 7182 h 10000"/>
                <a:gd name="connsiteX38" fmla="*/ 5011 w 10000"/>
                <a:gd name="connsiteY38" fmla="*/ 7980 h 10000"/>
                <a:gd name="connsiteX39" fmla="*/ 5390 w 10000"/>
                <a:gd name="connsiteY39" fmla="*/ 7980 h 10000"/>
                <a:gd name="connsiteX40" fmla="*/ 5390 w 10000"/>
                <a:gd name="connsiteY40" fmla="*/ 8379 h 10000"/>
                <a:gd name="connsiteX41" fmla="*/ 5768 w 10000"/>
                <a:gd name="connsiteY41" fmla="*/ 8379 h 10000"/>
                <a:gd name="connsiteX42" fmla="*/ 5768 w 10000"/>
                <a:gd name="connsiteY42" fmla="*/ 9177 h 10000"/>
                <a:gd name="connsiteX43" fmla="*/ 5768 w 10000"/>
                <a:gd name="connsiteY43" fmla="*/ 9576 h 10000"/>
                <a:gd name="connsiteX44" fmla="*/ 4610 w 10000"/>
                <a:gd name="connsiteY44" fmla="*/ 9576 h 10000"/>
                <a:gd name="connsiteX45" fmla="*/ 4232 w 10000"/>
                <a:gd name="connsiteY45" fmla="*/ 10000 h 10000"/>
                <a:gd name="connsiteX46" fmla="*/ 3853 w 10000"/>
                <a:gd name="connsiteY46" fmla="*/ 9576 h 10000"/>
                <a:gd name="connsiteX47" fmla="*/ 3474 w 10000"/>
                <a:gd name="connsiteY47" fmla="*/ 8803 h 10000"/>
                <a:gd name="connsiteX48" fmla="*/ 2316 w 10000"/>
                <a:gd name="connsiteY48" fmla="*/ 8803 h 10000"/>
                <a:gd name="connsiteX49" fmla="*/ 1537 w 10000"/>
                <a:gd name="connsiteY49" fmla="*/ 8803 h 10000"/>
                <a:gd name="connsiteX50" fmla="*/ 379 w 10000"/>
                <a:gd name="connsiteY50" fmla="*/ 8803 h 10000"/>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7168 w 10000"/>
                <a:gd name="connsiteY18" fmla="*/ 354 h 10000"/>
                <a:gd name="connsiteX19" fmla="*/ 7706 w 10000"/>
                <a:gd name="connsiteY19" fmla="*/ 0 h 10000"/>
                <a:gd name="connsiteX20" fmla="*/ 8842 w 10000"/>
                <a:gd name="connsiteY20" fmla="*/ 424 h 10000"/>
                <a:gd name="connsiteX21" fmla="*/ 9243 w 10000"/>
                <a:gd name="connsiteY21" fmla="*/ 798 h 10000"/>
                <a:gd name="connsiteX22" fmla="*/ 10000 w 10000"/>
                <a:gd name="connsiteY22" fmla="*/ 1197 h 10000"/>
                <a:gd name="connsiteX23" fmla="*/ 9621 w 10000"/>
                <a:gd name="connsiteY23" fmla="*/ 1621 h 10000"/>
                <a:gd name="connsiteX24" fmla="*/ 8842 w 10000"/>
                <a:gd name="connsiteY24" fmla="*/ 1995 h 10000"/>
                <a:gd name="connsiteX25" fmla="*/ 8025 w 10000"/>
                <a:gd name="connsiteY25" fmla="*/ 1133 h 10000"/>
                <a:gd name="connsiteX26" fmla="*/ 7706 w 10000"/>
                <a:gd name="connsiteY26" fmla="*/ 1995 h 10000"/>
                <a:gd name="connsiteX27" fmla="*/ 8085 w 10000"/>
                <a:gd name="connsiteY27" fmla="*/ 2394 h 10000"/>
                <a:gd name="connsiteX28" fmla="*/ 7706 w 10000"/>
                <a:gd name="connsiteY28" fmla="*/ 3192 h 10000"/>
                <a:gd name="connsiteX29" fmla="*/ 8463 w 10000"/>
                <a:gd name="connsiteY29" fmla="*/ 3591 h 10000"/>
                <a:gd name="connsiteX30" fmla="*/ 8463 w 10000"/>
                <a:gd name="connsiteY30" fmla="*/ 4015 h 10000"/>
                <a:gd name="connsiteX31" fmla="*/ 8085 w 10000"/>
                <a:gd name="connsiteY31" fmla="*/ 4015 h 10000"/>
                <a:gd name="connsiteX32" fmla="*/ 8463 w 10000"/>
                <a:gd name="connsiteY32" fmla="*/ 4389 h 10000"/>
                <a:gd name="connsiteX33" fmla="*/ 6548 w 10000"/>
                <a:gd name="connsiteY33" fmla="*/ 6783 h 10000"/>
                <a:gd name="connsiteX34" fmla="*/ 5768 w 10000"/>
                <a:gd name="connsiteY34" fmla="*/ 7182 h 10000"/>
                <a:gd name="connsiteX35" fmla="*/ 5390 w 10000"/>
                <a:gd name="connsiteY35" fmla="*/ 6783 h 10000"/>
                <a:gd name="connsiteX36" fmla="*/ 5011 w 10000"/>
                <a:gd name="connsiteY36" fmla="*/ 7182 h 10000"/>
                <a:gd name="connsiteX37" fmla="*/ 5011 w 10000"/>
                <a:gd name="connsiteY37" fmla="*/ 7980 h 10000"/>
                <a:gd name="connsiteX38" fmla="*/ 5390 w 10000"/>
                <a:gd name="connsiteY38" fmla="*/ 7980 h 10000"/>
                <a:gd name="connsiteX39" fmla="*/ 5390 w 10000"/>
                <a:gd name="connsiteY39" fmla="*/ 8379 h 10000"/>
                <a:gd name="connsiteX40" fmla="*/ 5768 w 10000"/>
                <a:gd name="connsiteY40" fmla="*/ 8379 h 10000"/>
                <a:gd name="connsiteX41" fmla="*/ 5768 w 10000"/>
                <a:gd name="connsiteY41" fmla="*/ 9177 h 10000"/>
                <a:gd name="connsiteX42" fmla="*/ 5768 w 10000"/>
                <a:gd name="connsiteY42" fmla="*/ 9576 h 10000"/>
                <a:gd name="connsiteX43" fmla="*/ 4610 w 10000"/>
                <a:gd name="connsiteY43" fmla="*/ 9576 h 10000"/>
                <a:gd name="connsiteX44" fmla="*/ 4232 w 10000"/>
                <a:gd name="connsiteY44" fmla="*/ 10000 h 10000"/>
                <a:gd name="connsiteX45" fmla="*/ 3853 w 10000"/>
                <a:gd name="connsiteY45" fmla="*/ 9576 h 10000"/>
                <a:gd name="connsiteX46" fmla="*/ 3474 w 10000"/>
                <a:gd name="connsiteY46" fmla="*/ 8803 h 10000"/>
                <a:gd name="connsiteX47" fmla="*/ 2316 w 10000"/>
                <a:gd name="connsiteY47" fmla="*/ 8803 h 10000"/>
                <a:gd name="connsiteX48" fmla="*/ 1537 w 10000"/>
                <a:gd name="connsiteY48" fmla="*/ 8803 h 10000"/>
                <a:gd name="connsiteX49" fmla="*/ 379 w 10000"/>
                <a:gd name="connsiteY49" fmla="*/ 8803 h 10000"/>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7168 w 10000"/>
                <a:gd name="connsiteY18" fmla="*/ 354 h 10000"/>
                <a:gd name="connsiteX19" fmla="*/ 7706 w 10000"/>
                <a:gd name="connsiteY19" fmla="*/ 0 h 10000"/>
                <a:gd name="connsiteX20" fmla="*/ 9243 w 10000"/>
                <a:gd name="connsiteY20" fmla="*/ 798 h 10000"/>
                <a:gd name="connsiteX21" fmla="*/ 10000 w 10000"/>
                <a:gd name="connsiteY21" fmla="*/ 1197 h 10000"/>
                <a:gd name="connsiteX22" fmla="*/ 9621 w 10000"/>
                <a:gd name="connsiteY22" fmla="*/ 1621 h 10000"/>
                <a:gd name="connsiteX23" fmla="*/ 8842 w 10000"/>
                <a:gd name="connsiteY23" fmla="*/ 1995 h 10000"/>
                <a:gd name="connsiteX24" fmla="*/ 8025 w 10000"/>
                <a:gd name="connsiteY24" fmla="*/ 1133 h 10000"/>
                <a:gd name="connsiteX25" fmla="*/ 7706 w 10000"/>
                <a:gd name="connsiteY25" fmla="*/ 1995 h 10000"/>
                <a:gd name="connsiteX26" fmla="*/ 8085 w 10000"/>
                <a:gd name="connsiteY26" fmla="*/ 2394 h 10000"/>
                <a:gd name="connsiteX27" fmla="*/ 7706 w 10000"/>
                <a:gd name="connsiteY27" fmla="*/ 3192 h 10000"/>
                <a:gd name="connsiteX28" fmla="*/ 8463 w 10000"/>
                <a:gd name="connsiteY28" fmla="*/ 3591 h 10000"/>
                <a:gd name="connsiteX29" fmla="*/ 8463 w 10000"/>
                <a:gd name="connsiteY29" fmla="*/ 4015 h 10000"/>
                <a:gd name="connsiteX30" fmla="*/ 8085 w 10000"/>
                <a:gd name="connsiteY30" fmla="*/ 4015 h 10000"/>
                <a:gd name="connsiteX31" fmla="*/ 8463 w 10000"/>
                <a:gd name="connsiteY31" fmla="*/ 4389 h 10000"/>
                <a:gd name="connsiteX32" fmla="*/ 6548 w 10000"/>
                <a:gd name="connsiteY32" fmla="*/ 6783 h 10000"/>
                <a:gd name="connsiteX33" fmla="*/ 5768 w 10000"/>
                <a:gd name="connsiteY33" fmla="*/ 7182 h 10000"/>
                <a:gd name="connsiteX34" fmla="*/ 5390 w 10000"/>
                <a:gd name="connsiteY34" fmla="*/ 6783 h 10000"/>
                <a:gd name="connsiteX35" fmla="*/ 5011 w 10000"/>
                <a:gd name="connsiteY35" fmla="*/ 7182 h 10000"/>
                <a:gd name="connsiteX36" fmla="*/ 5011 w 10000"/>
                <a:gd name="connsiteY36" fmla="*/ 7980 h 10000"/>
                <a:gd name="connsiteX37" fmla="*/ 5390 w 10000"/>
                <a:gd name="connsiteY37" fmla="*/ 7980 h 10000"/>
                <a:gd name="connsiteX38" fmla="*/ 5390 w 10000"/>
                <a:gd name="connsiteY38" fmla="*/ 8379 h 10000"/>
                <a:gd name="connsiteX39" fmla="*/ 5768 w 10000"/>
                <a:gd name="connsiteY39" fmla="*/ 8379 h 10000"/>
                <a:gd name="connsiteX40" fmla="*/ 5768 w 10000"/>
                <a:gd name="connsiteY40" fmla="*/ 9177 h 10000"/>
                <a:gd name="connsiteX41" fmla="*/ 5768 w 10000"/>
                <a:gd name="connsiteY41" fmla="*/ 9576 h 10000"/>
                <a:gd name="connsiteX42" fmla="*/ 4610 w 10000"/>
                <a:gd name="connsiteY42" fmla="*/ 9576 h 10000"/>
                <a:gd name="connsiteX43" fmla="*/ 4232 w 10000"/>
                <a:gd name="connsiteY43" fmla="*/ 10000 h 10000"/>
                <a:gd name="connsiteX44" fmla="*/ 3853 w 10000"/>
                <a:gd name="connsiteY44" fmla="*/ 9576 h 10000"/>
                <a:gd name="connsiteX45" fmla="*/ 3474 w 10000"/>
                <a:gd name="connsiteY45" fmla="*/ 8803 h 10000"/>
                <a:gd name="connsiteX46" fmla="*/ 2316 w 10000"/>
                <a:gd name="connsiteY46" fmla="*/ 8803 h 10000"/>
                <a:gd name="connsiteX47" fmla="*/ 1537 w 10000"/>
                <a:gd name="connsiteY47" fmla="*/ 8803 h 10000"/>
                <a:gd name="connsiteX48" fmla="*/ 379 w 10000"/>
                <a:gd name="connsiteY48" fmla="*/ 8803 h 10000"/>
                <a:gd name="connsiteX0" fmla="*/ 379 w 10000"/>
                <a:gd name="connsiteY0" fmla="*/ 8803 h 10000"/>
                <a:gd name="connsiteX1" fmla="*/ 379 w 10000"/>
                <a:gd name="connsiteY1" fmla="*/ 8803 h 10000"/>
                <a:gd name="connsiteX2" fmla="*/ 379 w 10000"/>
                <a:gd name="connsiteY2" fmla="*/ 7980 h 10000"/>
                <a:gd name="connsiteX3" fmla="*/ 1158 w 10000"/>
                <a:gd name="connsiteY3" fmla="*/ 7606 h 10000"/>
                <a:gd name="connsiteX4" fmla="*/ 780 w 10000"/>
                <a:gd name="connsiteY4" fmla="*/ 6783 h 10000"/>
                <a:gd name="connsiteX5" fmla="*/ 379 w 10000"/>
                <a:gd name="connsiteY5" fmla="*/ 6409 h 10000"/>
                <a:gd name="connsiteX6" fmla="*/ 0 w 10000"/>
                <a:gd name="connsiteY6" fmla="*/ 5586 h 10000"/>
                <a:gd name="connsiteX7" fmla="*/ 780 w 10000"/>
                <a:gd name="connsiteY7" fmla="*/ 5985 h 10000"/>
                <a:gd name="connsiteX8" fmla="*/ 3073 w 10000"/>
                <a:gd name="connsiteY8" fmla="*/ 5586 h 10000"/>
                <a:gd name="connsiteX9" fmla="*/ 3073 w 10000"/>
                <a:gd name="connsiteY9" fmla="*/ 4788 h 10000"/>
                <a:gd name="connsiteX10" fmla="*/ 3474 w 10000"/>
                <a:gd name="connsiteY10" fmla="*/ 4389 h 10000"/>
                <a:gd name="connsiteX11" fmla="*/ 5011 w 10000"/>
                <a:gd name="connsiteY11" fmla="*/ 4015 h 10000"/>
                <a:gd name="connsiteX12" fmla="*/ 5011 w 10000"/>
                <a:gd name="connsiteY12" fmla="*/ 3192 h 10000"/>
                <a:gd name="connsiteX13" fmla="*/ 5390 w 10000"/>
                <a:gd name="connsiteY13" fmla="*/ 2818 h 10000"/>
                <a:gd name="connsiteX14" fmla="*/ 5390 w 10000"/>
                <a:gd name="connsiteY14" fmla="*/ 2394 h 10000"/>
                <a:gd name="connsiteX15" fmla="*/ 5768 w 10000"/>
                <a:gd name="connsiteY15" fmla="*/ 2394 h 10000"/>
                <a:gd name="connsiteX16" fmla="*/ 6169 w 10000"/>
                <a:gd name="connsiteY16" fmla="*/ 1621 h 10000"/>
                <a:gd name="connsiteX17" fmla="*/ 6169 w 10000"/>
                <a:gd name="connsiteY17" fmla="*/ 798 h 10000"/>
                <a:gd name="connsiteX18" fmla="*/ 7168 w 10000"/>
                <a:gd name="connsiteY18" fmla="*/ 354 h 10000"/>
                <a:gd name="connsiteX19" fmla="*/ 7706 w 10000"/>
                <a:gd name="connsiteY19" fmla="*/ 0 h 10000"/>
                <a:gd name="connsiteX20" fmla="*/ 10000 w 10000"/>
                <a:gd name="connsiteY20" fmla="*/ 1197 h 10000"/>
                <a:gd name="connsiteX21" fmla="*/ 9621 w 10000"/>
                <a:gd name="connsiteY21" fmla="*/ 1621 h 10000"/>
                <a:gd name="connsiteX22" fmla="*/ 8842 w 10000"/>
                <a:gd name="connsiteY22" fmla="*/ 1995 h 10000"/>
                <a:gd name="connsiteX23" fmla="*/ 8025 w 10000"/>
                <a:gd name="connsiteY23" fmla="*/ 1133 h 10000"/>
                <a:gd name="connsiteX24" fmla="*/ 7706 w 10000"/>
                <a:gd name="connsiteY24" fmla="*/ 1995 h 10000"/>
                <a:gd name="connsiteX25" fmla="*/ 8085 w 10000"/>
                <a:gd name="connsiteY25" fmla="*/ 2394 h 10000"/>
                <a:gd name="connsiteX26" fmla="*/ 7706 w 10000"/>
                <a:gd name="connsiteY26" fmla="*/ 3192 h 10000"/>
                <a:gd name="connsiteX27" fmla="*/ 8463 w 10000"/>
                <a:gd name="connsiteY27" fmla="*/ 3591 h 10000"/>
                <a:gd name="connsiteX28" fmla="*/ 8463 w 10000"/>
                <a:gd name="connsiteY28" fmla="*/ 4015 h 10000"/>
                <a:gd name="connsiteX29" fmla="*/ 8085 w 10000"/>
                <a:gd name="connsiteY29" fmla="*/ 4015 h 10000"/>
                <a:gd name="connsiteX30" fmla="*/ 8463 w 10000"/>
                <a:gd name="connsiteY30" fmla="*/ 4389 h 10000"/>
                <a:gd name="connsiteX31" fmla="*/ 6548 w 10000"/>
                <a:gd name="connsiteY31" fmla="*/ 6783 h 10000"/>
                <a:gd name="connsiteX32" fmla="*/ 5768 w 10000"/>
                <a:gd name="connsiteY32" fmla="*/ 7182 h 10000"/>
                <a:gd name="connsiteX33" fmla="*/ 5390 w 10000"/>
                <a:gd name="connsiteY33" fmla="*/ 6783 h 10000"/>
                <a:gd name="connsiteX34" fmla="*/ 5011 w 10000"/>
                <a:gd name="connsiteY34" fmla="*/ 7182 h 10000"/>
                <a:gd name="connsiteX35" fmla="*/ 5011 w 10000"/>
                <a:gd name="connsiteY35" fmla="*/ 7980 h 10000"/>
                <a:gd name="connsiteX36" fmla="*/ 5390 w 10000"/>
                <a:gd name="connsiteY36" fmla="*/ 7980 h 10000"/>
                <a:gd name="connsiteX37" fmla="*/ 5390 w 10000"/>
                <a:gd name="connsiteY37" fmla="*/ 8379 h 10000"/>
                <a:gd name="connsiteX38" fmla="*/ 5768 w 10000"/>
                <a:gd name="connsiteY38" fmla="*/ 8379 h 10000"/>
                <a:gd name="connsiteX39" fmla="*/ 5768 w 10000"/>
                <a:gd name="connsiteY39" fmla="*/ 9177 h 10000"/>
                <a:gd name="connsiteX40" fmla="*/ 5768 w 10000"/>
                <a:gd name="connsiteY40" fmla="*/ 9576 h 10000"/>
                <a:gd name="connsiteX41" fmla="*/ 4610 w 10000"/>
                <a:gd name="connsiteY41" fmla="*/ 9576 h 10000"/>
                <a:gd name="connsiteX42" fmla="*/ 4232 w 10000"/>
                <a:gd name="connsiteY42" fmla="*/ 10000 h 10000"/>
                <a:gd name="connsiteX43" fmla="*/ 3853 w 10000"/>
                <a:gd name="connsiteY43" fmla="*/ 9576 h 10000"/>
                <a:gd name="connsiteX44" fmla="*/ 3474 w 10000"/>
                <a:gd name="connsiteY44" fmla="*/ 8803 h 10000"/>
                <a:gd name="connsiteX45" fmla="*/ 2316 w 10000"/>
                <a:gd name="connsiteY45" fmla="*/ 8803 h 10000"/>
                <a:gd name="connsiteX46" fmla="*/ 1537 w 10000"/>
                <a:gd name="connsiteY46" fmla="*/ 8803 h 10000"/>
                <a:gd name="connsiteX47" fmla="*/ 379 w 10000"/>
                <a:gd name="connsiteY47" fmla="*/ 8803 h 10000"/>
                <a:gd name="connsiteX0" fmla="*/ 379 w 10000"/>
                <a:gd name="connsiteY0" fmla="*/ 8449 h 9646"/>
                <a:gd name="connsiteX1" fmla="*/ 379 w 10000"/>
                <a:gd name="connsiteY1" fmla="*/ 8449 h 9646"/>
                <a:gd name="connsiteX2" fmla="*/ 379 w 10000"/>
                <a:gd name="connsiteY2" fmla="*/ 7626 h 9646"/>
                <a:gd name="connsiteX3" fmla="*/ 1158 w 10000"/>
                <a:gd name="connsiteY3" fmla="*/ 7252 h 9646"/>
                <a:gd name="connsiteX4" fmla="*/ 780 w 10000"/>
                <a:gd name="connsiteY4" fmla="*/ 6429 h 9646"/>
                <a:gd name="connsiteX5" fmla="*/ 379 w 10000"/>
                <a:gd name="connsiteY5" fmla="*/ 6055 h 9646"/>
                <a:gd name="connsiteX6" fmla="*/ 0 w 10000"/>
                <a:gd name="connsiteY6" fmla="*/ 5232 h 9646"/>
                <a:gd name="connsiteX7" fmla="*/ 780 w 10000"/>
                <a:gd name="connsiteY7" fmla="*/ 5631 h 9646"/>
                <a:gd name="connsiteX8" fmla="*/ 3073 w 10000"/>
                <a:gd name="connsiteY8" fmla="*/ 5232 h 9646"/>
                <a:gd name="connsiteX9" fmla="*/ 3073 w 10000"/>
                <a:gd name="connsiteY9" fmla="*/ 4434 h 9646"/>
                <a:gd name="connsiteX10" fmla="*/ 3474 w 10000"/>
                <a:gd name="connsiteY10" fmla="*/ 4035 h 9646"/>
                <a:gd name="connsiteX11" fmla="*/ 5011 w 10000"/>
                <a:gd name="connsiteY11" fmla="*/ 3661 h 9646"/>
                <a:gd name="connsiteX12" fmla="*/ 5011 w 10000"/>
                <a:gd name="connsiteY12" fmla="*/ 2838 h 9646"/>
                <a:gd name="connsiteX13" fmla="*/ 5390 w 10000"/>
                <a:gd name="connsiteY13" fmla="*/ 2464 h 9646"/>
                <a:gd name="connsiteX14" fmla="*/ 5390 w 10000"/>
                <a:gd name="connsiteY14" fmla="*/ 2040 h 9646"/>
                <a:gd name="connsiteX15" fmla="*/ 5768 w 10000"/>
                <a:gd name="connsiteY15" fmla="*/ 2040 h 9646"/>
                <a:gd name="connsiteX16" fmla="*/ 6169 w 10000"/>
                <a:gd name="connsiteY16" fmla="*/ 1267 h 9646"/>
                <a:gd name="connsiteX17" fmla="*/ 6169 w 10000"/>
                <a:gd name="connsiteY17" fmla="*/ 444 h 9646"/>
                <a:gd name="connsiteX18" fmla="*/ 7168 w 10000"/>
                <a:gd name="connsiteY18" fmla="*/ 0 h 9646"/>
                <a:gd name="connsiteX19" fmla="*/ 10000 w 10000"/>
                <a:gd name="connsiteY19" fmla="*/ 843 h 9646"/>
                <a:gd name="connsiteX20" fmla="*/ 9621 w 10000"/>
                <a:gd name="connsiteY20" fmla="*/ 1267 h 9646"/>
                <a:gd name="connsiteX21" fmla="*/ 8842 w 10000"/>
                <a:gd name="connsiteY21" fmla="*/ 1641 h 9646"/>
                <a:gd name="connsiteX22" fmla="*/ 8025 w 10000"/>
                <a:gd name="connsiteY22" fmla="*/ 779 h 9646"/>
                <a:gd name="connsiteX23" fmla="*/ 7706 w 10000"/>
                <a:gd name="connsiteY23" fmla="*/ 1641 h 9646"/>
                <a:gd name="connsiteX24" fmla="*/ 8085 w 10000"/>
                <a:gd name="connsiteY24" fmla="*/ 2040 h 9646"/>
                <a:gd name="connsiteX25" fmla="*/ 7706 w 10000"/>
                <a:gd name="connsiteY25" fmla="*/ 2838 h 9646"/>
                <a:gd name="connsiteX26" fmla="*/ 8463 w 10000"/>
                <a:gd name="connsiteY26" fmla="*/ 3237 h 9646"/>
                <a:gd name="connsiteX27" fmla="*/ 8463 w 10000"/>
                <a:gd name="connsiteY27" fmla="*/ 3661 h 9646"/>
                <a:gd name="connsiteX28" fmla="*/ 8085 w 10000"/>
                <a:gd name="connsiteY28" fmla="*/ 3661 h 9646"/>
                <a:gd name="connsiteX29" fmla="*/ 8463 w 10000"/>
                <a:gd name="connsiteY29" fmla="*/ 4035 h 9646"/>
                <a:gd name="connsiteX30" fmla="*/ 6548 w 10000"/>
                <a:gd name="connsiteY30" fmla="*/ 6429 h 9646"/>
                <a:gd name="connsiteX31" fmla="*/ 5768 w 10000"/>
                <a:gd name="connsiteY31" fmla="*/ 6828 h 9646"/>
                <a:gd name="connsiteX32" fmla="*/ 5390 w 10000"/>
                <a:gd name="connsiteY32" fmla="*/ 6429 h 9646"/>
                <a:gd name="connsiteX33" fmla="*/ 5011 w 10000"/>
                <a:gd name="connsiteY33" fmla="*/ 6828 h 9646"/>
                <a:gd name="connsiteX34" fmla="*/ 5011 w 10000"/>
                <a:gd name="connsiteY34" fmla="*/ 7626 h 9646"/>
                <a:gd name="connsiteX35" fmla="*/ 5390 w 10000"/>
                <a:gd name="connsiteY35" fmla="*/ 7626 h 9646"/>
                <a:gd name="connsiteX36" fmla="*/ 5390 w 10000"/>
                <a:gd name="connsiteY36" fmla="*/ 8025 h 9646"/>
                <a:gd name="connsiteX37" fmla="*/ 5768 w 10000"/>
                <a:gd name="connsiteY37" fmla="*/ 8025 h 9646"/>
                <a:gd name="connsiteX38" fmla="*/ 5768 w 10000"/>
                <a:gd name="connsiteY38" fmla="*/ 8823 h 9646"/>
                <a:gd name="connsiteX39" fmla="*/ 5768 w 10000"/>
                <a:gd name="connsiteY39" fmla="*/ 9222 h 9646"/>
                <a:gd name="connsiteX40" fmla="*/ 4610 w 10000"/>
                <a:gd name="connsiteY40" fmla="*/ 9222 h 9646"/>
                <a:gd name="connsiteX41" fmla="*/ 4232 w 10000"/>
                <a:gd name="connsiteY41" fmla="*/ 9646 h 9646"/>
                <a:gd name="connsiteX42" fmla="*/ 3853 w 10000"/>
                <a:gd name="connsiteY42" fmla="*/ 9222 h 9646"/>
                <a:gd name="connsiteX43" fmla="*/ 3474 w 10000"/>
                <a:gd name="connsiteY43" fmla="*/ 8449 h 9646"/>
                <a:gd name="connsiteX44" fmla="*/ 2316 w 10000"/>
                <a:gd name="connsiteY44" fmla="*/ 8449 h 9646"/>
                <a:gd name="connsiteX45" fmla="*/ 1537 w 10000"/>
                <a:gd name="connsiteY45" fmla="*/ 8449 h 9646"/>
                <a:gd name="connsiteX46" fmla="*/ 379 w 10000"/>
                <a:gd name="connsiteY46" fmla="*/ 8449 h 9646"/>
                <a:gd name="connsiteX0" fmla="*/ 379 w 9621"/>
                <a:gd name="connsiteY0" fmla="*/ 8759 h 10000"/>
                <a:gd name="connsiteX1" fmla="*/ 379 w 9621"/>
                <a:gd name="connsiteY1" fmla="*/ 8759 h 10000"/>
                <a:gd name="connsiteX2" fmla="*/ 379 w 9621"/>
                <a:gd name="connsiteY2" fmla="*/ 7906 h 10000"/>
                <a:gd name="connsiteX3" fmla="*/ 1158 w 9621"/>
                <a:gd name="connsiteY3" fmla="*/ 7518 h 10000"/>
                <a:gd name="connsiteX4" fmla="*/ 780 w 9621"/>
                <a:gd name="connsiteY4" fmla="*/ 6665 h 10000"/>
                <a:gd name="connsiteX5" fmla="*/ 379 w 9621"/>
                <a:gd name="connsiteY5" fmla="*/ 6277 h 10000"/>
                <a:gd name="connsiteX6" fmla="*/ 0 w 9621"/>
                <a:gd name="connsiteY6" fmla="*/ 5424 h 10000"/>
                <a:gd name="connsiteX7" fmla="*/ 780 w 9621"/>
                <a:gd name="connsiteY7" fmla="*/ 5838 h 10000"/>
                <a:gd name="connsiteX8" fmla="*/ 3073 w 9621"/>
                <a:gd name="connsiteY8" fmla="*/ 5424 h 10000"/>
                <a:gd name="connsiteX9" fmla="*/ 3073 w 9621"/>
                <a:gd name="connsiteY9" fmla="*/ 4597 h 10000"/>
                <a:gd name="connsiteX10" fmla="*/ 3474 w 9621"/>
                <a:gd name="connsiteY10" fmla="*/ 4183 h 10000"/>
                <a:gd name="connsiteX11" fmla="*/ 5011 w 9621"/>
                <a:gd name="connsiteY11" fmla="*/ 3795 h 10000"/>
                <a:gd name="connsiteX12" fmla="*/ 5011 w 9621"/>
                <a:gd name="connsiteY12" fmla="*/ 2942 h 10000"/>
                <a:gd name="connsiteX13" fmla="*/ 5390 w 9621"/>
                <a:gd name="connsiteY13" fmla="*/ 2554 h 10000"/>
                <a:gd name="connsiteX14" fmla="*/ 5390 w 9621"/>
                <a:gd name="connsiteY14" fmla="*/ 2115 h 10000"/>
                <a:gd name="connsiteX15" fmla="*/ 5768 w 9621"/>
                <a:gd name="connsiteY15" fmla="*/ 2115 h 10000"/>
                <a:gd name="connsiteX16" fmla="*/ 6169 w 9621"/>
                <a:gd name="connsiteY16" fmla="*/ 1313 h 10000"/>
                <a:gd name="connsiteX17" fmla="*/ 6169 w 9621"/>
                <a:gd name="connsiteY17" fmla="*/ 460 h 10000"/>
                <a:gd name="connsiteX18" fmla="*/ 7168 w 9621"/>
                <a:gd name="connsiteY18" fmla="*/ 0 h 10000"/>
                <a:gd name="connsiteX19" fmla="*/ 9621 w 9621"/>
                <a:gd name="connsiteY19" fmla="*/ 1313 h 10000"/>
                <a:gd name="connsiteX20" fmla="*/ 8842 w 9621"/>
                <a:gd name="connsiteY20" fmla="*/ 1701 h 10000"/>
                <a:gd name="connsiteX21" fmla="*/ 8025 w 9621"/>
                <a:gd name="connsiteY21" fmla="*/ 808 h 10000"/>
                <a:gd name="connsiteX22" fmla="*/ 7706 w 9621"/>
                <a:gd name="connsiteY22" fmla="*/ 1701 h 10000"/>
                <a:gd name="connsiteX23" fmla="*/ 8085 w 9621"/>
                <a:gd name="connsiteY23" fmla="*/ 2115 h 10000"/>
                <a:gd name="connsiteX24" fmla="*/ 7706 w 9621"/>
                <a:gd name="connsiteY24" fmla="*/ 2942 h 10000"/>
                <a:gd name="connsiteX25" fmla="*/ 8463 w 9621"/>
                <a:gd name="connsiteY25" fmla="*/ 3356 h 10000"/>
                <a:gd name="connsiteX26" fmla="*/ 8463 w 9621"/>
                <a:gd name="connsiteY26" fmla="*/ 3795 h 10000"/>
                <a:gd name="connsiteX27" fmla="*/ 8085 w 9621"/>
                <a:gd name="connsiteY27" fmla="*/ 3795 h 10000"/>
                <a:gd name="connsiteX28" fmla="*/ 8463 w 9621"/>
                <a:gd name="connsiteY28" fmla="*/ 4183 h 10000"/>
                <a:gd name="connsiteX29" fmla="*/ 6548 w 9621"/>
                <a:gd name="connsiteY29" fmla="*/ 6665 h 10000"/>
                <a:gd name="connsiteX30" fmla="*/ 5768 w 9621"/>
                <a:gd name="connsiteY30" fmla="*/ 7079 h 10000"/>
                <a:gd name="connsiteX31" fmla="*/ 5390 w 9621"/>
                <a:gd name="connsiteY31" fmla="*/ 6665 h 10000"/>
                <a:gd name="connsiteX32" fmla="*/ 5011 w 9621"/>
                <a:gd name="connsiteY32" fmla="*/ 7079 h 10000"/>
                <a:gd name="connsiteX33" fmla="*/ 5011 w 9621"/>
                <a:gd name="connsiteY33" fmla="*/ 7906 h 10000"/>
                <a:gd name="connsiteX34" fmla="*/ 5390 w 9621"/>
                <a:gd name="connsiteY34" fmla="*/ 7906 h 10000"/>
                <a:gd name="connsiteX35" fmla="*/ 5390 w 9621"/>
                <a:gd name="connsiteY35" fmla="*/ 8320 h 10000"/>
                <a:gd name="connsiteX36" fmla="*/ 5768 w 9621"/>
                <a:gd name="connsiteY36" fmla="*/ 8320 h 10000"/>
                <a:gd name="connsiteX37" fmla="*/ 5768 w 9621"/>
                <a:gd name="connsiteY37" fmla="*/ 9147 h 10000"/>
                <a:gd name="connsiteX38" fmla="*/ 5768 w 9621"/>
                <a:gd name="connsiteY38" fmla="*/ 9560 h 10000"/>
                <a:gd name="connsiteX39" fmla="*/ 4610 w 9621"/>
                <a:gd name="connsiteY39" fmla="*/ 9560 h 10000"/>
                <a:gd name="connsiteX40" fmla="*/ 4232 w 9621"/>
                <a:gd name="connsiteY40" fmla="*/ 10000 h 10000"/>
                <a:gd name="connsiteX41" fmla="*/ 3853 w 9621"/>
                <a:gd name="connsiteY41" fmla="*/ 9560 h 10000"/>
                <a:gd name="connsiteX42" fmla="*/ 3474 w 9621"/>
                <a:gd name="connsiteY42" fmla="*/ 8759 h 10000"/>
                <a:gd name="connsiteX43" fmla="*/ 2316 w 9621"/>
                <a:gd name="connsiteY43" fmla="*/ 8759 h 10000"/>
                <a:gd name="connsiteX44" fmla="*/ 1537 w 9621"/>
                <a:gd name="connsiteY44" fmla="*/ 8759 h 10000"/>
                <a:gd name="connsiteX45" fmla="*/ 379 w 9621"/>
                <a:gd name="connsiteY45" fmla="*/ 8759 h 10000"/>
                <a:gd name="connsiteX0" fmla="*/ 394 w 9190"/>
                <a:gd name="connsiteY0" fmla="*/ 8759 h 10000"/>
                <a:gd name="connsiteX1" fmla="*/ 394 w 9190"/>
                <a:gd name="connsiteY1" fmla="*/ 8759 h 10000"/>
                <a:gd name="connsiteX2" fmla="*/ 394 w 9190"/>
                <a:gd name="connsiteY2" fmla="*/ 7906 h 10000"/>
                <a:gd name="connsiteX3" fmla="*/ 1204 w 9190"/>
                <a:gd name="connsiteY3" fmla="*/ 7518 h 10000"/>
                <a:gd name="connsiteX4" fmla="*/ 811 w 9190"/>
                <a:gd name="connsiteY4" fmla="*/ 6665 h 10000"/>
                <a:gd name="connsiteX5" fmla="*/ 394 w 9190"/>
                <a:gd name="connsiteY5" fmla="*/ 6277 h 10000"/>
                <a:gd name="connsiteX6" fmla="*/ 0 w 9190"/>
                <a:gd name="connsiteY6" fmla="*/ 5424 h 10000"/>
                <a:gd name="connsiteX7" fmla="*/ 811 w 9190"/>
                <a:gd name="connsiteY7" fmla="*/ 5838 h 10000"/>
                <a:gd name="connsiteX8" fmla="*/ 3194 w 9190"/>
                <a:gd name="connsiteY8" fmla="*/ 5424 h 10000"/>
                <a:gd name="connsiteX9" fmla="*/ 3194 w 9190"/>
                <a:gd name="connsiteY9" fmla="*/ 4597 h 10000"/>
                <a:gd name="connsiteX10" fmla="*/ 3611 w 9190"/>
                <a:gd name="connsiteY10" fmla="*/ 4183 h 10000"/>
                <a:gd name="connsiteX11" fmla="*/ 5208 w 9190"/>
                <a:gd name="connsiteY11" fmla="*/ 3795 h 10000"/>
                <a:gd name="connsiteX12" fmla="*/ 5208 w 9190"/>
                <a:gd name="connsiteY12" fmla="*/ 2942 h 10000"/>
                <a:gd name="connsiteX13" fmla="*/ 5602 w 9190"/>
                <a:gd name="connsiteY13" fmla="*/ 2554 h 10000"/>
                <a:gd name="connsiteX14" fmla="*/ 5602 w 9190"/>
                <a:gd name="connsiteY14" fmla="*/ 2115 h 10000"/>
                <a:gd name="connsiteX15" fmla="*/ 5995 w 9190"/>
                <a:gd name="connsiteY15" fmla="*/ 2115 h 10000"/>
                <a:gd name="connsiteX16" fmla="*/ 6412 w 9190"/>
                <a:gd name="connsiteY16" fmla="*/ 1313 h 10000"/>
                <a:gd name="connsiteX17" fmla="*/ 6412 w 9190"/>
                <a:gd name="connsiteY17" fmla="*/ 460 h 10000"/>
                <a:gd name="connsiteX18" fmla="*/ 7450 w 9190"/>
                <a:gd name="connsiteY18" fmla="*/ 0 h 10000"/>
                <a:gd name="connsiteX19" fmla="*/ 9190 w 9190"/>
                <a:gd name="connsiteY19" fmla="*/ 1701 h 10000"/>
                <a:gd name="connsiteX20" fmla="*/ 8341 w 9190"/>
                <a:gd name="connsiteY20" fmla="*/ 808 h 10000"/>
                <a:gd name="connsiteX21" fmla="*/ 8010 w 9190"/>
                <a:gd name="connsiteY21" fmla="*/ 1701 h 10000"/>
                <a:gd name="connsiteX22" fmla="*/ 8403 w 9190"/>
                <a:gd name="connsiteY22" fmla="*/ 2115 h 10000"/>
                <a:gd name="connsiteX23" fmla="*/ 8010 w 9190"/>
                <a:gd name="connsiteY23" fmla="*/ 2942 h 10000"/>
                <a:gd name="connsiteX24" fmla="*/ 8796 w 9190"/>
                <a:gd name="connsiteY24" fmla="*/ 3356 h 10000"/>
                <a:gd name="connsiteX25" fmla="*/ 8796 w 9190"/>
                <a:gd name="connsiteY25" fmla="*/ 3795 h 10000"/>
                <a:gd name="connsiteX26" fmla="*/ 8403 w 9190"/>
                <a:gd name="connsiteY26" fmla="*/ 3795 h 10000"/>
                <a:gd name="connsiteX27" fmla="*/ 8796 w 9190"/>
                <a:gd name="connsiteY27" fmla="*/ 4183 h 10000"/>
                <a:gd name="connsiteX28" fmla="*/ 6806 w 9190"/>
                <a:gd name="connsiteY28" fmla="*/ 6665 h 10000"/>
                <a:gd name="connsiteX29" fmla="*/ 5995 w 9190"/>
                <a:gd name="connsiteY29" fmla="*/ 7079 h 10000"/>
                <a:gd name="connsiteX30" fmla="*/ 5602 w 9190"/>
                <a:gd name="connsiteY30" fmla="*/ 6665 h 10000"/>
                <a:gd name="connsiteX31" fmla="*/ 5208 w 9190"/>
                <a:gd name="connsiteY31" fmla="*/ 7079 h 10000"/>
                <a:gd name="connsiteX32" fmla="*/ 5208 w 9190"/>
                <a:gd name="connsiteY32" fmla="*/ 7906 h 10000"/>
                <a:gd name="connsiteX33" fmla="*/ 5602 w 9190"/>
                <a:gd name="connsiteY33" fmla="*/ 7906 h 10000"/>
                <a:gd name="connsiteX34" fmla="*/ 5602 w 9190"/>
                <a:gd name="connsiteY34" fmla="*/ 8320 h 10000"/>
                <a:gd name="connsiteX35" fmla="*/ 5995 w 9190"/>
                <a:gd name="connsiteY35" fmla="*/ 8320 h 10000"/>
                <a:gd name="connsiteX36" fmla="*/ 5995 w 9190"/>
                <a:gd name="connsiteY36" fmla="*/ 9147 h 10000"/>
                <a:gd name="connsiteX37" fmla="*/ 5995 w 9190"/>
                <a:gd name="connsiteY37" fmla="*/ 9560 h 10000"/>
                <a:gd name="connsiteX38" fmla="*/ 4792 w 9190"/>
                <a:gd name="connsiteY38" fmla="*/ 9560 h 10000"/>
                <a:gd name="connsiteX39" fmla="*/ 4399 w 9190"/>
                <a:gd name="connsiteY39" fmla="*/ 10000 h 10000"/>
                <a:gd name="connsiteX40" fmla="*/ 4005 w 9190"/>
                <a:gd name="connsiteY40" fmla="*/ 9560 h 10000"/>
                <a:gd name="connsiteX41" fmla="*/ 3611 w 9190"/>
                <a:gd name="connsiteY41" fmla="*/ 8759 h 10000"/>
                <a:gd name="connsiteX42" fmla="*/ 2407 w 9190"/>
                <a:gd name="connsiteY42" fmla="*/ 8759 h 10000"/>
                <a:gd name="connsiteX43" fmla="*/ 1598 w 9190"/>
                <a:gd name="connsiteY43" fmla="*/ 8759 h 10000"/>
                <a:gd name="connsiteX44" fmla="*/ 394 w 9190"/>
                <a:gd name="connsiteY44" fmla="*/ 8759 h 10000"/>
                <a:gd name="connsiteX0" fmla="*/ 429 w 9571"/>
                <a:gd name="connsiteY0" fmla="*/ 8759 h 10000"/>
                <a:gd name="connsiteX1" fmla="*/ 429 w 9571"/>
                <a:gd name="connsiteY1" fmla="*/ 8759 h 10000"/>
                <a:gd name="connsiteX2" fmla="*/ 429 w 9571"/>
                <a:gd name="connsiteY2" fmla="*/ 7906 h 10000"/>
                <a:gd name="connsiteX3" fmla="*/ 1310 w 9571"/>
                <a:gd name="connsiteY3" fmla="*/ 7518 h 10000"/>
                <a:gd name="connsiteX4" fmla="*/ 882 w 9571"/>
                <a:gd name="connsiteY4" fmla="*/ 6665 h 10000"/>
                <a:gd name="connsiteX5" fmla="*/ 429 w 9571"/>
                <a:gd name="connsiteY5" fmla="*/ 6277 h 10000"/>
                <a:gd name="connsiteX6" fmla="*/ 0 w 9571"/>
                <a:gd name="connsiteY6" fmla="*/ 5424 h 10000"/>
                <a:gd name="connsiteX7" fmla="*/ 882 w 9571"/>
                <a:gd name="connsiteY7" fmla="*/ 5838 h 10000"/>
                <a:gd name="connsiteX8" fmla="*/ 3476 w 9571"/>
                <a:gd name="connsiteY8" fmla="*/ 5424 h 10000"/>
                <a:gd name="connsiteX9" fmla="*/ 3476 w 9571"/>
                <a:gd name="connsiteY9" fmla="*/ 4597 h 10000"/>
                <a:gd name="connsiteX10" fmla="*/ 3929 w 9571"/>
                <a:gd name="connsiteY10" fmla="*/ 4183 h 10000"/>
                <a:gd name="connsiteX11" fmla="*/ 5667 w 9571"/>
                <a:gd name="connsiteY11" fmla="*/ 3795 h 10000"/>
                <a:gd name="connsiteX12" fmla="*/ 5667 w 9571"/>
                <a:gd name="connsiteY12" fmla="*/ 2942 h 10000"/>
                <a:gd name="connsiteX13" fmla="*/ 6096 w 9571"/>
                <a:gd name="connsiteY13" fmla="*/ 2554 h 10000"/>
                <a:gd name="connsiteX14" fmla="*/ 6096 w 9571"/>
                <a:gd name="connsiteY14" fmla="*/ 2115 h 10000"/>
                <a:gd name="connsiteX15" fmla="*/ 6523 w 9571"/>
                <a:gd name="connsiteY15" fmla="*/ 2115 h 10000"/>
                <a:gd name="connsiteX16" fmla="*/ 6977 w 9571"/>
                <a:gd name="connsiteY16" fmla="*/ 1313 h 10000"/>
                <a:gd name="connsiteX17" fmla="*/ 6977 w 9571"/>
                <a:gd name="connsiteY17" fmla="*/ 460 h 10000"/>
                <a:gd name="connsiteX18" fmla="*/ 8107 w 9571"/>
                <a:gd name="connsiteY18" fmla="*/ 0 h 10000"/>
                <a:gd name="connsiteX19" fmla="*/ 9076 w 9571"/>
                <a:gd name="connsiteY19" fmla="*/ 808 h 10000"/>
                <a:gd name="connsiteX20" fmla="*/ 8716 w 9571"/>
                <a:gd name="connsiteY20" fmla="*/ 1701 h 10000"/>
                <a:gd name="connsiteX21" fmla="*/ 9144 w 9571"/>
                <a:gd name="connsiteY21" fmla="*/ 2115 h 10000"/>
                <a:gd name="connsiteX22" fmla="*/ 8716 w 9571"/>
                <a:gd name="connsiteY22" fmla="*/ 2942 h 10000"/>
                <a:gd name="connsiteX23" fmla="*/ 9571 w 9571"/>
                <a:gd name="connsiteY23" fmla="*/ 3356 h 10000"/>
                <a:gd name="connsiteX24" fmla="*/ 9571 w 9571"/>
                <a:gd name="connsiteY24" fmla="*/ 3795 h 10000"/>
                <a:gd name="connsiteX25" fmla="*/ 9144 w 9571"/>
                <a:gd name="connsiteY25" fmla="*/ 3795 h 10000"/>
                <a:gd name="connsiteX26" fmla="*/ 9571 w 9571"/>
                <a:gd name="connsiteY26" fmla="*/ 4183 h 10000"/>
                <a:gd name="connsiteX27" fmla="*/ 7406 w 9571"/>
                <a:gd name="connsiteY27" fmla="*/ 6665 h 10000"/>
                <a:gd name="connsiteX28" fmla="*/ 6523 w 9571"/>
                <a:gd name="connsiteY28" fmla="*/ 7079 h 10000"/>
                <a:gd name="connsiteX29" fmla="*/ 6096 w 9571"/>
                <a:gd name="connsiteY29" fmla="*/ 6665 h 10000"/>
                <a:gd name="connsiteX30" fmla="*/ 5667 w 9571"/>
                <a:gd name="connsiteY30" fmla="*/ 7079 h 10000"/>
                <a:gd name="connsiteX31" fmla="*/ 5667 w 9571"/>
                <a:gd name="connsiteY31" fmla="*/ 7906 h 10000"/>
                <a:gd name="connsiteX32" fmla="*/ 6096 w 9571"/>
                <a:gd name="connsiteY32" fmla="*/ 7906 h 10000"/>
                <a:gd name="connsiteX33" fmla="*/ 6096 w 9571"/>
                <a:gd name="connsiteY33" fmla="*/ 8320 h 10000"/>
                <a:gd name="connsiteX34" fmla="*/ 6523 w 9571"/>
                <a:gd name="connsiteY34" fmla="*/ 8320 h 10000"/>
                <a:gd name="connsiteX35" fmla="*/ 6523 w 9571"/>
                <a:gd name="connsiteY35" fmla="*/ 9147 h 10000"/>
                <a:gd name="connsiteX36" fmla="*/ 6523 w 9571"/>
                <a:gd name="connsiteY36" fmla="*/ 9560 h 10000"/>
                <a:gd name="connsiteX37" fmla="*/ 5214 w 9571"/>
                <a:gd name="connsiteY37" fmla="*/ 9560 h 10000"/>
                <a:gd name="connsiteX38" fmla="*/ 4787 w 9571"/>
                <a:gd name="connsiteY38" fmla="*/ 10000 h 10000"/>
                <a:gd name="connsiteX39" fmla="*/ 4358 w 9571"/>
                <a:gd name="connsiteY39" fmla="*/ 9560 h 10000"/>
                <a:gd name="connsiteX40" fmla="*/ 3929 w 9571"/>
                <a:gd name="connsiteY40" fmla="*/ 8759 h 10000"/>
                <a:gd name="connsiteX41" fmla="*/ 2619 w 9571"/>
                <a:gd name="connsiteY41" fmla="*/ 8759 h 10000"/>
                <a:gd name="connsiteX42" fmla="*/ 1739 w 9571"/>
                <a:gd name="connsiteY42" fmla="*/ 8759 h 10000"/>
                <a:gd name="connsiteX43" fmla="*/ 429 w 9571"/>
                <a:gd name="connsiteY43" fmla="*/ 875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571" h="10000">
                  <a:moveTo>
                    <a:pt x="429" y="8759"/>
                  </a:moveTo>
                  <a:lnTo>
                    <a:pt x="429" y="8759"/>
                  </a:lnTo>
                  <a:lnTo>
                    <a:pt x="429" y="7906"/>
                  </a:lnTo>
                  <a:lnTo>
                    <a:pt x="1310" y="7518"/>
                  </a:lnTo>
                  <a:lnTo>
                    <a:pt x="882" y="6665"/>
                  </a:lnTo>
                  <a:lnTo>
                    <a:pt x="429" y="6277"/>
                  </a:lnTo>
                  <a:lnTo>
                    <a:pt x="0" y="5424"/>
                  </a:lnTo>
                  <a:lnTo>
                    <a:pt x="882" y="5838"/>
                  </a:lnTo>
                  <a:lnTo>
                    <a:pt x="3476" y="5424"/>
                  </a:lnTo>
                  <a:lnTo>
                    <a:pt x="3476" y="4597"/>
                  </a:lnTo>
                  <a:lnTo>
                    <a:pt x="3929" y="4183"/>
                  </a:lnTo>
                  <a:lnTo>
                    <a:pt x="5667" y="3795"/>
                  </a:lnTo>
                  <a:lnTo>
                    <a:pt x="5667" y="2942"/>
                  </a:lnTo>
                  <a:lnTo>
                    <a:pt x="6096" y="2554"/>
                  </a:lnTo>
                  <a:lnTo>
                    <a:pt x="6096" y="2115"/>
                  </a:lnTo>
                  <a:lnTo>
                    <a:pt x="6523" y="2115"/>
                  </a:lnTo>
                  <a:lnTo>
                    <a:pt x="6977" y="1313"/>
                  </a:lnTo>
                  <a:lnTo>
                    <a:pt x="6977" y="460"/>
                  </a:lnTo>
                  <a:lnTo>
                    <a:pt x="8107" y="0"/>
                  </a:lnTo>
                  <a:lnTo>
                    <a:pt x="9076" y="808"/>
                  </a:lnTo>
                  <a:lnTo>
                    <a:pt x="8716" y="1701"/>
                  </a:lnTo>
                  <a:lnTo>
                    <a:pt x="9144" y="2115"/>
                  </a:lnTo>
                  <a:lnTo>
                    <a:pt x="8716" y="2942"/>
                  </a:lnTo>
                  <a:lnTo>
                    <a:pt x="9571" y="3356"/>
                  </a:lnTo>
                  <a:lnTo>
                    <a:pt x="9571" y="3795"/>
                  </a:lnTo>
                  <a:lnTo>
                    <a:pt x="9144" y="3795"/>
                  </a:lnTo>
                  <a:lnTo>
                    <a:pt x="9571" y="4183"/>
                  </a:lnTo>
                  <a:lnTo>
                    <a:pt x="7406" y="6665"/>
                  </a:lnTo>
                  <a:lnTo>
                    <a:pt x="6523" y="7079"/>
                  </a:lnTo>
                  <a:lnTo>
                    <a:pt x="6096" y="6665"/>
                  </a:lnTo>
                  <a:lnTo>
                    <a:pt x="5667" y="7079"/>
                  </a:lnTo>
                  <a:lnTo>
                    <a:pt x="5667" y="7906"/>
                  </a:lnTo>
                  <a:lnTo>
                    <a:pt x="6096" y="7906"/>
                  </a:lnTo>
                  <a:lnTo>
                    <a:pt x="6096" y="8320"/>
                  </a:lnTo>
                  <a:lnTo>
                    <a:pt x="6523" y="8320"/>
                  </a:lnTo>
                  <a:lnTo>
                    <a:pt x="6523" y="9147"/>
                  </a:lnTo>
                  <a:lnTo>
                    <a:pt x="6523" y="9560"/>
                  </a:lnTo>
                  <a:lnTo>
                    <a:pt x="5214" y="9560"/>
                  </a:lnTo>
                  <a:lnTo>
                    <a:pt x="4787" y="10000"/>
                  </a:lnTo>
                  <a:lnTo>
                    <a:pt x="4358" y="9560"/>
                  </a:lnTo>
                  <a:lnTo>
                    <a:pt x="3929" y="8759"/>
                  </a:lnTo>
                  <a:lnTo>
                    <a:pt x="2619" y="8759"/>
                  </a:lnTo>
                  <a:lnTo>
                    <a:pt x="1739" y="8759"/>
                  </a:lnTo>
                  <a:lnTo>
                    <a:pt x="429" y="8759"/>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93" name="Freeform 379"/>
            <p:cNvSpPr>
              <a:spLocks/>
            </p:cNvSpPr>
            <p:nvPr>
              <p:custDataLst>
                <p:tags r:id="rId22"/>
              </p:custDataLst>
            </p:nvPr>
          </p:nvSpPr>
          <p:spPr bwMode="auto">
            <a:xfrm>
              <a:off x="7515027" y="3537402"/>
              <a:ext cx="1469461" cy="916328"/>
            </a:xfrm>
            <a:custGeom>
              <a:avLst/>
              <a:gdLst>
                <a:gd name="T0" fmla="*/ 48 w 1664"/>
                <a:gd name="T1" fmla="*/ 22 h 1071"/>
                <a:gd name="T2" fmla="*/ 59 w 1664"/>
                <a:gd name="T3" fmla="*/ 32 h 1071"/>
                <a:gd name="T4" fmla="*/ 78 w 1664"/>
                <a:gd name="T5" fmla="*/ 50 h 1071"/>
                <a:gd name="T6" fmla="*/ 107 w 1664"/>
                <a:gd name="T7" fmla="*/ 56 h 1071"/>
                <a:gd name="T8" fmla="*/ 131 w 1664"/>
                <a:gd name="T9" fmla="*/ 46 h 1071"/>
                <a:gd name="T10" fmla="*/ 137 w 1664"/>
                <a:gd name="T11" fmla="*/ 42 h 1071"/>
                <a:gd name="T12" fmla="*/ 156 w 1664"/>
                <a:gd name="T13" fmla="*/ 34 h 1071"/>
                <a:gd name="T14" fmla="*/ 148 w 1664"/>
                <a:gd name="T15" fmla="*/ 30 h 1071"/>
                <a:gd name="T16" fmla="*/ 146 w 1664"/>
                <a:gd name="T17" fmla="*/ 18 h 1071"/>
                <a:gd name="T18" fmla="*/ 159 w 1664"/>
                <a:gd name="T19" fmla="*/ 10 h 1071"/>
                <a:gd name="T20" fmla="*/ 159 w 1664"/>
                <a:gd name="T21" fmla="*/ 6 h 1071"/>
                <a:gd name="T22" fmla="*/ 176 w 1664"/>
                <a:gd name="T23" fmla="*/ 2 h 1071"/>
                <a:gd name="T24" fmla="*/ 189 w 1664"/>
                <a:gd name="T25" fmla="*/ 20 h 1071"/>
                <a:gd name="T26" fmla="*/ 200 w 1664"/>
                <a:gd name="T27" fmla="*/ 28 h 1071"/>
                <a:gd name="T28" fmla="*/ 202 w 1664"/>
                <a:gd name="T29" fmla="*/ 42 h 1071"/>
                <a:gd name="T30" fmla="*/ 198 w 1664"/>
                <a:gd name="T31" fmla="*/ 48 h 1071"/>
                <a:gd name="T32" fmla="*/ 189 w 1664"/>
                <a:gd name="T33" fmla="*/ 54 h 1071"/>
                <a:gd name="T34" fmla="*/ 182 w 1664"/>
                <a:gd name="T35" fmla="*/ 56 h 1071"/>
                <a:gd name="T36" fmla="*/ 169 w 1664"/>
                <a:gd name="T37" fmla="*/ 64 h 1071"/>
                <a:gd name="T38" fmla="*/ 163 w 1664"/>
                <a:gd name="T39" fmla="*/ 64 h 1071"/>
                <a:gd name="T40" fmla="*/ 156 w 1664"/>
                <a:gd name="T41" fmla="*/ 64 h 1071"/>
                <a:gd name="T42" fmla="*/ 150 w 1664"/>
                <a:gd name="T43" fmla="*/ 68 h 1071"/>
                <a:gd name="T44" fmla="*/ 167 w 1664"/>
                <a:gd name="T45" fmla="*/ 74 h 1071"/>
                <a:gd name="T46" fmla="*/ 161 w 1664"/>
                <a:gd name="T47" fmla="*/ 76 h 1071"/>
                <a:gd name="T48" fmla="*/ 161 w 1664"/>
                <a:gd name="T49" fmla="*/ 92 h 1071"/>
                <a:gd name="T50" fmla="*/ 165 w 1664"/>
                <a:gd name="T51" fmla="*/ 98 h 1071"/>
                <a:gd name="T52" fmla="*/ 163 w 1664"/>
                <a:gd name="T53" fmla="*/ 108 h 1071"/>
                <a:gd name="T54" fmla="*/ 156 w 1664"/>
                <a:gd name="T55" fmla="*/ 116 h 1071"/>
                <a:gd name="T56" fmla="*/ 152 w 1664"/>
                <a:gd name="T57" fmla="*/ 122 h 1071"/>
                <a:gd name="T58" fmla="*/ 139 w 1664"/>
                <a:gd name="T59" fmla="*/ 128 h 1071"/>
                <a:gd name="T60" fmla="*/ 135 w 1664"/>
                <a:gd name="T61" fmla="*/ 128 h 1071"/>
                <a:gd name="T62" fmla="*/ 124 w 1664"/>
                <a:gd name="T63" fmla="*/ 130 h 1071"/>
                <a:gd name="T64" fmla="*/ 113 w 1664"/>
                <a:gd name="T65" fmla="*/ 130 h 1071"/>
                <a:gd name="T66" fmla="*/ 100 w 1664"/>
                <a:gd name="T67" fmla="*/ 128 h 1071"/>
                <a:gd name="T68" fmla="*/ 96 w 1664"/>
                <a:gd name="T69" fmla="*/ 128 h 1071"/>
                <a:gd name="T70" fmla="*/ 94 w 1664"/>
                <a:gd name="T71" fmla="*/ 130 h 1071"/>
                <a:gd name="T72" fmla="*/ 87 w 1664"/>
                <a:gd name="T73" fmla="*/ 126 h 1071"/>
                <a:gd name="T74" fmla="*/ 83 w 1664"/>
                <a:gd name="T75" fmla="*/ 122 h 1071"/>
                <a:gd name="T76" fmla="*/ 81 w 1664"/>
                <a:gd name="T77" fmla="*/ 108 h 1071"/>
                <a:gd name="T78" fmla="*/ 61 w 1664"/>
                <a:gd name="T79" fmla="*/ 108 h 1071"/>
                <a:gd name="T80" fmla="*/ 50 w 1664"/>
                <a:gd name="T81" fmla="*/ 108 h 1071"/>
                <a:gd name="T82" fmla="*/ 37 w 1664"/>
                <a:gd name="T83" fmla="*/ 106 h 1071"/>
                <a:gd name="T84" fmla="*/ 28 w 1664"/>
                <a:gd name="T85" fmla="*/ 100 h 1071"/>
                <a:gd name="T86" fmla="*/ 16 w 1664"/>
                <a:gd name="T87" fmla="*/ 92 h 1071"/>
                <a:gd name="T88" fmla="*/ 22 w 1664"/>
                <a:gd name="T89" fmla="*/ 84 h 1071"/>
                <a:gd name="T90" fmla="*/ 13 w 1664"/>
                <a:gd name="T91" fmla="*/ 80 h 1071"/>
                <a:gd name="T92" fmla="*/ 3 w 1664"/>
                <a:gd name="T93" fmla="*/ 74 h 1071"/>
                <a:gd name="T94" fmla="*/ 0 w 1664"/>
                <a:gd name="T95" fmla="*/ 68 h 1071"/>
                <a:gd name="T96" fmla="*/ 9 w 1664"/>
                <a:gd name="T97" fmla="*/ 60 h 1071"/>
                <a:gd name="T98" fmla="*/ 22 w 1664"/>
                <a:gd name="T99" fmla="*/ 54 h 1071"/>
                <a:gd name="T100" fmla="*/ 22 w 1664"/>
                <a:gd name="T101" fmla="*/ 40 h 1071"/>
                <a:gd name="T102" fmla="*/ 37 w 1664"/>
                <a:gd name="T103" fmla="*/ 32 h 1071"/>
                <a:gd name="T104" fmla="*/ 44 w 1664"/>
                <a:gd name="T105" fmla="*/ 24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64" h="1071">
                  <a:moveTo>
                    <a:pt x="347" y="192"/>
                  </a:moveTo>
                  <a:lnTo>
                    <a:pt x="347" y="192"/>
                  </a:lnTo>
                  <a:lnTo>
                    <a:pt x="382" y="176"/>
                  </a:lnTo>
                  <a:lnTo>
                    <a:pt x="416" y="224"/>
                  </a:lnTo>
                  <a:lnTo>
                    <a:pt x="451" y="224"/>
                  </a:lnTo>
                  <a:lnTo>
                    <a:pt x="468" y="255"/>
                  </a:lnTo>
                  <a:lnTo>
                    <a:pt x="468" y="320"/>
                  </a:lnTo>
                  <a:lnTo>
                    <a:pt x="572" y="351"/>
                  </a:lnTo>
                  <a:lnTo>
                    <a:pt x="624" y="399"/>
                  </a:lnTo>
                  <a:lnTo>
                    <a:pt x="727" y="399"/>
                  </a:lnTo>
                  <a:lnTo>
                    <a:pt x="779" y="432"/>
                  </a:lnTo>
                  <a:lnTo>
                    <a:pt x="848" y="447"/>
                  </a:lnTo>
                  <a:lnTo>
                    <a:pt x="919" y="416"/>
                  </a:lnTo>
                  <a:lnTo>
                    <a:pt x="988" y="416"/>
                  </a:lnTo>
                  <a:lnTo>
                    <a:pt x="1040" y="368"/>
                  </a:lnTo>
                  <a:lnTo>
                    <a:pt x="1023" y="351"/>
                  </a:lnTo>
                  <a:lnTo>
                    <a:pt x="1057" y="320"/>
                  </a:lnTo>
                  <a:lnTo>
                    <a:pt x="1092" y="336"/>
                  </a:lnTo>
                  <a:lnTo>
                    <a:pt x="1144" y="303"/>
                  </a:lnTo>
                  <a:lnTo>
                    <a:pt x="1178" y="272"/>
                  </a:lnTo>
                  <a:lnTo>
                    <a:pt x="1247" y="272"/>
                  </a:lnTo>
                  <a:lnTo>
                    <a:pt x="1230" y="240"/>
                  </a:lnTo>
                  <a:lnTo>
                    <a:pt x="1213" y="224"/>
                  </a:lnTo>
                  <a:lnTo>
                    <a:pt x="1178" y="240"/>
                  </a:lnTo>
                  <a:lnTo>
                    <a:pt x="1144" y="240"/>
                  </a:lnTo>
                  <a:lnTo>
                    <a:pt x="1144" y="176"/>
                  </a:lnTo>
                  <a:lnTo>
                    <a:pt x="1161" y="144"/>
                  </a:lnTo>
                  <a:lnTo>
                    <a:pt x="1196" y="159"/>
                  </a:lnTo>
                  <a:lnTo>
                    <a:pt x="1247" y="144"/>
                  </a:lnTo>
                  <a:lnTo>
                    <a:pt x="1265" y="80"/>
                  </a:lnTo>
                  <a:lnTo>
                    <a:pt x="1282" y="63"/>
                  </a:lnTo>
                  <a:lnTo>
                    <a:pt x="1282" y="48"/>
                  </a:lnTo>
                  <a:lnTo>
                    <a:pt x="1265" y="48"/>
                  </a:lnTo>
                  <a:lnTo>
                    <a:pt x="1282" y="15"/>
                  </a:lnTo>
                  <a:lnTo>
                    <a:pt x="1351" y="0"/>
                  </a:lnTo>
                  <a:lnTo>
                    <a:pt x="1403" y="15"/>
                  </a:lnTo>
                  <a:lnTo>
                    <a:pt x="1438" y="48"/>
                  </a:lnTo>
                  <a:lnTo>
                    <a:pt x="1472" y="159"/>
                  </a:lnTo>
                  <a:lnTo>
                    <a:pt x="1507" y="159"/>
                  </a:lnTo>
                  <a:lnTo>
                    <a:pt x="1558" y="192"/>
                  </a:lnTo>
                  <a:lnTo>
                    <a:pt x="1558" y="224"/>
                  </a:lnTo>
                  <a:lnTo>
                    <a:pt x="1595" y="224"/>
                  </a:lnTo>
                  <a:lnTo>
                    <a:pt x="1664" y="207"/>
                  </a:lnTo>
                  <a:lnTo>
                    <a:pt x="1664" y="240"/>
                  </a:lnTo>
                  <a:lnTo>
                    <a:pt x="1612" y="336"/>
                  </a:lnTo>
                  <a:lnTo>
                    <a:pt x="1595" y="320"/>
                  </a:lnTo>
                  <a:lnTo>
                    <a:pt x="1558" y="336"/>
                  </a:lnTo>
                  <a:lnTo>
                    <a:pt x="1578" y="384"/>
                  </a:lnTo>
                  <a:lnTo>
                    <a:pt x="1558" y="416"/>
                  </a:lnTo>
                  <a:lnTo>
                    <a:pt x="1541" y="416"/>
                  </a:lnTo>
                  <a:lnTo>
                    <a:pt x="1507" y="432"/>
                  </a:lnTo>
                  <a:lnTo>
                    <a:pt x="1489" y="432"/>
                  </a:lnTo>
                  <a:lnTo>
                    <a:pt x="1472" y="447"/>
                  </a:lnTo>
                  <a:lnTo>
                    <a:pt x="1455" y="447"/>
                  </a:lnTo>
                  <a:lnTo>
                    <a:pt x="1386" y="495"/>
                  </a:lnTo>
                  <a:lnTo>
                    <a:pt x="1386" y="512"/>
                  </a:lnTo>
                  <a:lnTo>
                    <a:pt x="1351" y="512"/>
                  </a:lnTo>
                  <a:lnTo>
                    <a:pt x="1299" y="543"/>
                  </a:lnTo>
                  <a:lnTo>
                    <a:pt x="1299" y="528"/>
                  </a:lnTo>
                  <a:lnTo>
                    <a:pt x="1299" y="512"/>
                  </a:lnTo>
                  <a:lnTo>
                    <a:pt x="1317" y="480"/>
                  </a:lnTo>
                  <a:lnTo>
                    <a:pt x="1299" y="464"/>
                  </a:lnTo>
                  <a:lnTo>
                    <a:pt x="1247" y="512"/>
                  </a:lnTo>
                  <a:lnTo>
                    <a:pt x="1230" y="528"/>
                  </a:lnTo>
                  <a:lnTo>
                    <a:pt x="1213" y="528"/>
                  </a:lnTo>
                  <a:lnTo>
                    <a:pt x="1196" y="543"/>
                  </a:lnTo>
                  <a:lnTo>
                    <a:pt x="1247" y="591"/>
                  </a:lnTo>
                  <a:lnTo>
                    <a:pt x="1282" y="575"/>
                  </a:lnTo>
                  <a:lnTo>
                    <a:pt x="1334" y="591"/>
                  </a:lnTo>
                  <a:lnTo>
                    <a:pt x="1334" y="608"/>
                  </a:lnTo>
                  <a:lnTo>
                    <a:pt x="1317" y="591"/>
                  </a:lnTo>
                  <a:lnTo>
                    <a:pt x="1282" y="608"/>
                  </a:lnTo>
                  <a:lnTo>
                    <a:pt x="1247" y="656"/>
                  </a:lnTo>
                  <a:lnTo>
                    <a:pt x="1265" y="671"/>
                  </a:lnTo>
                  <a:lnTo>
                    <a:pt x="1282" y="735"/>
                  </a:lnTo>
                  <a:lnTo>
                    <a:pt x="1317" y="752"/>
                  </a:lnTo>
                  <a:lnTo>
                    <a:pt x="1299" y="752"/>
                  </a:lnTo>
                  <a:lnTo>
                    <a:pt x="1317" y="783"/>
                  </a:lnTo>
                  <a:lnTo>
                    <a:pt x="1265" y="800"/>
                  </a:lnTo>
                  <a:lnTo>
                    <a:pt x="1317" y="800"/>
                  </a:lnTo>
                  <a:lnTo>
                    <a:pt x="1299" y="863"/>
                  </a:lnTo>
                  <a:lnTo>
                    <a:pt x="1265" y="896"/>
                  </a:lnTo>
                  <a:lnTo>
                    <a:pt x="1247" y="896"/>
                  </a:lnTo>
                  <a:lnTo>
                    <a:pt x="1247" y="927"/>
                  </a:lnTo>
                  <a:lnTo>
                    <a:pt x="1230" y="959"/>
                  </a:lnTo>
                  <a:lnTo>
                    <a:pt x="1213" y="959"/>
                  </a:lnTo>
                  <a:lnTo>
                    <a:pt x="1213" y="975"/>
                  </a:lnTo>
                  <a:lnTo>
                    <a:pt x="1161" y="1007"/>
                  </a:lnTo>
                  <a:lnTo>
                    <a:pt x="1109" y="1007"/>
                  </a:lnTo>
                  <a:lnTo>
                    <a:pt x="1109" y="1023"/>
                  </a:lnTo>
                  <a:lnTo>
                    <a:pt x="1092" y="1007"/>
                  </a:lnTo>
                  <a:lnTo>
                    <a:pt x="1092" y="1023"/>
                  </a:lnTo>
                  <a:lnTo>
                    <a:pt x="1075" y="1023"/>
                  </a:lnTo>
                  <a:lnTo>
                    <a:pt x="1006" y="1055"/>
                  </a:lnTo>
                  <a:lnTo>
                    <a:pt x="988" y="1071"/>
                  </a:lnTo>
                  <a:lnTo>
                    <a:pt x="988" y="1040"/>
                  </a:lnTo>
                  <a:lnTo>
                    <a:pt x="954" y="1040"/>
                  </a:lnTo>
                  <a:lnTo>
                    <a:pt x="936" y="1040"/>
                  </a:lnTo>
                  <a:lnTo>
                    <a:pt x="900" y="1040"/>
                  </a:lnTo>
                  <a:lnTo>
                    <a:pt x="900" y="1007"/>
                  </a:lnTo>
                  <a:lnTo>
                    <a:pt x="865" y="1007"/>
                  </a:lnTo>
                  <a:lnTo>
                    <a:pt x="796" y="1023"/>
                  </a:lnTo>
                  <a:lnTo>
                    <a:pt x="779" y="1007"/>
                  </a:lnTo>
                  <a:lnTo>
                    <a:pt x="779" y="1023"/>
                  </a:lnTo>
                  <a:lnTo>
                    <a:pt x="762" y="1023"/>
                  </a:lnTo>
                  <a:lnTo>
                    <a:pt x="762" y="1055"/>
                  </a:lnTo>
                  <a:lnTo>
                    <a:pt x="745" y="1055"/>
                  </a:lnTo>
                  <a:lnTo>
                    <a:pt x="745" y="1040"/>
                  </a:lnTo>
                  <a:lnTo>
                    <a:pt x="727" y="1040"/>
                  </a:lnTo>
                  <a:lnTo>
                    <a:pt x="693" y="1023"/>
                  </a:lnTo>
                  <a:lnTo>
                    <a:pt x="693" y="1007"/>
                  </a:lnTo>
                  <a:lnTo>
                    <a:pt x="693" y="992"/>
                  </a:lnTo>
                  <a:lnTo>
                    <a:pt x="675" y="975"/>
                  </a:lnTo>
                  <a:lnTo>
                    <a:pt x="658" y="975"/>
                  </a:lnTo>
                  <a:lnTo>
                    <a:pt x="675" y="896"/>
                  </a:lnTo>
                  <a:lnTo>
                    <a:pt x="658" y="863"/>
                  </a:lnTo>
                  <a:lnTo>
                    <a:pt x="641" y="863"/>
                  </a:lnTo>
                  <a:lnTo>
                    <a:pt x="606" y="831"/>
                  </a:lnTo>
                  <a:lnTo>
                    <a:pt x="572" y="831"/>
                  </a:lnTo>
                  <a:lnTo>
                    <a:pt x="485" y="863"/>
                  </a:lnTo>
                  <a:lnTo>
                    <a:pt x="434" y="863"/>
                  </a:lnTo>
                  <a:lnTo>
                    <a:pt x="416" y="879"/>
                  </a:lnTo>
                  <a:lnTo>
                    <a:pt x="399" y="863"/>
                  </a:lnTo>
                  <a:lnTo>
                    <a:pt x="382" y="863"/>
                  </a:lnTo>
                  <a:lnTo>
                    <a:pt x="330" y="863"/>
                  </a:lnTo>
                  <a:lnTo>
                    <a:pt x="295" y="848"/>
                  </a:lnTo>
                  <a:lnTo>
                    <a:pt x="278" y="831"/>
                  </a:lnTo>
                  <a:lnTo>
                    <a:pt x="259" y="831"/>
                  </a:lnTo>
                  <a:lnTo>
                    <a:pt x="224" y="800"/>
                  </a:lnTo>
                  <a:lnTo>
                    <a:pt x="190" y="800"/>
                  </a:lnTo>
                  <a:lnTo>
                    <a:pt x="138" y="783"/>
                  </a:lnTo>
                  <a:lnTo>
                    <a:pt x="121" y="735"/>
                  </a:lnTo>
                  <a:lnTo>
                    <a:pt x="155" y="735"/>
                  </a:lnTo>
                  <a:lnTo>
                    <a:pt x="138" y="704"/>
                  </a:lnTo>
                  <a:lnTo>
                    <a:pt x="172" y="671"/>
                  </a:lnTo>
                  <a:lnTo>
                    <a:pt x="172" y="639"/>
                  </a:lnTo>
                  <a:lnTo>
                    <a:pt x="155" y="623"/>
                  </a:lnTo>
                  <a:lnTo>
                    <a:pt x="103" y="639"/>
                  </a:lnTo>
                  <a:lnTo>
                    <a:pt x="69" y="623"/>
                  </a:lnTo>
                  <a:lnTo>
                    <a:pt x="51" y="608"/>
                  </a:lnTo>
                  <a:lnTo>
                    <a:pt x="17" y="591"/>
                  </a:lnTo>
                  <a:lnTo>
                    <a:pt x="34" y="591"/>
                  </a:lnTo>
                  <a:lnTo>
                    <a:pt x="34" y="543"/>
                  </a:lnTo>
                  <a:lnTo>
                    <a:pt x="0" y="543"/>
                  </a:lnTo>
                  <a:lnTo>
                    <a:pt x="0" y="495"/>
                  </a:lnTo>
                  <a:lnTo>
                    <a:pt x="34" y="480"/>
                  </a:lnTo>
                  <a:lnTo>
                    <a:pt x="69" y="480"/>
                  </a:lnTo>
                  <a:lnTo>
                    <a:pt x="86" y="464"/>
                  </a:lnTo>
                  <a:lnTo>
                    <a:pt x="121" y="464"/>
                  </a:lnTo>
                  <a:lnTo>
                    <a:pt x="172" y="432"/>
                  </a:lnTo>
                  <a:lnTo>
                    <a:pt x="190" y="399"/>
                  </a:lnTo>
                  <a:lnTo>
                    <a:pt x="172" y="336"/>
                  </a:lnTo>
                  <a:lnTo>
                    <a:pt x="172" y="320"/>
                  </a:lnTo>
                  <a:lnTo>
                    <a:pt x="224" y="320"/>
                  </a:lnTo>
                  <a:lnTo>
                    <a:pt x="242" y="255"/>
                  </a:lnTo>
                  <a:lnTo>
                    <a:pt x="295" y="255"/>
                  </a:lnTo>
                  <a:lnTo>
                    <a:pt x="313" y="255"/>
                  </a:lnTo>
                  <a:lnTo>
                    <a:pt x="330" y="207"/>
                  </a:lnTo>
                  <a:lnTo>
                    <a:pt x="347" y="192"/>
                  </a:lnTo>
                  <a:close/>
                </a:path>
              </a:pathLst>
            </a:custGeom>
            <a:solidFill>
              <a:srgbClr val="670F31"/>
            </a:solidFill>
            <a:ln w="9525">
              <a:solidFill>
                <a:srgbClr val="F2F2F2"/>
              </a:solidFill>
              <a:round/>
              <a:headEnd/>
              <a:tailEnd/>
            </a:ln>
          </p:spPr>
          <p:txBody>
            <a:bodyPr/>
            <a:lstStyle/>
            <a:p>
              <a:endParaRPr lang="en-US" dirty="0">
                <a:solidFill>
                  <a:srgbClr val="575757"/>
                </a:solidFill>
              </a:endParaRPr>
            </a:p>
          </p:txBody>
        </p:sp>
        <p:sp>
          <p:nvSpPr>
            <p:cNvPr id="994" name="Freeform 69"/>
            <p:cNvSpPr>
              <a:spLocks/>
            </p:cNvSpPr>
            <p:nvPr>
              <p:custDataLst>
                <p:tags r:id="rId23"/>
              </p:custDataLst>
            </p:nvPr>
          </p:nvSpPr>
          <p:spPr bwMode="auto">
            <a:xfrm>
              <a:off x="7193969" y="4002404"/>
              <a:ext cx="352812" cy="246178"/>
            </a:xfrm>
            <a:custGeom>
              <a:avLst/>
              <a:gdLst>
                <a:gd name="T0" fmla="*/ 48 w 399"/>
                <a:gd name="T1" fmla="*/ 6 h 288"/>
                <a:gd name="T2" fmla="*/ 48 w 399"/>
                <a:gd name="T3" fmla="*/ 6 h 288"/>
                <a:gd name="T4" fmla="*/ 46 w 399"/>
                <a:gd name="T5" fmla="*/ 6 h 288"/>
                <a:gd name="T6" fmla="*/ 42 w 399"/>
                <a:gd name="T7" fmla="*/ 9 h 288"/>
                <a:gd name="T8" fmla="*/ 37 w 399"/>
                <a:gd name="T9" fmla="*/ 10 h 288"/>
                <a:gd name="T10" fmla="*/ 37 w 399"/>
                <a:gd name="T11" fmla="*/ 14 h 288"/>
                <a:gd name="T12" fmla="*/ 35 w 399"/>
                <a:gd name="T13" fmla="*/ 18 h 288"/>
                <a:gd name="T14" fmla="*/ 33 w 399"/>
                <a:gd name="T15" fmla="*/ 18 h 288"/>
                <a:gd name="T16" fmla="*/ 33 w 399"/>
                <a:gd name="T17" fmla="*/ 20 h 288"/>
                <a:gd name="T18" fmla="*/ 31 w 399"/>
                <a:gd name="T19" fmla="*/ 22 h 288"/>
                <a:gd name="T20" fmla="*/ 31 w 399"/>
                <a:gd name="T21" fmla="*/ 26 h 288"/>
                <a:gd name="T22" fmla="*/ 22 w 399"/>
                <a:gd name="T23" fmla="*/ 28 h 288"/>
                <a:gd name="T24" fmla="*/ 20 w 399"/>
                <a:gd name="T25" fmla="*/ 30 h 288"/>
                <a:gd name="T26" fmla="*/ 20 w 399"/>
                <a:gd name="T27" fmla="*/ 34 h 288"/>
                <a:gd name="T28" fmla="*/ 7 w 399"/>
                <a:gd name="T29" fmla="*/ 36 h 288"/>
                <a:gd name="T30" fmla="*/ 3 w 399"/>
                <a:gd name="T31" fmla="*/ 34 h 288"/>
                <a:gd name="T32" fmla="*/ 5 w 399"/>
                <a:gd name="T33" fmla="*/ 30 h 288"/>
                <a:gd name="T34" fmla="*/ 5 w 399"/>
                <a:gd name="T35" fmla="*/ 28 h 288"/>
                <a:gd name="T36" fmla="*/ 0 w 399"/>
                <a:gd name="T37" fmla="*/ 26 h 288"/>
                <a:gd name="T38" fmla="*/ 0 w 399"/>
                <a:gd name="T39" fmla="*/ 18 h 288"/>
                <a:gd name="T40" fmla="*/ 3 w 399"/>
                <a:gd name="T41" fmla="*/ 14 h 288"/>
                <a:gd name="T42" fmla="*/ 3 w 399"/>
                <a:gd name="T43" fmla="*/ 12 h 288"/>
                <a:gd name="T44" fmla="*/ 9 w 399"/>
                <a:gd name="T45" fmla="*/ 12 h 288"/>
                <a:gd name="T46" fmla="*/ 9 w 399"/>
                <a:gd name="T47" fmla="*/ 10 h 288"/>
                <a:gd name="T48" fmla="*/ 14 w 399"/>
                <a:gd name="T49" fmla="*/ 10 h 288"/>
                <a:gd name="T50" fmla="*/ 16 w 399"/>
                <a:gd name="T51" fmla="*/ 6 h 288"/>
                <a:gd name="T52" fmla="*/ 18 w 399"/>
                <a:gd name="T53" fmla="*/ 6 h 288"/>
                <a:gd name="T54" fmla="*/ 18 w 399"/>
                <a:gd name="T55" fmla="*/ 4 h 288"/>
                <a:gd name="T56" fmla="*/ 27 w 399"/>
                <a:gd name="T57" fmla="*/ 6 h 288"/>
                <a:gd name="T58" fmla="*/ 31 w 399"/>
                <a:gd name="T59" fmla="*/ 6 h 288"/>
                <a:gd name="T60" fmla="*/ 31 w 399"/>
                <a:gd name="T61" fmla="*/ 4 h 288"/>
                <a:gd name="T62" fmla="*/ 33 w 399"/>
                <a:gd name="T63" fmla="*/ 4 h 288"/>
                <a:gd name="T64" fmla="*/ 35 w 399"/>
                <a:gd name="T65" fmla="*/ 0 h 288"/>
                <a:gd name="T66" fmla="*/ 37 w 399"/>
                <a:gd name="T67" fmla="*/ 2 h 288"/>
                <a:gd name="T68" fmla="*/ 40 w 399"/>
                <a:gd name="T69" fmla="*/ 9 h 288"/>
                <a:gd name="T70" fmla="*/ 44 w 399"/>
                <a:gd name="T71" fmla="*/ 4 h 288"/>
                <a:gd name="T72" fmla="*/ 50 w 399"/>
                <a:gd name="T73" fmla="*/ 6 h 288"/>
                <a:gd name="T74" fmla="*/ 48 w 399"/>
                <a:gd name="T75" fmla="*/ 6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solidFill>
              <a:srgbClr val="C8C8C8"/>
            </a:solidFill>
            <a:ln w="9525">
              <a:solidFill>
                <a:srgbClr val="F2F2F2"/>
              </a:solidFill>
              <a:round/>
              <a:headEnd/>
              <a:tailEnd/>
            </a:ln>
          </p:spPr>
          <p:txBody>
            <a:bodyPr/>
            <a:lstStyle/>
            <a:p>
              <a:endParaRPr lang="en-US" dirty="0">
                <a:solidFill>
                  <a:srgbClr val="575757"/>
                </a:solidFill>
              </a:endParaRPr>
            </a:p>
          </p:txBody>
        </p:sp>
        <p:sp>
          <p:nvSpPr>
            <p:cNvPr id="995" name="Line 147"/>
            <p:cNvSpPr>
              <a:spLocks noChangeShapeType="1"/>
            </p:cNvSpPr>
            <p:nvPr/>
          </p:nvSpPr>
          <p:spPr bwMode="auto">
            <a:xfrm>
              <a:off x="7035204" y="4652039"/>
              <a:ext cx="14111" cy="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996" name="Line 180"/>
            <p:cNvSpPr>
              <a:spLocks noChangeShapeType="1"/>
            </p:cNvSpPr>
            <p:nvPr/>
          </p:nvSpPr>
          <p:spPr bwMode="auto">
            <a:xfrm flipV="1">
              <a:off x="6408963" y="4063948"/>
              <a:ext cx="12348"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997" name="Line 182"/>
            <p:cNvSpPr>
              <a:spLocks noChangeShapeType="1"/>
            </p:cNvSpPr>
            <p:nvPr/>
          </p:nvSpPr>
          <p:spPr bwMode="auto">
            <a:xfrm flipV="1">
              <a:off x="5403449" y="4262258"/>
              <a:ext cx="0" cy="27353"/>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998" name="Line 237"/>
            <p:cNvSpPr>
              <a:spLocks noChangeShapeType="1"/>
            </p:cNvSpPr>
            <p:nvPr/>
          </p:nvSpPr>
          <p:spPr bwMode="auto">
            <a:xfrm>
              <a:off x="7980739" y="4638363"/>
              <a:ext cx="0"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999" name="Line 238"/>
            <p:cNvSpPr>
              <a:spLocks noChangeShapeType="1"/>
            </p:cNvSpPr>
            <p:nvPr/>
          </p:nvSpPr>
          <p:spPr bwMode="auto">
            <a:xfrm flipV="1">
              <a:off x="8822195" y="4310126"/>
              <a:ext cx="14111"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0" name="Line 239"/>
            <p:cNvSpPr>
              <a:spLocks noChangeShapeType="1"/>
            </p:cNvSpPr>
            <p:nvPr/>
          </p:nvSpPr>
          <p:spPr bwMode="auto">
            <a:xfrm flipV="1">
              <a:off x="8859240" y="4275935"/>
              <a:ext cx="0" cy="27353"/>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1" name="Line 240"/>
            <p:cNvSpPr>
              <a:spLocks noChangeShapeType="1"/>
            </p:cNvSpPr>
            <p:nvPr/>
          </p:nvSpPr>
          <p:spPr bwMode="auto">
            <a:xfrm flipV="1">
              <a:off x="9249097" y="3846833"/>
              <a:ext cx="15877"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2" name="Line 241"/>
            <p:cNvSpPr>
              <a:spLocks noChangeShapeType="1"/>
            </p:cNvSpPr>
            <p:nvPr/>
          </p:nvSpPr>
          <p:spPr bwMode="auto">
            <a:xfrm flipV="1">
              <a:off x="9340827" y="3790418"/>
              <a:ext cx="29989"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3" name="Line 243"/>
            <p:cNvSpPr>
              <a:spLocks noChangeShapeType="1"/>
            </p:cNvSpPr>
            <p:nvPr/>
          </p:nvSpPr>
          <p:spPr bwMode="auto">
            <a:xfrm>
              <a:off x="5655710" y="3339092"/>
              <a:ext cx="1587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4" name="Line 244"/>
            <p:cNvSpPr>
              <a:spLocks noChangeShapeType="1"/>
            </p:cNvSpPr>
            <p:nvPr/>
          </p:nvSpPr>
          <p:spPr bwMode="auto">
            <a:xfrm flipV="1">
              <a:off x="8899814" y="5062335"/>
              <a:ext cx="14111"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5" name="Line 245"/>
            <p:cNvSpPr>
              <a:spLocks noChangeShapeType="1"/>
            </p:cNvSpPr>
            <p:nvPr/>
          </p:nvSpPr>
          <p:spPr bwMode="auto">
            <a:xfrm>
              <a:off x="8882172" y="4925570"/>
              <a:ext cx="17641" cy="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6" name="Line 246"/>
            <p:cNvSpPr>
              <a:spLocks noChangeShapeType="1"/>
            </p:cNvSpPr>
            <p:nvPr/>
          </p:nvSpPr>
          <p:spPr bwMode="auto">
            <a:xfrm>
              <a:off x="9508414" y="5062335"/>
              <a:ext cx="31753"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7" name="Line 247"/>
            <p:cNvSpPr>
              <a:spLocks noChangeShapeType="1"/>
            </p:cNvSpPr>
            <p:nvPr/>
          </p:nvSpPr>
          <p:spPr bwMode="auto">
            <a:xfrm>
              <a:off x="9540167" y="5089688"/>
              <a:ext cx="1411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8" name="Line 248"/>
            <p:cNvSpPr>
              <a:spLocks noChangeShapeType="1"/>
            </p:cNvSpPr>
            <p:nvPr/>
          </p:nvSpPr>
          <p:spPr bwMode="auto">
            <a:xfrm>
              <a:off x="9571920" y="5089688"/>
              <a:ext cx="1411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09" name="Line 249"/>
            <p:cNvSpPr>
              <a:spLocks noChangeShapeType="1"/>
            </p:cNvSpPr>
            <p:nvPr/>
          </p:nvSpPr>
          <p:spPr bwMode="auto">
            <a:xfrm>
              <a:off x="9617785" y="5103365"/>
              <a:ext cx="14111" cy="27353"/>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0" name="Line 250"/>
            <p:cNvSpPr>
              <a:spLocks noChangeShapeType="1"/>
            </p:cNvSpPr>
            <p:nvPr/>
          </p:nvSpPr>
          <p:spPr bwMode="auto">
            <a:xfrm>
              <a:off x="9631898" y="5144395"/>
              <a:ext cx="29989"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1" name="Line 319"/>
            <p:cNvSpPr>
              <a:spLocks noChangeShapeType="1"/>
            </p:cNvSpPr>
            <p:nvPr/>
          </p:nvSpPr>
          <p:spPr bwMode="auto">
            <a:xfrm flipV="1">
              <a:off x="1668937" y="3544240"/>
              <a:ext cx="15877" cy="54706"/>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2" name="Line 321"/>
            <p:cNvSpPr>
              <a:spLocks noChangeShapeType="1"/>
            </p:cNvSpPr>
            <p:nvPr/>
          </p:nvSpPr>
          <p:spPr bwMode="auto">
            <a:xfrm>
              <a:off x="4066293" y="4652039"/>
              <a:ext cx="1764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3" name="Line 322"/>
            <p:cNvSpPr>
              <a:spLocks noChangeShapeType="1"/>
            </p:cNvSpPr>
            <p:nvPr/>
          </p:nvSpPr>
          <p:spPr bwMode="auto">
            <a:xfrm>
              <a:off x="4265631" y="4597333"/>
              <a:ext cx="1587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4" name="Line 323"/>
            <p:cNvSpPr>
              <a:spLocks noChangeShapeType="1"/>
            </p:cNvSpPr>
            <p:nvPr/>
          </p:nvSpPr>
          <p:spPr bwMode="auto">
            <a:xfrm>
              <a:off x="3836965" y="4323802"/>
              <a:ext cx="3351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5" name="Line 331"/>
            <p:cNvSpPr>
              <a:spLocks noChangeShapeType="1"/>
            </p:cNvSpPr>
            <p:nvPr/>
          </p:nvSpPr>
          <p:spPr bwMode="auto">
            <a:xfrm>
              <a:off x="3916348" y="4378509"/>
              <a:ext cx="12348"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6" name="Line 332"/>
            <p:cNvSpPr>
              <a:spLocks noChangeShapeType="1"/>
            </p:cNvSpPr>
            <p:nvPr/>
          </p:nvSpPr>
          <p:spPr bwMode="auto">
            <a:xfrm flipV="1">
              <a:off x="3916348" y="4091301"/>
              <a:ext cx="12348"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7" name="Line 427"/>
            <p:cNvSpPr>
              <a:spLocks noChangeShapeType="1"/>
            </p:cNvSpPr>
            <p:nvPr/>
          </p:nvSpPr>
          <p:spPr bwMode="auto">
            <a:xfrm flipV="1">
              <a:off x="6408963" y="4063948"/>
              <a:ext cx="12348"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8" name="Line 428"/>
            <p:cNvSpPr>
              <a:spLocks noChangeShapeType="1"/>
            </p:cNvSpPr>
            <p:nvPr/>
          </p:nvSpPr>
          <p:spPr bwMode="auto">
            <a:xfrm flipV="1">
              <a:off x="5403449" y="4262258"/>
              <a:ext cx="0" cy="27353"/>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19" name="Line 434"/>
            <p:cNvSpPr>
              <a:spLocks noChangeShapeType="1"/>
            </p:cNvSpPr>
            <p:nvPr/>
          </p:nvSpPr>
          <p:spPr bwMode="auto">
            <a:xfrm flipV="1">
              <a:off x="9249097" y="3846833"/>
              <a:ext cx="15877" cy="4103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0" name="Line 435"/>
            <p:cNvSpPr>
              <a:spLocks noChangeShapeType="1"/>
            </p:cNvSpPr>
            <p:nvPr/>
          </p:nvSpPr>
          <p:spPr bwMode="auto">
            <a:xfrm>
              <a:off x="5655710" y="3339092"/>
              <a:ext cx="1587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1" name="Line 436"/>
            <p:cNvSpPr>
              <a:spLocks noChangeShapeType="1"/>
            </p:cNvSpPr>
            <p:nvPr/>
          </p:nvSpPr>
          <p:spPr bwMode="auto">
            <a:xfrm>
              <a:off x="8882172" y="4925570"/>
              <a:ext cx="17641" cy="0"/>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2" name="Line 437"/>
            <p:cNvSpPr>
              <a:spLocks noChangeShapeType="1"/>
            </p:cNvSpPr>
            <p:nvPr/>
          </p:nvSpPr>
          <p:spPr bwMode="auto">
            <a:xfrm>
              <a:off x="9571920" y="5089688"/>
              <a:ext cx="1411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3" name="Line 460"/>
            <p:cNvSpPr>
              <a:spLocks noChangeShapeType="1"/>
            </p:cNvSpPr>
            <p:nvPr/>
          </p:nvSpPr>
          <p:spPr bwMode="auto">
            <a:xfrm>
              <a:off x="4066293" y="4652039"/>
              <a:ext cx="17641"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4" name="Line 461"/>
            <p:cNvSpPr>
              <a:spLocks noChangeShapeType="1"/>
            </p:cNvSpPr>
            <p:nvPr/>
          </p:nvSpPr>
          <p:spPr bwMode="auto">
            <a:xfrm>
              <a:off x="3836965" y="4323802"/>
              <a:ext cx="33517"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sp>
          <p:nvSpPr>
            <p:cNvPr id="1025" name="Line 469"/>
            <p:cNvSpPr>
              <a:spLocks noChangeShapeType="1"/>
            </p:cNvSpPr>
            <p:nvPr/>
          </p:nvSpPr>
          <p:spPr bwMode="auto">
            <a:xfrm>
              <a:off x="3916348" y="4378509"/>
              <a:ext cx="12348" cy="13677"/>
            </a:xfrm>
            <a:prstGeom prst="line">
              <a:avLst/>
            </a:prstGeom>
            <a:solidFill>
              <a:schemeClr val="bg1">
                <a:lumMod val="65000"/>
              </a:schemeClr>
            </a:solidFill>
            <a:ln w="9525">
              <a:solidFill>
                <a:srgbClr val="F2F2F2"/>
              </a:solidFill>
              <a:round/>
              <a:headEnd/>
              <a:tailEnd/>
            </a:ln>
          </p:spPr>
          <p:txBody>
            <a:bodyPr/>
            <a:lstStyle/>
            <a:p>
              <a:endParaRPr lang="en-US" dirty="0">
                <a:solidFill>
                  <a:srgbClr val="575757"/>
                </a:solidFill>
              </a:endParaRPr>
            </a:p>
          </p:txBody>
        </p:sp>
        <p:grpSp>
          <p:nvGrpSpPr>
            <p:cNvPr id="1026" name="Group 1025"/>
            <p:cNvGrpSpPr/>
            <p:nvPr/>
          </p:nvGrpSpPr>
          <p:grpSpPr>
            <a:xfrm>
              <a:off x="3047496" y="3156168"/>
              <a:ext cx="5338042" cy="2063447"/>
              <a:chOff x="3283310" y="3163756"/>
              <a:chExt cx="5338042" cy="2063447"/>
            </a:xfrm>
          </p:grpSpPr>
          <p:sp>
            <p:nvSpPr>
              <p:cNvPr id="1059" name="Freeform 303"/>
              <p:cNvSpPr>
                <a:spLocks/>
              </p:cNvSpPr>
              <p:nvPr/>
            </p:nvSpPr>
            <p:spPr bwMode="auto">
              <a:xfrm>
                <a:off x="4186508" y="3943319"/>
                <a:ext cx="45866" cy="11967"/>
              </a:xfrm>
              <a:custGeom>
                <a:avLst/>
                <a:gdLst>
                  <a:gd name="T0" fmla="*/ 0 w 51"/>
                  <a:gd name="T1" fmla="*/ 1 h 16"/>
                  <a:gd name="T2" fmla="*/ 0 w 51"/>
                  <a:gd name="T3" fmla="*/ 1 h 16"/>
                  <a:gd name="T4" fmla="*/ 7 w 51"/>
                  <a:gd name="T5" fmla="*/ 0 h 16"/>
                  <a:gd name="T6" fmla="*/ 5 w 51"/>
                  <a:gd name="T7" fmla="*/ 0 h 16"/>
                  <a:gd name="T8" fmla="*/ 0 w 51"/>
                  <a:gd name="T9" fmla="*/ 1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16"/>
                    </a:moveTo>
                    <a:lnTo>
                      <a:pt x="0" y="16"/>
                    </a:lnTo>
                    <a:lnTo>
                      <a:pt x="51" y="0"/>
                    </a:lnTo>
                    <a:lnTo>
                      <a:pt x="34" y="0"/>
                    </a:lnTo>
                    <a:lnTo>
                      <a:pt x="0" y="16"/>
                    </a:lnTo>
                    <a:close/>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0" name="Freeform 304"/>
              <p:cNvSpPr>
                <a:spLocks/>
              </p:cNvSpPr>
              <p:nvPr/>
            </p:nvSpPr>
            <p:spPr bwMode="auto">
              <a:xfrm>
                <a:off x="4186508" y="3943319"/>
                <a:ext cx="45866" cy="11967"/>
              </a:xfrm>
              <a:custGeom>
                <a:avLst/>
                <a:gdLst>
                  <a:gd name="T0" fmla="*/ 0 w 51"/>
                  <a:gd name="T1" fmla="*/ 1 h 16"/>
                  <a:gd name="T2" fmla="*/ 0 w 51"/>
                  <a:gd name="T3" fmla="*/ 1 h 16"/>
                  <a:gd name="T4" fmla="*/ 7 w 51"/>
                  <a:gd name="T5" fmla="*/ 0 h 16"/>
                  <a:gd name="T6" fmla="*/ 5 w 51"/>
                  <a:gd name="T7" fmla="*/ 0 h 16"/>
                  <a:gd name="T8" fmla="*/ 0 w 51"/>
                  <a:gd name="T9" fmla="*/ 1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16"/>
                    </a:moveTo>
                    <a:lnTo>
                      <a:pt x="0" y="16"/>
                    </a:lnTo>
                    <a:lnTo>
                      <a:pt x="51" y="0"/>
                    </a:lnTo>
                    <a:lnTo>
                      <a:pt x="34" y="0"/>
                    </a:lnTo>
                    <a:lnTo>
                      <a:pt x="0" y="1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1" name="Freeform 305"/>
              <p:cNvSpPr>
                <a:spLocks/>
              </p:cNvSpPr>
              <p:nvPr/>
            </p:nvSpPr>
            <p:spPr bwMode="auto">
              <a:xfrm>
                <a:off x="4186508" y="3943319"/>
                <a:ext cx="45866" cy="11967"/>
              </a:xfrm>
              <a:custGeom>
                <a:avLst/>
                <a:gdLst>
                  <a:gd name="T0" fmla="*/ 0 w 51"/>
                  <a:gd name="T1" fmla="*/ 1 h 16"/>
                  <a:gd name="T2" fmla="*/ 7 w 51"/>
                  <a:gd name="T3" fmla="*/ 0 h 16"/>
                  <a:gd name="T4" fmla="*/ 5 w 51"/>
                  <a:gd name="T5" fmla="*/ 0 h 16"/>
                  <a:gd name="T6" fmla="*/ 0 w 51"/>
                  <a:gd name="T7" fmla="*/ 1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close/>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2" name="Freeform 306"/>
              <p:cNvSpPr>
                <a:spLocks/>
              </p:cNvSpPr>
              <p:nvPr/>
            </p:nvSpPr>
            <p:spPr bwMode="auto">
              <a:xfrm>
                <a:off x="4186508" y="3943319"/>
                <a:ext cx="45866" cy="11967"/>
              </a:xfrm>
              <a:custGeom>
                <a:avLst/>
                <a:gdLst>
                  <a:gd name="T0" fmla="*/ 0 w 51"/>
                  <a:gd name="T1" fmla="*/ 1 h 16"/>
                  <a:gd name="T2" fmla="*/ 7 w 51"/>
                  <a:gd name="T3" fmla="*/ 0 h 16"/>
                  <a:gd name="T4" fmla="*/ 5 w 51"/>
                  <a:gd name="T5" fmla="*/ 0 h 16"/>
                  <a:gd name="T6" fmla="*/ 0 w 51"/>
                  <a:gd name="T7" fmla="*/ 1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3" name="Freeform 488"/>
              <p:cNvSpPr>
                <a:spLocks/>
              </p:cNvSpPr>
              <p:nvPr/>
            </p:nvSpPr>
            <p:spPr bwMode="auto">
              <a:xfrm>
                <a:off x="3283310" y="3298812"/>
                <a:ext cx="93495" cy="54706"/>
              </a:xfrm>
              <a:custGeom>
                <a:avLst/>
                <a:gdLst>
                  <a:gd name="T0" fmla="*/ 0 w 106"/>
                  <a:gd name="T1" fmla="*/ 6 h 63"/>
                  <a:gd name="T2" fmla="*/ 0 w 106"/>
                  <a:gd name="T3" fmla="*/ 6 h 63"/>
                  <a:gd name="T4" fmla="*/ 3 w 106"/>
                  <a:gd name="T5" fmla="*/ 8 h 63"/>
                  <a:gd name="T6" fmla="*/ 5 w 106"/>
                  <a:gd name="T7" fmla="*/ 6 h 63"/>
                  <a:gd name="T8" fmla="*/ 13 w 106"/>
                  <a:gd name="T9" fmla="*/ 5 h 63"/>
                  <a:gd name="T10" fmla="*/ 5 w 106"/>
                  <a:gd name="T11" fmla="*/ 0 h 63"/>
                  <a:gd name="T12" fmla="*/ 0 w 106"/>
                  <a:gd name="T13" fmla="*/ 6 h 63"/>
                  <a:gd name="T14" fmla="*/ 0 60000 65536"/>
                  <a:gd name="T15" fmla="*/ 0 60000 65536"/>
                  <a:gd name="T16" fmla="*/ 0 60000 65536"/>
                  <a:gd name="T17" fmla="*/ 0 60000 65536"/>
                  <a:gd name="T18" fmla="*/ 0 60000 65536"/>
                  <a:gd name="T19" fmla="*/ 0 60000 65536"/>
                  <a:gd name="T20" fmla="*/ 0 60000 65536"/>
                  <a:gd name="T21" fmla="*/ 0 w 106"/>
                  <a:gd name="T22" fmla="*/ 0 h 63"/>
                  <a:gd name="T23" fmla="*/ 106 w 106"/>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63">
                    <a:moveTo>
                      <a:pt x="0" y="48"/>
                    </a:moveTo>
                    <a:lnTo>
                      <a:pt x="0" y="48"/>
                    </a:lnTo>
                    <a:lnTo>
                      <a:pt x="19" y="63"/>
                    </a:lnTo>
                    <a:lnTo>
                      <a:pt x="37" y="48"/>
                    </a:lnTo>
                    <a:lnTo>
                      <a:pt x="106" y="33"/>
                    </a:lnTo>
                    <a:lnTo>
                      <a:pt x="37" y="0"/>
                    </a:lnTo>
                    <a:lnTo>
                      <a:pt x="0" y="48"/>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4" name="Freeform 489"/>
              <p:cNvSpPr>
                <a:spLocks/>
              </p:cNvSpPr>
              <p:nvPr/>
            </p:nvSpPr>
            <p:spPr bwMode="auto">
              <a:xfrm>
                <a:off x="3482649" y="3368904"/>
                <a:ext cx="31753" cy="66673"/>
              </a:xfrm>
              <a:custGeom>
                <a:avLst/>
                <a:gdLst>
                  <a:gd name="T0" fmla="*/ 0 w 34"/>
                  <a:gd name="T1" fmla="*/ 10 h 78"/>
                  <a:gd name="T2" fmla="*/ 0 w 34"/>
                  <a:gd name="T3" fmla="*/ 10 h 78"/>
                  <a:gd name="T4" fmla="*/ 3 w 34"/>
                  <a:gd name="T5" fmla="*/ 10 h 78"/>
                  <a:gd name="T6" fmla="*/ 3 w 34"/>
                  <a:gd name="T7" fmla="*/ 3 h 78"/>
                  <a:gd name="T8" fmla="*/ 5 w 34"/>
                  <a:gd name="T9" fmla="*/ 1 h 78"/>
                  <a:gd name="T10" fmla="*/ 3 w 34"/>
                  <a:gd name="T11" fmla="*/ 0 h 78"/>
                  <a:gd name="T12" fmla="*/ 0 w 34"/>
                  <a:gd name="T13" fmla="*/ 3 h 78"/>
                  <a:gd name="T14" fmla="*/ 3 w 34"/>
                  <a:gd name="T15" fmla="*/ 6 h 78"/>
                  <a:gd name="T16" fmla="*/ 0 w 34"/>
                  <a:gd name="T17" fmla="*/ 10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78"/>
                  <a:gd name="T29" fmla="*/ 34 w 34"/>
                  <a:gd name="T30" fmla="*/ 78 h 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78">
                    <a:moveTo>
                      <a:pt x="0" y="78"/>
                    </a:moveTo>
                    <a:lnTo>
                      <a:pt x="0" y="78"/>
                    </a:lnTo>
                    <a:lnTo>
                      <a:pt x="17" y="78"/>
                    </a:lnTo>
                    <a:lnTo>
                      <a:pt x="17" y="30"/>
                    </a:lnTo>
                    <a:lnTo>
                      <a:pt x="34" y="15"/>
                    </a:lnTo>
                    <a:lnTo>
                      <a:pt x="17" y="0"/>
                    </a:lnTo>
                    <a:lnTo>
                      <a:pt x="0" y="30"/>
                    </a:lnTo>
                    <a:lnTo>
                      <a:pt x="17" y="48"/>
                    </a:lnTo>
                    <a:lnTo>
                      <a:pt x="0" y="78"/>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5" name="Freeform 490"/>
              <p:cNvSpPr>
                <a:spLocks/>
              </p:cNvSpPr>
              <p:nvPr/>
            </p:nvSpPr>
            <p:spPr bwMode="auto">
              <a:xfrm>
                <a:off x="3574380" y="3533022"/>
                <a:ext cx="75855" cy="123089"/>
              </a:xfrm>
              <a:custGeom>
                <a:avLst/>
                <a:gdLst>
                  <a:gd name="T0" fmla="*/ 0 w 87"/>
                  <a:gd name="T1" fmla="*/ 2 h 144"/>
                  <a:gd name="T2" fmla="*/ 0 w 87"/>
                  <a:gd name="T3" fmla="*/ 2 h 144"/>
                  <a:gd name="T4" fmla="*/ 4 w 87"/>
                  <a:gd name="T5" fmla="*/ 8 h 144"/>
                  <a:gd name="T6" fmla="*/ 4 w 87"/>
                  <a:gd name="T7" fmla="*/ 9 h 144"/>
                  <a:gd name="T8" fmla="*/ 6 w 87"/>
                  <a:gd name="T9" fmla="*/ 9 h 144"/>
                  <a:gd name="T10" fmla="*/ 6 w 87"/>
                  <a:gd name="T11" fmla="*/ 12 h 144"/>
                  <a:gd name="T12" fmla="*/ 8 w 87"/>
                  <a:gd name="T13" fmla="*/ 12 h 144"/>
                  <a:gd name="T14" fmla="*/ 6 w 87"/>
                  <a:gd name="T15" fmla="*/ 18 h 144"/>
                  <a:gd name="T16" fmla="*/ 8 w 87"/>
                  <a:gd name="T17" fmla="*/ 18 h 144"/>
                  <a:gd name="T18" fmla="*/ 10 w 87"/>
                  <a:gd name="T19" fmla="*/ 14 h 144"/>
                  <a:gd name="T20" fmla="*/ 4 w 87"/>
                  <a:gd name="T21" fmla="*/ 2 h 144"/>
                  <a:gd name="T22" fmla="*/ 0 w 87"/>
                  <a:gd name="T23" fmla="*/ 0 h 144"/>
                  <a:gd name="T24" fmla="*/ 0 w 87"/>
                  <a:gd name="T25" fmla="*/ 2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144"/>
                  <a:gd name="T41" fmla="*/ 87 w 87"/>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144">
                    <a:moveTo>
                      <a:pt x="0" y="16"/>
                    </a:moveTo>
                    <a:lnTo>
                      <a:pt x="0" y="16"/>
                    </a:lnTo>
                    <a:lnTo>
                      <a:pt x="35" y="64"/>
                    </a:lnTo>
                    <a:lnTo>
                      <a:pt x="35" y="79"/>
                    </a:lnTo>
                    <a:lnTo>
                      <a:pt x="52" y="79"/>
                    </a:lnTo>
                    <a:lnTo>
                      <a:pt x="52" y="96"/>
                    </a:lnTo>
                    <a:lnTo>
                      <a:pt x="70" y="96"/>
                    </a:lnTo>
                    <a:lnTo>
                      <a:pt x="52" y="144"/>
                    </a:lnTo>
                    <a:lnTo>
                      <a:pt x="70" y="144"/>
                    </a:lnTo>
                    <a:lnTo>
                      <a:pt x="87" y="112"/>
                    </a:lnTo>
                    <a:lnTo>
                      <a:pt x="35" y="16"/>
                    </a:lnTo>
                    <a:lnTo>
                      <a:pt x="0" y="0"/>
                    </a:lnTo>
                    <a:lnTo>
                      <a:pt x="0" y="1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6" name="Freeform 491"/>
              <p:cNvSpPr>
                <a:spLocks/>
              </p:cNvSpPr>
              <p:nvPr/>
            </p:nvSpPr>
            <p:spPr bwMode="auto">
              <a:xfrm>
                <a:off x="3528514" y="3558666"/>
                <a:ext cx="77619" cy="109412"/>
              </a:xfrm>
              <a:custGeom>
                <a:avLst/>
                <a:gdLst>
                  <a:gd name="T0" fmla="*/ 0 w 86"/>
                  <a:gd name="T1" fmla="*/ 0 h 129"/>
                  <a:gd name="T2" fmla="*/ 0 w 86"/>
                  <a:gd name="T3" fmla="*/ 0 h 129"/>
                  <a:gd name="T4" fmla="*/ 0 w 86"/>
                  <a:gd name="T5" fmla="*/ 2 h 129"/>
                  <a:gd name="T6" fmla="*/ 3 w 86"/>
                  <a:gd name="T7" fmla="*/ 2 h 129"/>
                  <a:gd name="T8" fmla="*/ 5 w 86"/>
                  <a:gd name="T9" fmla="*/ 2 h 129"/>
                  <a:gd name="T10" fmla="*/ 3 w 86"/>
                  <a:gd name="T11" fmla="*/ 6 h 129"/>
                  <a:gd name="T12" fmla="*/ 7 w 86"/>
                  <a:gd name="T13" fmla="*/ 10 h 129"/>
                  <a:gd name="T14" fmla="*/ 9 w 86"/>
                  <a:gd name="T15" fmla="*/ 16 h 129"/>
                  <a:gd name="T16" fmla="*/ 12 w 86"/>
                  <a:gd name="T17" fmla="*/ 14 h 129"/>
                  <a:gd name="T18" fmla="*/ 9 w 86"/>
                  <a:gd name="T19" fmla="*/ 10 h 129"/>
                  <a:gd name="T20" fmla="*/ 9 w 86"/>
                  <a:gd name="T21" fmla="*/ 8 h 129"/>
                  <a:gd name="T22" fmla="*/ 5 w 86"/>
                  <a:gd name="T23" fmla="*/ 8 h 129"/>
                  <a:gd name="T24" fmla="*/ 5 w 86"/>
                  <a:gd name="T25" fmla="*/ 2 h 129"/>
                  <a:gd name="T26" fmla="*/ 3 w 86"/>
                  <a:gd name="T27" fmla="*/ 0 h 129"/>
                  <a:gd name="T28" fmla="*/ 0 w 86"/>
                  <a:gd name="T29" fmla="*/ 0 h 1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6"/>
                  <a:gd name="T46" fmla="*/ 0 h 129"/>
                  <a:gd name="T47" fmla="*/ 86 w 86"/>
                  <a:gd name="T48" fmla="*/ 129 h 1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6" h="129">
                    <a:moveTo>
                      <a:pt x="0" y="0"/>
                    </a:moveTo>
                    <a:lnTo>
                      <a:pt x="0" y="0"/>
                    </a:lnTo>
                    <a:lnTo>
                      <a:pt x="0" y="17"/>
                    </a:lnTo>
                    <a:lnTo>
                      <a:pt x="17" y="17"/>
                    </a:lnTo>
                    <a:lnTo>
                      <a:pt x="34" y="17"/>
                    </a:lnTo>
                    <a:lnTo>
                      <a:pt x="17" y="48"/>
                    </a:lnTo>
                    <a:lnTo>
                      <a:pt x="51" y="81"/>
                    </a:lnTo>
                    <a:lnTo>
                      <a:pt x="69" y="129"/>
                    </a:lnTo>
                    <a:lnTo>
                      <a:pt x="86" y="113"/>
                    </a:lnTo>
                    <a:lnTo>
                      <a:pt x="69" y="81"/>
                    </a:lnTo>
                    <a:lnTo>
                      <a:pt x="69" y="65"/>
                    </a:lnTo>
                    <a:lnTo>
                      <a:pt x="34" y="65"/>
                    </a:lnTo>
                    <a:lnTo>
                      <a:pt x="34" y="17"/>
                    </a:lnTo>
                    <a:lnTo>
                      <a:pt x="17" y="0"/>
                    </a:lnTo>
                    <a:lnTo>
                      <a:pt x="0" y="0"/>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7" name="Freeform 484"/>
              <p:cNvSpPr>
                <a:spLocks/>
              </p:cNvSpPr>
              <p:nvPr/>
            </p:nvSpPr>
            <p:spPr bwMode="auto">
              <a:xfrm>
                <a:off x="6663247" y="4981025"/>
                <a:ext cx="61742" cy="123089"/>
              </a:xfrm>
              <a:custGeom>
                <a:avLst/>
                <a:gdLst>
                  <a:gd name="T0" fmla="*/ 3 w 69"/>
                  <a:gd name="T1" fmla="*/ 7 h 144"/>
                  <a:gd name="T2" fmla="*/ 3 w 69"/>
                  <a:gd name="T3" fmla="*/ 7 h 144"/>
                  <a:gd name="T4" fmla="*/ 5 w 69"/>
                  <a:gd name="T5" fmla="*/ 12 h 144"/>
                  <a:gd name="T6" fmla="*/ 7 w 69"/>
                  <a:gd name="T7" fmla="*/ 16 h 144"/>
                  <a:gd name="T8" fmla="*/ 9 w 69"/>
                  <a:gd name="T9" fmla="*/ 18 h 144"/>
                  <a:gd name="T10" fmla="*/ 7 w 69"/>
                  <a:gd name="T11" fmla="*/ 12 h 144"/>
                  <a:gd name="T12" fmla="*/ 3 w 69"/>
                  <a:gd name="T13" fmla="*/ 10 h 144"/>
                  <a:gd name="T14" fmla="*/ 5 w 69"/>
                  <a:gd name="T15" fmla="*/ 7 h 144"/>
                  <a:gd name="T16" fmla="*/ 3 w 69"/>
                  <a:gd name="T17" fmla="*/ 0 h 144"/>
                  <a:gd name="T18" fmla="*/ 0 w 69"/>
                  <a:gd name="T19" fmla="*/ 1 h 144"/>
                  <a:gd name="T20" fmla="*/ 3 w 69"/>
                  <a:gd name="T21" fmla="*/ 7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144"/>
                  <a:gd name="T35" fmla="*/ 69 w 69"/>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144">
                    <a:moveTo>
                      <a:pt x="17" y="63"/>
                    </a:moveTo>
                    <a:lnTo>
                      <a:pt x="17" y="63"/>
                    </a:lnTo>
                    <a:lnTo>
                      <a:pt x="35" y="96"/>
                    </a:lnTo>
                    <a:lnTo>
                      <a:pt x="52" y="128"/>
                    </a:lnTo>
                    <a:lnTo>
                      <a:pt x="69" y="144"/>
                    </a:lnTo>
                    <a:lnTo>
                      <a:pt x="52" y="96"/>
                    </a:lnTo>
                    <a:lnTo>
                      <a:pt x="17" y="80"/>
                    </a:lnTo>
                    <a:lnTo>
                      <a:pt x="35" y="63"/>
                    </a:lnTo>
                    <a:lnTo>
                      <a:pt x="17" y="0"/>
                    </a:lnTo>
                    <a:lnTo>
                      <a:pt x="0" y="15"/>
                    </a:lnTo>
                    <a:lnTo>
                      <a:pt x="17" y="6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8" name="Freeform 483"/>
              <p:cNvSpPr>
                <a:spLocks/>
              </p:cNvSpPr>
              <p:nvPr/>
            </p:nvSpPr>
            <p:spPr bwMode="auto">
              <a:xfrm>
                <a:off x="6784967" y="5117791"/>
                <a:ext cx="29989" cy="109412"/>
              </a:xfrm>
              <a:custGeom>
                <a:avLst/>
                <a:gdLst>
                  <a:gd name="T0" fmla="*/ 0 w 35"/>
                  <a:gd name="T1" fmla="*/ 8 h 129"/>
                  <a:gd name="T2" fmla="*/ 0 w 35"/>
                  <a:gd name="T3" fmla="*/ 8 h 129"/>
                  <a:gd name="T4" fmla="*/ 2 w 35"/>
                  <a:gd name="T5" fmla="*/ 12 h 129"/>
                  <a:gd name="T6" fmla="*/ 4 w 35"/>
                  <a:gd name="T7" fmla="*/ 16 h 129"/>
                  <a:gd name="T8" fmla="*/ 2 w 35"/>
                  <a:gd name="T9" fmla="*/ 0 h 129"/>
                  <a:gd name="T10" fmla="*/ 0 w 35"/>
                  <a:gd name="T11" fmla="*/ 0 h 129"/>
                  <a:gd name="T12" fmla="*/ 2 w 35"/>
                  <a:gd name="T13" fmla="*/ 6 h 129"/>
                  <a:gd name="T14" fmla="*/ 0 w 35"/>
                  <a:gd name="T15" fmla="*/ 8 h 12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29"/>
                  <a:gd name="T26" fmla="*/ 35 w 35"/>
                  <a:gd name="T27" fmla="*/ 129 h 1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29">
                    <a:moveTo>
                      <a:pt x="0" y="65"/>
                    </a:moveTo>
                    <a:lnTo>
                      <a:pt x="0" y="65"/>
                    </a:lnTo>
                    <a:lnTo>
                      <a:pt x="18" y="96"/>
                    </a:lnTo>
                    <a:lnTo>
                      <a:pt x="35" y="129"/>
                    </a:lnTo>
                    <a:lnTo>
                      <a:pt x="18" y="0"/>
                    </a:lnTo>
                    <a:lnTo>
                      <a:pt x="0" y="0"/>
                    </a:lnTo>
                    <a:lnTo>
                      <a:pt x="18" y="48"/>
                    </a:lnTo>
                    <a:lnTo>
                      <a:pt x="0" y="65"/>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69" name="Freeform 495"/>
              <p:cNvSpPr>
                <a:spLocks/>
              </p:cNvSpPr>
              <p:nvPr/>
            </p:nvSpPr>
            <p:spPr bwMode="auto">
              <a:xfrm>
                <a:off x="6724989" y="4898966"/>
                <a:ext cx="75855" cy="68383"/>
              </a:xfrm>
              <a:custGeom>
                <a:avLst/>
                <a:gdLst>
                  <a:gd name="T0" fmla="*/ 0 w 87"/>
                  <a:gd name="T1" fmla="*/ 7 h 80"/>
                  <a:gd name="T2" fmla="*/ 0 w 87"/>
                  <a:gd name="T3" fmla="*/ 7 h 80"/>
                  <a:gd name="T4" fmla="*/ 2 w 87"/>
                  <a:gd name="T5" fmla="*/ 10 h 80"/>
                  <a:gd name="T6" fmla="*/ 2 w 87"/>
                  <a:gd name="T7" fmla="*/ 7 h 80"/>
                  <a:gd name="T8" fmla="*/ 6 w 87"/>
                  <a:gd name="T9" fmla="*/ 10 h 80"/>
                  <a:gd name="T10" fmla="*/ 8 w 87"/>
                  <a:gd name="T11" fmla="*/ 7 h 80"/>
                  <a:gd name="T12" fmla="*/ 6 w 87"/>
                  <a:gd name="T13" fmla="*/ 7 h 80"/>
                  <a:gd name="T14" fmla="*/ 10 w 87"/>
                  <a:gd name="T15" fmla="*/ 1 h 80"/>
                  <a:gd name="T16" fmla="*/ 8 w 87"/>
                  <a:gd name="T17" fmla="*/ 1 h 80"/>
                  <a:gd name="T18" fmla="*/ 6 w 87"/>
                  <a:gd name="T19" fmla="*/ 0 h 80"/>
                  <a:gd name="T20" fmla="*/ 2 w 87"/>
                  <a:gd name="T21" fmla="*/ 1 h 80"/>
                  <a:gd name="T22" fmla="*/ 0 w 87"/>
                  <a:gd name="T23" fmla="*/ 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0"/>
                  <a:gd name="T38" fmla="*/ 87 w 87"/>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0">
                    <a:moveTo>
                      <a:pt x="0" y="63"/>
                    </a:moveTo>
                    <a:lnTo>
                      <a:pt x="0" y="63"/>
                    </a:lnTo>
                    <a:lnTo>
                      <a:pt x="17" y="80"/>
                    </a:lnTo>
                    <a:lnTo>
                      <a:pt x="17" y="63"/>
                    </a:lnTo>
                    <a:lnTo>
                      <a:pt x="52" y="80"/>
                    </a:lnTo>
                    <a:lnTo>
                      <a:pt x="69" y="63"/>
                    </a:lnTo>
                    <a:lnTo>
                      <a:pt x="52" y="63"/>
                    </a:lnTo>
                    <a:lnTo>
                      <a:pt x="87" y="15"/>
                    </a:lnTo>
                    <a:lnTo>
                      <a:pt x="69" y="15"/>
                    </a:lnTo>
                    <a:lnTo>
                      <a:pt x="52" y="0"/>
                    </a:lnTo>
                    <a:lnTo>
                      <a:pt x="17" y="15"/>
                    </a:lnTo>
                    <a:lnTo>
                      <a:pt x="0" y="6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0" name="Freeform 480"/>
              <p:cNvSpPr>
                <a:spLocks/>
              </p:cNvSpPr>
              <p:nvPr/>
            </p:nvSpPr>
            <p:spPr bwMode="auto">
              <a:xfrm>
                <a:off x="3851337" y="3791167"/>
                <a:ext cx="195811" cy="136765"/>
              </a:xfrm>
              <a:custGeom>
                <a:avLst/>
                <a:gdLst>
                  <a:gd name="T0" fmla="*/ 13 w 223"/>
                  <a:gd name="T1" fmla="*/ 0 h 159"/>
                  <a:gd name="T2" fmla="*/ 13 w 223"/>
                  <a:gd name="T3" fmla="*/ 0 h 159"/>
                  <a:gd name="T4" fmla="*/ 13 w 223"/>
                  <a:gd name="T5" fmla="*/ 2 h 159"/>
                  <a:gd name="T6" fmla="*/ 2 w 223"/>
                  <a:gd name="T7" fmla="*/ 2 h 159"/>
                  <a:gd name="T8" fmla="*/ 0 w 223"/>
                  <a:gd name="T9" fmla="*/ 8 h 159"/>
                  <a:gd name="T10" fmla="*/ 2 w 223"/>
                  <a:gd name="T11" fmla="*/ 6 h 159"/>
                  <a:gd name="T12" fmla="*/ 0 w 223"/>
                  <a:gd name="T13" fmla="*/ 14 h 159"/>
                  <a:gd name="T14" fmla="*/ 0 w 223"/>
                  <a:gd name="T15" fmla="*/ 18 h 159"/>
                  <a:gd name="T16" fmla="*/ 0 w 223"/>
                  <a:gd name="T17" fmla="*/ 20 h 159"/>
                  <a:gd name="T18" fmla="*/ 2 w 223"/>
                  <a:gd name="T19" fmla="*/ 20 h 159"/>
                  <a:gd name="T20" fmla="*/ 4 w 223"/>
                  <a:gd name="T21" fmla="*/ 18 h 159"/>
                  <a:gd name="T22" fmla="*/ 4 w 223"/>
                  <a:gd name="T23" fmla="*/ 10 h 159"/>
                  <a:gd name="T24" fmla="*/ 6 w 223"/>
                  <a:gd name="T25" fmla="*/ 6 h 159"/>
                  <a:gd name="T26" fmla="*/ 8 w 223"/>
                  <a:gd name="T27" fmla="*/ 4 h 159"/>
                  <a:gd name="T28" fmla="*/ 8 w 223"/>
                  <a:gd name="T29" fmla="*/ 2 h 159"/>
                  <a:gd name="T30" fmla="*/ 15 w 223"/>
                  <a:gd name="T31" fmla="*/ 4 h 159"/>
                  <a:gd name="T32" fmla="*/ 15 w 223"/>
                  <a:gd name="T33" fmla="*/ 8 h 159"/>
                  <a:gd name="T34" fmla="*/ 13 w 223"/>
                  <a:gd name="T35" fmla="*/ 12 h 159"/>
                  <a:gd name="T36" fmla="*/ 17 w 223"/>
                  <a:gd name="T37" fmla="*/ 10 h 159"/>
                  <a:gd name="T38" fmla="*/ 17 w 223"/>
                  <a:gd name="T39" fmla="*/ 14 h 159"/>
                  <a:gd name="T40" fmla="*/ 21 w 223"/>
                  <a:gd name="T41" fmla="*/ 12 h 159"/>
                  <a:gd name="T42" fmla="*/ 21 w 223"/>
                  <a:gd name="T43" fmla="*/ 4 h 159"/>
                  <a:gd name="T44" fmla="*/ 25 w 223"/>
                  <a:gd name="T45" fmla="*/ 8 h 159"/>
                  <a:gd name="T46" fmla="*/ 27 w 223"/>
                  <a:gd name="T47" fmla="*/ 6 h 159"/>
                  <a:gd name="T48" fmla="*/ 23 w 223"/>
                  <a:gd name="T49" fmla="*/ 2 h 159"/>
                  <a:gd name="T50" fmla="*/ 13 w 223"/>
                  <a:gd name="T51" fmla="*/ 0 h 15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3"/>
                  <a:gd name="T79" fmla="*/ 0 h 159"/>
                  <a:gd name="T80" fmla="*/ 223 w 223"/>
                  <a:gd name="T81" fmla="*/ 159 h 15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3" h="159">
                    <a:moveTo>
                      <a:pt x="104" y="0"/>
                    </a:moveTo>
                    <a:lnTo>
                      <a:pt x="104" y="0"/>
                    </a:lnTo>
                    <a:lnTo>
                      <a:pt x="104" y="15"/>
                    </a:lnTo>
                    <a:lnTo>
                      <a:pt x="18" y="15"/>
                    </a:lnTo>
                    <a:lnTo>
                      <a:pt x="0" y="63"/>
                    </a:lnTo>
                    <a:lnTo>
                      <a:pt x="18" y="48"/>
                    </a:lnTo>
                    <a:lnTo>
                      <a:pt x="0" y="111"/>
                    </a:lnTo>
                    <a:lnTo>
                      <a:pt x="0" y="144"/>
                    </a:lnTo>
                    <a:lnTo>
                      <a:pt x="0" y="159"/>
                    </a:lnTo>
                    <a:lnTo>
                      <a:pt x="18" y="159"/>
                    </a:lnTo>
                    <a:lnTo>
                      <a:pt x="35" y="144"/>
                    </a:lnTo>
                    <a:lnTo>
                      <a:pt x="35" y="80"/>
                    </a:lnTo>
                    <a:lnTo>
                      <a:pt x="52" y="48"/>
                    </a:lnTo>
                    <a:lnTo>
                      <a:pt x="70" y="32"/>
                    </a:lnTo>
                    <a:lnTo>
                      <a:pt x="70" y="15"/>
                    </a:lnTo>
                    <a:lnTo>
                      <a:pt x="121" y="32"/>
                    </a:lnTo>
                    <a:lnTo>
                      <a:pt x="121" y="63"/>
                    </a:lnTo>
                    <a:lnTo>
                      <a:pt x="104" y="96"/>
                    </a:lnTo>
                    <a:lnTo>
                      <a:pt x="139" y="80"/>
                    </a:lnTo>
                    <a:lnTo>
                      <a:pt x="139" y="111"/>
                    </a:lnTo>
                    <a:lnTo>
                      <a:pt x="173" y="96"/>
                    </a:lnTo>
                    <a:lnTo>
                      <a:pt x="173" y="32"/>
                    </a:lnTo>
                    <a:lnTo>
                      <a:pt x="206" y="63"/>
                    </a:lnTo>
                    <a:lnTo>
                      <a:pt x="223" y="48"/>
                    </a:lnTo>
                    <a:lnTo>
                      <a:pt x="190" y="15"/>
                    </a:lnTo>
                    <a:lnTo>
                      <a:pt x="104" y="0"/>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1" name="Freeform 492"/>
              <p:cNvSpPr>
                <a:spLocks/>
              </p:cNvSpPr>
              <p:nvPr/>
            </p:nvSpPr>
            <p:spPr bwMode="auto">
              <a:xfrm>
                <a:off x="3741965" y="3697141"/>
                <a:ext cx="185226" cy="82059"/>
              </a:xfrm>
              <a:custGeom>
                <a:avLst/>
                <a:gdLst>
                  <a:gd name="T0" fmla="*/ 27 w 209"/>
                  <a:gd name="T1" fmla="*/ 12 h 96"/>
                  <a:gd name="T2" fmla="*/ 27 w 209"/>
                  <a:gd name="T3" fmla="*/ 12 h 96"/>
                  <a:gd name="T4" fmla="*/ 24 w 209"/>
                  <a:gd name="T5" fmla="*/ 12 h 96"/>
                  <a:gd name="T6" fmla="*/ 18 w 209"/>
                  <a:gd name="T7" fmla="*/ 12 h 96"/>
                  <a:gd name="T8" fmla="*/ 15 w 209"/>
                  <a:gd name="T9" fmla="*/ 10 h 96"/>
                  <a:gd name="T10" fmla="*/ 13 w 209"/>
                  <a:gd name="T11" fmla="*/ 12 h 96"/>
                  <a:gd name="T12" fmla="*/ 13 w 209"/>
                  <a:gd name="T13" fmla="*/ 10 h 96"/>
                  <a:gd name="T14" fmla="*/ 7 w 209"/>
                  <a:gd name="T15" fmla="*/ 12 h 96"/>
                  <a:gd name="T16" fmla="*/ 5 w 209"/>
                  <a:gd name="T17" fmla="*/ 10 h 96"/>
                  <a:gd name="T18" fmla="*/ 0 w 209"/>
                  <a:gd name="T19" fmla="*/ 12 h 96"/>
                  <a:gd name="T20" fmla="*/ 9 w 209"/>
                  <a:gd name="T21" fmla="*/ 6 h 96"/>
                  <a:gd name="T22" fmla="*/ 15 w 209"/>
                  <a:gd name="T23" fmla="*/ 0 h 96"/>
                  <a:gd name="T24" fmla="*/ 20 w 209"/>
                  <a:gd name="T25" fmla="*/ 2 h 96"/>
                  <a:gd name="T26" fmla="*/ 22 w 209"/>
                  <a:gd name="T27" fmla="*/ 6 h 96"/>
                  <a:gd name="T28" fmla="*/ 24 w 209"/>
                  <a:gd name="T29" fmla="*/ 6 h 96"/>
                  <a:gd name="T30" fmla="*/ 27 w 209"/>
                  <a:gd name="T31" fmla="*/ 12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209" y="96"/>
                    </a:moveTo>
                    <a:lnTo>
                      <a:pt x="209" y="96"/>
                    </a:lnTo>
                    <a:lnTo>
                      <a:pt x="192" y="96"/>
                    </a:lnTo>
                    <a:lnTo>
                      <a:pt x="138" y="96"/>
                    </a:lnTo>
                    <a:lnTo>
                      <a:pt x="120" y="79"/>
                    </a:lnTo>
                    <a:lnTo>
                      <a:pt x="103" y="96"/>
                    </a:lnTo>
                    <a:lnTo>
                      <a:pt x="103" y="79"/>
                    </a:lnTo>
                    <a:lnTo>
                      <a:pt x="51" y="96"/>
                    </a:lnTo>
                    <a:lnTo>
                      <a:pt x="34" y="79"/>
                    </a:lnTo>
                    <a:lnTo>
                      <a:pt x="0" y="96"/>
                    </a:lnTo>
                    <a:lnTo>
                      <a:pt x="69" y="48"/>
                    </a:lnTo>
                    <a:lnTo>
                      <a:pt x="120" y="0"/>
                    </a:lnTo>
                    <a:lnTo>
                      <a:pt x="157" y="16"/>
                    </a:lnTo>
                    <a:lnTo>
                      <a:pt x="174" y="48"/>
                    </a:lnTo>
                    <a:lnTo>
                      <a:pt x="192" y="48"/>
                    </a:lnTo>
                    <a:lnTo>
                      <a:pt x="209" y="9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2" name="Freeform 493"/>
              <p:cNvSpPr>
                <a:spLocks/>
              </p:cNvSpPr>
              <p:nvPr/>
            </p:nvSpPr>
            <p:spPr bwMode="auto">
              <a:xfrm>
                <a:off x="3955416" y="3886903"/>
                <a:ext cx="109372" cy="41030"/>
              </a:xfrm>
              <a:custGeom>
                <a:avLst/>
                <a:gdLst>
                  <a:gd name="T0" fmla="*/ 0 w 123"/>
                  <a:gd name="T1" fmla="*/ 6 h 48"/>
                  <a:gd name="T2" fmla="*/ 5 w 123"/>
                  <a:gd name="T3" fmla="*/ 5 h 48"/>
                  <a:gd name="T4" fmla="*/ 7 w 123"/>
                  <a:gd name="T5" fmla="*/ 3 h 48"/>
                  <a:gd name="T6" fmla="*/ 16 w 123"/>
                  <a:gd name="T7" fmla="*/ 0 h 48"/>
                  <a:gd name="T8" fmla="*/ 7 w 123"/>
                  <a:gd name="T9" fmla="*/ 6 h 48"/>
                  <a:gd name="T10" fmla="*/ 3 w 123"/>
                  <a:gd name="T11" fmla="*/ 6 h 48"/>
                  <a:gd name="T12" fmla="*/ 0 w 123"/>
                  <a:gd name="T13" fmla="*/ 6 h 48"/>
                  <a:gd name="T14" fmla="*/ 0 60000 65536"/>
                  <a:gd name="T15" fmla="*/ 0 60000 65536"/>
                  <a:gd name="T16" fmla="*/ 0 60000 65536"/>
                  <a:gd name="T17" fmla="*/ 0 60000 65536"/>
                  <a:gd name="T18" fmla="*/ 0 60000 65536"/>
                  <a:gd name="T19" fmla="*/ 0 60000 65536"/>
                  <a:gd name="T20" fmla="*/ 0 60000 65536"/>
                  <a:gd name="T21" fmla="*/ 0 w 123"/>
                  <a:gd name="T22" fmla="*/ 0 h 48"/>
                  <a:gd name="T23" fmla="*/ 123 w 123"/>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3" h="48">
                    <a:moveTo>
                      <a:pt x="0" y="48"/>
                    </a:moveTo>
                    <a:lnTo>
                      <a:pt x="35" y="33"/>
                    </a:lnTo>
                    <a:lnTo>
                      <a:pt x="54" y="17"/>
                    </a:lnTo>
                    <a:lnTo>
                      <a:pt x="123" y="0"/>
                    </a:lnTo>
                    <a:lnTo>
                      <a:pt x="54" y="48"/>
                    </a:lnTo>
                    <a:lnTo>
                      <a:pt x="18" y="48"/>
                    </a:lnTo>
                    <a:lnTo>
                      <a:pt x="0" y="48"/>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3" name="Freeform 494"/>
              <p:cNvSpPr>
                <a:spLocks/>
              </p:cNvSpPr>
              <p:nvPr/>
            </p:nvSpPr>
            <p:spPr bwMode="auto">
              <a:xfrm>
                <a:off x="4048912" y="3845873"/>
                <a:ext cx="75855" cy="27353"/>
              </a:xfrm>
              <a:custGeom>
                <a:avLst/>
                <a:gdLst>
                  <a:gd name="T0" fmla="*/ 3 w 86"/>
                  <a:gd name="T1" fmla="*/ 4 h 33"/>
                  <a:gd name="T2" fmla="*/ 3 w 86"/>
                  <a:gd name="T3" fmla="*/ 4 h 33"/>
                  <a:gd name="T4" fmla="*/ 0 w 86"/>
                  <a:gd name="T5" fmla="*/ 4 h 33"/>
                  <a:gd name="T6" fmla="*/ 9 w 86"/>
                  <a:gd name="T7" fmla="*/ 2 h 33"/>
                  <a:gd name="T8" fmla="*/ 11 w 86"/>
                  <a:gd name="T9" fmla="*/ 0 h 33"/>
                  <a:gd name="T10" fmla="*/ 11 w 86"/>
                  <a:gd name="T11" fmla="*/ 4 h 33"/>
                  <a:gd name="T12" fmla="*/ 3 w 86"/>
                  <a:gd name="T13" fmla="*/ 4 h 33"/>
                  <a:gd name="T14" fmla="*/ 0 60000 65536"/>
                  <a:gd name="T15" fmla="*/ 0 60000 65536"/>
                  <a:gd name="T16" fmla="*/ 0 60000 65536"/>
                  <a:gd name="T17" fmla="*/ 0 60000 65536"/>
                  <a:gd name="T18" fmla="*/ 0 60000 65536"/>
                  <a:gd name="T19" fmla="*/ 0 60000 65536"/>
                  <a:gd name="T20" fmla="*/ 0 60000 65536"/>
                  <a:gd name="T21" fmla="*/ 0 w 86"/>
                  <a:gd name="T22" fmla="*/ 0 h 33"/>
                  <a:gd name="T23" fmla="*/ 86 w 86"/>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3">
                    <a:moveTo>
                      <a:pt x="17" y="33"/>
                    </a:moveTo>
                    <a:lnTo>
                      <a:pt x="17" y="33"/>
                    </a:lnTo>
                    <a:lnTo>
                      <a:pt x="0" y="33"/>
                    </a:lnTo>
                    <a:lnTo>
                      <a:pt x="69" y="17"/>
                    </a:lnTo>
                    <a:lnTo>
                      <a:pt x="86" y="0"/>
                    </a:lnTo>
                    <a:lnTo>
                      <a:pt x="86" y="33"/>
                    </a:lnTo>
                    <a:lnTo>
                      <a:pt x="17" y="3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4" name="Freeform 481"/>
              <p:cNvSpPr>
                <a:spLocks/>
              </p:cNvSpPr>
              <p:nvPr/>
            </p:nvSpPr>
            <p:spPr bwMode="auto">
              <a:xfrm>
                <a:off x="6693236" y="3218462"/>
                <a:ext cx="61742" cy="80350"/>
              </a:xfrm>
              <a:custGeom>
                <a:avLst/>
                <a:gdLst>
                  <a:gd name="T0" fmla="*/ 0 w 69"/>
                  <a:gd name="T1" fmla="*/ 4 h 96"/>
                  <a:gd name="T2" fmla="*/ 0 w 69"/>
                  <a:gd name="T3" fmla="*/ 4 h 96"/>
                  <a:gd name="T4" fmla="*/ 3 w 69"/>
                  <a:gd name="T5" fmla="*/ 6 h 96"/>
                  <a:gd name="T6" fmla="*/ 5 w 69"/>
                  <a:gd name="T7" fmla="*/ 11 h 96"/>
                  <a:gd name="T8" fmla="*/ 7 w 69"/>
                  <a:gd name="T9" fmla="*/ 10 h 96"/>
                  <a:gd name="T10" fmla="*/ 9 w 69"/>
                  <a:gd name="T11" fmla="*/ 10 h 96"/>
                  <a:gd name="T12" fmla="*/ 9 w 69"/>
                  <a:gd name="T13" fmla="*/ 6 h 96"/>
                  <a:gd name="T14" fmla="*/ 5 w 69"/>
                  <a:gd name="T15" fmla="*/ 0 h 96"/>
                  <a:gd name="T16" fmla="*/ 3 w 69"/>
                  <a:gd name="T17" fmla="*/ 0 h 96"/>
                  <a:gd name="T18" fmla="*/ 0 w 69"/>
                  <a:gd name="T19" fmla="*/ 4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5" name="Freeform 482"/>
              <p:cNvSpPr>
                <a:spLocks/>
              </p:cNvSpPr>
              <p:nvPr/>
            </p:nvSpPr>
            <p:spPr bwMode="auto">
              <a:xfrm>
                <a:off x="6802607" y="3163756"/>
                <a:ext cx="45866" cy="82059"/>
              </a:xfrm>
              <a:custGeom>
                <a:avLst/>
                <a:gdLst>
                  <a:gd name="T0" fmla="*/ 0 w 51"/>
                  <a:gd name="T1" fmla="*/ 7 h 96"/>
                  <a:gd name="T2" fmla="*/ 0 w 51"/>
                  <a:gd name="T3" fmla="*/ 7 h 96"/>
                  <a:gd name="T4" fmla="*/ 5 w 51"/>
                  <a:gd name="T5" fmla="*/ 10 h 96"/>
                  <a:gd name="T6" fmla="*/ 5 w 51"/>
                  <a:gd name="T7" fmla="*/ 12 h 96"/>
                  <a:gd name="T8" fmla="*/ 7 w 51"/>
                  <a:gd name="T9" fmla="*/ 12 h 96"/>
                  <a:gd name="T10" fmla="*/ 5 w 51"/>
                  <a:gd name="T11" fmla="*/ 6 h 96"/>
                  <a:gd name="T12" fmla="*/ 5 w 51"/>
                  <a:gd name="T13" fmla="*/ 2 h 96"/>
                  <a:gd name="T14" fmla="*/ 3 w 51"/>
                  <a:gd name="T15" fmla="*/ 2 h 96"/>
                  <a:gd name="T16" fmla="*/ 0 w 51"/>
                  <a:gd name="T17" fmla="*/ 0 h 96"/>
                  <a:gd name="T18" fmla="*/ 3 w 51"/>
                  <a:gd name="T19" fmla="*/ 2 h 96"/>
                  <a:gd name="T20" fmla="*/ 3 w 51"/>
                  <a:gd name="T21" fmla="*/ 3 h 96"/>
                  <a:gd name="T22" fmla="*/ 0 w 51"/>
                  <a:gd name="T23" fmla="*/ 3 h 96"/>
                  <a:gd name="T24" fmla="*/ 0 w 51"/>
                  <a:gd name="T25" fmla="*/ 7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6" name="Freeform 485"/>
              <p:cNvSpPr>
                <a:spLocks/>
              </p:cNvSpPr>
              <p:nvPr/>
            </p:nvSpPr>
            <p:spPr bwMode="auto">
              <a:xfrm>
                <a:off x="7365342" y="3779200"/>
                <a:ext cx="91731" cy="94026"/>
              </a:xfrm>
              <a:custGeom>
                <a:avLst/>
                <a:gdLst>
                  <a:gd name="T0" fmla="*/ 0 w 103"/>
                  <a:gd name="T1" fmla="*/ 7 h 112"/>
                  <a:gd name="T2" fmla="*/ 0 w 103"/>
                  <a:gd name="T3" fmla="*/ 7 h 112"/>
                  <a:gd name="T4" fmla="*/ 3 w 103"/>
                  <a:gd name="T5" fmla="*/ 13 h 112"/>
                  <a:gd name="T6" fmla="*/ 7 w 103"/>
                  <a:gd name="T7" fmla="*/ 13 h 112"/>
                  <a:gd name="T8" fmla="*/ 9 w 103"/>
                  <a:gd name="T9" fmla="*/ 13 h 112"/>
                  <a:gd name="T10" fmla="*/ 11 w 103"/>
                  <a:gd name="T11" fmla="*/ 9 h 112"/>
                  <a:gd name="T12" fmla="*/ 11 w 103"/>
                  <a:gd name="T13" fmla="*/ 7 h 112"/>
                  <a:gd name="T14" fmla="*/ 13 w 103"/>
                  <a:gd name="T15" fmla="*/ 7 h 112"/>
                  <a:gd name="T16" fmla="*/ 11 w 103"/>
                  <a:gd name="T17" fmla="*/ 3 h 112"/>
                  <a:gd name="T18" fmla="*/ 13 w 103"/>
                  <a:gd name="T19" fmla="*/ 0 h 112"/>
                  <a:gd name="T20" fmla="*/ 7 w 103"/>
                  <a:gd name="T21" fmla="*/ 0 h 112"/>
                  <a:gd name="T22" fmla="*/ 7 w 103"/>
                  <a:gd name="T23" fmla="*/ 2 h 112"/>
                  <a:gd name="T24" fmla="*/ 5 w 103"/>
                  <a:gd name="T25" fmla="*/ 3 h 112"/>
                  <a:gd name="T26" fmla="*/ 3 w 103"/>
                  <a:gd name="T27" fmla="*/ 3 h 112"/>
                  <a:gd name="T28" fmla="*/ 0 w 103"/>
                  <a:gd name="T29" fmla="*/ 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3"/>
                  <a:gd name="T46" fmla="*/ 0 h 112"/>
                  <a:gd name="T47" fmla="*/ 103 w 103"/>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3" h="112">
                    <a:moveTo>
                      <a:pt x="0" y="64"/>
                    </a:moveTo>
                    <a:lnTo>
                      <a:pt x="0" y="64"/>
                    </a:lnTo>
                    <a:lnTo>
                      <a:pt x="17" y="112"/>
                    </a:lnTo>
                    <a:lnTo>
                      <a:pt x="52" y="112"/>
                    </a:lnTo>
                    <a:lnTo>
                      <a:pt x="69" y="112"/>
                    </a:lnTo>
                    <a:lnTo>
                      <a:pt x="86" y="79"/>
                    </a:lnTo>
                    <a:lnTo>
                      <a:pt x="86" y="64"/>
                    </a:lnTo>
                    <a:lnTo>
                      <a:pt x="103" y="64"/>
                    </a:lnTo>
                    <a:lnTo>
                      <a:pt x="86" y="31"/>
                    </a:lnTo>
                    <a:lnTo>
                      <a:pt x="103" y="0"/>
                    </a:lnTo>
                    <a:lnTo>
                      <a:pt x="52" y="0"/>
                    </a:lnTo>
                    <a:lnTo>
                      <a:pt x="52" y="16"/>
                    </a:lnTo>
                    <a:lnTo>
                      <a:pt x="34" y="31"/>
                    </a:lnTo>
                    <a:lnTo>
                      <a:pt x="17" y="31"/>
                    </a:lnTo>
                    <a:lnTo>
                      <a:pt x="0" y="64"/>
                    </a:lnTo>
                    <a:close/>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7" name="Freeform 486"/>
              <p:cNvSpPr>
                <a:spLocks/>
              </p:cNvSpPr>
              <p:nvPr/>
            </p:nvSpPr>
            <p:spPr bwMode="auto">
              <a:xfrm>
                <a:off x="7734030" y="3779200"/>
                <a:ext cx="151709" cy="52997"/>
              </a:xfrm>
              <a:custGeom>
                <a:avLst/>
                <a:gdLst>
                  <a:gd name="T0" fmla="*/ 0 w 173"/>
                  <a:gd name="T1" fmla="*/ 3 h 64"/>
                  <a:gd name="T2" fmla="*/ 0 w 173"/>
                  <a:gd name="T3" fmla="*/ 3 h 64"/>
                  <a:gd name="T4" fmla="*/ 2 w 173"/>
                  <a:gd name="T5" fmla="*/ 7 h 64"/>
                  <a:gd name="T6" fmla="*/ 4 w 173"/>
                  <a:gd name="T7" fmla="*/ 2 h 64"/>
                  <a:gd name="T8" fmla="*/ 6 w 173"/>
                  <a:gd name="T9" fmla="*/ 0 h 64"/>
                  <a:gd name="T10" fmla="*/ 15 w 173"/>
                  <a:gd name="T11" fmla="*/ 0 h 64"/>
                  <a:gd name="T12" fmla="*/ 17 w 173"/>
                  <a:gd name="T13" fmla="*/ 2 h 64"/>
                  <a:gd name="T14" fmla="*/ 21 w 173"/>
                  <a:gd name="T15" fmla="*/ 0 h 64"/>
                  <a:gd name="T16" fmla="*/ 15 w 173"/>
                  <a:gd name="T17" fmla="*/ 0 h 64"/>
                  <a:gd name="T18" fmla="*/ 4 w 173"/>
                  <a:gd name="T19" fmla="*/ 0 h 64"/>
                  <a:gd name="T20" fmla="*/ 2 w 173"/>
                  <a:gd name="T21" fmla="*/ 2 h 64"/>
                  <a:gd name="T22" fmla="*/ 0 w 173"/>
                  <a:gd name="T23" fmla="*/ 3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3"/>
                  <a:gd name="T37" fmla="*/ 0 h 64"/>
                  <a:gd name="T38" fmla="*/ 173 w 173"/>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3" h="64">
                    <a:moveTo>
                      <a:pt x="0" y="31"/>
                    </a:moveTo>
                    <a:lnTo>
                      <a:pt x="0" y="31"/>
                    </a:lnTo>
                    <a:lnTo>
                      <a:pt x="18" y="64"/>
                    </a:lnTo>
                    <a:lnTo>
                      <a:pt x="35" y="16"/>
                    </a:lnTo>
                    <a:lnTo>
                      <a:pt x="52" y="0"/>
                    </a:lnTo>
                    <a:lnTo>
                      <a:pt x="121" y="0"/>
                    </a:lnTo>
                    <a:lnTo>
                      <a:pt x="139" y="16"/>
                    </a:lnTo>
                    <a:lnTo>
                      <a:pt x="173" y="0"/>
                    </a:lnTo>
                    <a:lnTo>
                      <a:pt x="121" y="0"/>
                    </a:lnTo>
                    <a:lnTo>
                      <a:pt x="35" y="0"/>
                    </a:lnTo>
                    <a:lnTo>
                      <a:pt x="18" y="16"/>
                    </a:lnTo>
                    <a:lnTo>
                      <a:pt x="0" y="31"/>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sp>
            <p:nvSpPr>
              <p:cNvPr id="1078" name="Freeform 487"/>
              <p:cNvSpPr>
                <a:spLocks/>
              </p:cNvSpPr>
              <p:nvPr/>
            </p:nvSpPr>
            <p:spPr bwMode="auto">
              <a:xfrm>
                <a:off x="8466115" y="3462930"/>
                <a:ext cx="155237" cy="164118"/>
              </a:xfrm>
              <a:custGeom>
                <a:avLst/>
                <a:gdLst>
                  <a:gd name="T0" fmla="*/ 0 w 174"/>
                  <a:gd name="T1" fmla="*/ 22 h 192"/>
                  <a:gd name="T2" fmla="*/ 0 w 174"/>
                  <a:gd name="T3" fmla="*/ 22 h 192"/>
                  <a:gd name="T4" fmla="*/ 3 w 174"/>
                  <a:gd name="T5" fmla="*/ 24 h 192"/>
                  <a:gd name="T6" fmla="*/ 9 w 174"/>
                  <a:gd name="T7" fmla="*/ 22 h 192"/>
                  <a:gd name="T8" fmla="*/ 9 w 174"/>
                  <a:gd name="T9" fmla="*/ 20 h 192"/>
                  <a:gd name="T10" fmla="*/ 16 w 174"/>
                  <a:gd name="T11" fmla="*/ 16 h 192"/>
                  <a:gd name="T12" fmla="*/ 20 w 174"/>
                  <a:gd name="T13" fmla="*/ 10 h 192"/>
                  <a:gd name="T14" fmla="*/ 23 w 174"/>
                  <a:gd name="T15" fmla="*/ 0 h 192"/>
                  <a:gd name="T16" fmla="*/ 20 w 174"/>
                  <a:gd name="T17" fmla="*/ 0 h 192"/>
                  <a:gd name="T18" fmla="*/ 16 w 174"/>
                  <a:gd name="T19" fmla="*/ 10 h 192"/>
                  <a:gd name="T20" fmla="*/ 7 w 174"/>
                  <a:gd name="T21" fmla="*/ 20 h 192"/>
                  <a:gd name="T22" fmla="*/ 0 w 174"/>
                  <a:gd name="T23" fmla="*/ 22 h 1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192"/>
                  <a:gd name="T38" fmla="*/ 174 w 174"/>
                  <a:gd name="T39" fmla="*/ 192 h 1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192">
                    <a:moveTo>
                      <a:pt x="0" y="176"/>
                    </a:moveTo>
                    <a:lnTo>
                      <a:pt x="0" y="176"/>
                    </a:lnTo>
                    <a:lnTo>
                      <a:pt x="17" y="192"/>
                    </a:lnTo>
                    <a:lnTo>
                      <a:pt x="69" y="176"/>
                    </a:lnTo>
                    <a:lnTo>
                      <a:pt x="69" y="159"/>
                    </a:lnTo>
                    <a:lnTo>
                      <a:pt x="121" y="128"/>
                    </a:lnTo>
                    <a:lnTo>
                      <a:pt x="157" y="80"/>
                    </a:lnTo>
                    <a:lnTo>
                      <a:pt x="174" y="0"/>
                    </a:lnTo>
                    <a:lnTo>
                      <a:pt x="157" y="0"/>
                    </a:lnTo>
                    <a:lnTo>
                      <a:pt x="121" y="80"/>
                    </a:lnTo>
                    <a:lnTo>
                      <a:pt x="51" y="159"/>
                    </a:lnTo>
                    <a:lnTo>
                      <a:pt x="0" y="176"/>
                    </a:lnTo>
                  </a:path>
                </a:pathLst>
              </a:custGeom>
              <a:solidFill>
                <a:srgbClr val="FFFFFF"/>
              </a:solidFill>
              <a:ln w="9525" cap="rnd" cmpd="sng" algn="ctr">
                <a:solidFill>
                  <a:srgbClr val="F2F2F2"/>
                </a:solidFill>
                <a:prstDash val="solid"/>
                <a:round/>
                <a:headEnd type="none" w="med" len="med"/>
                <a:tailEnd type="none" w="med" len="med"/>
              </a:ln>
            </p:spPr>
            <p:txBody>
              <a:bodyPr/>
              <a:lstStyle/>
              <a:p>
                <a:endParaRPr lang="en-US" dirty="0"/>
              </a:p>
            </p:txBody>
          </p:sp>
        </p:grpSp>
        <p:sp>
          <p:nvSpPr>
            <p:cNvPr id="1027" name="Line 147"/>
            <p:cNvSpPr>
              <a:spLocks noChangeShapeType="1"/>
            </p:cNvSpPr>
            <p:nvPr/>
          </p:nvSpPr>
          <p:spPr bwMode="auto">
            <a:xfrm>
              <a:off x="7035204" y="4657264"/>
              <a:ext cx="14112" cy="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28" name="Line 180"/>
            <p:cNvSpPr>
              <a:spLocks noChangeShapeType="1"/>
            </p:cNvSpPr>
            <p:nvPr/>
          </p:nvSpPr>
          <p:spPr bwMode="auto">
            <a:xfrm flipV="1">
              <a:off x="6408963" y="4069173"/>
              <a:ext cx="12348"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29" name="Line 182"/>
            <p:cNvSpPr>
              <a:spLocks noChangeShapeType="1"/>
            </p:cNvSpPr>
            <p:nvPr/>
          </p:nvSpPr>
          <p:spPr bwMode="auto">
            <a:xfrm flipV="1">
              <a:off x="5403449" y="4267483"/>
              <a:ext cx="0" cy="27353"/>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0" name="Line 237"/>
            <p:cNvSpPr>
              <a:spLocks noChangeShapeType="1"/>
            </p:cNvSpPr>
            <p:nvPr/>
          </p:nvSpPr>
          <p:spPr bwMode="auto">
            <a:xfrm>
              <a:off x="7980739" y="4643588"/>
              <a:ext cx="0"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1" name="Line 238"/>
            <p:cNvSpPr>
              <a:spLocks noChangeShapeType="1"/>
            </p:cNvSpPr>
            <p:nvPr/>
          </p:nvSpPr>
          <p:spPr bwMode="auto">
            <a:xfrm flipV="1">
              <a:off x="8822195" y="4315351"/>
              <a:ext cx="14112"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2" name="Line 239"/>
            <p:cNvSpPr>
              <a:spLocks noChangeShapeType="1"/>
            </p:cNvSpPr>
            <p:nvPr/>
          </p:nvSpPr>
          <p:spPr bwMode="auto">
            <a:xfrm flipV="1">
              <a:off x="8859240" y="4281160"/>
              <a:ext cx="0" cy="27353"/>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3" name="Line 240"/>
            <p:cNvSpPr>
              <a:spLocks noChangeShapeType="1"/>
            </p:cNvSpPr>
            <p:nvPr/>
          </p:nvSpPr>
          <p:spPr bwMode="auto">
            <a:xfrm flipV="1">
              <a:off x="9249097" y="3852058"/>
              <a:ext cx="15877"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4" name="Line 241"/>
            <p:cNvSpPr>
              <a:spLocks noChangeShapeType="1"/>
            </p:cNvSpPr>
            <p:nvPr/>
          </p:nvSpPr>
          <p:spPr bwMode="auto">
            <a:xfrm flipV="1">
              <a:off x="9340828" y="3795643"/>
              <a:ext cx="29989"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5" name="Line 243"/>
            <p:cNvSpPr>
              <a:spLocks noChangeShapeType="1"/>
            </p:cNvSpPr>
            <p:nvPr/>
          </p:nvSpPr>
          <p:spPr bwMode="auto">
            <a:xfrm>
              <a:off x="5655710" y="3344317"/>
              <a:ext cx="1587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6" name="Line 244"/>
            <p:cNvSpPr>
              <a:spLocks noChangeShapeType="1"/>
            </p:cNvSpPr>
            <p:nvPr/>
          </p:nvSpPr>
          <p:spPr bwMode="auto">
            <a:xfrm flipV="1">
              <a:off x="8899814" y="5067560"/>
              <a:ext cx="14112"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7" name="Line 245"/>
            <p:cNvSpPr>
              <a:spLocks noChangeShapeType="1"/>
            </p:cNvSpPr>
            <p:nvPr/>
          </p:nvSpPr>
          <p:spPr bwMode="auto">
            <a:xfrm>
              <a:off x="8882173" y="4930795"/>
              <a:ext cx="17641" cy="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8" name="Line 246"/>
            <p:cNvSpPr>
              <a:spLocks noChangeShapeType="1"/>
            </p:cNvSpPr>
            <p:nvPr/>
          </p:nvSpPr>
          <p:spPr bwMode="auto">
            <a:xfrm>
              <a:off x="9508414" y="5067560"/>
              <a:ext cx="31753"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39" name="Line 247"/>
            <p:cNvSpPr>
              <a:spLocks noChangeShapeType="1"/>
            </p:cNvSpPr>
            <p:nvPr/>
          </p:nvSpPr>
          <p:spPr bwMode="auto">
            <a:xfrm>
              <a:off x="9540167" y="5094913"/>
              <a:ext cx="14112"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0" name="Line 248"/>
            <p:cNvSpPr>
              <a:spLocks noChangeShapeType="1"/>
            </p:cNvSpPr>
            <p:nvPr/>
          </p:nvSpPr>
          <p:spPr bwMode="auto">
            <a:xfrm>
              <a:off x="9571920" y="5094913"/>
              <a:ext cx="14112"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1" name="Line 249"/>
            <p:cNvSpPr>
              <a:spLocks noChangeShapeType="1"/>
            </p:cNvSpPr>
            <p:nvPr/>
          </p:nvSpPr>
          <p:spPr bwMode="auto">
            <a:xfrm>
              <a:off x="9617785" y="5108590"/>
              <a:ext cx="14112" cy="27353"/>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2" name="Line 250"/>
            <p:cNvSpPr>
              <a:spLocks noChangeShapeType="1"/>
            </p:cNvSpPr>
            <p:nvPr/>
          </p:nvSpPr>
          <p:spPr bwMode="auto">
            <a:xfrm>
              <a:off x="9631898" y="5149620"/>
              <a:ext cx="29989"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3" name="Line 319"/>
            <p:cNvSpPr>
              <a:spLocks noChangeShapeType="1"/>
            </p:cNvSpPr>
            <p:nvPr/>
          </p:nvSpPr>
          <p:spPr bwMode="auto">
            <a:xfrm flipV="1">
              <a:off x="1668937" y="3549465"/>
              <a:ext cx="15877" cy="54706"/>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4" name="Line 321"/>
            <p:cNvSpPr>
              <a:spLocks noChangeShapeType="1"/>
            </p:cNvSpPr>
            <p:nvPr/>
          </p:nvSpPr>
          <p:spPr bwMode="auto">
            <a:xfrm>
              <a:off x="4066293" y="4657264"/>
              <a:ext cx="17641"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5" name="Line 322"/>
            <p:cNvSpPr>
              <a:spLocks noChangeShapeType="1"/>
            </p:cNvSpPr>
            <p:nvPr/>
          </p:nvSpPr>
          <p:spPr bwMode="auto">
            <a:xfrm>
              <a:off x="4265631" y="4602558"/>
              <a:ext cx="1587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6" name="Line 323"/>
            <p:cNvSpPr>
              <a:spLocks noChangeShapeType="1"/>
            </p:cNvSpPr>
            <p:nvPr/>
          </p:nvSpPr>
          <p:spPr bwMode="auto">
            <a:xfrm>
              <a:off x="3836965" y="4329027"/>
              <a:ext cx="3351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7" name="Line 331"/>
            <p:cNvSpPr>
              <a:spLocks noChangeShapeType="1"/>
            </p:cNvSpPr>
            <p:nvPr/>
          </p:nvSpPr>
          <p:spPr bwMode="auto">
            <a:xfrm>
              <a:off x="3916348" y="4383734"/>
              <a:ext cx="12348"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8" name="Line 332"/>
            <p:cNvSpPr>
              <a:spLocks noChangeShapeType="1"/>
            </p:cNvSpPr>
            <p:nvPr/>
          </p:nvSpPr>
          <p:spPr bwMode="auto">
            <a:xfrm flipV="1">
              <a:off x="3916348" y="4096526"/>
              <a:ext cx="12348"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49" name="Line 427"/>
            <p:cNvSpPr>
              <a:spLocks noChangeShapeType="1"/>
            </p:cNvSpPr>
            <p:nvPr/>
          </p:nvSpPr>
          <p:spPr bwMode="auto">
            <a:xfrm flipV="1">
              <a:off x="6408963" y="4069173"/>
              <a:ext cx="12348"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0" name="Line 428"/>
            <p:cNvSpPr>
              <a:spLocks noChangeShapeType="1"/>
            </p:cNvSpPr>
            <p:nvPr/>
          </p:nvSpPr>
          <p:spPr bwMode="auto">
            <a:xfrm flipV="1">
              <a:off x="5403449" y="4267483"/>
              <a:ext cx="0" cy="27353"/>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1" name="Line 434"/>
            <p:cNvSpPr>
              <a:spLocks noChangeShapeType="1"/>
            </p:cNvSpPr>
            <p:nvPr/>
          </p:nvSpPr>
          <p:spPr bwMode="auto">
            <a:xfrm flipV="1">
              <a:off x="9249097" y="3852058"/>
              <a:ext cx="15877" cy="4103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2" name="Line 435"/>
            <p:cNvSpPr>
              <a:spLocks noChangeShapeType="1"/>
            </p:cNvSpPr>
            <p:nvPr/>
          </p:nvSpPr>
          <p:spPr bwMode="auto">
            <a:xfrm>
              <a:off x="5655710" y="3344317"/>
              <a:ext cx="1587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3" name="Line 436"/>
            <p:cNvSpPr>
              <a:spLocks noChangeShapeType="1"/>
            </p:cNvSpPr>
            <p:nvPr/>
          </p:nvSpPr>
          <p:spPr bwMode="auto">
            <a:xfrm>
              <a:off x="8882173" y="4930795"/>
              <a:ext cx="17641" cy="0"/>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4" name="Line 437"/>
            <p:cNvSpPr>
              <a:spLocks noChangeShapeType="1"/>
            </p:cNvSpPr>
            <p:nvPr/>
          </p:nvSpPr>
          <p:spPr bwMode="auto">
            <a:xfrm>
              <a:off x="9571920" y="5094913"/>
              <a:ext cx="14112"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5" name="Line 460"/>
            <p:cNvSpPr>
              <a:spLocks noChangeShapeType="1"/>
            </p:cNvSpPr>
            <p:nvPr/>
          </p:nvSpPr>
          <p:spPr bwMode="auto">
            <a:xfrm>
              <a:off x="4066293" y="4657264"/>
              <a:ext cx="17641"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6" name="Line 461"/>
            <p:cNvSpPr>
              <a:spLocks noChangeShapeType="1"/>
            </p:cNvSpPr>
            <p:nvPr/>
          </p:nvSpPr>
          <p:spPr bwMode="auto">
            <a:xfrm>
              <a:off x="3836965" y="4329027"/>
              <a:ext cx="33517" cy="13677"/>
            </a:xfrm>
            <a:prstGeom prst="line">
              <a:avLst/>
            </a:prstGeom>
            <a:solidFill>
              <a:schemeClr val="bg1">
                <a:lumMod val="65000"/>
              </a:schemeClr>
            </a:solidFill>
            <a:ln w="9525">
              <a:solidFill>
                <a:srgbClr val="F2F2F2"/>
              </a:solidFill>
              <a:round/>
              <a:headEnd/>
              <a:tailEnd/>
            </a:ln>
          </p:spPr>
          <p:txBody>
            <a:bodyPr/>
            <a:lstStyle/>
            <a:p>
              <a:endParaRPr lang="en-US" dirty="0"/>
            </a:p>
          </p:txBody>
        </p:sp>
        <p:sp>
          <p:nvSpPr>
            <p:cNvPr id="1057" name="Line 469"/>
            <p:cNvSpPr>
              <a:spLocks noChangeShapeType="1"/>
            </p:cNvSpPr>
            <p:nvPr/>
          </p:nvSpPr>
          <p:spPr bwMode="auto">
            <a:xfrm>
              <a:off x="3916348" y="4383734"/>
              <a:ext cx="12348" cy="13677"/>
            </a:xfrm>
            <a:prstGeom prst="line">
              <a:avLst/>
            </a:prstGeom>
            <a:solidFill>
              <a:schemeClr val="bg1">
                <a:lumMod val="65000"/>
              </a:schemeClr>
            </a:solidFill>
            <a:ln w="9525">
              <a:solidFill>
                <a:srgbClr val="F2F2F2"/>
              </a:solidFill>
              <a:round/>
              <a:headEnd/>
              <a:tailEnd/>
            </a:ln>
          </p:spPr>
          <p:txBody>
            <a:bodyPr/>
            <a:lstStyle/>
            <a:p>
              <a:endParaRPr lang="en-US" dirty="0"/>
            </a:p>
          </p:txBody>
        </p:sp>
        <p:cxnSp>
          <p:nvCxnSpPr>
            <p:cNvPr id="1058" name="Elbow Connector 699"/>
            <p:cNvCxnSpPr/>
            <p:nvPr/>
          </p:nvCxnSpPr>
          <p:spPr>
            <a:xfrm rot="10800000" flipV="1">
              <a:off x="7597793" y="4123013"/>
              <a:ext cx="110137" cy="149416"/>
            </a:xfrm>
            <a:prstGeom prst="bentConnector2">
              <a:avLst/>
            </a:prstGeom>
            <a:ln w="9525" cap="flat" cmpd="sng" algn="ctr">
              <a:solidFill>
                <a:srgbClr val="F2F2F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106" name="Chart 1105">
            <a:extLst>
              <a:ext uri="{FF2B5EF4-FFF2-40B4-BE49-F238E27FC236}">
                <a16:creationId xmlns:a16="http://schemas.microsoft.com/office/drawing/2014/main" id="{B447B3FD-2010-404D-9A50-4CBFF86420D7}"/>
              </a:ext>
            </a:extLst>
          </p:cNvPr>
          <p:cNvGraphicFramePr/>
          <p:nvPr>
            <p:custDataLst>
              <p:tags r:id="rId4"/>
            </p:custDataLst>
            <p:extLst>
              <p:ext uri="{D42A27DB-BD31-4B8C-83A1-F6EECF244321}">
                <p14:modId xmlns:p14="http://schemas.microsoft.com/office/powerpoint/2010/main" val="2619489965"/>
              </p:ext>
            </p:extLst>
          </p:nvPr>
        </p:nvGraphicFramePr>
        <p:xfrm>
          <a:off x="381000" y="3360738"/>
          <a:ext cx="2406650" cy="433387"/>
        </p:xfrm>
        <a:graphic>
          <a:graphicData uri="http://schemas.openxmlformats.org/drawingml/2006/chart">
            <c:chart xmlns:c="http://schemas.openxmlformats.org/drawingml/2006/chart" xmlns:r="http://schemas.openxmlformats.org/officeDocument/2006/relationships" r:id="rId33"/>
          </a:graphicData>
        </a:graphic>
      </p:graphicFrame>
      <p:sp>
        <p:nvSpPr>
          <p:cNvPr id="1111" name="Text Placeholder 3"/>
          <p:cNvSpPr>
            <a:spLocks noGrp="1"/>
          </p:cNvSpPr>
          <p:nvPr>
            <p:custDataLst>
              <p:tags r:id="rId5"/>
            </p:custDataLst>
          </p:nvPr>
        </p:nvSpPr>
        <p:spPr bwMode="gray">
          <a:xfrm>
            <a:off x="2066925" y="3492500"/>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97FEBD2-9F48-469C-83B1-924E615C6637}" type="datetime'''''''''''''''''4''''''''''''''6'''''''''''''''''''''''''''">
              <a:rPr lang="en-US" altLang="en-US" sz="1000" smtClean="0"/>
              <a:pPr/>
              <a:t>46</a:t>
            </a:fld>
            <a:r>
              <a:rPr lang="en-US" altLang="en-US" sz="1000">
                <a:sym typeface="+mn-lt"/>
              </a:rPr>
              <a:t>%</a:t>
            </a:r>
            <a:endParaRPr lang="en-US" sz="1000" dirty="0">
              <a:sym typeface="+mn-lt"/>
            </a:endParaRPr>
          </a:p>
        </p:txBody>
      </p:sp>
      <p:sp>
        <p:nvSpPr>
          <p:cNvPr id="1110" name="Text Placeholder 3"/>
          <p:cNvSpPr>
            <a:spLocks noGrp="1"/>
          </p:cNvSpPr>
          <p:nvPr>
            <p:custDataLst>
              <p:tags r:id="rId6"/>
            </p:custDataLst>
          </p:nvPr>
        </p:nvSpPr>
        <p:spPr bwMode="gray">
          <a:xfrm>
            <a:off x="946150" y="3492500"/>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B4021C3-A529-4EC5-9B14-79C2F464139D}" type="datetime'''''''''5''''''''''''''''''''''''''4'''''''''''''">
              <a:rPr lang="en-US" altLang="en-US" sz="1000" smtClean="0">
                <a:solidFill>
                  <a:schemeClr val="bg1"/>
                </a:solidFill>
              </a:rPr>
              <a:pPr/>
              <a:t>54</a:t>
            </a:fld>
            <a:r>
              <a:rPr lang="en-US" altLang="en-US" sz="1000">
                <a:solidFill>
                  <a:schemeClr val="bg1"/>
                </a:solidFill>
                <a:sym typeface="+mn-lt"/>
              </a:rPr>
              <a:t>%</a:t>
            </a:r>
            <a:endParaRPr lang="en-US" sz="1000" dirty="0">
              <a:solidFill>
                <a:schemeClr val="bg1"/>
              </a:solidFill>
              <a:sym typeface="+mn-lt"/>
            </a:endParaRPr>
          </a:p>
        </p:txBody>
      </p:sp>
      <p:grpSp>
        <p:nvGrpSpPr>
          <p:cNvPr id="1163" name="Group 1162"/>
          <p:cNvGrpSpPr/>
          <p:nvPr/>
        </p:nvGrpSpPr>
        <p:grpSpPr>
          <a:xfrm>
            <a:off x="244656" y="3174893"/>
            <a:ext cx="2686250" cy="366708"/>
            <a:chOff x="9292188" y="3153091"/>
            <a:chExt cx="2686250" cy="366708"/>
          </a:xfrm>
        </p:grpSpPr>
        <p:sp>
          <p:nvSpPr>
            <p:cNvPr id="1164" name="TextBox 1163">
              <a:extLst>
                <a:ext uri="{FF2B5EF4-FFF2-40B4-BE49-F238E27FC236}">
                  <a16:creationId xmlns:a16="http://schemas.microsoft.com/office/drawing/2014/main" id="{62317FDD-E577-4C43-89EA-037C8D823684}"/>
                </a:ext>
              </a:extLst>
            </p:cNvPr>
            <p:cNvSpPr txBox="1"/>
            <p:nvPr/>
          </p:nvSpPr>
          <p:spPr>
            <a:xfrm>
              <a:off x="9292188" y="3153092"/>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165" name="TextBox 1164">
              <a:extLst>
                <a:ext uri="{FF2B5EF4-FFF2-40B4-BE49-F238E27FC236}">
                  <a16:creationId xmlns:a16="http://schemas.microsoft.com/office/drawing/2014/main" id="{952B5962-411C-E64B-920B-8A154AC66865}"/>
                </a:ext>
              </a:extLst>
            </p:cNvPr>
            <p:cNvSpPr txBox="1"/>
            <p:nvPr/>
          </p:nvSpPr>
          <p:spPr>
            <a:xfrm>
              <a:off x="11275054" y="3153091"/>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grpSp>
      <p:graphicFrame>
        <p:nvGraphicFramePr>
          <p:cNvPr id="1090" name="Chart 1089">
            <a:extLst>
              <a:ext uri="{FF2B5EF4-FFF2-40B4-BE49-F238E27FC236}">
                <a16:creationId xmlns:a16="http://schemas.microsoft.com/office/drawing/2014/main" id="{81291D50-E021-4824-A15F-C5B9B8244458}"/>
              </a:ext>
            </a:extLst>
          </p:cNvPr>
          <p:cNvGraphicFramePr/>
          <p:nvPr>
            <p:custDataLst>
              <p:tags r:id="rId7"/>
            </p:custDataLst>
            <p:extLst>
              <p:ext uri="{D42A27DB-BD31-4B8C-83A1-F6EECF244321}">
                <p14:modId xmlns:p14="http://schemas.microsoft.com/office/powerpoint/2010/main" val="3623282601"/>
              </p:ext>
            </p:extLst>
          </p:nvPr>
        </p:nvGraphicFramePr>
        <p:xfrm>
          <a:off x="9469438" y="3305175"/>
          <a:ext cx="2406650" cy="433388"/>
        </p:xfrm>
        <a:graphic>
          <a:graphicData uri="http://schemas.openxmlformats.org/drawingml/2006/chart">
            <c:chart xmlns:c="http://schemas.openxmlformats.org/drawingml/2006/chart" xmlns:r="http://schemas.openxmlformats.org/officeDocument/2006/relationships" r:id="rId34"/>
          </a:graphicData>
        </a:graphic>
      </p:graphicFrame>
      <p:sp>
        <p:nvSpPr>
          <p:cNvPr id="1167" name="Text Placeholder 3"/>
          <p:cNvSpPr>
            <a:spLocks noGrp="1"/>
          </p:cNvSpPr>
          <p:nvPr>
            <p:custDataLst>
              <p:tags r:id="rId8"/>
            </p:custDataLst>
          </p:nvPr>
        </p:nvSpPr>
        <p:spPr bwMode="gray">
          <a:xfrm>
            <a:off x="9969500" y="3436938"/>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73091C5-C2CA-46DA-9B83-FBAE3C5BDCA2}" type="datetime'''''''''''''4''''''''''''''''''8'''''''''''''''''''''''''''">
              <a:rPr lang="en-US" altLang="en-US" sz="1000" smtClean="0">
                <a:solidFill>
                  <a:schemeClr val="bg1"/>
                </a:solidFill>
              </a:rPr>
              <a:pPr/>
              <a:t>48</a:t>
            </a:fld>
            <a:r>
              <a:rPr lang="en-US" altLang="en-US" sz="1000">
                <a:solidFill>
                  <a:schemeClr val="bg1"/>
                </a:solidFill>
                <a:sym typeface="+mn-lt"/>
              </a:rPr>
              <a:t>%</a:t>
            </a:r>
            <a:endParaRPr lang="en-US" sz="1000" dirty="0">
              <a:solidFill>
                <a:schemeClr val="bg1"/>
              </a:solidFill>
              <a:sym typeface="+mn-lt"/>
            </a:endParaRPr>
          </a:p>
        </p:txBody>
      </p:sp>
      <p:sp>
        <p:nvSpPr>
          <p:cNvPr id="1168" name="Text Placeholder 3"/>
          <p:cNvSpPr>
            <a:spLocks noGrp="1"/>
          </p:cNvSpPr>
          <p:nvPr>
            <p:custDataLst>
              <p:tags r:id="rId9"/>
            </p:custDataLst>
          </p:nvPr>
        </p:nvSpPr>
        <p:spPr bwMode="gray">
          <a:xfrm>
            <a:off x="11090275" y="3436938"/>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3074C9B-802D-4234-BCA2-55C4EAB8ABA0}" type="datetime'''''''''''''''''''''''''''''''''''''''5''2'''">
              <a:rPr lang="en-US" altLang="en-US" sz="1000" smtClean="0"/>
              <a:pPr/>
              <a:t>52</a:t>
            </a:fld>
            <a:r>
              <a:rPr lang="en-US" altLang="en-US" sz="1000">
                <a:sym typeface="+mn-lt"/>
              </a:rPr>
              <a:t>%</a:t>
            </a:r>
            <a:endParaRPr lang="en-US" sz="1000" dirty="0">
              <a:sym typeface="+mn-lt"/>
            </a:endParaRPr>
          </a:p>
        </p:txBody>
      </p:sp>
      <p:grpSp>
        <p:nvGrpSpPr>
          <p:cNvPr id="1175" name="Group 1174"/>
          <p:cNvGrpSpPr/>
          <p:nvPr/>
        </p:nvGrpSpPr>
        <p:grpSpPr>
          <a:xfrm>
            <a:off x="9329187" y="3149721"/>
            <a:ext cx="2686250" cy="366708"/>
            <a:chOff x="9292188" y="3074435"/>
            <a:chExt cx="2686250" cy="366708"/>
          </a:xfrm>
        </p:grpSpPr>
        <p:sp>
          <p:nvSpPr>
            <p:cNvPr id="1176" name="TextBox 1175">
              <a:extLst>
                <a:ext uri="{FF2B5EF4-FFF2-40B4-BE49-F238E27FC236}">
                  <a16:creationId xmlns:a16="http://schemas.microsoft.com/office/drawing/2014/main" id="{62317FDD-E577-4C43-89EA-037C8D823684}"/>
                </a:ext>
              </a:extLst>
            </p:cNvPr>
            <p:cNvSpPr txBox="1"/>
            <p:nvPr/>
          </p:nvSpPr>
          <p:spPr>
            <a:xfrm>
              <a:off x="9292188" y="3074436"/>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BST</a:t>
              </a:r>
            </a:p>
          </p:txBody>
        </p:sp>
        <p:sp>
          <p:nvSpPr>
            <p:cNvPr id="1177" name="TextBox 1176">
              <a:extLst>
                <a:ext uri="{FF2B5EF4-FFF2-40B4-BE49-F238E27FC236}">
                  <a16:creationId xmlns:a16="http://schemas.microsoft.com/office/drawing/2014/main" id="{952B5962-411C-E64B-920B-8A154AC66865}"/>
                </a:ext>
              </a:extLst>
            </p:cNvPr>
            <p:cNvSpPr txBox="1"/>
            <p:nvPr/>
          </p:nvSpPr>
          <p:spPr>
            <a:xfrm>
              <a:off x="11275054" y="3074435"/>
              <a:ext cx="703384" cy="366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575757"/>
                  </a:solidFill>
                </a:rPr>
                <a:t>CT</a:t>
              </a:r>
            </a:p>
          </p:txBody>
        </p:sp>
      </p:grpSp>
      <p:graphicFrame>
        <p:nvGraphicFramePr>
          <p:cNvPr id="1085" name="Chart 1084">
            <a:extLst>
              <a:ext uri="{FF2B5EF4-FFF2-40B4-BE49-F238E27FC236}">
                <a16:creationId xmlns:a16="http://schemas.microsoft.com/office/drawing/2014/main" id="{32651EF0-E611-44C8-856B-1207ABA99596}"/>
              </a:ext>
            </a:extLst>
          </p:cNvPr>
          <p:cNvGraphicFramePr/>
          <p:nvPr>
            <p:custDataLst>
              <p:tags r:id="rId10"/>
            </p:custDataLst>
            <p:extLst>
              <p:ext uri="{D42A27DB-BD31-4B8C-83A1-F6EECF244321}">
                <p14:modId xmlns:p14="http://schemas.microsoft.com/office/powerpoint/2010/main" val="2029781134"/>
              </p:ext>
            </p:extLst>
          </p:nvPr>
        </p:nvGraphicFramePr>
        <p:xfrm>
          <a:off x="9355138" y="5988050"/>
          <a:ext cx="2406650" cy="433388"/>
        </p:xfrm>
        <a:graphic>
          <a:graphicData uri="http://schemas.openxmlformats.org/drawingml/2006/chart">
            <c:chart xmlns:c="http://schemas.openxmlformats.org/drawingml/2006/chart" xmlns:r="http://schemas.openxmlformats.org/officeDocument/2006/relationships" r:id="rId35"/>
          </a:graphicData>
        </a:graphic>
      </p:graphicFrame>
      <p:sp>
        <p:nvSpPr>
          <p:cNvPr id="1180" name="Text Placeholder 3"/>
          <p:cNvSpPr>
            <a:spLocks noGrp="1"/>
          </p:cNvSpPr>
          <p:nvPr>
            <p:custDataLst>
              <p:tags r:id="rId11"/>
            </p:custDataLst>
          </p:nvPr>
        </p:nvSpPr>
        <p:spPr bwMode="gray">
          <a:xfrm>
            <a:off x="10006013" y="6119813"/>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E2A1926-7531-42C7-BE72-91AC75C35CA1}" type="datetime'''''''''''''''''''''6''''''''''''''1'''''''">
              <a:rPr lang="en-US" altLang="en-US" sz="1000" smtClean="0">
                <a:solidFill>
                  <a:schemeClr val="bg1"/>
                </a:solidFill>
              </a:rPr>
              <a:pPr/>
              <a:t>61</a:t>
            </a:fld>
            <a:r>
              <a:rPr lang="en-US" altLang="en-US" sz="1000">
                <a:solidFill>
                  <a:schemeClr val="bg1"/>
                </a:solidFill>
                <a:sym typeface="+mn-lt"/>
              </a:rPr>
              <a:t>%</a:t>
            </a:r>
            <a:endParaRPr lang="en-US" sz="1000" dirty="0">
              <a:solidFill>
                <a:schemeClr val="bg1"/>
              </a:solidFill>
              <a:sym typeface="+mn-lt"/>
            </a:endParaRPr>
          </a:p>
        </p:txBody>
      </p:sp>
      <p:sp>
        <p:nvSpPr>
          <p:cNvPr id="1181" name="Text Placeholder 3"/>
          <p:cNvSpPr>
            <a:spLocks noGrp="1"/>
          </p:cNvSpPr>
          <p:nvPr>
            <p:custDataLst>
              <p:tags r:id="rId12"/>
            </p:custDataLst>
          </p:nvPr>
        </p:nvSpPr>
        <p:spPr bwMode="gray">
          <a:xfrm>
            <a:off x="11126788" y="6119813"/>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A986A73-C325-4304-A271-F965B61426A0}" type="datetime'''''''''3''''''''''''''''''''''''''''''9'''''''''">
              <a:rPr lang="en-US" altLang="en-US" sz="1000" smtClean="0"/>
              <a:pPr/>
              <a:t>39</a:t>
            </a:fld>
            <a:r>
              <a:rPr lang="en-US" altLang="en-US" sz="1000">
                <a:sym typeface="+mn-lt"/>
              </a:rPr>
              <a:t>%</a:t>
            </a:r>
            <a:endParaRPr lang="en-US" sz="1000" dirty="0">
              <a:sym typeface="+mn-lt"/>
            </a:endParaRPr>
          </a:p>
        </p:txBody>
      </p:sp>
      <p:graphicFrame>
        <p:nvGraphicFramePr>
          <p:cNvPr id="1112" name="Chart 1111">
            <a:extLst>
              <a:ext uri="{FF2B5EF4-FFF2-40B4-BE49-F238E27FC236}">
                <a16:creationId xmlns:a16="http://schemas.microsoft.com/office/drawing/2014/main" id="{BA89FA48-EB34-440B-9903-D49539EBE1A4}"/>
              </a:ext>
            </a:extLst>
          </p:cNvPr>
          <p:cNvGraphicFramePr/>
          <p:nvPr>
            <p:custDataLst>
              <p:tags r:id="rId13"/>
            </p:custDataLst>
            <p:extLst>
              <p:ext uri="{D42A27DB-BD31-4B8C-83A1-F6EECF244321}">
                <p14:modId xmlns:p14="http://schemas.microsoft.com/office/powerpoint/2010/main" val="2410927915"/>
              </p:ext>
            </p:extLst>
          </p:nvPr>
        </p:nvGraphicFramePr>
        <p:xfrm>
          <a:off x="404813" y="5988050"/>
          <a:ext cx="2406650" cy="433388"/>
        </p:xfrm>
        <a:graphic>
          <a:graphicData uri="http://schemas.openxmlformats.org/drawingml/2006/chart">
            <c:chart xmlns:c="http://schemas.openxmlformats.org/drawingml/2006/chart" xmlns:r="http://schemas.openxmlformats.org/officeDocument/2006/relationships" r:id="rId36"/>
          </a:graphicData>
        </a:graphic>
      </p:graphicFrame>
      <p:sp>
        <p:nvSpPr>
          <p:cNvPr id="1188" name="Text Placeholder 3"/>
          <p:cNvSpPr>
            <a:spLocks noGrp="1"/>
          </p:cNvSpPr>
          <p:nvPr>
            <p:custDataLst>
              <p:tags r:id="rId14"/>
            </p:custDataLst>
          </p:nvPr>
        </p:nvSpPr>
        <p:spPr bwMode="gray">
          <a:xfrm>
            <a:off x="941388" y="6119813"/>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47925A5-96E0-4A77-A871-96F206DF08CB}" type="datetime'''''''''''''''''5''''1'''''''''''''''''''''''''''''''">
              <a:rPr lang="en-US" altLang="en-US" sz="1000" smtClean="0"/>
              <a:pPr/>
              <a:t>51</a:t>
            </a:fld>
            <a:r>
              <a:rPr lang="en-US" altLang="en-US" sz="1000">
                <a:sym typeface="+mn-lt"/>
              </a:rPr>
              <a:t>%</a:t>
            </a:r>
            <a:endParaRPr lang="en-US" sz="1000" dirty="0">
              <a:sym typeface="+mn-lt"/>
            </a:endParaRPr>
          </a:p>
        </p:txBody>
      </p:sp>
      <p:sp>
        <p:nvSpPr>
          <p:cNvPr id="1189" name="Text Placeholder 3"/>
          <p:cNvSpPr>
            <a:spLocks noGrp="1"/>
          </p:cNvSpPr>
          <p:nvPr>
            <p:custDataLst>
              <p:tags r:id="rId15"/>
            </p:custDataLst>
          </p:nvPr>
        </p:nvSpPr>
        <p:spPr bwMode="gray">
          <a:xfrm>
            <a:off x="2062163" y="6119813"/>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005CB95-DD9B-405F-894B-A801ADA594B4}" type="datetime'''''''''''''''''''''''''''''''''''4''''''''''''''''9'''''">
              <a:rPr lang="en-US" altLang="en-US" sz="1000" smtClean="0"/>
              <a:pPr/>
              <a:t>49</a:t>
            </a:fld>
            <a:r>
              <a:rPr lang="en-US" altLang="en-US" sz="1000">
                <a:sym typeface="+mn-lt"/>
              </a:rPr>
              <a:t>%</a:t>
            </a:r>
            <a:endParaRPr lang="en-US" sz="1000" dirty="0">
              <a:sym typeface="+mn-lt"/>
            </a:endParaRPr>
          </a:p>
        </p:txBody>
      </p:sp>
      <p:graphicFrame>
        <p:nvGraphicFramePr>
          <p:cNvPr id="1086" name="Chart 1085">
            <a:extLst>
              <a:ext uri="{FF2B5EF4-FFF2-40B4-BE49-F238E27FC236}">
                <a16:creationId xmlns:a16="http://schemas.microsoft.com/office/drawing/2014/main" id="{FD3A6FA8-092C-45D2-93AF-E2AAA6154E9F}"/>
              </a:ext>
            </a:extLst>
          </p:cNvPr>
          <p:cNvGraphicFramePr/>
          <p:nvPr>
            <p:custDataLst>
              <p:tags r:id="rId16"/>
            </p:custDataLst>
            <p:extLst>
              <p:ext uri="{D42A27DB-BD31-4B8C-83A1-F6EECF244321}">
                <p14:modId xmlns:p14="http://schemas.microsoft.com/office/powerpoint/2010/main" val="3936576646"/>
              </p:ext>
            </p:extLst>
          </p:nvPr>
        </p:nvGraphicFramePr>
        <p:xfrm>
          <a:off x="4999038" y="6438900"/>
          <a:ext cx="2406650" cy="433388"/>
        </p:xfrm>
        <a:graphic>
          <a:graphicData uri="http://schemas.openxmlformats.org/drawingml/2006/chart">
            <c:chart xmlns:c="http://schemas.openxmlformats.org/drawingml/2006/chart" xmlns:r="http://schemas.openxmlformats.org/officeDocument/2006/relationships" r:id="rId37"/>
          </a:graphicData>
        </a:graphic>
      </p:graphicFrame>
      <p:sp>
        <p:nvSpPr>
          <p:cNvPr id="1197" name="Text Placeholder 3"/>
          <p:cNvSpPr>
            <a:spLocks noGrp="1"/>
          </p:cNvSpPr>
          <p:nvPr>
            <p:custDataLst>
              <p:tags r:id="rId17"/>
            </p:custDataLst>
          </p:nvPr>
        </p:nvSpPr>
        <p:spPr bwMode="gray">
          <a:xfrm>
            <a:off x="6634163" y="6570663"/>
            <a:ext cx="241300" cy="168275"/>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33E9048-EB4E-4717-AB18-F9CF9D99F3C8}" type="datetime'''''''''5''''''''''''''''''''''1'''''''''''">
              <a:rPr lang="en-US" altLang="en-US" sz="1000" smtClean="0"/>
              <a:pPr/>
              <a:t>51</a:t>
            </a:fld>
            <a:r>
              <a:rPr lang="en-US" altLang="en-US" sz="1000">
                <a:sym typeface="+mn-lt"/>
              </a:rPr>
              <a:t>%</a:t>
            </a:r>
            <a:endParaRPr lang="en-US" sz="1000" dirty="0">
              <a:sym typeface="+mn-lt"/>
            </a:endParaRPr>
          </a:p>
        </p:txBody>
      </p:sp>
      <p:sp>
        <p:nvSpPr>
          <p:cNvPr id="1198" name="Text Placeholder 3"/>
          <p:cNvSpPr>
            <a:spLocks noGrp="1"/>
          </p:cNvSpPr>
          <p:nvPr>
            <p:custDataLst>
              <p:tags r:id="rId18"/>
            </p:custDataLst>
          </p:nvPr>
        </p:nvSpPr>
        <p:spPr bwMode="gray">
          <a:xfrm>
            <a:off x="5513388" y="6570663"/>
            <a:ext cx="241300" cy="168275"/>
          </a:xfrm>
          <a:prstGeom prst="rect">
            <a:avLst/>
          </a:prstGeom>
          <a:noFill/>
          <a:ln>
            <a:noFill/>
          </a:ln>
          <a:extLst>
            <a:ext uri="{909E8E84-426E-40DD-AFC4-6F175D3DCCD1}">
              <a14:hiddenFill xmlns:a14="http://schemas.microsoft.com/office/drawing/2010/main">
                <a:solidFill>
                  <a:srgbClr val="6E6F73"/>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54329D8-7FE0-44CC-AC8B-E3B395A6484A}" type="datetime'4''''''''''''''''''''''''9'''''''''''''''">
              <a:rPr lang="en-US" altLang="en-US" sz="1000" smtClean="0">
                <a:solidFill>
                  <a:schemeClr val="bg1"/>
                </a:solidFill>
              </a:rPr>
              <a:pPr/>
              <a:t>49</a:t>
            </a:fld>
            <a:r>
              <a:rPr lang="en-US" altLang="en-US" sz="1000">
                <a:solidFill>
                  <a:schemeClr val="bg1"/>
                </a:solidFill>
                <a:sym typeface="+mn-lt"/>
              </a:rPr>
              <a:t>%</a:t>
            </a:r>
            <a:endParaRPr lang="en-US" sz="1000" dirty="0">
              <a:solidFill>
                <a:schemeClr val="bg1"/>
              </a:solidFill>
              <a:sym typeface="+mn-lt"/>
            </a:endParaRPr>
          </a:p>
        </p:txBody>
      </p:sp>
      <p:sp>
        <p:nvSpPr>
          <p:cNvPr id="1081" name="Rectangle 1080"/>
          <p:cNvSpPr/>
          <p:nvPr/>
        </p:nvSpPr>
        <p:spPr>
          <a:xfrm>
            <a:off x="1005854" y="696659"/>
            <a:ext cx="363377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 &amp; Cohort (Map View)</a:t>
            </a:r>
          </a:p>
        </p:txBody>
      </p:sp>
      <p:grpSp>
        <p:nvGrpSpPr>
          <p:cNvPr id="1083" name="Group 1082"/>
          <p:cNvGrpSpPr/>
          <p:nvPr/>
        </p:nvGrpSpPr>
        <p:grpSpPr>
          <a:xfrm>
            <a:off x="8610529" y="590794"/>
            <a:ext cx="2583952" cy="134472"/>
            <a:chOff x="7076007" y="6321215"/>
            <a:chExt cx="2583952" cy="134472"/>
          </a:xfrm>
        </p:grpSpPr>
        <p:sp>
          <p:nvSpPr>
            <p:cNvPr id="1093" name="Rectangle 1092"/>
            <p:cNvSpPr/>
            <p:nvPr/>
          </p:nvSpPr>
          <p:spPr>
            <a:xfrm>
              <a:off x="9041779" y="6321215"/>
              <a:ext cx="137160" cy="134471"/>
            </a:xfrm>
            <a:prstGeom prst="rect">
              <a:avLst/>
            </a:prstGeom>
            <a:solidFill>
              <a:srgbClr val="670F3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AP</a:t>
              </a:r>
            </a:p>
          </p:txBody>
        </p:sp>
        <p:sp>
          <p:nvSpPr>
            <p:cNvPr id="1094" name="Rectangle 1093"/>
            <p:cNvSpPr/>
            <p:nvPr/>
          </p:nvSpPr>
          <p:spPr>
            <a:xfrm>
              <a:off x="8378681" y="6321215"/>
              <a:ext cx="137160" cy="134471"/>
            </a:xfrm>
            <a:prstGeom prst="rect">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CEMA</a:t>
              </a:r>
            </a:p>
          </p:txBody>
        </p:sp>
        <p:sp>
          <p:nvSpPr>
            <p:cNvPr id="1095" name="Rectangle 1094"/>
            <p:cNvSpPr/>
            <p:nvPr/>
          </p:nvSpPr>
          <p:spPr>
            <a:xfrm>
              <a:off x="7743979" y="6321216"/>
              <a:ext cx="137160" cy="134471"/>
            </a:xfrm>
            <a:prstGeom prst="rect">
              <a:avLst/>
            </a:pr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WESA</a:t>
              </a:r>
            </a:p>
          </p:txBody>
        </p:sp>
        <p:sp>
          <p:nvSpPr>
            <p:cNvPr id="1097" name="Rectangle 1096"/>
            <p:cNvSpPr/>
            <p:nvPr/>
          </p:nvSpPr>
          <p:spPr>
            <a:xfrm>
              <a:off x="7076007" y="6321215"/>
              <a:ext cx="137160" cy="134471"/>
            </a:xfrm>
            <a:prstGeom prst="rect">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NAMR</a:t>
              </a:r>
            </a:p>
          </p:txBody>
        </p:sp>
        <p:sp>
          <p:nvSpPr>
            <p:cNvPr id="1101" name="Rectangle 1100"/>
            <p:cNvSpPr/>
            <p:nvPr/>
          </p:nvSpPr>
          <p:spPr>
            <a:xfrm>
              <a:off x="9522799" y="6321215"/>
              <a:ext cx="137160" cy="134471"/>
            </a:xfrm>
            <a:prstGeom prst="rect">
              <a:avLst/>
            </a:prstGeom>
            <a:solidFill>
              <a:srgbClr val="E71C5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marL="115888"/>
              <a:r>
                <a:rPr lang="en-US" sz="1000" dirty="0">
                  <a:solidFill>
                    <a:schemeClr val="tx1"/>
                  </a:solidFill>
                  <a:cs typeface="Arial" pitchFamily="34" charset="0"/>
                </a:rPr>
                <a:t>EMESA</a:t>
              </a:r>
            </a:p>
          </p:txBody>
        </p:sp>
      </p:grpSp>
      <p:grpSp>
        <p:nvGrpSpPr>
          <p:cNvPr id="1118" name="Group 1117">
            <a:extLst>
              <a:ext uri="{FF2B5EF4-FFF2-40B4-BE49-F238E27FC236}">
                <a16:creationId xmlns:a16="http://schemas.microsoft.com/office/drawing/2014/main" id="{604DE578-90E3-4C4D-B223-68C395B2C182}"/>
              </a:ext>
            </a:extLst>
          </p:cNvPr>
          <p:cNvGrpSpPr>
            <a:grpSpLocks noChangeAspect="1"/>
          </p:cNvGrpSpPr>
          <p:nvPr/>
        </p:nvGrpSpPr>
        <p:grpSpPr>
          <a:xfrm>
            <a:off x="602130" y="662769"/>
            <a:ext cx="457200" cy="457200"/>
            <a:chOff x="5867400" y="3200400"/>
            <a:chExt cx="457200" cy="457200"/>
          </a:xfrm>
        </p:grpSpPr>
        <p:sp>
          <p:nvSpPr>
            <p:cNvPr id="1119" name="AutoShape 43">
              <a:extLst>
                <a:ext uri="{FF2B5EF4-FFF2-40B4-BE49-F238E27FC236}">
                  <a16:creationId xmlns:a16="http://schemas.microsoft.com/office/drawing/2014/main" id="{69B16C8C-87E4-4334-A620-5378CF51A6B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0" name="Freeform 17">
              <a:extLst>
                <a:ext uri="{FF2B5EF4-FFF2-40B4-BE49-F238E27FC236}">
                  <a16:creationId xmlns:a16="http://schemas.microsoft.com/office/drawing/2014/main" id="{7D8BB9C8-BA63-421A-9664-5F4B52B82CE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626899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244370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333" name="think-cell Slide" r:id="rId26" imgW="473" imgH="473" progId="TCLayout.ActiveDocument.1">
                  <p:embed/>
                </p:oleObj>
              </mc:Choice>
              <mc:Fallback>
                <p:oleObj name="think-cell Slide" r:id="rId26" imgW="473" imgH="473" progId="TCLayout.ActiveDocument.1">
                  <p:embed/>
                  <p:pic>
                    <p:nvPicPr>
                      <p:cNvPr id="5" name="Object 4"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129122" y="0"/>
            <a:ext cx="299625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ommunications from Local IT remains top of this list &amp; updates from IT Leadership persists at the bottom</a:t>
            </a:r>
          </a:p>
          <a:p>
            <a:r>
              <a:rPr lang="en-GB" sz="1400" i="1" dirty="0">
                <a:solidFill>
                  <a:srgbClr val="FFFFFF"/>
                </a:solidFill>
                <a:cs typeface="Arial" pitchFamily="34" charset="0"/>
              </a:rPr>
              <a:t>(Next slide for more trending)</a:t>
            </a:r>
          </a:p>
          <a:p>
            <a:endParaRPr lang="en-GB" dirty="0">
              <a:solidFill>
                <a:srgbClr val="FFFFFF"/>
              </a:solidFill>
              <a:cs typeface="Arial" pitchFamily="34" charset="0"/>
            </a:endParaRPr>
          </a:p>
          <a:p>
            <a:r>
              <a:rPr lang="en-GB" dirty="0">
                <a:solidFill>
                  <a:srgbClr val="FFFFFF"/>
                </a:solidFill>
                <a:cs typeface="Arial" pitchFamily="34" charset="0"/>
              </a:rPr>
              <a:t>When looking at CT specifically, we see the following ranking &amp; 2021 average E-SAT – </a:t>
            </a:r>
          </a:p>
          <a:p>
            <a:endParaRPr lang="en-GB" dirty="0">
              <a:solidFill>
                <a:srgbClr val="FFFFFF"/>
              </a:solidFill>
              <a:cs typeface="Arial" pitchFamily="34" charset="0"/>
            </a:endParaRPr>
          </a:p>
          <a:p>
            <a:pPr marL="342900" indent="-342900">
              <a:buAutoNum type="arabicParenR"/>
            </a:pPr>
            <a:r>
              <a:rPr lang="en-GB" dirty="0">
                <a:solidFill>
                  <a:srgbClr val="FFFFFF"/>
                </a:solidFill>
                <a:cs typeface="Arial" pitchFamily="34" charset="0"/>
              </a:rPr>
              <a:t>Local IT – 77%</a:t>
            </a:r>
          </a:p>
          <a:p>
            <a:pPr marL="342900" indent="-342900">
              <a:buFontTx/>
              <a:buAutoNum type="arabicParenR"/>
            </a:pPr>
            <a:r>
              <a:rPr lang="en-GB" dirty="0">
                <a:solidFill>
                  <a:srgbClr val="FFFFFF"/>
                </a:solidFill>
                <a:cs typeface="Arial" pitchFamily="34" charset="0"/>
              </a:rPr>
              <a:t>Outage – 76%</a:t>
            </a:r>
          </a:p>
          <a:p>
            <a:pPr marL="342900" indent="-342900">
              <a:buAutoNum type="arabicParenR"/>
            </a:pPr>
            <a:r>
              <a:rPr lang="en-GB" dirty="0">
                <a:solidFill>
                  <a:srgbClr val="FFFFFF"/>
                </a:solidFill>
                <a:cs typeface="Arial" pitchFamily="34" charset="0"/>
              </a:rPr>
              <a:t>Tools/Services – 73%</a:t>
            </a:r>
          </a:p>
          <a:p>
            <a:pPr marL="342900" indent="-342900">
              <a:buAutoNum type="arabicParenR"/>
            </a:pPr>
            <a:r>
              <a:rPr lang="en-GB" dirty="0">
                <a:solidFill>
                  <a:srgbClr val="FFFFFF"/>
                </a:solidFill>
                <a:cs typeface="Arial" pitchFamily="34" charset="0"/>
              </a:rPr>
              <a:t>Leadership – 62%</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IT Communications Satisfaction – Detail</a:t>
            </a:r>
          </a:p>
        </p:txBody>
      </p:sp>
      <p:sp>
        <p:nvSpPr>
          <p:cNvPr id="110" name="Rectangle 109">
            <a:extLst>
              <a:ext uri="{FF2B5EF4-FFF2-40B4-BE49-F238E27FC236}">
                <a16:creationId xmlns:a16="http://schemas.microsoft.com/office/drawing/2014/main" id="{988152C3-F650-465E-AB45-0AB84EF8A7EA}"/>
              </a:ext>
            </a:extLst>
          </p:cNvPr>
          <p:cNvSpPr/>
          <p:nvPr/>
        </p:nvSpPr>
        <p:spPr>
          <a:xfrm>
            <a:off x="499032" y="1715366"/>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 the following communications aspects:</a:t>
            </a:r>
          </a:p>
        </p:txBody>
      </p:sp>
      <p:graphicFrame>
        <p:nvGraphicFramePr>
          <p:cNvPr id="57" name="Chart 56">
            <a:extLst>
              <a:ext uri="{FF2B5EF4-FFF2-40B4-BE49-F238E27FC236}">
                <a16:creationId xmlns:a16="http://schemas.microsoft.com/office/drawing/2014/main" id="{4D7E1EDA-2122-4191-AF98-A511307DE222}"/>
              </a:ext>
            </a:extLst>
          </p:cNvPr>
          <p:cNvGraphicFramePr/>
          <p:nvPr>
            <p:custDataLst>
              <p:tags r:id="rId5"/>
            </p:custDataLst>
            <p:extLst>
              <p:ext uri="{D42A27DB-BD31-4B8C-83A1-F6EECF244321}">
                <p14:modId xmlns:p14="http://schemas.microsoft.com/office/powerpoint/2010/main" val="3078227830"/>
              </p:ext>
            </p:extLst>
          </p:nvPr>
        </p:nvGraphicFramePr>
        <p:xfrm>
          <a:off x="2386013" y="2087563"/>
          <a:ext cx="5146675" cy="3324225"/>
        </p:xfrm>
        <a:graphic>
          <a:graphicData uri="http://schemas.openxmlformats.org/drawingml/2006/chart">
            <c:chart xmlns:c="http://schemas.openxmlformats.org/drawingml/2006/chart" xmlns:r="http://schemas.openxmlformats.org/officeDocument/2006/relationships" r:id="rId28"/>
          </a:graphicData>
        </a:graphic>
      </p:graphicFrame>
      <p:cxnSp>
        <p:nvCxnSpPr>
          <p:cNvPr id="41" name="Straight Connector 40">
            <a:extLst>
              <a:ext uri="{FF2B5EF4-FFF2-40B4-BE49-F238E27FC236}">
                <a16:creationId xmlns:a16="http://schemas.microsoft.com/office/drawing/2014/main" id="{79352168-8134-42A6-A27E-DCD5B1D69F05}"/>
              </a:ext>
            </a:extLst>
          </p:cNvPr>
          <p:cNvCxnSpPr/>
          <p:nvPr>
            <p:custDataLst>
              <p:tags r:id="rId6"/>
            </p:custDataLst>
          </p:nvPr>
        </p:nvCxnSpPr>
        <p:spPr bwMode="gray">
          <a:xfrm flipH="1">
            <a:off x="7204074" y="2520950"/>
            <a:ext cx="2428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A8D8AC5-D2D6-4535-9E20-7257A6AD06E8}"/>
              </a:ext>
            </a:extLst>
          </p:cNvPr>
          <p:cNvCxnSpPr>
            <a:cxnSpLocks/>
          </p:cNvCxnSpPr>
          <p:nvPr>
            <p:custDataLst>
              <p:tags r:id="rId7"/>
            </p:custDataLst>
          </p:nvPr>
        </p:nvCxnSpPr>
        <p:spPr bwMode="gray">
          <a:xfrm>
            <a:off x="7446963" y="2490789"/>
            <a:ext cx="0" cy="30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73B7260-808E-4987-9807-69A6DED97637}"/>
              </a:ext>
            </a:extLst>
          </p:cNvPr>
          <p:cNvCxnSpPr>
            <a:cxnSpLocks/>
          </p:cNvCxnSpPr>
          <p:nvPr>
            <p:custDataLst>
              <p:tags r:id="rId8"/>
            </p:custDataLst>
          </p:nvPr>
        </p:nvCxnSpPr>
        <p:spPr bwMode="gray">
          <a:xfrm flipH="1">
            <a:off x="7205663" y="4791075"/>
            <a:ext cx="39688" cy="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D4B215D6-1A75-4881-BFF2-D995B4E9D908}"/>
              </a:ext>
            </a:extLst>
          </p:cNvPr>
          <p:cNvCxnSpPr/>
          <p:nvPr>
            <p:custDataLst>
              <p:tags r:id="rId9"/>
            </p:custDataLst>
          </p:nvPr>
        </p:nvCxnSpPr>
        <p:spPr bwMode="gray">
          <a:xfrm flipH="1">
            <a:off x="7199312" y="3625850"/>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DC8AD1CA-BA24-45C0-95E8-F9EFDFB08C15}"/>
              </a:ext>
            </a:extLst>
          </p:cNvPr>
          <p:cNvCxnSpPr/>
          <p:nvPr>
            <p:custDataLst>
              <p:tags r:id="rId10"/>
            </p:custDataLst>
          </p:nvPr>
        </p:nvCxnSpPr>
        <p:spPr bwMode="gray">
          <a:xfrm flipH="1">
            <a:off x="7153275" y="2400300"/>
            <a:ext cx="92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58A49212-C603-4C4E-93B6-3834D3306AE7}"/>
              </a:ext>
            </a:extLst>
          </p:cNvPr>
          <p:cNvCxnSpPr/>
          <p:nvPr>
            <p:custDataLst>
              <p:tags r:id="rId11"/>
            </p:custDataLst>
          </p:nvPr>
        </p:nvCxnSpPr>
        <p:spPr bwMode="gray">
          <a:xfrm flipH="1">
            <a:off x="7202488" y="3043238"/>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98FE2FC8-3AC8-4137-903D-97D58ECF466E}"/>
              </a:ext>
            </a:extLst>
          </p:cNvPr>
          <p:cNvCxnSpPr/>
          <p:nvPr>
            <p:custDataLst>
              <p:tags r:id="rId12"/>
            </p:custDataLst>
          </p:nvPr>
        </p:nvCxnSpPr>
        <p:spPr bwMode="gray">
          <a:xfrm flipH="1">
            <a:off x="7200900" y="4208463"/>
            <a:ext cx="444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4" name="Text Placeholder 3">
            <a:extLst>
              <a:ext uri="{FF2B5EF4-FFF2-40B4-BE49-F238E27FC236}">
                <a16:creationId xmlns:a16="http://schemas.microsoft.com/office/drawing/2014/main" id="{352FE029-A80F-44A5-BF14-727F78FEA216}"/>
              </a:ext>
            </a:extLst>
          </p:cNvPr>
          <p:cNvSpPr>
            <a:spLocks noGrp="1"/>
          </p:cNvSpPr>
          <p:nvPr>
            <p:custDataLst>
              <p:tags r:id="rId13"/>
            </p:custDataLst>
          </p:nvPr>
        </p:nvSpPr>
        <p:spPr bwMode="gray">
          <a:xfrm>
            <a:off x="673100" y="4691063"/>
            <a:ext cx="18780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4854F6E-E4C4-4912-BEBC-3A3320DB60AC}" type="datetime'''''''U''''pd''''ate''s f''r''''''om IT'' Lead''''''ership'''">
              <a:rPr lang="en-US" altLang="en-US" smtClean="0">
                <a:sym typeface="+mn-lt"/>
              </a:rPr>
              <a:pPr algn="r">
                <a:spcBef>
                  <a:spcPct val="0"/>
                </a:spcBef>
                <a:spcAft>
                  <a:spcPct val="0"/>
                </a:spcAft>
              </a:pPr>
              <a:t>Updates from IT Leadership</a:t>
            </a:fld>
            <a:endParaRPr lang="en-US" dirty="0">
              <a:sym typeface="+mn-lt"/>
            </a:endParaRPr>
          </a:p>
        </p:txBody>
      </p:sp>
      <p:sp>
        <p:nvSpPr>
          <p:cNvPr id="124" name="Rectangle 123"/>
          <p:cNvSpPr/>
          <p:nvPr/>
        </p:nvSpPr>
        <p:spPr>
          <a:xfrm>
            <a:off x="649287" y="2207427"/>
            <a:ext cx="1925638" cy="5413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fld id="{228F32F5-28F5-4BFF-B809-2B379602CD96}" type="datetime'Communi''''c''at''i''ons'' from you''''r L''ocal I''T T''eam'">
              <a:rPr lang="en-US" altLang="en-US" sz="1200">
                <a:solidFill>
                  <a:srgbClr val="575757"/>
                </a:solidFill>
                <a:sym typeface="+mn-lt"/>
              </a:rPr>
              <a:pPr/>
              <a:t>Communications from your Local IT Team</a:t>
            </a:fld>
            <a:endParaRPr lang="en-US" sz="1200" dirty="0">
              <a:solidFill>
                <a:srgbClr val="575757"/>
              </a:solidFill>
              <a:sym typeface="+mn-lt"/>
            </a:endParaRPr>
          </a:p>
        </p:txBody>
      </p:sp>
      <p:sp>
        <p:nvSpPr>
          <p:cNvPr id="127" name="Rectangle 126"/>
          <p:cNvSpPr/>
          <p:nvPr/>
        </p:nvSpPr>
        <p:spPr>
          <a:xfrm>
            <a:off x="912813" y="3402806"/>
            <a:ext cx="1638300" cy="542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endParaRPr lang="en-US" sz="1200" dirty="0">
              <a:solidFill>
                <a:srgbClr val="575757"/>
              </a:solidFill>
              <a:sym typeface="+mn-lt"/>
            </a:endParaRPr>
          </a:p>
        </p:txBody>
      </p:sp>
      <p:sp>
        <p:nvSpPr>
          <p:cNvPr id="9" name="Rectangle 8"/>
          <p:cNvSpPr/>
          <p:nvPr>
            <p:custDataLst>
              <p:tags r:id="rId14"/>
            </p:custDataLst>
          </p:nvPr>
        </p:nvSpPr>
        <p:spPr bwMode="gray">
          <a:xfrm>
            <a:off x="2632075" y="54324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Rectangle 11"/>
          <p:cNvSpPr/>
          <p:nvPr>
            <p:custDataLst>
              <p:tags r:id="rId15"/>
            </p:custDataLst>
          </p:nvPr>
        </p:nvSpPr>
        <p:spPr bwMode="gray">
          <a:xfrm>
            <a:off x="5743575" y="54324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Rectangle 9"/>
          <p:cNvSpPr/>
          <p:nvPr>
            <p:custDataLst>
              <p:tags r:id="rId16"/>
            </p:custDataLst>
          </p:nvPr>
        </p:nvSpPr>
        <p:spPr bwMode="gray">
          <a:xfrm>
            <a:off x="3922713" y="5432425"/>
            <a:ext cx="214313" cy="160338"/>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p:cNvSpPr/>
          <p:nvPr>
            <p:custDataLst>
              <p:tags r:id="rId17"/>
            </p:custDataLst>
          </p:nvPr>
        </p:nvSpPr>
        <p:spPr bwMode="gray">
          <a:xfrm>
            <a:off x="4872038" y="54324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Rectangle 12"/>
          <p:cNvSpPr/>
          <p:nvPr>
            <p:custDataLst>
              <p:tags r:id="rId18"/>
            </p:custDataLst>
          </p:nvPr>
        </p:nvSpPr>
        <p:spPr bwMode="gray">
          <a:xfrm>
            <a:off x="6880225" y="54324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7" name="Text Placeholder 3"/>
          <p:cNvSpPr>
            <a:spLocks noGrp="1"/>
          </p:cNvSpPr>
          <p:nvPr>
            <p:custDataLst>
              <p:tags r:id="rId19"/>
            </p:custDataLst>
          </p:nvPr>
        </p:nvSpPr>
        <p:spPr bwMode="gray">
          <a:xfrm>
            <a:off x="2897188" y="54133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2D18B72-F380-4A20-9904-A69CF444FA8B}" type="datetime'V''''e''''''ry'''''' ''Sa''t''''''''''''''''''isfie''''d'''''">
              <a:rPr lang="en-US" altLang="en-US" smtClean="0">
                <a:sym typeface="+mn-lt"/>
              </a:rPr>
              <a:pPr>
                <a:spcBef>
                  <a:spcPct val="0"/>
                </a:spcBef>
                <a:spcAft>
                  <a:spcPct val="0"/>
                </a:spcAft>
              </a:pPr>
              <a:t>Very Satisfied</a:t>
            </a:fld>
            <a:endParaRPr lang="en-US" dirty="0">
              <a:sym typeface="+mn-lt"/>
            </a:endParaRPr>
          </a:p>
        </p:txBody>
      </p:sp>
      <p:sp>
        <p:nvSpPr>
          <p:cNvPr id="155" name="Text Placeholder 3"/>
          <p:cNvSpPr>
            <a:spLocks noGrp="1"/>
          </p:cNvSpPr>
          <p:nvPr>
            <p:custDataLst>
              <p:tags r:id="rId20"/>
            </p:custDataLst>
          </p:nvPr>
        </p:nvSpPr>
        <p:spPr bwMode="gray">
          <a:xfrm>
            <a:off x="4187825" y="54133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F12E427-9C4B-4E77-93EC-793BE8A44D83}" type="datetime'''''Sa''''''''''''t''''''''''''''''''is''f''i''e''''''d'''">
              <a:rPr lang="en-US" altLang="en-US" smtClean="0">
                <a:sym typeface="+mn-lt"/>
              </a:rPr>
              <a:pPr>
                <a:spcBef>
                  <a:spcPct val="0"/>
                </a:spcBef>
                <a:spcAft>
                  <a:spcPct val="0"/>
                </a:spcAft>
              </a:pPr>
              <a:t>Satisfied</a:t>
            </a:fld>
            <a:endParaRPr lang="en-US" dirty="0">
              <a:sym typeface="+mn-lt"/>
            </a:endParaRPr>
          </a:p>
        </p:txBody>
      </p:sp>
      <p:sp>
        <p:nvSpPr>
          <p:cNvPr id="152" name="Text Placeholder 3"/>
          <p:cNvSpPr>
            <a:spLocks noGrp="1"/>
          </p:cNvSpPr>
          <p:nvPr>
            <p:custDataLst>
              <p:tags r:id="rId21"/>
            </p:custDataLst>
          </p:nvPr>
        </p:nvSpPr>
        <p:spPr bwMode="gray">
          <a:xfrm>
            <a:off x="5137150" y="54133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CE06BE7-A840-4E46-99D3-4B3BCF7D8967}" type="datetime'''''''''''''''''''''N''''''e''u''''''tr''a''''''''''l'''''">
              <a:rPr lang="en-US" altLang="en-US" smtClean="0">
                <a:sym typeface="+mn-lt"/>
              </a:rPr>
              <a:pPr>
                <a:spcBef>
                  <a:spcPct val="0"/>
                </a:spcBef>
                <a:spcAft>
                  <a:spcPct val="0"/>
                </a:spcAft>
              </a:pPr>
              <a:t>Neutral</a:t>
            </a:fld>
            <a:endParaRPr lang="en-US" dirty="0">
              <a:sym typeface="+mn-lt"/>
            </a:endParaRPr>
          </a:p>
        </p:txBody>
      </p:sp>
      <p:sp>
        <p:nvSpPr>
          <p:cNvPr id="154" name="Text Placeholder 3"/>
          <p:cNvSpPr>
            <a:spLocks noGrp="1"/>
          </p:cNvSpPr>
          <p:nvPr>
            <p:custDataLst>
              <p:tags r:id="rId22"/>
            </p:custDataLst>
          </p:nvPr>
        </p:nvSpPr>
        <p:spPr bwMode="gray">
          <a:xfrm>
            <a:off x="6008688" y="54133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0002D66-2FF7-46E2-99F0-5B317238FAFA}" type="datetime'''''''''Dis''s''''''''at''i''''''''''s''''''''fied'''''''">
              <a:rPr lang="en-US" altLang="en-US" smtClean="0">
                <a:sym typeface="+mn-lt"/>
              </a:rPr>
              <a:pPr>
                <a:spcBef>
                  <a:spcPct val="0"/>
                </a:spcBef>
                <a:spcAft>
                  <a:spcPct val="0"/>
                </a:spcAft>
              </a:pPr>
              <a:t>Dissatisfied</a:t>
            </a:fld>
            <a:endParaRPr lang="en-US" dirty="0">
              <a:sym typeface="+mn-lt"/>
            </a:endParaRPr>
          </a:p>
        </p:txBody>
      </p:sp>
      <p:sp>
        <p:nvSpPr>
          <p:cNvPr id="153" name="Text Placeholder 3"/>
          <p:cNvSpPr>
            <a:spLocks noGrp="1"/>
          </p:cNvSpPr>
          <p:nvPr>
            <p:custDataLst>
              <p:tags r:id="rId23"/>
            </p:custDataLst>
          </p:nvPr>
        </p:nvSpPr>
        <p:spPr bwMode="gray">
          <a:xfrm>
            <a:off x="7145338" y="54133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562EADE-C64D-4ED9-BDF6-EAE81F0BF416}" type="datetime'''''Ve''''r''''''''y'' ''D''is''''''''sa''''t''''isif''ed'">
              <a:rPr lang="en-US" altLang="en-US" smtClean="0">
                <a:sym typeface="+mn-lt"/>
              </a:rPr>
              <a:pPr>
                <a:spcBef>
                  <a:spcPct val="0"/>
                </a:spcBef>
                <a:spcAft>
                  <a:spcPct val="0"/>
                </a:spcAft>
              </a:pPr>
              <a:t>Very Dissatisifed</a:t>
            </a:fld>
            <a:endParaRPr lang="en-US" dirty="0">
              <a:sym typeface="+mn-lt"/>
            </a:endParaRPr>
          </a:p>
        </p:txBody>
      </p:sp>
      <p:sp>
        <p:nvSpPr>
          <p:cNvPr id="50" name="Rectangle 49"/>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3" name="Rectangle 32"/>
          <p:cNvSpPr/>
          <p:nvPr/>
        </p:nvSpPr>
        <p:spPr>
          <a:xfrm>
            <a:off x="7351914" y="2897150"/>
            <a:ext cx="544513"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9%</a:t>
            </a:r>
          </a:p>
        </p:txBody>
      </p:sp>
      <p:sp>
        <p:nvSpPr>
          <p:cNvPr id="34" name="Rectangle 33"/>
          <p:cNvSpPr/>
          <p:nvPr/>
        </p:nvSpPr>
        <p:spPr>
          <a:xfrm>
            <a:off x="7960641" y="3455119"/>
            <a:ext cx="890664" cy="276225"/>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35" name="Rectangle 34"/>
          <p:cNvSpPr/>
          <p:nvPr/>
        </p:nvSpPr>
        <p:spPr>
          <a:xfrm>
            <a:off x="7360219" y="3486943"/>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7%</a:t>
            </a:r>
          </a:p>
        </p:txBody>
      </p:sp>
      <p:sp>
        <p:nvSpPr>
          <p:cNvPr id="36" name="Rectangle 35"/>
          <p:cNvSpPr/>
          <p:nvPr/>
        </p:nvSpPr>
        <p:spPr>
          <a:xfrm>
            <a:off x="7960641" y="4665096"/>
            <a:ext cx="879094" cy="276225"/>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39" name="Rectangle 38"/>
          <p:cNvSpPr/>
          <p:nvPr/>
        </p:nvSpPr>
        <p:spPr>
          <a:xfrm>
            <a:off x="7438362" y="5093495"/>
            <a:ext cx="271463"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45" name="Rectangle 44"/>
          <p:cNvSpPr/>
          <p:nvPr/>
        </p:nvSpPr>
        <p:spPr>
          <a:xfrm>
            <a:off x="7347526" y="4652168"/>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8%</a:t>
            </a:r>
          </a:p>
        </p:txBody>
      </p:sp>
      <p:sp>
        <p:nvSpPr>
          <p:cNvPr id="170" name="Rectangle 169"/>
          <p:cNvSpPr/>
          <p:nvPr/>
        </p:nvSpPr>
        <p:spPr>
          <a:xfrm>
            <a:off x="7961362" y="2877883"/>
            <a:ext cx="878374" cy="276225"/>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85" name="Rectangle 84">
            <a:extLst>
              <a:ext uri="{FF2B5EF4-FFF2-40B4-BE49-F238E27FC236}">
                <a16:creationId xmlns:a16="http://schemas.microsoft.com/office/drawing/2014/main" id="{353AA0ED-3A7D-4D0A-9FFD-4923A3FFEEFD}"/>
              </a:ext>
            </a:extLst>
          </p:cNvPr>
          <p:cNvSpPr/>
          <p:nvPr/>
        </p:nvSpPr>
        <p:spPr>
          <a:xfrm>
            <a:off x="7960642" y="4066307"/>
            <a:ext cx="879094" cy="276225"/>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87" name="Rectangle 86">
            <a:extLst>
              <a:ext uri="{FF2B5EF4-FFF2-40B4-BE49-F238E27FC236}">
                <a16:creationId xmlns:a16="http://schemas.microsoft.com/office/drawing/2014/main" id="{3F04D1CD-B2F3-4D57-A15D-09FC55B866B9}"/>
              </a:ext>
            </a:extLst>
          </p:cNvPr>
          <p:cNvSpPr/>
          <p:nvPr/>
        </p:nvSpPr>
        <p:spPr>
          <a:xfrm>
            <a:off x="7349424" y="4074583"/>
            <a:ext cx="544513"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7%</a:t>
            </a:r>
          </a:p>
        </p:txBody>
      </p:sp>
      <p:sp>
        <p:nvSpPr>
          <p:cNvPr id="99" name="Rectangle 98">
            <a:extLst>
              <a:ext uri="{FF2B5EF4-FFF2-40B4-BE49-F238E27FC236}">
                <a16:creationId xmlns:a16="http://schemas.microsoft.com/office/drawing/2014/main" id="{2A15FAD8-6057-4809-ACC3-C4F4C640A937}"/>
              </a:ext>
            </a:extLst>
          </p:cNvPr>
          <p:cNvSpPr/>
          <p:nvPr/>
        </p:nvSpPr>
        <p:spPr>
          <a:xfrm>
            <a:off x="706437" y="2760177"/>
            <a:ext cx="1925638" cy="5413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sym typeface="+mn-lt"/>
              </a:rPr>
              <a:t>Outage information from IT Service Center</a:t>
            </a:r>
            <a:endParaRPr lang="en-US" sz="1200" dirty="0">
              <a:solidFill>
                <a:srgbClr val="575757"/>
              </a:solidFill>
              <a:sym typeface="+mn-lt"/>
            </a:endParaRPr>
          </a:p>
        </p:txBody>
      </p:sp>
      <p:sp>
        <p:nvSpPr>
          <p:cNvPr id="78" name="Rectangle 77">
            <a:extLst>
              <a:ext uri="{FF2B5EF4-FFF2-40B4-BE49-F238E27FC236}">
                <a16:creationId xmlns:a16="http://schemas.microsoft.com/office/drawing/2014/main" id="{8303AED5-D44F-4934-8C7A-9E8BBE0FD031}"/>
              </a:ext>
            </a:extLst>
          </p:cNvPr>
          <p:cNvSpPr/>
          <p:nvPr/>
        </p:nvSpPr>
        <p:spPr>
          <a:xfrm>
            <a:off x="7360857" y="2321718"/>
            <a:ext cx="544513"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1%</a:t>
            </a:r>
          </a:p>
        </p:txBody>
      </p:sp>
      <p:sp>
        <p:nvSpPr>
          <p:cNvPr id="108" name="Rectangle 107">
            <a:extLst>
              <a:ext uri="{FF2B5EF4-FFF2-40B4-BE49-F238E27FC236}">
                <a16:creationId xmlns:a16="http://schemas.microsoft.com/office/drawing/2014/main" id="{C0968274-07B7-4817-AC06-E2BEC2CB49C7}"/>
              </a:ext>
            </a:extLst>
          </p:cNvPr>
          <p:cNvSpPr/>
          <p:nvPr/>
        </p:nvSpPr>
        <p:spPr>
          <a:xfrm>
            <a:off x="7957821" y="2323306"/>
            <a:ext cx="878374" cy="276225"/>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134" name="Rectangle 133">
            <a:extLst>
              <a:ext uri="{FF2B5EF4-FFF2-40B4-BE49-F238E27FC236}">
                <a16:creationId xmlns:a16="http://schemas.microsoft.com/office/drawing/2014/main" id="{1B2359A7-0FA5-4231-AC01-8B4379C0BBC4}"/>
              </a:ext>
            </a:extLst>
          </p:cNvPr>
          <p:cNvSpPr/>
          <p:nvPr/>
        </p:nvSpPr>
        <p:spPr>
          <a:xfrm>
            <a:off x="714284" y="3962156"/>
            <a:ext cx="1925638" cy="5413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sym typeface="+mn-lt"/>
              </a:rPr>
              <a:t>Updates on Digital Tools &amp; Services</a:t>
            </a:r>
            <a:endParaRPr lang="en-US" sz="1200" dirty="0">
              <a:solidFill>
                <a:srgbClr val="575757"/>
              </a:solidFill>
              <a:sym typeface="+mn-lt"/>
            </a:endParaRPr>
          </a:p>
        </p:txBody>
      </p:sp>
      <p:grpSp>
        <p:nvGrpSpPr>
          <p:cNvPr id="54" name="Group 53">
            <a:extLst>
              <a:ext uri="{FF2B5EF4-FFF2-40B4-BE49-F238E27FC236}">
                <a16:creationId xmlns:a16="http://schemas.microsoft.com/office/drawing/2014/main" id="{A7E26161-6D1D-428D-8BFA-3F3A9F1ADD8B}"/>
              </a:ext>
            </a:extLst>
          </p:cNvPr>
          <p:cNvGrpSpPr>
            <a:grpSpLocks noChangeAspect="1"/>
          </p:cNvGrpSpPr>
          <p:nvPr/>
        </p:nvGrpSpPr>
        <p:grpSpPr>
          <a:xfrm>
            <a:off x="514429" y="864696"/>
            <a:ext cx="457200" cy="457200"/>
            <a:chOff x="5867400" y="3200400"/>
            <a:chExt cx="457200" cy="457200"/>
          </a:xfrm>
        </p:grpSpPr>
        <p:sp>
          <p:nvSpPr>
            <p:cNvPr id="55" name="AutoShape 43">
              <a:extLst>
                <a:ext uri="{FF2B5EF4-FFF2-40B4-BE49-F238E27FC236}">
                  <a16:creationId xmlns:a16="http://schemas.microsoft.com/office/drawing/2014/main" id="{48B6C298-AB08-45D1-BF8F-4AFECD597A6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7">
              <a:extLst>
                <a:ext uri="{FF2B5EF4-FFF2-40B4-BE49-F238E27FC236}">
                  <a16:creationId xmlns:a16="http://schemas.microsoft.com/office/drawing/2014/main" id="{0BD4AA8B-1F50-46AC-AFC9-00ABA6799D4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61" name="Rectangle 160">
            <a:extLst>
              <a:ext uri="{FF2B5EF4-FFF2-40B4-BE49-F238E27FC236}">
                <a16:creationId xmlns:a16="http://schemas.microsoft.com/office/drawing/2014/main" id="{4C7699AC-7384-4FC0-96A6-C4FBB3AB4E36}"/>
              </a:ext>
            </a:extLst>
          </p:cNvPr>
          <p:cNvSpPr/>
          <p:nvPr/>
        </p:nvSpPr>
        <p:spPr>
          <a:xfrm>
            <a:off x="706437" y="3340246"/>
            <a:ext cx="1925638" cy="5413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ct val="0"/>
              </a:spcBef>
              <a:spcAft>
                <a:spcPct val="0"/>
              </a:spcAft>
            </a:pPr>
            <a:r>
              <a:rPr lang="en-US" altLang="en-US" sz="1200" dirty="0">
                <a:solidFill>
                  <a:srgbClr val="575757"/>
                </a:solidFill>
                <a:sym typeface="+mn-lt"/>
              </a:rPr>
              <a:t>IT Communications - Overall</a:t>
            </a:r>
            <a:endParaRPr lang="en-US" sz="1200" dirty="0">
              <a:solidFill>
                <a:srgbClr val="575757"/>
              </a:solidFill>
              <a:sym typeface="+mn-lt"/>
            </a:endParaRPr>
          </a:p>
        </p:txBody>
      </p:sp>
    </p:spTree>
    <p:custDataLst>
      <p:tags r:id="rId2"/>
    </p:custDataLst>
    <p:extLst>
      <p:ext uri="{BB962C8B-B14F-4D97-AF65-F5344CB8AC3E}">
        <p14:creationId xmlns:p14="http://schemas.microsoft.com/office/powerpoint/2010/main" val="77686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348"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Title 2">
            <a:extLst>
              <a:ext uri="{FF2B5EF4-FFF2-40B4-BE49-F238E27FC236}">
                <a16:creationId xmlns:a16="http://schemas.microsoft.com/office/drawing/2014/main" id="{C5EC7083-FFB4-48E6-A549-832E8E0463BD}"/>
              </a:ext>
            </a:extLst>
          </p:cNvPr>
          <p:cNvSpPr>
            <a:spLocks noGrp="1"/>
          </p:cNvSpPr>
          <p:nvPr>
            <p:ph type="title"/>
          </p:nvPr>
        </p:nvSpPr>
        <p:spPr/>
        <p:txBody>
          <a:bodyPr vert="horz"/>
          <a:lstStyle/>
          <a:p>
            <a:r>
              <a:rPr lang="en-US" dirty="0">
                <a:solidFill>
                  <a:srgbClr val="295E7E"/>
                </a:solidFill>
              </a:rPr>
              <a:t>IT Communications Satisfaction - Detail</a:t>
            </a:r>
          </a:p>
        </p:txBody>
      </p:sp>
      <p:sp>
        <p:nvSpPr>
          <p:cNvPr id="29" name="Rectangle 28">
            <a:extLst>
              <a:ext uri="{FF2B5EF4-FFF2-40B4-BE49-F238E27FC236}">
                <a16:creationId xmlns:a16="http://schemas.microsoft.com/office/drawing/2014/main" id="{97DEE7C1-FC10-4F4A-9322-95B0D6802318}"/>
              </a:ext>
            </a:extLst>
          </p:cNvPr>
          <p:cNvSpPr/>
          <p:nvPr/>
        </p:nvSpPr>
        <p:spPr>
          <a:xfrm>
            <a:off x="997487" y="925007"/>
            <a:ext cx="6362701" cy="33414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graphicFrame>
        <p:nvGraphicFramePr>
          <p:cNvPr id="42" name="table_type_name">
            <a:extLst>
              <a:ext uri="{FF2B5EF4-FFF2-40B4-BE49-F238E27FC236}">
                <a16:creationId xmlns:a16="http://schemas.microsoft.com/office/drawing/2014/main" id="{AA02397F-CCA1-4651-9AF0-6C1B4555B7EE}"/>
              </a:ext>
            </a:extLst>
          </p:cNvPr>
          <p:cNvGraphicFramePr>
            <a:graphicFrameLocks noGrp="1"/>
          </p:cNvGraphicFramePr>
          <p:nvPr>
            <p:extLst>
              <p:ext uri="{D42A27DB-BD31-4B8C-83A1-F6EECF244321}">
                <p14:modId xmlns:p14="http://schemas.microsoft.com/office/powerpoint/2010/main" val="457802669"/>
              </p:ext>
            </p:extLst>
          </p:nvPr>
        </p:nvGraphicFramePr>
        <p:xfrm>
          <a:off x="629999" y="1596203"/>
          <a:ext cx="10933346" cy="3637565"/>
        </p:xfrm>
        <a:graphic>
          <a:graphicData uri="http://schemas.openxmlformats.org/drawingml/2006/table">
            <a:tbl>
              <a:tblPr/>
              <a:tblGrid>
                <a:gridCol w="1479396">
                  <a:extLst>
                    <a:ext uri="{9D8B030D-6E8A-4147-A177-3AD203B41FA5}">
                      <a16:colId xmlns:a16="http://schemas.microsoft.com/office/drawing/2014/main" val="20001"/>
                    </a:ext>
                  </a:extLst>
                </a:gridCol>
                <a:gridCol w="945395">
                  <a:extLst>
                    <a:ext uri="{9D8B030D-6E8A-4147-A177-3AD203B41FA5}">
                      <a16:colId xmlns:a16="http://schemas.microsoft.com/office/drawing/2014/main" val="20002"/>
                    </a:ext>
                  </a:extLst>
                </a:gridCol>
                <a:gridCol w="945395">
                  <a:extLst>
                    <a:ext uri="{9D8B030D-6E8A-4147-A177-3AD203B41FA5}">
                      <a16:colId xmlns:a16="http://schemas.microsoft.com/office/drawing/2014/main" val="2983475716"/>
                    </a:ext>
                  </a:extLst>
                </a:gridCol>
                <a:gridCol w="945395">
                  <a:extLst>
                    <a:ext uri="{9D8B030D-6E8A-4147-A177-3AD203B41FA5}">
                      <a16:colId xmlns:a16="http://schemas.microsoft.com/office/drawing/2014/main" val="20010"/>
                    </a:ext>
                  </a:extLst>
                </a:gridCol>
                <a:gridCol w="945395">
                  <a:extLst>
                    <a:ext uri="{9D8B030D-6E8A-4147-A177-3AD203B41FA5}">
                      <a16:colId xmlns:a16="http://schemas.microsoft.com/office/drawing/2014/main" val="1204062041"/>
                    </a:ext>
                  </a:extLst>
                </a:gridCol>
                <a:gridCol w="945395">
                  <a:extLst>
                    <a:ext uri="{9D8B030D-6E8A-4147-A177-3AD203B41FA5}">
                      <a16:colId xmlns:a16="http://schemas.microsoft.com/office/drawing/2014/main" val="4021441130"/>
                    </a:ext>
                  </a:extLst>
                </a:gridCol>
                <a:gridCol w="945395">
                  <a:extLst>
                    <a:ext uri="{9D8B030D-6E8A-4147-A177-3AD203B41FA5}">
                      <a16:colId xmlns:a16="http://schemas.microsoft.com/office/drawing/2014/main" val="2738326204"/>
                    </a:ext>
                  </a:extLst>
                </a:gridCol>
                <a:gridCol w="945395">
                  <a:extLst>
                    <a:ext uri="{9D8B030D-6E8A-4147-A177-3AD203B41FA5}">
                      <a16:colId xmlns:a16="http://schemas.microsoft.com/office/drawing/2014/main" val="1485491459"/>
                    </a:ext>
                  </a:extLst>
                </a:gridCol>
                <a:gridCol w="945395">
                  <a:extLst>
                    <a:ext uri="{9D8B030D-6E8A-4147-A177-3AD203B41FA5}">
                      <a16:colId xmlns:a16="http://schemas.microsoft.com/office/drawing/2014/main" val="1543622992"/>
                    </a:ext>
                  </a:extLst>
                </a:gridCol>
                <a:gridCol w="945395">
                  <a:extLst>
                    <a:ext uri="{9D8B030D-6E8A-4147-A177-3AD203B41FA5}">
                      <a16:colId xmlns:a16="http://schemas.microsoft.com/office/drawing/2014/main" val="3422902935"/>
                    </a:ext>
                  </a:extLst>
                </a:gridCol>
                <a:gridCol w="945395">
                  <a:extLst>
                    <a:ext uri="{9D8B030D-6E8A-4147-A177-3AD203B41FA5}">
                      <a16:colId xmlns:a16="http://schemas.microsoft.com/office/drawing/2014/main" val="784013963"/>
                    </a:ext>
                  </a:extLst>
                </a:gridCol>
              </a:tblGrid>
              <a:tr h="75196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2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vs 2019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97855">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58410">
                <a:tc>
                  <a:txBody>
                    <a:bodyPr/>
                    <a:lstStyle/>
                    <a:p>
                      <a:pPr algn="l">
                        <a:spcBef>
                          <a:spcPct val="0"/>
                        </a:spcBef>
                        <a:spcAft>
                          <a:spcPct val="0"/>
                        </a:spcAft>
                      </a:pPr>
                      <a:fld id="{228F32F5-28F5-4BFF-B809-2B379602CD96}" type="datetime'Communi''''c''at''i''ons'' from you''''r L''ocal I''T T''eam'">
                        <a:rPr lang="en-US" altLang="en-US" sz="1200" smtClean="0">
                          <a:solidFill>
                            <a:srgbClr val="575757"/>
                          </a:solidFill>
                          <a:sym typeface="+mn-lt"/>
                        </a:rPr>
                        <a:pPr algn="l">
                          <a:spcBef>
                            <a:spcPct val="0"/>
                          </a:spcBef>
                          <a:spcAft>
                            <a:spcPct val="0"/>
                          </a:spcAft>
                        </a:pPr>
                        <a:t>Communications from your Local IT Team</a:t>
                      </a:fld>
                      <a:endParaRPr lang="en-US" sz="1200" dirty="0">
                        <a:solidFill>
                          <a:srgbClr val="575757"/>
                        </a:solidFill>
                        <a:sym typeface="+mn-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0</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1</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75757"/>
                          </a:solidFill>
                          <a:effectLst/>
                          <a:uLnTx/>
                          <a:uFillTx/>
                          <a:latin typeface="Trebuchet MS"/>
                          <a:ea typeface="+mn-ea"/>
                          <a:cs typeface="Arial" charset="0"/>
                        </a:rPr>
                        <a:t>7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1%</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42239342"/>
                  </a:ext>
                </a:extLst>
              </a:tr>
              <a:tr h="45841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altLang="en-US" sz="1200" dirty="0">
                          <a:solidFill>
                            <a:srgbClr val="575757"/>
                          </a:solidFill>
                          <a:sym typeface="+mn-lt"/>
                        </a:rPr>
                        <a:t>Outage information from the IT Service Center</a:t>
                      </a:r>
                      <a:endParaRPr lang="en-US" sz="1200" dirty="0">
                        <a:solidFill>
                          <a:srgbClr val="575757"/>
                        </a:solidFill>
                        <a:sym typeface="+mn-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1</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75757"/>
                          </a:solidFill>
                          <a:effectLst/>
                          <a:uLnTx/>
                          <a:uFillTx/>
                          <a:latin typeface="Trebuchet MS"/>
                          <a:ea typeface="+mn-ea"/>
                          <a:cs typeface="Arial" charset="0"/>
                        </a:rPr>
                        <a:t>7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5811906"/>
                  </a:ext>
                </a:extLst>
              </a:tr>
              <a:tr h="458410">
                <a:tc>
                  <a:txBody>
                    <a:bodyPr/>
                    <a:lstStyle/>
                    <a:p>
                      <a:pPr algn="l">
                        <a:spcBef>
                          <a:spcPct val="0"/>
                        </a:spcBef>
                        <a:spcAft>
                          <a:spcPct val="0"/>
                        </a:spcAft>
                      </a:pPr>
                      <a:r>
                        <a:rPr lang="en-US" sz="1200" dirty="0">
                          <a:solidFill>
                            <a:srgbClr val="575757"/>
                          </a:solidFill>
                          <a:sym typeface="+mn-lt"/>
                        </a:rPr>
                        <a:t>IT Communications – Overall</a:t>
                      </a:r>
                      <a:r>
                        <a:rPr lang="en-US" sz="1200" baseline="30000" dirty="0">
                          <a:solidFill>
                            <a:srgbClr val="575757"/>
                          </a:solidFill>
                          <a:sym typeface="+mn-lt"/>
                        </a:rPr>
                        <a:t>1</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2</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5%</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N/A</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r>
                        <a:rPr lang="en-US" sz="1200" baseline="30000" dirty="0">
                          <a:solidFill>
                            <a:srgbClr val="575757"/>
                          </a:solidFill>
                          <a:sym typeface="+mn-lt"/>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9%</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21547587"/>
                  </a:ext>
                </a:extLst>
              </a:tr>
              <a:tr h="458410">
                <a:tc>
                  <a:txBody>
                    <a:bodyPr/>
                    <a:lstStyle/>
                    <a:p>
                      <a:pPr algn="l" fontAlgn="b"/>
                      <a:r>
                        <a:rPr lang="en-US" altLang="en-US" sz="1200" dirty="0">
                          <a:solidFill>
                            <a:srgbClr val="575757"/>
                          </a:solidFill>
                          <a:sym typeface="+mn-lt"/>
                        </a:rPr>
                        <a:t>Updates on Digital Tools &amp; Services</a:t>
                      </a:r>
                      <a:endParaRPr lang="en-GB" sz="1200" b="0" i="0" u="none" strike="noStrike" dirty="0">
                        <a:effectLst/>
                        <a:latin typeface="+mj-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1</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8%</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75757"/>
                          </a:solidFill>
                          <a:effectLst/>
                          <a:uLnTx/>
                          <a:uFillTx/>
                          <a:latin typeface="Trebuchet MS"/>
                          <a:ea typeface="+mn-ea"/>
                          <a:cs typeface="Arial" charset="0"/>
                        </a:rPr>
                        <a:t>7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8%</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410">
                <a:tc>
                  <a:txBody>
                    <a:bodyPr/>
                    <a:lstStyle/>
                    <a:p>
                      <a:pPr algn="l" fontAlgn="b"/>
                      <a:fld id="{3C8CFB30-5FCF-4E46-BB10-EB1141EE8AB7}" type="datetime'''''''U''''pd''''ate''s f''r''''''om IT'' Lead''''''ership'''">
                        <a:rPr lang="en-US" altLang="en-US" sz="1200" smtClean="0">
                          <a:sym typeface="+mn-lt"/>
                        </a:rPr>
                        <a:pPr algn="l" fontAlgn="b"/>
                        <a:t>Updates from IT Leadership</a:t>
                      </a:fld>
                      <a:endParaRPr lang="en-GB" sz="1200" dirty="0"/>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69</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4</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5%</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33" name="Rectangle 32">
            <a:extLst>
              <a:ext uri="{FF2B5EF4-FFF2-40B4-BE49-F238E27FC236}">
                <a16:creationId xmlns:a16="http://schemas.microsoft.com/office/drawing/2014/main" id="{518A602D-76A6-484A-AFA5-F800B466A875}"/>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 name="Rectangle 54">
            <a:extLst>
              <a:ext uri="{FF2B5EF4-FFF2-40B4-BE49-F238E27FC236}">
                <a16:creationId xmlns:a16="http://schemas.microsoft.com/office/drawing/2014/main" id="{DA2F12A5-8461-4981-B3A6-6105759644D3}"/>
              </a:ext>
            </a:extLst>
          </p:cNvPr>
          <p:cNvSpPr/>
          <p:nvPr/>
        </p:nvSpPr>
        <p:spPr>
          <a:xfrm>
            <a:off x="138546" y="5964638"/>
            <a:ext cx="11823082" cy="89716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mparing annual averages, all IT communications aspects are improving, </a:t>
            </a:r>
          </a:p>
          <a:p>
            <a:pPr algn="ctr"/>
            <a:r>
              <a:rPr lang="en-US" dirty="0">
                <a:solidFill>
                  <a:srgbClr val="575757"/>
                </a:solidFill>
              </a:rPr>
              <a:t>most notably updates from IT Leadership at +4%.</a:t>
            </a:r>
          </a:p>
        </p:txBody>
      </p:sp>
      <p:grpSp>
        <p:nvGrpSpPr>
          <p:cNvPr id="20" name="Group 19">
            <a:extLst>
              <a:ext uri="{FF2B5EF4-FFF2-40B4-BE49-F238E27FC236}">
                <a16:creationId xmlns:a16="http://schemas.microsoft.com/office/drawing/2014/main" id="{01DB31BE-5530-4DAD-A30D-80A7B96440BD}"/>
              </a:ext>
            </a:extLst>
          </p:cNvPr>
          <p:cNvGrpSpPr/>
          <p:nvPr/>
        </p:nvGrpSpPr>
        <p:grpSpPr>
          <a:xfrm>
            <a:off x="626249" y="5375766"/>
            <a:ext cx="6155997" cy="444350"/>
            <a:chOff x="753111" y="3331233"/>
            <a:chExt cx="6155997" cy="444350"/>
          </a:xfrm>
        </p:grpSpPr>
        <p:grpSp>
          <p:nvGrpSpPr>
            <p:cNvPr id="21" name="Group 20">
              <a:extLst>
                <a:ext uri="{FF2B5EF4-FFF2-40B4-BE49-F238E27FC236}">
                  <a16:creationId xmlns:a16="http://schemas.microsoft.com/office/drawing/2014/main" id="{740CF774-A374-4CE5-9887-DD4A0275CD94}"/>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10A5A480-B471-4474-845D-E6B5ED7C18ED}"/>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1" name="Rectangle 30">
                <a:extLst>
                  <a:ext uri="{FF2B5EF4-FFF2-40B4-BE49-F238E27FC236}">
                    <a16:creationId xmlns:a16="http://schemas.microsoft.com/office/drawing/2014/main" id="{BE8A0768-3428-4345-8738-B0F2E78184A1}"/>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2" name="Rectangle 31">
                <a:extLst>
                  <a:ext uri="{FF2B5EF4-FFF2-40B4-BE49-F238E27FC236}">
                    <a16:creationId xmlns:a16="http://schemas.microsoft.com/office/drawing/2014/main" id="{3EC7DACE-6945-430E-8A91-EB91E39CBC5D}"/>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4" name="Rectangle 33">
                <a:extLst>
                  <a:ext uri="{FF2B5EF4-FFF2-40B4-BE49-F238E27FC236}">
                    <a16:creationId xmlns:a16="http://schemas.microsoft.com/office/drawing/2014/main" id="{AD4F0360-80EC-4675-8AA0-E5A2E3B18101}"/>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8" name="Rectangle 37">
                <a:extLst>
                  <a:ext uri="{FF2B5EF4-FFF2-40B4-BE49-F238E27FC236}">
                    <a16:creationId xmlns:a16="http://schemas.microsoft.com/office/drawing/2014/main" id="{C0265D29-92D6-48F6-A50E-63FE8ADC9C58}"/>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39" name="Rectangle 38">
                <a:extLst>
                  <a:ext uri="{FF2B5EF4-FFF2-40B4-BE49-F238E27FC236}">
                    <a16:creationId xmlns:a16="http://schemas.microsoft.com/office/drawing/2014/main" id="{099846F1-D280-478D-950E-0946F7BD0CC5}"/>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06B87C03-123E-41F6-851E-B3797046DFAD}"/>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A8785ED2-D02E-4D81-8C61-E60244772BB9}"/>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898A4284-6F0B-4F9B-AB01-3ABE5005FCCC}"/>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9F64CFEC-9D1B-41DE-9BC7-41D878C598DD}"/>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CCF73179-600C-4363-9B43-CD42490EED6C}"/>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9EAB4777-7A22-4EBD-B5B5-95EF282C0D88}"/>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40" name="Group 39">
            <a:extLst>
              <a:ext uri="{FF2B5EF4-FFF2-40B4-BE49-F238E27FC236}">
                <a16:creationId xmlns:a16="http://schemas.microsoft.com/office/drawing/2014/main" id="{441F3F13-9E94-4E13-901F-59E292EB111E}"/>
              </a:ext>
            </a:extLst>
          </p:cNvPr>
          <p:cNvGrpSpPr>
            <a:grpSpLocks noChangeAspect="1"/>
          </p:cNvGrpSpPr>
          <p:nvPr/>
        </p:nvGrpSpPr>
        <p:grpSpPr>
          <a:xfrm>
            <a:off x="514429" y="864696"/>
            <a:ext cx="457200" cy="457200"/>
            <a:chOff x="5867400" y="3200400"/>
            <a:chExt cx="457200" cy="457200"/>
          </a:xfrm>
        </p:grpSpPr>
        <p:sp>
          <p:nvSpPr>
            <p:cNvPr id="41" name="AutoShape 43">
              <a:extLst>
                <a:ext uri="{FF2B5EF4-FFF2-40B4-BE49-F238E27FC236}">
                  <a16:creationId xmlns:a16="http://schemas.microsoft.com/office/drawing/2014/main" id="{89D888F0-4B97-4359-A2F3-2D4A8EE6AAB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A74E0411-206D-46DC-B3D2-9518F34DD5EC}"/>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5" name="Oval 20">
            <a:extLst>
              <a:ext uri="{FF2B5EF4-FFF2-40B4-BE49-F238E27FC236}">
                <a16:creationId xmlns:a16="http://schemas.microsoft.com/office/drawing/2014/main" id="{ABE6BE19-7746-4AF4-8791-EBCDEB8B98BF}"/>
              </a:ext>
            </a:extLst>
          </p:cNvPr>
          <p:cNvSpPr>
            <a:spLocks noChangeAspect="1" noChangeArrowheads="1"/>
          </p:cNvSpPr>
          <p:nvPr/>
        </p:nvSpPr>
        <p:spPr bwMode="auto">
          <a:xfrm>
            <a:off x="10664999" y="4932949"/>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6" name="Oval 20">
            <a:extLst>
              <a:ext uri="{FF2B5EF4-FFF2-40B4-BE49-F238E27FC236}">
                <a16:creationId xmlns:a16="http://schemas.microsoft.com/office/drawing/2014/main" id="{BA055E03-2670-4EAC-9630-E75457A30E57}"/>
              </a:ext>
            </a:extLst>
          </p:cNvPr>
          <p:cNvSpPr>
            <a:spLocks noChangeAspect="1" noChangeArrowheads="1"/>
          </p:cNvSpPr>
          <p:nvPr/>
        </p:nvSpPr>
        <p:spPr bwMode="auto">
          <a:xfrm>
            <a:off x="10664999" y="3011862"/>
            <a:ext cx="176828" cy="176828"/>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7" name="Oval 20">
            <a:extLst>
              <a:ext uri="{FF2B5EF4-FFF2-40B4-BE49-F238E27FC236}">
                <a16:creationId xmlns:a16="http://schemas.microsoft.com/office/drawing/2014/main" id="{7617D341-AD0C-4BDE-8F0F-589242EEA477}"/>
              </a:ext>
            </a:extLst>
          </p:cNvPr>
          <p:cNvSpPr>
            <a:spLocks noChangeAspect="1" noChangeArrowheads="1"/>
          </p:cNvSpPr>
          <p:nvPr/>
        </p:nvSpPr>
        <p:spPr bwMode="auto">
          <a:xfrm>
            <a:off x="10668820" y="3534623"/>
            <a:ext cx="176828" cy="176828"/>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671F25D1-A52E-4885-A314-A7B47ECFB588}"/>
              </a:ext>
            </a:extLst>
          </p:cNvPr>
          <p:cNvSpPr>
            <a:spLocks noChangeAspect="1" noChangeArrowheads="1"/>
          </p:cNvSpPr>
          <p:nvPr/>
        </p:nvSpPr>
        <p:spPr bwMode="auto">
          <a:xfrm>
            <a:off x="10664999" y="4039653"/>
            <a:ext cx="176828" cy="176828"/>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9" name="Oval 20">
            <a:extLst>
              <a:ext uri="{FF2B5EF4-FFF2-40B4-BE49-F238E27FC236}">
                <a16:creationId xmlns:a16="http://schemas.microsoft.com/office/drawing/2014/main" id="{2DDDFDB3-79C6-4CA9-BC9F-7CC02058B266}"/>
              </a:ext>
            </a:extLst>
          </p:cNvPr>
          <p:cNvSpPr>
            <a:spLocks noChangeAspect="1" noChangeArrowheads="1"/>
          </p:cNvSpPr>
          <p:nvPr/>
        </p:nvSpPr>
        <p:spPr bwMode="auto">
          <a:xfrm>
            <a:off x="10664999" y="4501502"/>
            <a:ext cx="176828" cy="176828"/>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Rectangle 55">
            <a:extLst>
              <a:ext uri="{FF2B5EF4-FFF2-40B4-BE49-F238E27FC236}">
                <a16:creationId xmlns:a16="http://schemas.microsoft.com/office/drawing/2014/main" id="{DF9A9E3A-635D-4C33-9BAC-F34638F4BA66}"/>
              </a:ext>
            </a:extLst>
          </p:cNvPr>
          <p:cNvSpPr/>
          <p:nvPr/>
        </p:nvSpPr>
        <p:spPr>
          <a:xfrm flipH="1">
            <a:off x="7781859" y="1594170"/>
            <a:ext cx="1882690" cy="3667627"/>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Rectangle 59">
            <a:extLst>
              <a:ext uri="{FF2B5EF4-FFF2-40B4-BE49-F238E27FC236}">
                <a16:creationId xmlns:a16="http://schemas.microsoft.com/office/drawing/2014/main" id="{F506B9E3-631A-4C60-A2FF-AE9E7E9D9085}"/>
              </a:ext>
            </a:extLst>
          </p:cNvPr>
          <p:cNvSpPr/>
          <p:nvPr/>
        </p:nvSpPr>
        <p:spPr>
          <a:xfrm>
            <a:off x="6831793" y="5322816"/>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57" name="Group 56">
            <a:extLst>
              <a:ext uri="{FF2B5EF4-FFF2-40B4-BE49-F238E27FC236}">
                <a16:creationId xmlns:a16="http://schemas.microsoft.com/office/drawing/2014/main" id="{792E880B-B2C7-4785-8B83-F5D8179C5B2E}"/>
              </a:ext>
            </a:extLst>
          </p:cNvPr>
          <p:cNvGrpSpPr/>
          <p:nvPr/>
        </p:nvGrpSpPr>
        <p:grpSpPr>
          <a:xfrm>
            <a:off x="9659485" y="5384444"/>
            <a:ext cx="2116895" cy="591304"/>
            <a:chOff x="9751525" y="5356845"/>
            <a:chExt cx="2116895" cy="591304"/>
          </a:xfrm>
        </p:grpSpPr>
        <p:sp>
          <p:nvSpPr>
            <p:cNvPr id="58" name="Oval 20">
              <a:extLst>
                <a:ext uri="{FF2B5EF4-FFF2-40B4-BE49-F238E27FC236}">
                  <a16:creationId xmlns:a16="http://schemas.microsoft.com/office/drawing/2014/main" id="{679E750B-6AB1-486A-9214-EF4DD1F77EDC}"/>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9" name="Rectangle 58">
              <a:extLst>
                <a:ext uri="{FF2B5EF4-FFF2-40B4-BE49-F238E27FC236}">
                  <a16:creationId xmlns:a16="http://schemas.microsoft.com/office/drawing/2014/main" id="{18A6FCC4-677F-431A-877E-6CE9947E0FAC}"/>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1" name="Oval 20">
              <a:extLst>
                <a:ext uri="{FF2B5EF4-FFF2-40B4-BE49-F238E27FC236}">
                  <a16:creationId xmlns:a16="http://schemas.microsoft.com/office/drawing/2014/main" id="{C6CF8639-08A4-430C-A7C9-C4C2405E4CDC}"/>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2" name="Oval 20">
              <a:extLst>
                <a:ext uri="{FF2B5EF4-FFF2-40B4-BE49-F238E27FC236}">
                  <a16:creationId xmlns:a16="http://schemas.microsoft.com/office/drawing/2014/main" id="{3D4A18D7-4107-47D7-89B7-13FB55631AEB}"/>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3" name="Rectangle 62">
              <a:extLst>
                <a:ext uri="{FF2B5EF4-FFF2-40B4-BE49-F238E27FC236}">
                  <a16:creationId xmlns:a16="http://schemas.microsoft.com/office/drawing/2014/main" id="{A2D91A69-6C86-4E8F-B226-DFC091063A7C}"/>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64" name="Rectangle 63">
              <a:extLst>
                <a:ext uri="{FF2B5EF4-FFF2-40B4-BE49-F238E27FC236}">
                  <a16:creationId xmlns:a16="http://schemas.microsoft.com/office/drawing/2014/main" id="{CE502C77-D0B0-40C4-87C5-ABA20C5BD149}"/>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1" name="Left Bracket 50">
            <a:extLst>
              <a:ext uri="{FF2B5EF4-FFF2-40B4-BE49-F238E27FC236}">
                <a16:creationId xmlns:a16="http://schemas.microsoft.com/office/drawing/2014/main" id="{DE37808B-66D1-4B93-A9E2-6A35740774FF}"/>
              </a:ext>
            </a:extLst>
          </p:cNvPr>
          <p:cNvSpPr/>
          <p:nvPr/>
        </p:nvSpPr>
        <p:spPr>
          <a:xfrm rot="5400000">
            <a:off x="8461116" y="36887"/>
            <a:ext cx="163131" cy="2971801"/>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3067755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159"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2" name="Picture 31">
            <a:extLst>
              <a:ext uri="{FF2B5EF4-FFF2-40B4-BE49-F238E27FC236}">
                <a16:creationId xmlns:a16="http://schemas.microsoft.com/office/drawing/2014/main" id="{0AAE8718-A7E8-4341-803C-009D7DA5FB9F}"/>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05608" y="0"/>
            <a:ext cx="4386392" cy="6858000"/>
          </a:xfrm>
          <a:prstGeom prst="rect">
            <a:avLst/>
          </a:prstGeom>
        </p:spPr>
      </p:pic>
      <p:sp>
        <p:nvSpPr>
          <p:cNvPr id="33" name="Rectangle 32">
            <a:extLst>
              <a:ext uri="{FF2B5EF4-FFF2-40B4-BE49-F238E27FC236}">
                <a16:creationId xmlns:a16="http://schemas.microsoft.com/office/drawing/2014/main" id="{565502AB-986B-43E7-8972-C72BBA9116D2}"/>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IT COMMUNICATIONS</a:t>
            </a:r>
          </a:p>
        </p:txBody>
      </p:sp>
      <p:sp>
        <p:nvSpPr>
          <p:cNvPr id="34" name="Oval 33">
            <a:extLst>
              <a:ext uri="{FF2B5EF4-FFF2-40B4-BE49-F238E27FC236}">
                <a16:creationId xmlns:a16="http://schemas.microsoft.com/office/drawing/2014/main" id="{1BCE0315-AD4C-4275-924A-3DA33405353C}"/>
              </a:ext>
            </a:extLst>
          </p:cNvPr>
          <p:cNvSpPr>
            <a:spLocks noChangeAspect="1"/>
          </p:cNvSpPr>
          <p:nvPr/>
        </p:nvSpPr>
        <p:spPr>
          <a:xfrm>
            <a:off x="8542464" y="1690751"/>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153</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57716" y="4005262"/>
            <a:ext cx="1882766" cy="1252677"/>
          </a:xfrm>
          <a:prstGeom prst="wedgeRectCallout">
            <a:avLst>
              <a:gd name="adj1" fmla="val 16577"/>
              <a:gd name="adj2" fmla="val 537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Sometimes I feel overwhelmed by the amount of communication.</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roject Leader</a:t>
            </a:r>
          </a:p>
        </p:txBody>
      </p:sp>
      <p:sp>
        <p:nvSpPr>
          <p:cNvPr id="54" name="Rectangular Callout 53"/>
          <p:cNvSpPr/>
          <p:nvPr/>
        </p:nvSpPr>
        <p:spPr>
          <a:xfrm>
            <a:off x="2208871" y="3992563"/>
            <a:ext cx="1882766" cy="1252677"/>
          </a:xfrm>
          <a:prstGeom prst="wedgeRectCallout">
            <a:avLst>
              <a:gd name="adj1" fmla="val -20806"/>
              <a:gd name="adj2" fmla="val 5201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I feel I am kept well informed of key developments and that communications have a predictable cadence.</a:t>
            </a:r>
            <a:r>
              <a:rPr lang="en-GB" sz="1200" dirty="0">
                <a:cs typeface="Arial" pitchFamily="34" charset="0"/>
              </a:rPr>
              <a:t>”</a:t>
            </a:r>
          </a:p>
          <a:p>
            <a:pPr algn="r"/>
            <a:r>
              <a:rPr lang="en-GB" sz="1000" i="1" dirty="0">
                <a:cs typeface="Arial" pitchFamily="34" charset="0"/>
              </a:rPr>
              <a:t>Senior ECT</a:t>
            </a:r>
          </a:p>
        </p:txBody>
      </p:sp>
      <p:sp>
        <p:nvSpPr>
          <p:cNvPr id="55" name="Rectangular Callout 54"/>
          <p:cNvSpPr/>
          <p:nvPr/>
        </p:nvSpPr>
        <p:spPr>
          <a:xfrm>
            <a:off x="4221521" y="3992563"/>
            <a:ext cx="1165055" cy="1252677"/>
          </a:xfrm>
          <a:prstGeom prst="wedgeRectCallout">
            <a:avLst>
              <a:gd name="adj1" fmla="val -22035"/>
              <a:gd name="adj2" fmla="val 555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 update newsletters work for me.</a:t>
            </a:r>
            <a:r>
              <a:rPr lang="en-GB" sz="1200" dirty="0">
                <a:cs typeface="Arial" pitchFamily="34" charset="0"/>
              </a:rPr>
              <a:t>”</a:t>
            </a:r>
          </a:p>
          <a:p>
            <a:endParaRPr lang="en-GB" sz="1200" i="1" dirty="0">
              <a:cs typeface="Arial" pitchFamily="34" charset="0"/>
            </a:endParaRPr>
          </a:p>
          <a:p>
            <a:endParaRPr lang="en-GB" sz="1200" i="1" dirty="0">
              <a:cs typeface="Arial" pitchFamily="34" charset="0"/>
            </a:endParaRPr>
          </a:p>
          <a:p>
            <a:pPr algn="r"/>
            <a:r>
              <a:rPr lang="en-GB" sz="1000" i="1" dirty="0">
                <a:cs typeface="Arial" pitchFamily="34" charset="0"/>
              </a:rPr>
              <a:t>Partner</a:t>
            </a:r>
          </a:p>
        </p:txBody>
      </p:sp>
      <p:sp>
        <p:nvSpPr>
          <p:cNvPr id="28" name="Rectangle 27">
            <a:extLst>
              <a:ext uri="{FF2B5EF4-FFF2-40B4-BE49-F238E27FC236}">
                <a16:creationId xmlns:a16="http://schemas.microsoft.com/office/drawing/2014/main" id="{AE8BA0A3-A22B-4066-9085-3FC79F11C9A0}"/>
              </a:ext>
            </a:extLst>
          </p:cNvPr>
          <p:cNvSpPr/>
          <p:nvPr/>
        </p:nvSpPr>
        <p:spPr>
          <a:xfrm>
            <a:off x="191042" y="3509963"/>
            <a:ext cx="5405286"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44357" y="253264"/>
            <a:ext cx="7345872" cy="16887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endParaRPr lang="en-US" sz="1400" dirty="0">
              <a:solidFill>
                <a:srgbClr val="FFFFFF"/>
              </a:solidFill>
            </a:endParaRPr>
          </a:p>
        </p:txBody>
      </p:sp>
      <p:graphicFrame>
        <p:nvGraphicFramePr>
          <p:cNvPr id="38" name="Chart 37">
            <a:extLst>
              <a:ext uri="{FF2B5EF4-FFF2-40B4-BE49-F238E27FC236}">
                <a16:creationId xmlns:a16="http://schemas.microsoft.com/office/drawing/2014/main" id="{C5882F71-3BFC-4186-8DD3-8D464AF995E5}"/>
              </a:ext>
            </a:extLst>
          </p:cNvPr>
          <p:cNvGraphicFramePr/>
          <p:nvPr>
            <p:custDataLst>
              <p:tags r:id="rId4"/>
            </p:custDataLst>
          </p:nvPr>
        </p:nvGraphicFramePr>
        <p:xfrm>
          <a:off x="174625" y="2259013"/>
          <a:ext cx="7497763" cy="884237"/>
        </p:xfrm>
        <a:graphic>
          <a:graphicData uri="http://schemas.openxmlformats.org/drawingml/2006/chart">
            <c:chart xmlns:c="http://schemas.openxmlformats.org/drawingml/2006/chart" xmlns:r="http://schemas.openxmlformats.org/officeDocument/2006/relationships" r:id="rId16"/>
          </a:graphicData>
        </a:graphic>
      </p:graphicFrame>
      <p:sp>
        <p:nvSpPr>
          <p:cNvPr id="132" name="Rectangle 131">
            <a:extLst>
              <a:ext uri="{FF2B5EF4-FFF2-40B4-BE49-F238E27FC236}">
                <a16:creationId xmlns:a16="http://schemas.microsoft.com/office/drawing/2014/main" id="{EB1A4E61-8D9D-4717-82E0-88C113E598A5}"/>
              </a:ext>
            </a:extLst>
          </p:cNvPr>
          <p:cNvSpPr/>
          <p:nvPr>
            <p:custDataLst>
              <p:tags r:id="rId5"/>
            </p:custDataLst>
          </p:nvPr>
        </p:nvSpPr>
        <p:spPr bwMode="gray">
          <a:xfrm>
            <a:off x="317500" y="314007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6"/>
            </p:custDataLst>
          </p:nvPr>
        </p:nvSpPr>
        <p:spPr bwMode="gray">
          <a:xfrm>
            <a:off x="1211263" y="31400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2082800" y="31400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8"/>
            </p:custDataLst>
          </p:nvPr>
        </p:nvSpPr>
        <p:spPr bwMode="gray">
          <a:xfrm>
            <a:off x="582613" y="312102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9"/>
            </p:custDataLst>
          </p:nvPr>
        </p:nvSpPr>
        <p:spPr bwMode="gray">
          <a:xfrm>
            <a:off x="1476375" y="31210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2347913" y="312102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4625" y="2146301"/>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66" name="Rectangular Callout 53">
            <a:extLst>
              <a:ext uri="{FF2B5EF4-FFF2-40B4-BE49-F238E27FC236}">
                <a16:creationId xmlns:a16="http://schemas.microsoft.com/office/drawing/2014/main" id="{36D432D6-4900-42CF-B738-10FAE72DB909}"/>
              </a:ext>
            </a:extLst>
          </p:cNvPr>
          <p:cNvSpPr/>
          <p:nvPr/>
        </p:nvSpPr>
        <p:spPr>
          <a:xfrm>
            <a:off x="244357" y="5445317"/>
            <a:ext cx="2151025" cy="1107669"/>
          </a:xfrm>
          <a:prstGeom prst="wedgeRectCallout">
            <a:avLst>
              <a:gd name="adj1" fmla="val -19666"/>
              <a:gd name="adj2" fmla="val -5473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Good - outages might be easier to be communicated via slack - better than two mails per incident.</a:t>
            </a:r>
            <a:r>
              <a:rPr lang="en-GB" sz="1200" dirty="0">
                <a:cs typeface="Arial" pitchFamily="34" charset="0"/>
              </a:rPr>
              <a:t>”</a:t>
            </a:r>
            <a:r>
              <a:rPr lang="en-GB" sz="1200" i="1" dirty="0">
                <a:cs typeface="Arial" pitchFamily="34" charset="0"/>
              </a:rPr>
              <a:t> </a:t>
            </a:r>
          </a:p>
          <a:p>
            <a:pPr algn="r"/>
            <a:r>
              <a:rPr lang="en-GB" sz="1200" i="1" dirty="0">
                <a:cs typeface="Arial" pitchFamily="34" charset="0"/>
              </a:rPr>
              <a:t>	</a:t>
            </a:r>
            <a:r>
              <a:rPr lang="en-GB" sz="1000" i="1" dirty="0">
                <a:cs typeface="Arial" pitchFamily="34" charset="0"/>
              </a:rPr>
              <a:t>Consultant</a:t>
            </a:r>
            <a:endParaRPr lang="en-GB" sz="700" i="1" dirty="0">
              <a:cs typeface="Arial" pitchFamily="34" charset="0"/>
            </a:endParaRPr>
          </a:p>
        </p:txBody>
      </p:sp>
      <p:sp>
        <p:nvSpPr>
          <p:cNvPr id="68" name="Rectangular Callout 53">
            <a:extLst>
              <a:ext uri="{FF2B5EF4-FFF2-40B4-BE49-F238E27FC236}">
                <a16:creationId xmlns:a16="http://schemas.microsoft.com/office/drawing/2014/main" id="{341D3899-6A6C-485F-933B-4BCE5BE022E8}"/>
              </a:ext>
            </a:extLst>
          </p:cNvPr>
          <p:cNvSpPr/>
          <p:nvPr/>
        </p:nvSpPr>
        <p:spPr>
          <a:xfrm>
            <a:off x="6315510" y="5465347"/>
            <a:ext cx="1231693" cy="1077707"/>
          </a:xfrm>
          <a:prstGeom prst="wedgeRectCallout">
            <a:avLst>
              <a:gd name="adj1" fmla="val -14828"/>
              <a:gd name="adj2" fmla="val -5872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oo many random unnecessary emails.</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Consultant</a:t>
            </a:r>
          </a:p>
        </p:txBody>
      </p:sp>
      <p:sp>
        <p:nvSpPr>
          <p:cNvPr id="35" name="Rectangular Callout 53">
            <a:extLst>
              <a:ext uri="{FF2B5EF4-FFF2-40B4-BE49-F238E27FC236}">
                <a16:creationId xmlns:a16="http://schemas.microsoft.com/office/drawing/2014/main" id="{F9F91526-4C37-48D3-AFB9-58E5BB7E2CA5}"/>
              </a:ext>
            </a:extLst>
          </p:cNvPr>
          <p:cNvSpPr/>
          <p:nvPr/>
        </p:nvSpPr>
        <p:spPr>
          <a:xfrm>
            <a:off x="4241845" y="5455247"/>
            <a:ext cx="1991010" cy="1087807"/>
          </a:xfrm>
          <a:prstGeom prst="wedgeRectCallout">
            <a:avLst>
              <a:gd name="adj1" fmla="val 23186"/>
              <a:gd name="adj2" fmla="val -5862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Current Outages' should also be at the top menu line in IT Connect (user specific).</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BST</a:t>
            </a:r>
          </a:p>
        </p:txBody>
      </p:sp>
      <p:sp>
        <p:nvSpPr>
          <p:cNvPr id="36" name="Rectangular Callout 54">
            <a:extLst>
              <a:ext uri="{FF2B5EF4-FFF2-40B4-BE49-F238E27FC236}">
                <a16:creationId xmlns:a16="http://schemas.microsoft.com/office/drawing/2014/main" id="{7F9C697D-831D-4E4C-A5F8-5B51D736BE6F}"/>
              </a:ext>
            </a:extLst>
          </p:cNvPr>
          <p:cNvSpPr/>
          <p:nvPr/>
        </p:nvSpPr>
        <p:spPr>
          <a:xfrm>
            <a:off x="5475892" y="3992563"/>
            <a:ext cx="2029734" cy="1252677"/>
          </a:xfrm>
          <a:prstGeom prst="wedgeRectCallout">
            <a:avLst>
              <a:gd name="adj1" fmla="val -28840"/>
              <a:gd name="adj2" fmla="val 555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Updates from IT Leadership] </a:t>
            </a:r>
            <a:r>
              <a:rPr lang="en-US" sz="1200" dirty="0">
                <a:cs typeface="Arial" pitchFamily="34" charset="0"/>
              </a:rPr>
              <a:t>These have notably improved in the last 1-2 years -- feel more informed and heard.</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Project Leader</a:t>
            </a:r>
          </a:p>
        </p:txBody>
      </p:sp>
      <p:sp>
        <p:nvSpPr>
          <p:cNvPr id="25" name="Rectangle 24">
            <a:extLst>
              <a:ext uri="{FF2B5EF4-FFF2-40B4-BE49-F238E27FC236}">
                <a16:creationId xmlns:a16="http://schemas.microsoft.com/office/drawing/2014/main" id="{BDC371B1-7E65-4A99-A52E-36FE0E47EF0C}"/>
              </a:ext>
            </a:extLst>
          </p:cNvPr>
          <p:cNvSpPr/>
          <p:nvPr/>
        </p:nvSpPr>
        <p:spPr>
          <a:xfrm>
            <a:off x="176339" y="184882"/>
            <a:ext cx="7415331" cy="181607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IT Communications continues to receive positive feedback as employees feel more informed about key developments &amp; IT updates. There is an increase in preference among leadership to receive roadmaps, newsletters etc., that outline digital / IT priorities. Conversely, some feel that the comms are irrelevant &amp;/or too frequent. Some suggestions have been provided for communicating outages via IT Connect or Slack. </a:t>
            </a:r>
            <a:r>
              <a:rPr lang="en-US" sz="1600" i="1" dirty="0">
                <a:solidFill>
                  <a:srgbClr val="FFFFFF"/>
                </a:solidFill>
              </a:rPr>
              <a:t>(Note – since the Q4 survey closed a Slack channel has since been implemented.)</a:t>
            </a:r>
          </a:p>
        </p:txBody>
      </p:sp>
      <p:sp>
        <p:nvSpPr>
          <p:cNvPr id="26" name="Rectangular Callout 53">
            <a:extLst>
              <a:ext uri="{FF2B5EF4-FFF2-40B4-BE49-F238E27FC236}">
                <a16:creationId xmlns:a16="http://schemas.microsoft.com/office/drawing/2014/main" id="{33B7B82C-D44F-4834-B67B-7E9A18878A10}"/>
              </a:ext>
            </a:extLst>
          </p:cNvPr>
          <p:cNvSpPr/>
          <p:nvPr/>
        </p:nvSpPr>
        <p:spPr>
          <a:xfrm>
            <a:off x="2472725" y="5455247"/>
            <a:ext cx="1686465" cy="1087807"/>
          </a:xfrm>
          <a:prstGeom prst="wedgeRectCallout">
            <a:avLst>
              <a:gd name="adj1" fmla="val -14828"/>
              <a:gd name="adj2" fmla="val -5872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really liked the letter with the priorities you were working on and the next steps.</a:t>
            </a:r>
            <a:r>
              <a:rPr lang="en-GB" sz="1200" dirty="0">
                <a:cs typeface="Arial" pitchFamily="34" charset="0"/>
              </a:rPr>
              <a:t>”</a:t>
            </a:r>
          </a:p>
          <a:p>
            <a:pPr algn="r"/>
            <a:r>
              <a:rPr lang="en-GB" sz="1000" i="1" dirty="0">
                <a:cs typeface="Arial" pitchFamily="34" charset="0"/>
              </a:rPr>
              <a:t>Partner</a:t>
            </a:r>
          </a:p>
        </p:txBody>
      </p:sp>
    </p:spTree>
    <p:extLst>
      <p:ext uri="{BB962C8B-B14F-4D97-AF65-F5344CB8AC3E}">
        <p14:creationId xmlns:p14="http://schemas.microsoft.com/office/powerpoint/2010/main" val="2636201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extLst>
              <p:ext uri="{D42A27DB-BD31-4B8C-83A1-F6EECF244321}">
                <p14:modId xmlns:p14="http://schemas.microsoft.com/office/powerpoint/2010/main" val="255075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389"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E000D32-29FB-4356-96D2-60EA743A2DB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1"/>
            <a:ext cx="12192890" cy="3672583"/>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Multiple</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Multiple</a:t>
            </a:r>
          </a:p>
        </p:txBody>
      </p:sp>
      <p:sp>
        <p:nvSpPr>
          <p:cNvPr id="22" name="Rectangle 21">
            <a:extLst>
              <a:ext uri="{FF2B5EF4-FFF2-40B4-BE49-F238E27FC236}">
                <a16:creationId xmlns:a16="http://schemas.microsoft.com/office/drawing/2014/main" id="{F6C092CA-B578-43B9-8086-E93D2FD271BF}"/>
              </a:ext>
            </a:extLst>
          </p:cNvPr>
          <p:cNvSpPr/>
          <p:nvPr/>
        </p:nvSpPr>
        <p:spPr>
          <a:xfrm>
            <a:off x="0" y="-2"/>
            <a:ext cx="12192000" cy="367258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sz="4400" dirty="0">
                <a:solidFill>
                  <a:srgbClr val="FFFFFF"/>
                </a:solidFill>
              </a:rPr>
              <a:t>Consulting Experience</a:t>
            </a:r>
          </a:p>
        </p:txBody>
      </p:sp>
      <p:sp>
        <p:nvSpPr>
          <p:cNvPr id="16" name="TextBox 15">
            <a:extLst>
              <a:ext uri="{FF2B5EF4-FFF2-40B4-BE49-F238E27FC236}">
                <a16:creationId xmlns:a16="http://schemas.microsoft.com/office/drawing/2014/main" id="{B63AF631-EE0F-4A8A-9B68-8B25282BF9EA}"/>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Other</a:t>
            </a:r>
          </a:p>
        </p:txBody>
      </p:sp>
    </p:spTree>
    <p:extLst>
      <p:ext uri="{BB962C8B-B14F-4D97-AF65-F5344CB8AC3E}">
        <p14:creationId xmlns:p14="http://schemas.microsoft.com/office/powerpoint/2010/main" val="2143537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955167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754"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79860" y="0"/>
            <a:ext cx="2815495"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A new question since Q3 2020 - overall, CT are 67% satisfied with BCG IT tools when working with their clients, which is -9% lower Q4 year-over-year</a:t>
            </a:r>
          </a:p>
          <a:p>
            <a:endParaRPr lang="en-GB" dirty="0">
              <a:solidFill>
                <a:srgbClr val="FFFFFF"/>
              </a:solidFill>
              <a:cs typeface="Arial" pitchFamily="34" charset="0"/>
            </a:endParaRPr>
          </a:p>
          <a:p>
            <a:r>
              <a:rPr lang="en-GB" dirty="0">
                <a:solidFill>
                  <a:srgbClr val="FFFFFF"/>
                </a:solidFill>
                <a:cs typeface="Arial" pitchFamily="34" charset="0"/>
              </a:rPr>
              <a:t>The 2020 average (Q3 &amp; Q4 only) was 73%, the 2021 average is 70%</a:t>
            </a:r>
          </a:p>
        </p:txBody>
      </p:sp>
      <p:sp>
        <p:nvSpPr>
          <p:cNvPr id="3" name="Title 2"/>
          <p:cNvSpPr>
            <a:spLocks noGrp="1"/>
          </p:cNvSpPr>
          <p:nvPr>
            <p:ph type="title"/>
          </p:nvPr>
        </p:nvSpPr>
        <p:spPr>
          <a:xfrm>
            <a:off x="630000" y="689295"/>
            <a:ext cx="8181491" cy="276999"/>
          </a:xfrm>
        </p:spPr>
        <p:txBody>
          <a:bodyPr vert="horz"/>
          <a:lstStyle/>
          <a:p>
            <a:r>
              <a:rPr lang="en-US" sz="2000" dirty="0">
                <a:solidFill>
                  <a:srgbClr val="295E7E"/>
                </a:solidFill>
              </a:rPr>
              <a:t>CT satisfaction with BCG IT Tools when working with clients – overall</a:t>
            </a:r>
          </a:p>
        </p:txBody>
      </p:sp>
      <p:graphicFrame>
        <p:nvGraphicFramePr>
          <p:cNvPr id="52" name="Chart 51">
            <a:extLst>
              <a:ext uri="{FF2B5EF4-FFF2-40B4-BE49-F238E27FC236}">
                <a16:creationId xmlns:a16="http://schemas.microsoft.com/office/drawing/2014/main" id="{CD35F9E7-93DD-41CF-BDC8-A9C752EF6CE9}"/>
              </a:ext>
            </a:extLst>
          </p:cNvPr>
          <p:cNvGraphicFramePr/>
          <p:nvPr>
            <p:custDataLst>
              <p:tags r:id="rId5"/>
            </p:custDataLst>
          </p:nvPr>
        </p:nvGraphicFramePr>
        <p:xfrm>
          <a:off x="2778125" y="2368550"/>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73" name="Text Placeholder 3"/>
          <p:cNvSpPr>
            <a:spLocks noGrp="1"/>
          </p:cNvSpPr>
          <p:nvPr>
            <p:custDataLst>
              <p:tags r:id="rId6"/>
            </p:custDataLst>
          </p:nvPr>
        </p:nvSpPr>
        <p:spPr bwMode="gray">
          <a:xfrm>
            <a:off x="4968875" y="2708275"/>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C826755-44DE-4DE2-AFCE-7AB062549523}" type="datetime'''1''''''''''''''''''6'''''''''''''''''''''''''''''''''''''">
              <a:rPr lang="en-US" altLang="en-US" sz="1600" smtClean="0">
                <a:solidFill>
                  <a:schemeClr val="bg1"/>
                </a:solidFill>
              </a:rPr>
              <a:pPr/>
              <a:t>16</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7"/>
            </p:custDataLst>
          </p:nvPr>
        </p:nvSpPr>
        <p:spPr bwMode="gray">
          <a:xfrm>
            <a:off x="4338638" y="2768600"/>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F95F373-2546-428C-A393-E6B59557322B}" type="datetime'''''''''''''''''''''''''''''''''''''''''''''''0'''''''">
              <a:rPr lang="en-US" altLang="en-US" sz="1600" smtClean="0">
                <a:solidFill>
                  <a:schemeClr val="bg1"/>
                </a:solidFill>
                <a:effectLst/>
              </a:rPr>
              <a:pPr/>
              <a:t>0</a:t>
            </a:fld>
            <a:r>
              <a:rPr lang="en-US" altLang="en-US" sz="1600">
                <a:solidFill>
                  <a:schemeClr val="bg1"/>
                </a:solidFill>
              </a:rPr>
              <a:t>%</a:t>
            </a:r>
            <a:endParaRPr lang="en-US" sz="1600" dirty="0">
              <a:solidFill>
                <a:schemeClr val="bg1"/>
              </a:solidFill>
              <a:sym typeface="+mn-lt"/>
            </a:endParaRPr>
          </a:p>
        </p:txBody>
      </p:sp>
      <p:sp>
        <p:nvSpPr>
          <p:cNvPr id="55" name="Text Placeholder 3"/>
          <p:cNvSpPr>
            <a:spLocks noGrp="1"/>
          </p:cNvSpPr>
          <p:nvPr>
            <p:custDataLst>
              <p:tags r:id="rId8"/>
            </p:custDataLst>
          </p:nvPr>
        </p:nvSpPr>
        <p:spPr bwMode="gray">
          <a:xfrm>
            <a:off x="5005388" y="5137150"/>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47C4060-E913-4573-82B5-F297D4529A0C}" type="datetime'''5''''''''''''''''''''''''''''''''''''''''''''''''0'">
              <a:rPr lang="en-US" altLang="en-US" sz="1600" smtClean="0">
                <a:solidFill>
                  <a:schemeClr val="bg1"/>
                </a:solidFill>
              </a:rPr>
              <a:pPr/>
              <a:t>50</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9"/>
            </p:custDataLst>
          </p:nvPr>
        </p:nvSpPr>
        <p:spPr bwMode="gray">
          <a:xfrm>
            <a:off x="2978150" y="3435350"/>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68738DB-B367-40EB-B931-0615F09414E4}" type="datetime'''''''''''''''''''''''2''''''''''''''''''''''''''''''''8'">
              <a:rPr lang="en-US" altLang="en-US" sz="1600" smtClean="0"/>
              <a:pPr/>
              <a:t>28</a:t>
            </a:fld>
            <a:r>
              <a:rPr lang="en-US" altLang="en-US" sz="1600"/>
              <a:t>%</a:t>
            </a:r>
            <a:endParaRPr lang="en-US" sz="1600" dirty="0">
              <a:sym typeface="+mn-lt"/>
            </a:endParaRPr>
          </a:p>
        </p:txBody>
      </p:sp>
      <p:sp>
        <p:nvSpPr>
          <p:cNvPr id="50" name="Text Placeholder 3"/>
          <p:cNvSpPr>
            <a:spLocks noGrp="1"/>
          </p:cNvSpPr>
          <p:nvPr>
            <p:custDataLst>
              <p:tags r:id="rId10"/>
            </p:custDataLst>
          </p:nvPr>
        </p:nvSpPr>
        <p:spPr bwMode="gray">
          <a:xfrm>
            <a:off x="4108450" y="2500313"/>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9237AEB-D67D-468A-9FBF-1A45F89F7352}" type="datetime'''''''''''''''''''''''''''5'''''''''''''''''''">
              <a:rPr lang="en-US" altLang="en-US" sz="1600" smtClean="0">
                <a:solidFill>
                  <a:schemeClr val="bg1"/>
                </a:solidFill>
              </a:rPr>
              <a:pPr/>
              <a:t>5</a:t>
            </a:fld>
            <a:r>
              <a:rPr lang="en-US" altLang="en-US" sz="1600">
                <a:solidFill>
                  <a:schemeClr val="bg1"/>
                </a:solidFill>
              </a:rPr>
              <a:t>%</a:t>
            </a:r>
            <a:endParaRPr lang="en-US" sz="1600" dirty="0">
              <a:solidFill>
                <a:schemeClr val="bg1"/>
              </a:solidFill>
              <a:sym typeface="+mn-lt"/>
            </a:endParaRPr>
          </a:p>
        </p:txBody>
      </p:sp>
      <p:sp>
        <p:nvSpPr>
          <p:cNvPr id="46" name="Rectangle 45"/>
          <p:cNvSpPr/>
          <p:nvPr>
            <p:custDataLst>
              <p:tags r:id="rId11"/>
            </p:custDataLst>
          </p:nvPr>
        </p:nvSpPr>
        <p:spPr bwMode="gray">
          <a:xfrm>
            <a:off x="2943225"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2"/>
            </p:custDataLst>
          </p:nvPr>
        </p:nvSpPr>
        <p:spPr bwMode="gray">
          <a:xfrm>
            <a:off x="4764088"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3"/>
            </p:custDataLst>
          </p:nvPr>
        </p:nvSpPr>
        <p:spPr bwMode="gray">
          <a:xfrm>
            <a:off x="1652588"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4"/>
            </p:custDataLst>
          </p:nvPr>
        </p:nvSpPr>
        <p:spPr bwMode="gray">
          <a:xfrm>
            <a:off x="3892550"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00738"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Text Placeholder 3"/>
          <p:cNvSpPr>
            <a:spLocks noGrp="1"/>
          </p:cNvSpPr>
          <p:nvPr>
            <p:custDataLst>
              <p:tags r:id="rId16"/>
            </p:custDataLst>
          </p:nvPr>
        </p:nvSpPr>
        <p:spPr bwMode="gray">
          <a:xfrm>
            <a:off x="3208338"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4" name="Text Placeholder 3"/>
          <p:cNvSpPr>
            <a:spLocks noGrp="1"/>
          </p:cNvSpPr>
          <p:nvPr>
            <p:custDataLst>
              <p:tags r:id="rId17"/>
            </p:custDataLst>
          </p:nvPr>
        </p:nvSpPr>
        <p:spPr bwMode="gray">
          <a:xfrm>
            <a:off x="1917700"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42" name="Text Placeholder 3"/>
          <p:cNvSpPr>
            <a:spLocks noGrp="1"/>
          </p:cNvSpPr>
          <p:nvPr>
            <p:custDataLst>
              <p:tags r:id="rId18"/>
            </p:custDataLst>
          </p:nvPr>
        </p:nvSpPr>
        <p:spPr bwMode="gray">
          <a:xfrm>
            <a:off x="6165850"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9" name="Text Placeholder 3"/>
          <p:cNvSpPr>
            <a:spLocks noGrp="1"/>
          </p:cNvSpPr>
          <p:nvPr>
            <p:custDataLst>
              <p:tags r:id="rId19"/>
            </p:custDataLst>
          </p:nvPr>
        </p:nvSpPr>
        <p:spPr bwMode="gray">
          <a:xfrm>
            <a:off x="4157663"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0" name="Text Placeholder 3"/>
          <p:cNvSpPr>
            <a:spLocks noGrp="1"/>
          </p:cNvSpPr>
          <p:nvPr>
            <p:custDataLst>
              <p:tags r:id="rId20"/>
            </p:custDataLst>
          </p:nvPr>
        </p:nvSpPr>
        <p:spPr bwMode="gray">
          <a:xfrm>
            <a:off x="5029200"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96" name="Rectangle 95"/>
          <p:cNvSpPr/>
          <p:nvPr/>
        </p:nvSpPr>
        <p:spPr>
          <a:xfrm>
            <a:off x="3690457" y="1446038"/>
            <a:ext cx="4646719"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7% </a:t>
            </a:r>
            <a:r>
              <a:rPr lang="en-US" dirty="0">
                <a:solidFill>
                  <a:srgbClr val="575757"/>
                </a:solidFill>
              </a:rPr>
              <a:t>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rPr>
              <a:t>1% vs Q3 2021 | </a:t>
            </a:r>
            <a:r>
              <a:rPr lang="en-US" sz="1400" dirty="0">
                <a:solidFill>
                  <a:srgbClr val="E71C57"/>
                </a:solidFill>
                <a:latin typeface="Wingdings 3" panose="05040102010807070707" pitchFamily="18" charset="2"/>
              </a:rPr>
              <a:t>q</a:t>
            </a:r>
            <a:r>
              <a:rPr lang="en-US" sz="1400" dirty="0">
                <a:solidFill>
                  <a:srgbClr val="575757"/>
                </a:solidFill>
                <a:latin typeface="+mj-lt"/>
              </a:rPr>
              <a:t>9</a:t>
            </a:r>
            <a:r>
              <a:rPr lang="en-US" sz="1400" dirty="0">
                <a:solidFill>
                  <a:srgbClr val="575757"/>
                </a:solidFill>
              </a:rPr>
              <a:t>% vs Q4 '20 </a:t>
            </a:r>
            <a:endParaRPr lang="en-US" sz="1400" baseline="30000" dirty="0">
              <a:solidFill>
                <a:srgbClr val="575757"/>
              </a:solidFill>
            </a:endParaRPr>
          </a:p>
        </p:txBody>
      </p:sp>
      <p:sp>
        <p:nvSpPr>
          <p:cNvPr id="29" name="Rectangle 28"/>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36" name="Straight Connector 3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48" name="Rectangle 47"/>
          <p:cNvSpPr/>
          <p:nvPr/>
        </p:nvSpPr>
        <p:spPr>
          <a:xfrm>
            <a:off x="967045" y="998451"/>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CT Respondents</a:t>
            </a:r>
          </a:p>
        </p:txBody>
      </p:sp>
      <p:sp>
        <p:nvSpPr>
          <p:cNvPr id="35" name="Rectangle 34">
            <a:extLst>
              <a:ext uri="{FF2B5EF4-FFF2-40B4-BE49-F238E27FC236}">
                <a16:creationId xmlns:a16="http://schemas.microsoft.com/office/drawing/2014/main" id="{B1D28478-E54C-4B79-A793-1213E0212FD1}"/>
              </a:ext>
            </a:extLst>
          </p:cNvPr>
          <p:cNvSpPr/>
          <p:nvPr/>
        </p:nvSpPr>
        <p:spPr>
          <a:xfrm>
            <a:off x="1443131" y="1392248"/>
            <a:ext cx="1301658" cy="60649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grpSp>
        <p:nvGrpSpPr>
          <p:cNvPr id="59" name="Group 58">
            <a:extLst>
              <a:ext uri="{FF2B5EF4-FFF2-40B4-BE49-F238E27FC236}">
                <a16:creationId xmlns:a16="http://schemas.microsoft.com/office/drawing/2014/main" id="{16264327-037A-4407-AB92-37D898E44F7C}"/>
              </a:ext>
            </a:extLst>
          </p:cNvPr>
          <p:cNvGrpSpPr>
            <a:grpSpLocks noChangeAspect="1"/>
          </p:cNvGrpSpPr>
          <p:nvPr/>
        </p:nvGrpSpPr>
        <p:grpSpPr>
          <a:xfrm>
            <a:off x="554261" y="939560"/>
            <a:ext cx="457200" cy="457200"/>
            <a:chOff x="5867400" y="3200400"/>
            <a:chExt cx="457200" cy="457200"/>
          </a:xfrm>
        </p:grpSpPr>
        <p:sp>
          <p:nvSpPr>
            <p:cNvPr id="60" name="AutoShape 43">
              <a:extLst>
                <a:ext uri="{FF2B5EF4-FFF2-40B4-BE49-F238E27FC236}">
                  <a16:creationId xmlns:a16="http://schemas.microsoft.com/office/drawing/2014/main" id="{899699FC-A270-40E8-9A4E-E58E468AD45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7">
              <a:extLst>
                <a:ext uri="{FF2B5EF4-FFF2-40B4-BE49-F238E27FC236}">
                  <a16:creationId xmlns:a16="http://schemas.microsoft.com/office/drawing/2014/main" id="{D9CB6ACD-32B4-4D95-8031-F692942C854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2941085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777" name="think-cell Slide" r:id="rId18" imgW="473" imgH="473" progId="TCLayout.ActiveDocument.1">
                  <p:embed/>
                </p:oleObj>
              </mc:Choice>
              <mc:Fallback>
                <p:oleObj name="think-cell Slide" r:id="rId18" imgW="473" imgH="473" progId="TCLayout.ActiveDocument.1">
                  <p:embed/>
                  <p:pic>
                    <p:nvPicPr>
                      <p:cNvPr id="5" name="Object 4"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45314" y="0"/>
            <a:ext cx="2752025"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he top two activities CT do most with clients are video conferencing &amp; sharing files</a:t>
            </a:r>
          </a:p>
          <a:p>
            <a:endParaRPr lang="en-GB" dirty="0">
              <a:solidFill>
                <a:srgbClr val="FFFFFF"/>
              </a:solidFill>
              <a:cs typeface="Arial" pitchFamily="34" charset="0"/>
            </a:endParaRPr>
          </a:p>
          <a:p>
            <a:r>
              <a:rPr lang="en-GB" dirty="0">
                <a:solidFill>
                  <a:srgbClr val="FFFFFF"/>
                </a:solidFill>
                <a:cs typeface="Arial" pitchFamily="34" charset="0"/>
              </a:rPr>
              <a:t>The ranking here is identical since we started asking in Q3 2020, with levels of use also remaining similar </a:t>
            </a:r>
          </a:p>
        </p:txBody>
      </p:sp>
      <p:sp>
        <p:nvSpPr>
          <p:cNvPr id="3" name="Title 2"/>
          <p:cNvSpPr>
            <a:spLocks noGrp="1"/>
          </p:cNvSpPr>
          <p:nvPr>
            <p:ph type="title"/>
          </p:nvPr>
        </p:nvSpPr>
        <p:spPr>
          <a:xfrm>
            <a:off x="548800" y="359579"/>
            <a:ext cx="8270635" cy="664797"/>
          </a:xfrm>
        </p:spPr>
        <p:txBody>
          <a:bodyPr vert="horz"/>
          <a:lstStyle/>
          <a:p>
            <a:r>
              <a:rPr lang="en-US" dirty="0">
                <a:solidFill>
                  <a:srgbClr val="295E7E"/>
                </a:solidFill>
              </a:rPr>
              <a:t>CT satisfaction with BCG IT Tools when working with clients - reported level of use</a:t>
            </a:r>
          </a:p>
        </p:txBody>
      </p:sp>
      <p:graphicFrame>
        <p:nvGraphicFramePr>
          <p:cNvPr id="30" name="Chart 29">
            <a:extLst>
              <a:ext uri="{FF2B5EF4-FFF2-40B4-BE49-F238E27FC236}">
                <a16:creationId xmlns:a16="http://schemas.microsoft.com/office/drawing/2014/main" id="{964CF51D-6045-4A38-B933-B467AD253D9B}"/>
              </a:ext>
            </a:extLst>
          </p:cNvPr>
          <p:cNvGraphicFramePr/>
          <p:nvPr>
            <p:custDataLst>
              <p:tags r:id="rId5"/>
            </p:custDataLst>
          </p:nvPr>
        </p:nvGraphicFramePr>
        <p:xfrm>
          <a:off x="2111375" y="2011363"/>
          <a:ext cx="6122988" cy="3957637"/>
        </p:xfrm>
        <a:graphic>
          <a:graphicData uri="http://schemas.openxmlformats.org/drawingml/2006/chart">
            <c:chart xmlns:c="http://schemas.openxmlformats.org/drawingml/2006/chart" xmlns:r="http://schemas.openxmlformats.org/officeDocument/2006/relationships" r:id="rId20"/>
          </a:graphicData>
        </a:graphic>
      </p:graphicFrame>
      <p:sp>
        <p:nvSpPr>
          <p:cNvPr id="284" name="Text Placeholder 3">
            <a:extLst>
              <a:ext uri="{FF2B5EF4-FFF2-40B4-BE49-F238E27FC236}">
                <a16:creationId xmlns:a16="http://schemas.microsoft.com/office/drawing/2014/main" id="{EE3DAFB3-4225-402D-BB4D-F9F2F1522161}"/>
              </a:ext>
            </a:extLst>
          </p:cNvPr>
          <p:cNvSpPr>
            <a:spLocks noGrp="1"/>
          </p:cNvSpPr>
          <p:nvPr>
            <p:custDataLst>
              <p:tags r:id="rId6"/>
            </p:custDataLst>
          </p:nvPr>
        </p:nvSpPr>
        <p:spPr bwMode="gray">
          <a:xfrm>
            <a:off x="957263" y="2287588"/>
            <a:ext cx="13192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2F16193-F98D-42F6-A7F6-3B1885AB62A3}" type="datetime'V''i''''de''o'' ''C''''on''fe''''''re''''nc''ing'''">
              <a:rPr lang="en-US" altLang="en-US" smtClean="0"/>
              <a:pPr/>
              <a:t>Video Conferencing</a:t>
            </a:fld>
            <a:endParaRPr lang="en-US" dirty="0">
              <a:sym typeface="+mn-lt"/>
            </a:endParaRPr>
          </a:p>
        </p:txBody>
      </p:sp>
      <p:sp>
        <p:nvSpPr>
          <p:cNvPr id="94" name="Text Placeholder 3"/>
          <p:cNvSpPr>
            <a:spLocks noGrp="1"/>
          </p:cNvSpPr>
          <p:nvPr>
            <p:custDataLst>
              <p:tags r:id="rId7"/>
            </p:custDataLst>
          </p:nvPr>
        </p:nvSpPr>
        <p:spPr bwMode="gray">
          <a:xfrm>
            <a:off x="1543050" y="2879725"/>
            <a:ext cx="7334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EF12086-247A-4857-BDC1-DC5EAEBB20A3}" type="datetime'''''S''''''ha''''r''''e'''''''' ''F''''i''''''''l''''e''''''s'">
              <a:rPr lang="en-US" altLang="en-US" smtClean="0"/>
              <a:pPr/>
              <a:t>Share Files</a:t>
            </a:fld>
            <a:endParaRPr lang="en-US" dirty="0">
              <a:sym typeface="+mn-lt"/>
            </a:endParaRPr>
          </a:p>
        </p:txBody>
      </p:sp>
      <p:sp>
        <p:nvSpPr>
          <p:cNvPr id="293" name="Text Placeholder 3">
            <a:extLst>
              <a:ext uri="{FF2B5EF4-FFF2-40B4-BE49-F238E27FC236}">
                <a16:creationId xmlns:a16="http://schemas.microsoft.com/office/drawing/2014/main" id="{2F6A491C-F10C-4250-BF3C-05EBD73B0DCF}"/>
              </a:ext>
            </a:extLst>
          </p:cNvPr>
          <p:cNvSpPr>
            <a:spLocks noGrp="1"/>
          </p:cNvSpPr>
          <p:nvPr>
            <p:custDataLst>
              <p:tags r:id="rId8"/>
            </p:custDataLst>
          </p:nvPr>
        </p:nvSpPr>
        <p:spPr bwMode="gray">
          <a:xfrm>
            <a:off x="773113" y="4652963"/>
            <a:ext cx="15033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C0FD1B7-26AB-4A13-BC81-29667B2C4722}" type="datetime'''Whi''teb''oa''''''''''rd ''''''(''Di''''''gi''t''a''''lly)'">
              <a:rPr lang="en-US" altLang="en-US" smtClean="0"/>
              <a:pPr/>
              <a:t>Whiteboard (Digitally)</a:t>
            </a:fld>
            <a:endParaRPr lang="en-US" dirty="0">
              <a:sym typeface="+mn-lt"/>
            </a:endParaRPr>
          </a:p>
        </p:txBody>
      </p:sp>
      <p:sp>
        <p:nvSpPr>
          <p:cNvPr id="74" name="Text Placeholder 3">
            <a:extLst>
              <a:ext uri="{FF2B5EF4-FFF2-40B4-BE49-F238E27FC236}">
                <a16:creationId xmlns:a16="http://schemas.microsoft.com/office/drawing/2014/main" id="{1C0D8803-D90D-48FD-9C09-F3A090FEB7AB}"/>
              </a:ext>
            </a:extLst>
          </p:cNvPr>
          <p:cNvSpPr>
            <a:spLocks noGrp="1"/>
          </p:cNvSpPr>
          <p:nvPr>
            <p:custDataLst>
              <p:tags r:id="rId9"/>
            </p:custDataLst>
          </p:nvPr>
        </p:nvSpPr>
        <p:spPr bwMode="gray">
          <a:xfrm>
            <a:off x="919163" y="3470275"/>
            <a:ext cx="1357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4995651-5C16-4CA2-9126-CE71EE3295E2}" type="datetime'''C''o''''llabora''''t''e'' ''o''''n'''' F''i''les'''''''">
              <a:rPr lang="en-US" altLang="en-US" smtClean="0"/>
              <a:pPr/>
              <a:t>Collaborate on Files</a:t>
            </a:fld>
            <a:endParaRPr lang="en-US" dirty="0">
              <a:sym typeface="+mn-lt"/>
            </a:endParaRPr>
          </a:p>
        </p:txBody>
      </p:sp>
      <p:sp>
        <p:nvSpPr>
          <p:cNvPr id="77" name="Text Placeholder 3">
            <a:extLst>
              <a:ext uri="{FF2B5EF4-FFF2-40B4-BE49-F238E27FC236}">
                <a16:creationId xmlns:a16="http://schemas.microsoft.com/office/drawing/2014/main" id="{8FBA7690-1093-4BB9-A763-10138C97E01E}"/>
              </a:ext>
            </a:extLst>
          </p:cNvPr>
          <p:cNvSpPr>
            <a:spLocks noGrp="1"/>
          </p:cNvSpPr>
          <p:nvPr>
            <p:custDataLst>
              <p:tags r:id="rId10"/>
            </p:custDataLst>
          </p:nvPr>
        </p:nvSpPr>
        <p:spPr bwMode="gray">
          <a:xfrm>
            <a:off x="520700" y="5243513"/>
            <a:ext cx="17557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B1CBBAB-8F1E-408C-97F8-2B6FCF7025D1}" type="datetime'M''an''age'' ''''Ta''sks (''''''e''.''''''''g. Tr''e''llo'')'">
              <a:rPr lang="en-US" altLang="en-US" smtClean="0"/>
              <a:pPr/>
              <a:t>Manage Tasks (e.g. Trello)</a:t>
            </a:fld>
            <a:endParaRPr lang="en-US" dirty="0">
              <a:sym typeface="+mn-lt"/>
            </a:endParaRPr>
          </a:p>
        </p:txBody>
      </p:sp>
      <p:sp>
        <p:nvSpPr>
          <p:cNvPr id="148" name="Text Placeholder 3">
            <a:extLst>
              <a:ext uri="{FF2B5EF4-FFF2-40B4-BE49-F238E27FC236}">
                <a16:creationId xmlns:a16="http://schemas.microsoft.com/office/drawing/2014/main" id="{9940A800-93F6-48FF-A7F0-AB90EB54D881}"/>
              </a:ext>
            </a:extLst>
          </p:cNvPr>
          <p:cNvSpPr>
            <a:spLocks noGrp="1"/>
          </p:cNvSpPr>
          <p:nvPr>
            <p:custDataLst>
              <p:tags r:id="rId11"/>
            </p:custDataLst>
          </p:nvPr>
        </p:nvSpPr>
        <p:spPr bwMode="gray">
          <a:xfrm>
            <a:off x="619125" y="4060825"/>
            <a:ext cx="16573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15CC358-AD1A-44EF-9E0F-54B71E7DCB35}" type="datetime'Cha''t (I''ns''''''ta''n''t'' M''''es''''''sa''g''in''''g)'">
              <a:rPr lang="en-US" altLang="en-US" smtClean="0"/>
              <a:pPr/>
              <a:t>Chat (Instant Messaging)</a:t>
            </a:fld>
            <a:endParaRPr lang="en-US" dirty="0">
              <a:sym typeface="+mn-lt"/>
            </a:endParaRPr>
          </a:p>
        </p:txBody>
      </p:sp>
      <p:sp>
        <p:nvSpPr>
          <p:cNvPr id="75" name="Rectangle 74"/>
          <p:cNvSpPr/>
          <p:nvPr>
            <p:custDataLst>
              <p:tags r:id="rId12"/>
            </p:custDataLst>
          </p:nvPr>
        </p:nvSpPr>
        <p:spPr bwMode="gray">
          <a:xfrm>
            <a:off x="4111625" y="613727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13"/>
            </p:custDataLst>
          </p:nvPr>
        </p:nvSpPr>
        <p:spPr bwMode="gray">
          <a:xfrm>
            <a:off x="4943475" y="61372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Text Placeholder 3"/>
          <p:cNvSpPr>
            <a:spLocks noGrp="1"/>
          </p:cNvSpPr>
          <p:nvPr>
            <p:custDataLst>
              <p:tags r:id="rId14"/>
            </p:custDataLst>
          </p:nvPr>
        </p:nvSpPr>
        <p:spPr bwMode="gray">
          <a:xfrm>
            <a:off x="4376738" y="6118225"/>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960CA30-13A3-441C-888E-DD77A6786732}" type="datetime'D''''''''o'''''''''''''''''''''' ''''U''''s''''''e'''''''''''">
              <a:rPr lang="en-US" altLang="en-US" smtClean="0"/>
              <a:pPr/>
              <a:t>Do Use</a:t>
            </a:fld>
            <a:endParaRPr lang="en-US" dirty="0">
              <a:sym typeface="+mn-lt"/>
            </a:endParaRPr>
          </a:p>
        </p:txBody>
      </p:sp>
      <p:sp>
        <p:nvSpPr>
          <p:cNvPr id="65" name="Text Placeholder 3"/>
          <p:cNvSpPr>
            <a:spLocks noGrp="1"/>
          </p:cNvSpPr>
          <p:nvPr>
            <p:custDataLst>
              <p:tags r:id="rId15"/>
            </p:custDataLst>
          </p:nvPr>
        </p:nvSpPr>
        <p:spPr bwMode="gray">
          <a:xfrm>
            <a:off x="5208588" y="6118225"/>
            <a:ext cx="12461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6853F82-72E7-4DB4-9163-0CAE86302D63}" type="datetime'No''t'' n''''''''e''e''d''e''d ''''to ''''u''s''''''''e'''">
              <a:rPr lang="en-US" altLang="en-US" smtClean="0"/>
              <a:pPr/>
              <a:t>Not needed to use</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5754" y="1603107"/>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respondents use the following with clients -</a:t>
            </a:r>
            <a:endParaRPr lang="en-GB" sz="1200" b="1" dirty="0">
              <a:solidFill>
                <a:srgbClr val="295E7E"/>
              </a:solidFill>
            </a:endParaRPr>
          </a:p>
        </p:txBody>
      </p:sp>
      <p:sp>
        <p:nvSpPr>
          <p:cNvPr id="32" name="Rectangle 31">
            <a:extLst>
              <a:ext uri="{FF2B5EF4-FFF2-40B4-BE49-F238E27FC236}">
                <a16:creationId xmlns:a16="http://schemas.microsoft.com/office/drawing/2014/main" id="{3FA6E140-A3AA-4037-98E3-87334F8DF06A}"/>
              </a:ext>
            </a:extLst>
          </p:cNvPr>
          <p:cNvSpPr/>
          <p:nvPr/>
        </p:nvSpPr>
        <p:spPr>
          <a:xfrm>
            <a:off x="978670" y="1013114"/>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CT Respondents</a:t>
            </a:r>
          </a:p>
        </p:txBody>
      </p:sp>
      <p:grpSp>
        <p:nvGrpSpPr>
          <p:cNvPr id="23" name="Group 22">
            <a:extLst>
              <a:ext uri="{FF2B5EF4-FFF2-40B4-BE49-F238E27FC236}">
                <a16:creationId xmlns:a16="http://schemas.microsoft.com/office/drawing/2014/main" id="{C5556F78-CF6C-4EEF-B0CE-59520F1C29E8}"/>
              </a:ext>
            </a:extLst>
          </p:cNvPr>
          <p:cNvGrpSpPr>
            <a:grpSpLocks noChangeAspect="1"/>
          </p:cNvGrpSpPr>
          <p:nvPr/>
        </p:nvGrpSpPr>
        <p:grpSpPr>
          <a:xfrm>
            <a:off x="554261" y="939560"/>
            <a:ext cx="457200" cy="457200"/>
            <a:chOff x="5867400" y="3200400"/>
            <a:chExt cx="457200" cy="457200"/>
          </a:xfrm>
        </p:grpSpPr>
        <p:sp>
          <p:nvSpPr>
            <p:cNvPr id="24" name="AutoShape 43">
              <a:extLst>
                <a:ext uri="{FF2B5EF4-FFF2-40B4-BE49-F238E27FC236}">
                  <a16:creationId xmlns:a16="http://schemas.microsoft.com/office/drawing/2014/main" id="{30DBA529-EDD0-4F5B-8C6A-43250F1F5AE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7">
              <a:extLst>
                <a:ext uri="{FF2B5EF4-FFF2-40B4-BE49-F238E27FC236}">
                  <a16:creationId xmlns:a16="http://schemas.microsoft.com/office/drawing/2014/main" id="{46251A67-FC2B-4770-9C4F-10DFEFA0812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6" name="Rectangle 25">
            <a:extLst>
              <a:ext uri="{FF2B5EF4-FFF2-40B4-BE49-F238E27FC236}">
                <a16:creationId xmlns:a16="http://schemas.microsoft.com/office/drawing/2014/main" id="{DE6784B0-74FA-43AF-9AB7-B6B94BD2065F}"/>
              </a:ext>
            </a:extLst>
          </p:cNvPr>
          <p:cNvSpPr/>
          <p:nvPr/>
        </p:nvSpPr>
        <p:spPr>
          <a:xfrm>
            <a:off x="8098631" y="5644725"/>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2"/>
    </p:custDataLst>
    <p:extLst>
      <p:ext uri="{BB962C8B-B14F-4D97-AF65-F5344CB8AC3E}">
        <p14:creationId xmlns:p14="http://schemas.microsoft.com/office/powerpoint/2010/main" val="2906961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115886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216"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9" name="Rectangle 108">
            <a:extLst>
              <a:ext uri="{FF2B5EF4-FFF2-40B4-BE49-F238E27FC236}">
                <a16:creationId xmlns:a16="http://schemas.microsoft.com/office/drawing/2014/main" id="{7597D901-C37E-4B5A-9076-DBF3B96CA895}"/>
              </a:ext>
            </a:extLst>
          </p:cNvPr>
          <p:cNvSpPr/>
          <p:nvPr/>
        </p:nvSpPr>
        <p:spPr>
          <a:xfrm>
            <a:off x="4690959" y="4565490"/>
            <a:ext cx="2276372" cy="423497"/>
          </a:xfrm>
          <a:prstGeom prst="rect">
            <a:avLst/>
          </a:prstGeom>
          <a:solidFill>
            <a:srgbClr val="F2F2F2">
              <a:alpha val="50000"/>
            </a:srgbClr>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7" name="Rectangle 106">
            <a:extLst>
              <a:ext uri="{FF2B5EF4-FFF2-40B4-BE49-F238E27FC236}">
                <a16:creationId xmlns:a16="http://schemas.microsoft.com/office/drawing/2014/main" id="{208DAA97-C7DD-470E-856A-6A8A45CDAE98}"/>
              </a:ext>
            </a:extLst>
          </p:cNvPr>
          <p:cNvSpPr/>
          <p:nvPr/>
        </p:nvSpPr>
        <p:spPr>
          <a:xfrm>
            <a:off x="2414587" y="4104486"/>
            <a:ext cx="4552743" cy="450050"/>
          </a:xfrm>
          <a:prstGeom prst="rect">
            <a:avLst/>
          </a:prstGeom>
          <a:solidFill>
            <a:srgbClr val="F2F2F2">
              <a:alpha val="50000"/>
            </a:srgbClr>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28" name="table_type_name">
            <a:extLst>
              <a:ext uri="{FF2B5EF4-FFF2-40B4-BE49-F238E27FC236}">
                <a16:creationId xmlns:a16="http://schemas.microsoft.com/office/drawing/2014/main" id="{EE72BB9C-5F2F-40B9-9077-5434C042C6B9}"/>
              </a:ext>
            </a:extLst>
          </p:cNvPr>
          <p:cNvGraphicFramePr>
            <a:graphicFrameLocks noGrp="1"/>
          </p:cNvGraphicFramePr>
          <p:nvPr>
            <p:extLst>
              <p:ext uri="{D42A27DB-BD31-4B8C-83A1-F6EECF244321}">
                <p14:modId xmlns:p14="http://schemas.microsoft.com/office/powerpoint/2010/main" val="1551573780"/>
              </p:ext>
            </p:extLst>
          </p:nvPr>
        </p:nvGraphicFramePr>
        <p:xfrm>
          <a:off x="548801" y="1653112"/>
          <a:ext cx="11014547" cy="3777990"/>
        </p:xfrm>
        <a:graphic>
          <a:graphicData uri="http://schemas.openxmlformats.org/drawingml/2006/table">
            <a:tbl>
              <a:tblPr/>
              <a:tblGrid>
                <a:gridCol w="1840403">
                  <a:extLst>
                    <a:ext uri="{9D8B030D-6E8A-4147-A177-3AD203B41FA5}">
                      <a16:colId xmlns:a16="http://schemas.microsoft.com/office/drawing/2014/main" val="20001"/>
                    </a:ext>
                  </a:extLst>
                </a:gridCol>
                <a:gridCol w="1146768">
                  <a:extLst>
                    <a:ext uri="{9D8B030D-6E8A-4147-A177-3AD203B41FA5}">
                      <a16:colId xmlns:a16="http://schemas.microsoft.com/office/drawing/2014/main" val="20002"/>
                    </a:ext>
                  </a:extLst>
                </a:gridCol>
                <a:gridCol w="1146768">
                  <a:extLst>
                    <a:ext uri="{9D8B030D-6E8A-4147-A177-3AD203B41FA5}">
                      <a16:colId xmlns:a16="http://schemas.microsoft.com/office/drawing/2014/main" val="20004"/>
                    </a:ext>
                  </a:extLst>
                </a:gridCol>
                <a:gridCol w="1146768">
                  <a:extLst>
                    <a:ext uri="{9D8B030D-6E8A-4147-A177-3AD203B41FA5}">
                      <a16:colId xmlns:a16="http://schemas.microsoft.com/office/drawing/2014/main" val="20006"/>
                    </a:ext>
                  </a:extLst>
                </a:gridCol>
                <a:gridCol w="1146768">
                  <a:extLst>
                    <a:ext uri="{9D8B030D-6E8A-4147-A177-3AD203B41FA5}">
                      <a16:colId xmlns:a16="http://schemas.microsoft.com/office/drawing/2014/main" val="20008"/>
                    </a:ext>
                  </a:extLst>
                </a:gridCol>
                <a:gridCol w="1146768">
                  <a:extLst>
                    <a:ext uri="{9D8B030D-6E8A-4147-A177-3AD203B41FA5}">
                      <a16:colId xmlns:a16="http://schemas.microsoft.com/office/drawing/2014/main" val="20010"/>
                    </a:ext>
                  </a:extLst>
                </a:gridCol>
                <a:gridCol w="1146768">
                  <a:extLst>
                    <a:ext uri="{9D8B030D-6E8A-4147-A177-3AD203B41FA5}">
                      <a16:colId xmlns:a16="http://schemas.microsoft.com/office/drawing/2014/main" val="333694880"/>
                    </a:ext>
                  </a:extLst>
                </a:gridCol>
                <a:gridCol w="1146768">
                  <a:extLst>
                    <a:ext uri="{9D8B030D-6E8A-4147-A177-3AD203B41FA5}">
                      <a16:colId xmlns:a16="http://schemas.microsoft.com/office/drawing/2014/main" val="20011"/>
                    </a:ext>
                  </a:extLst>
                </a:gridCol>
                <a:gridCol w="1146768">
                  <a:extLst>
                    <a:ext uri="{9D8B030D-6E8A-4147-A177-3AD203B41FA5}">
                      <a16:colId xmlns:a16="http://schemas.microsoft.com/office/drawing/2014/main" val="2567777671"/>
                    </a:ext>
                  </a:extLst>
                </a:gridCol>
              </a:tblGrid>
              <a:tr h="71980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MDP</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Partner</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Senior ECT</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Principal</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Project Leader</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Consultant</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ssociat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ll CT</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7105">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8">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rgbClr val="295E7E"/>
                          </a:solidFill>
                          <a:effectLst/>
                          <a:latin typeface="+mn-lt"/>
                          <a:cs typeface="Arial" charset="0"/>
                          <a:sym typeface="Trebuchet MS" panose="020B0603020202020204" pitchFamily="34" charset="0"/>
                        </a:rPr>
                        <a:t>% use with clients</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BA74"/>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41847">
                <a:tc>
                  <a:txBody>
                    <a:bodyPr/>
                    <a:lstStyle/>
                    <a:p>
                      <a:pPr algn="l" fontAlgn="b"/>
                      <a:r>
                        <a:rPr lang="en-GB" sz="1200" b="0" i="0" u="none" strike="noStrike" dirty="0">
                          <a:effectLst/>
                          <a:latin typeface="+mj-lt"/>
                        </a:rPr>
                        <a:t>Video Conferencing</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99</a:t>
                      </a:r>
                    </a:p>
                  </a:txBody>
                  <a:tcPr marL="6350" marR="6350" marT="6350" marB="0" anchor="ct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1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1847">
                <a:tc>
                  <a:txBody>
                    <a:bodyPr/>
                    <a:lstStyle/>
                    <a:p>
                      <a:pPr algn="l" fontAlgn="b"/>
                      <a:r>
                        <a:rPr lang="en-GB" sz="1200" b="0" i="0" u="none" strike="noStrike" dirty="0">
                          <a:effectLst/>
                          <a:latin typeface="+mj-lt"/>
                        </a:rPr>
                        <a:t>Share Files</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96</a:t>
                      </a:r>
                    </a:p>
                  </a:txBody>
                  <a:tcPr marL="6350" marR="6350" marT="6350" marB="0" anchor="ct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1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9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72003499"/>
                  </a:ext>
                </a:extLst>
              </a:tr>
              <a:tr h="441847">
                <a:tc>
                  <a:txBody>
                    <a:bodyPr/>
                    <a:lstStyle/>
                    <a:p>
                      <a:pPr algn="l" fontAlgn="b"/>
                      <a:r>
                        <a:rPr lang="en-GB" sz="1200" b="0" i="0" u="none" strike="noStrike" dirty="0">
                          <a:effectLst/>
                          <a:latin typeface="+mj-lt"/>
                        </a:rPr>
                        <a:t>Collaborate on Files</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77</a:t>
                      </a:r>
                    </a:p>
                  </a:txBody>
                  <a:tcPr marL="6350" marR="6350" marT="6350" marB="0" anchor="ct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8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8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7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7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7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44213889"/>
                  </a:ext>
                </a:extLst>
              </a:tr>
              <a:tr h="441847">
                <a:tc>
                  <a:txBody>
                    <a:bodyPr/>
                    <a:lstStyle/>
                    <a:p>
                      <a:pPr algn="l" fontAlgn="b"/>
                      <a:r>
                        <a:rPr lang="en-GB" sz="1200" b="0" i="0" u="none" strike="noStrike" dirty="0">
                          <a:effectLst/>
                          <a:latin typeface="+mj-lt"/>
                        </a:rPr>
                        <a:t>Chat (Instant Messaging)</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74</a:t>
                      </a:r>
                    </a:p>
                  </a:txBody>
                  <a:tcPr marL="6350" marR="6350" marT="6350" marB="0" anchor="ct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7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7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6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6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6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7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69790908"/>
                  </a:ext>
                </a:extLst>
              </a:tr>
              <a:tr h="441847">
                <a:tc>
                  <a:txBody>
                    <a:bodyPr/>
                    <a:lstStyle/>
                    <a:p>
                      <a:pPr algn="l" fontAlgn="b"/>
                      <a:r>
                        <a:rPr lang="en-GB" sz="1200" b="0" i="0" u="none" strike="noStrike" dirty="0">
                          <a:effectLst/>
                          <a:latin typeface="+mj-lt"/>
                        </a:rPr>
                        <a:t>Whiteboard (Digitally)</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68</a:t>
                      </a:r>
                    </a:p>
                  </a:txBody>
                  <a:tcPr marL="6350" marR="6350" marT="6350" marB="0" anchor="ct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6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7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6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5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5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6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90466187"/>
                  </a:ext>
                </a:extLst>
              </a:tr>
              <a:tr h="441847">
                <a:tc>
                  <a:txBody>
                    <a:bodyPr/>
                    <a:lstStyle/>
                    <a:p>
                      <a:pPr algn="l" fontAlgn="b"/>
                      <a:r>
                        <a:rPr lang="en-GB" sz="1200" b="0" i="0" u="none" strike="noStrike" dirty="0">
                          <a:effectLst/>
                          <a:latin typeface="+mj-lt"/>
                        </a:rPr>
                        <a:t>Manage Tasks (e.g. Trello)</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66</a:t>
                      </a:r>
                    </a:p>
                  </a:txBody>
                  <a:tcPr marL="6350" marR="6350" marT="6350" marB="0" anchor="ct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6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5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5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a:ln>
                            <a:noFill/>
                          </a:ln>
                          <a:solidFill>
                            <a:srgbClr val="575757"/>
                          </a:solidFill>
                          <a:effectLst/>
                          <a:latin typeface="+mn-lt"/>
                          <a:ea typeface="+mn-ea"/>
                          <a:cs typeface="Arial" charset="0"/>
                        </a:rPr>
                        <a:t>4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5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200" b="0" i="0" u="none" strike="noStrike" kern="1200" cap="none" normalizeH="0" baseline="0" dirty="0">
                          <a:ln>
                            <a:noFill/>
                          </a:ln>
                          <a:solidFill>
                            <a:srgbClr val="575757"/>
                          </a:solidFill>
                          <a:effectLst/>
                          <a:latin typeface="+mn-lt"/>
                          <a:ea typeface="+mn-ea"/>
                          <a:cs typeface="Arial" charset="0"/>
                        </a:rPr>
                        <a:t>5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4549905"/>
                  </a:ext>
                </a:extLst>
              </a:tr>
            </a:tbl>
          </a:graphicData>
        </a:graphic>
      </p:graphicFrame>
      <p:sp>
        <p:nvSpPr>
          <p:cNvPr id="66" name="Rectangle 65">
            <a:extLst>
              <a:ext uri="{FF2B5EF4-FFF2-40B4-BE49-F238E27FC236}">
                <a16:creationId xmlns:a16="http://schemas.microsoft.com/office/drawing/2014/main" id="{CE61D338-87ED-4847-A06F-AF3320362FF3}"/>
              </a:ext>
            </a:extLst>
          </p:cNvPr>
          <p:cNvSpPr/>
          <p:nvPr/>
        </p:nvSpPr>
        <p:spPr>
          <a:xfrm>
            <a:off x="2414587" y="2779756"/>
            <a:ext cx="9136907" cy="1312846"/>
          </a:xfrm>
          <a:prstGeom prst="rect">
            <a:avLst/>
          </a:prstGeom>
          <a:solidFill>
            <a:srgbClr val="30C1D7">
              <a:alpha val="10000"/>
            </a:srgbClr>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vert="horz"/>
          <a:lstStyle/>
          <a:p>
            <a:r>
              <a:rPr lang="en-US" dirty="0">
                <a:solidFill>
                  <a:srgbClr val="295E7E"/>
                </a:solidFill>
              </a:rPr>
              <a:t>CT satisfaction with BCG IT Tools when working with clients – level of use</a:t>
            </a:r>
          </a:p>
        </p:txBody>
      </p:sp>
      <p:sp>
        <p:nvSpPr>
          <p:cNvPr id="51" name="Rectangle 50"/>
          <p:cNvSpPr/>
          <p:nvPr/>
        </p:nvSpPr>
        <p:spPr>
          <a:xfrm>
            <a:off x="1039353" y="980618"/>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CT Cohort – Role Level</a:t>
            </a:r>
          </a:p>
        </p:txBody>
      </p:sp>
      <p:sp>
        <p:nvSpPr>
          <p:cNvPr id="29" name="Rectangle 28">
            <a:extLst>
              <a:ext uri="{FF2B5EF4-FFF2-40B4-BE49-F238E27FC236}">
                <a16:creationId xmlns:a16="http://schemas.microsoft.com/office/drawing/2014/main" id="{E2632F75-8A2D-472B-A230-5BADCF1EF82D}"/>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a:extLst>
              <a:ext uri="{FF2B5EF4-FFF2-40B4-BE49-F238E27FC236}">
                <a16:creationId xmlns:a16="http://schemas.microsoft.com/office/drawing/2014/main" id="{39367EE4-92A1-4387-8365-828A61AEADB5}"/>
              </a:ext>
            </a:extLst>
          </p:cNvPr>
          <p:cNvSpPr/>
          <p:nvPr/>
        </p:nvSpPr>
        <p:spPr>
          <a:xfrm>
            <a:off x="219075" y="5980209"/>
            <a:ext cx="11725275"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575757"/>
                </a:solidFill>
                <a:cs typeface="Arial" pitchFamily="34" charset="0"/>
              </a:rPr>
              <a:t>Video conferencing &amp; sharing files continue to be most used across all roles, followed by collaborating on files. </a:t>
            </a:r>
          </a:p>
          <a:p>
            <a:pPr algn="ctr"/>
            <a:r>
              <a:rPr lang="en-GB" dirty="0">
                <a:solidFill>
                  <a:srgbClr val="575757"/>
                </a:solidFill>
                <a:cs typeface="Arial" pitchFamily="34" charset="0"/>
              </a:rPr>
              <a:t>Senior roles use chat &amp; whiteboarding more.</a:t>
            </a:r>
          </a:p>
        </p:txBody>
      </p:sp>
      <p:sp>
        <p:nvSpPr>
          <p:cNvPr id="38" name="Oval 20">
            <a:extLst>
              <a:ext uri="{FF2B5EF4-FFF2-40B4-BE49-F238E27FC236}">
                <a16:creationId xmlns:a16="http://schemas.microsoft.com/office/drawing/2014/main" id="{2B486312-9E60-4CD8-B78E-CD1B8AB81EC3}"/>
              </a:ext>
            </a:extLst>
          </p:cNvPr>
          <p:cNvSpPr>
            <a:spLocks noChangeAspect="1" noChangeArrowheads="1"/>
          </p:cNvSpPr>
          <p:nvPr/>
        </p:nvSpPr>
        <p:spPr bwMode="auto">
          <a:xfrm>
            <a:off x="5955978" y="508077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39" name="Oval 20">
            <a:extLst>
              <a:ext uri="{FF2B5EF4-FFF2-40B4-BE49-F238E27FC236}">
                <a16:creationId xmlns:a16="http://schemas.microsoft.com/office/drawing/2014/main" id="{D1D97C4F-4BA4-421A-915B-4F93798896FB}"/>
              </a:ext>
            </a:extLst>
          </p:cNvPr>
          <p:cNvSpPr>
            <a:spLocks noChangeAspect="1" noChangeArrowheads="1"/>
          </p:cNvSpPr>
          <p:nvPr/>
        </p:nvSpPr>
        <p:spPr bwMode="auto">
          <a:xfrm>
            <a:off x="2567587" y="423714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40" name="Oval 20">
            <a:extLst>
              <a:ext uri="{FF2B5EF4-FFF2-40B4-BE49-F238E27FC236}">
                <a16:creationId xmlns:a16="http://schemas.microsoft.com/office/drawing/2014/main" id="{0AEBF34E-01A3-4DC9-81AA-282EC521FC98}"/>
              </a:ext>
            </a:extLst>
          </p:cNvPr>
          <p:cNvSpPr>
            <a:spLocks noChangeAspect="1" noChangeArrowheads="1"/>
          </p:cNvSpPr>
          <p:nvPr/>
        </p:nvSpPr>
        <p:spPr bwMode="auto">
          <a:xfrm>
            <a:off x="2567588" y="4651871"/>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41" name="Oval 20">
            <a:extLst>
              <a:ext uri="{FF2B5EF4-FFF2-40B4-BE49-F238E27FC236}">
                <a16:creationId xmlns:a16="http://schemas.microsoft.com/office/drawing/2014/main" id="{7C93E036-C1B4-47F5-B1AD-7677F895FDC8}"/>
              </a:ext>
            </a:extLst>
          </p:cNvPr>
          <p:cNvSpPr>
            <a:spLocks noChangeAspect="1" noChangeArrowheads="1"/>
          </p:cNvSpPr>
          <p:nvPr/>
        </p:nvSpPr>
        <p:spPr bwMode="auto">
          <a:xfrm>
            <a:off x="2567588" y="380533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42" name="Oval 20">
            <a:extLst>
              <a:ext uri="{FF2B5EF4-FFF2-40B4-BE49-F238E27FC236}">
                <a16:creationId xmlns:a16="http://schemas.microsoft.com/office/drawing/2014/main" id="{4127E519-E2EA-46F6-BCFF-DA885D4249E4}"/>
              </a:ext>
            </a:extLst>
          </p:cNvPr>
          <p:cNvSpPr>
            <a:spLocks noChangeAspect="1" noChangeArrowheads="1"/>
          </p:cNvSpPr>
          <p:nvPr/>
        </p:nvSpPr>
        <p:spPr bwMode="auto">
          <a:xfrm>
            <a:off x="2567589" y="3365004"/>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43" name="Oval 20">
            <a:extLst>
              <a:ext uri="{FF2B5EF4-FFF2-40B4-BE49-F238E27FC236}">
                <a16:creationId xmlns:a16="http://schemas.microsoft.com/office/drawing/2014/main" id="{7AC6D6A4-94CD-4598-B723-027B58A07F40}"/>
              </a:ext>
            </a:extLst>
          </p:cNvPr>
          <p:cNvSpPr>
            <a:spLocks noChangeAspect="1" noChangeArrowheads="1"/>
          </p:cNvSpPr>
          <p:nvPr/>
        </p:nvSpPr>
        <p:spPr bwMode="auto">
          <a:xfrm>
            <a:off x="2567586" y="291499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61" name="Oval 20">
            <a:extLst>
              <a:ext uri="{FF2B5EF4-FFF2-40B4-BE49-F238E27FC236}">
                <a16:creationId xmlns:a16="http://schemas.microsoft.com/office/drawing/2014/main" id="{FBF98A59-89C0-482D-81F3-03D18B003216}"/>
              </a:ext>
            </a:extLst>
          </p:cNvPr>
          <p:cNvSpPr>
            <a:spLocks noChangeAspect="1" noChangeArrowheads="1"/>
          </p:cNvSpPr>
          <p:nvPr/>
        </p:nvSpPr>
        <p:spPr bwMode="auto">
          <a:xfrm>
            <a:off x="3697052" y="334437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62" name="Oval 20">
            <a:extLst>
              <a:ext uri="{FF2B5EF4-FFF2-40B4-BE49-F238E27FC236}">
                <a16:creationId xmlns:a16="http://schemas.microsoft.com/office/drawing/2014/main" id="{2ED5A238-B6D7-42EC-A2A9-4C06A65418BA}"/>
              </a:ext>
            </a:extLst>
          </p:cNvPr>
          <p:cNvSpPr>
            <a:spLocks noChangeAspect="1" noChangeArrowheads="1"/>
          </p:cNvSpPr>
          <p:nvPr/>
        </p:nvSpPr>
        <p:spPr bwMode="auto">
          <a:xfrm>
            <a:off x="3697052" y="2925568"/>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63" name="Oval 20">
            <a:extLst>
              <a:ext uri="{FF2B5EF4-FFF2-40B4-BE49-F238E27FC236}">
                <a16:creationId xmlns:a16="http://schemas.microsoft.com/office/drawing/2014/main" id="{75F3FAA0-FB52-44A4-92AB-1097F72FBCF9}"/>
              </a:ext>
            </a:extLst>
          </p:cNvPr>
          <p:cNvSpPr>
            <a:spLocks noChangeAspect="1" noChangeArrowheads="1"/>
          </p:cNvSpPr>
          <p:nvPr/>
        </p:nvSpPr>
        <p:spPr bwMode="auto">
          <a:xfrm>
            <a:off x="3697052" y="380736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64" name="Oval 20">
            <a:extLst>
              <a:ext uri="{FF2B5EF4-FFF2-40B4-BE49-F238E27FC236}">
                <a16:creationId xmlns:a16="http://schemas.microsoft.com/office/drawing/2014/main" id="{483A4F48-1E04-4843-A4CD-98C9DCCC117C}"/>
              </a:ext>
            </a:extLst>
          </p:cNvPr>
          <p:cNvSpPr>
            <a:spLocks noChangeAspect="1" noChangeArrowheads="1"/>
          </p:cNvSpPr>
          <p:nvPr/>
        </p:nvSpPr>
        <p:spPr bwMode="auto">
          <a:xfrm>
            <a:off x="3697052" y="4652828"/>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65" name="Oval 20">
            <a:extLst>
              <a:ext uri="{FF2B5EF4-FFF2-40B4-BE49-F238E27FC236}">
                <a16:creationId xmlns:a16="http://schemas.microsoft.com/office/drawing/2014/main" id="{BA257CFD-D0F3-4CEC-A1EA-B3FEFAFC0EE4}"/>
              </a:ext>
            </a:extLst>
          </p:cNvPr>
          <p:cNvSpPr>
            <a:spLocks noChangeAspect="1" noChangeArrowheads="1"/>
          </p:cNvSpPr>
          <p:nvPr/>
        </p:nvSpPr>
        <p:spPr bwMode="auto">
          <a:xfrm>
            <a:off x="3697052" y="509977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67" name="Oval 20">
            <a:extLst>
              <a:ext uri="{FF2B5EF4-FFF2-40B4-BE49-F238E27FC236}">
                <a16:creationId xmlns:a16="http://schemas.microsoft.com/office/drawing/2014/main" id="{926FE794-A7BC-46FA-9232-4600443ECEAE}"/>
              </a:ext>
            </a:extLst>
          </p:cNvPr>
          <p:cNvSpPr>
            <a:spLocks noChangeAspect="1" noChangeArrowheads="1"/>
          </p:cNvSpPr>
          <p:nvPr/>
        </p:nvSpPr>
        <p:spPr bwMode="auto">
          <a:xfrm>
            <a:off x="3697052" y="424160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68" name="Oval 20">
            <a:extLst>
              <a:ext uri="{FF2B5EF4-FFF2-40B4-BE49-F238E27FC236}">
                <a16:creationId xmlns:a16="http://schemas.microsoft.com/office/drawing/2014/main" id="{C2BD60C0-DF71-4501-A397-EC1DAC4ECA4E}"/>
              </a:ext>
            </a:extLst>
          </p:cNvPr>
          <p:cNvSpPr>
            <a:spLocks noChangeAspect="1" noChangeArrowheads="1"/>
          </p:cNvSpPr>
          <p:nvPr/>
        </p:nvSpPr>
        <p:spPr bwMode="auto">
          <a:xfrm>
            <a:off x="4826515" y="2906781"/>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69" name="Oval 20">
            <a:extLst>
              <a:ext uri="{FF2B5EF4-FFF2-40B4-BE49-F238E27FC236}">
                <a16:creationId xmlns:a16="http://schemas.microsoft.com/office/drawing/2014/main" id="{48B880FA-1419-4392-856E-C72311BAD221}"/>
              </a:ext>
            </a:extLst>
          </p:cNvPr>
          <p:cNvSpPr>
            <a:spLocks noChangeAspect="1" noChangeArrowheads="1"/>
          </p:cNvSpPr>
          <p:nvPr/>
        </p:nvSpPr>
        <p:spPr bwMode="auto">
          <a:xfrm>
            <a:off x="4811137" y="334961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70" name="Oval 20">
            <a:extLst>
              <a:ext uri="{FF2B5EF4-FFF2-40B4-BE49-F238E27FC236}">
                <a16:creationId xmlns:a16="http://schemas.microsoft.com/office/drawing/2014/main" id="{A37A25EB-5B8C-414C-B32D-D960C7340AB6}"/>
              </a:ext>
            </a:extLst>
          </p:cNvPr>
          <p:cNvSpPr>
            <a:spLocks noChangeAspect="1" noChangeArrowheads="1"/>
          </p:cNvSpPr>
          <p:nvPr/>
        </p:nvSpPr>
        <p:spPr bwMode="auto">
          <a:xfrm>
            <a:off x="4826515" y="380641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71" name="Oval 20">
            <a:extLst>
              <a:ext uri="{FF2B5EF4-FFF2-40B4-BE49-F238E27FC236}">
                <a16:creationId xmlns:a16="http://schemas.microsoft.com/office/drawing/2014/main" id="{85C3251E-3ECC-4935-9CCC-4924D88DB6E0}"/>
              </a:ext>
            </a:extLst>
          </p:cNvPr>
          <p:cNvSpPr>
            <a:spLocks noChangeAspect="1" noChangeArrowheads="1"/>
          </p:cNvSpPr>
          <p:nvPr/>
        </p:nvSpPr>
        <p:spPr bwMode="auto">
          <a:xfrm>
            <a:off x="4826515" y="4651871"/>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72" name="Oval 20">
            <a:extLst>
              <a:ext uri="{FF2B5EF4-FFF2-40B4-BE49-F238E27FC236}">
                <a16:creationId xmlns:a16="http://schemas.microsoft.com/office/drawing/2014/main" id="{488F41A0-5349-4164-BBD6-E5255F8DB28F}"/>
              </a:ext>
            </a:extLst>
          </p:cNvPr>
          <p:cNvSpPr>
            <a:spLocks noChangeAspect="1" noChangeArrowheads="1"/>
          </p:cNvSpPr>
          <p:nvPr/>
        </p:nvSpPr>
        <p:spPr bwMode="auto">
          <a:xfrm>
            <a:off x="4826515" y="509881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73" name="Oval 20">
            <a:extLst>
              <a:ext uri="{FF2B5EF4-FFF2-40B4-BE49-F238E27FC236}">
                <a16:creationId xmlns:a16="http://schemas.microsoft.com/office/drawing/2014/main" id="{34633BD7-C2BB-4E31-953D-16ADB7B2BCDB}"/>
              </a:ext>
            </a:extLst>
          </p:cNvPr>
          <p:cNvSpPr>
            <a:spLocks noChangeAspect="1" noChangeArrowheads="1"/>
          </p:cNvSpPr>
          <p:nvPr/>
        </p:nvSpPr>
        <p:spPr bwMode="auto">
          <a:xfrm>
            <a:off x="4826515" y="4240652"/>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74" name="Oval 20">
            <a:extLst>
              <a:ext uri="{FF2B5EF4-FFF2-40B4-BE49-F238E27FC236}">
                <a16:creationId xmlns:a16="http://schemas.microsoft.com/office/drawing/2014/main" id="{5504A96D-1172-47A8-B58B-BEF057781308}"/>
              </a:ext>
            </a:extLst>
          </p:cNvPr>
          <p:cNvSpPr>
            <a:spLocks noChangeAspect="1" noChangeArrowheads="1"/>
          </p:cNvSpPr>
          <p:nvPr/>
        </p:nvSpPr>
        <p:spPr bwMode="auto">
          <a:xfrm>
            <a:off x="2567586" y="5080664"/>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75" name="Oval 20">
            <a:extLst>
              <a:ext uri="{FF2B5EF4-FFF2-40B4-BE49-F238E27FC236}">
                <a16:creationId xmlns:a16="http://schemas.microsoft.com/office/drawing/2014/main" id="{78113229-7C86-48DB-A61B-297BE4289B68}"/>
              </a:ext>
            </a:extLst>
          </p:cNvPr>
          <p:cNvSpPr>
            <a:spLocks noChangeAspect="1" noChangeArrowheads="1"/>
          </p:cNvSpPr>
          <p:nvPr/>
        </p:nvSpPr>
        <p:spPr bwMode="auto">
          <a:xfrm>
            <a:off x="5955978" y="290031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76" name="Oval 20">
            <a:extLst>
              <a:ext uri="{FF2B5EF4-FFF2-40B4-BE49-F238E27FC236}">
                <a16:creationId xmlns:a16="http://schemas.microsoft.com/office/drawing/2014/main" id="{23E2B255-430E-4F6A-8775-893369ACF2BB}"/>
              </a:ext>
            </a:extLst>
          </p:cNvPr>
          <p:cNvSpPr>
            <a:spLocks noChangeAspect="1" noChangeArrowheads="1"/>
          </p:cNvSpPr>
          <p:nvPr/>
        </p:nvSpPr>
        <p:spPr bwMode="auto">
          <a:xfrm>
            <a:off x="5955980" y="335774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77" name="Oval 20">
            <a:extLst>
              <a:ext uri="{FF2B5EF4-FFF2-40B4-BE49-F238E27FC236}">
                <a16:creationId xmlns:a16="http://schemas.microsoft.com/office/drawing/2014/main" id="{FC07586E-A5AF-4A7D-8A0E-4A516DECCC5A}"/>
              </a:ext>
            </a:extLst>
          </p:cNvPr>
          <p:cNvSpPr>
            <a:spLocks noChangeAspect="1" noChangeArrowheads="1"/>
          </p:cNvSpPr>
          <p:nvPr/>
        </p:nvSpPr>
        <p:spPr bwMode="auto">
          <a:xfrm>
            <a:off x="5955979" y="3794258"/>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78" name="Oval 20">
            <a:extLst>
              <a:ext uri="{FF2B5EF4-FFF2-40B4-BE49-F238E27FC236}">
                <a16:creationId xmlns:a16="http://schemas.microsoft.com/office/drawing/2014/main" id="{9D65591D-F4A6-4470-A8B4-DDB3188D9A70}"/>
              </a:ext>
            </a:extLst>
          </p:cNvPr>
          <p:cNvSpPr>
            <a:spLocks noChangeAspect="1" noChangeArrowheads="1"/>
          </p:cNvSpPr>
          <p:nvPr/>
        </p:nvSpPr>
        <p:spPr bwMode="auto">
          <a:xfrm>
            <a:off x="5955978" y="421071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79" name="Oval 20">
            <a:extLst>
              <a:ext uri="{FF2B5EF4-FFF2-40B4-BE49-F238E27FC236}">
                <a16:creationId xmlns:a16="http://schemas.microsoft.com/office/drawing/2014/main" id="{9ABE3C25-CB1A-4F79-BA6A-92EC81035606}"/>
              </a:ext>
            </a:extLst>
          </p:cNvPr>
          <p:cNvSpPr>
            <a:spLocks noChangeAspect="1" noChangeArrowheads="1"/>
          </p:cNvSpPr>
          <p:nvPr/>
        </p:nvSpPr>
        <p:spPr bwMode="auto">
          <a:xfrm>
            <a:off x="5955978" y="466431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80" name="Oval 20">
            <a:extLst>
              <a:ext uri="{FF2B5EF4-FFF2-40B4-BE49-F238E27FC236}">
                <a16:creationId xmlns:a16="http://schemas.microsoft.com/office/drawing/2014/main" id="{E4F54796-0B37-43FC-ACB6-52C7359BD33E}"/>
              </a:ext>
            </a:extLst>
          </p:cNvPr>
          <p:cNvSpPr>
            <a:spLocks noChangeAspect="1" noChangeArrowheads="1"/>
          </p:cNvSpPr>
          <p:nvPr/>
        </p:nvSpPr>
        <p:spPr bwMode="auto">
          <a:xfrm>
            <a:off x="7151240" y="2926203"/>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81" name="Oval 20">
            <a:extLst>
              <a:ext uri="{FF2B5EF4-FFF2-40B4-BE49-F238E27FC236}">
                <a16:creationId xmlns:a16="http://schemas.microsoft.com/office/drawing/2014/main" id="{3610AD37-CBFE-4ED1-BBA8-91392E7A39DE}"/>
              </a:ext>
            </a:extLst>
          </p:cNvPr>
          <p:cNvSpPr>
            <a:spLocks noChangeAspect="1" noChangeArrowheads="1"/>
          </p:cNvSpPr>
          <p:nvPr/>
        </p:nvSpPr>
        <p:spPr bwMode="auto">
          <a:xfrm>
            <a:off x="7151239" y="3345181"/>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82" name="Oval 20">
            <a:extLst>
              <a:ext uri="{FF2B5EF4-FFF2-40B4-BE49-F238E27FC236}">
                <a16:creationId xmlns:a16="http://schemas.microsoft.com/office/drawing/2014/main" id="{6DA45E75-0FB9-4522-9EC7-164F7E175865}"/>
              </a:ext>
            </a:extLst>
          </p:cNvPr>
          <p:cNvSpPr>
            <a:spLocks noChangeAspect="1" noChangeArrowheads="1"/>
          </p:cNvSpPr>
          <p:nvPr/>
        </p:nvSpPr>
        <p:spPr bwMode="auto">
          <a:xfrm>
            <a:off x="7151239" y="4215932"/>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83" name="Oval 20">
            <a:extLst>
              <a:ext uri="{FF2B5EF4-FFF2-40B4-BE49-F238E27FC236}">
                <a16:creationId xmlns:a16="http://schemas.microsoft.com/office/drawing/2014/main" id="{B78DDF02-18D9-4593-B8FE-456D3A91C08D}"/>
              </a:ext>
            </a:extLst>
          </p:cNvPr>
          <p:cNvSpPr>
            <a:spLocks noChangeAspect="1" noChangeArrowheads="1"/>
          </p:cNvSpPr>
          <p:nvPr/>
        </p:nvSpPr>
        <p:spPr bwMode="auto">
          <a:xfrm>
            <a:off x="7151239" y="378055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84" name="Oval 20">
            <a:extLst>
              <a:ext uri="{FF2B5EF4-FFF2-40B4-BE49-F238E27FC236}">
                <a16:creationId xmlns:a16="http://schemas.microsoft.com/office/drawing/2014/main" id="{70F8F841-E615-44A2-A312-F95F340B84DE}"/>
              </a:ext>
            </a:extLst>
          </p:cNvPr>
          <p:cNvSpPr>
            <a:spLocks noChangeAspect="1" noChangeArrowheads="1"/>
          </p:cNvSpPr>
          <p:nvPr/>
        </p:nvSpPr>
        <p:spPr bwMode="auto">
          <a:xfrm>
            <a:off x="7151239" y="507348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85" name="Oval 20">
            <a:extLst>
              <a:ext uri="{FF2B5EF4-FFF2-40B4-BE49-F238E27FC236}">
                <a16:creationId xmlns:a16="http://schemas.microsoft.com/office/drawing/2014/main" id="{6FD41967-D886-468D-BBCA-95D7086A04F5}"/>
              </a:ext>
            </a:extLst>
          </p:cNvPr>
          <p:cNvSpPr>
            <a:spLocks noChangeAspect="1" noChangeArrowheads="1"/>
          </p:cNvSpPr>
          <p:nvPr/>
        </p:nvSpPr>
        <p:spPr bwMode="auto">
          <a:xfrm>
            <a:off x="7151239" y="465112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86" name="Oval 20">
            <a:extLst>
              <a:ext uri="{FF2B5EF4-FFF2-40B4-BE49-F238E27FC236}">
                <a16:creationId xmlns:a16="http://schemas.microsoft.com/office/drawing/2014/main" id="{290CFCA3-8C30-4120-B9D8-13F4E0B95D72}"/>
              </a:ext>
            </a:extLst>
          </p:cNvPr>
          <p:cNvSpPr>
            <a:spLocks noChangeAspect="1" noChangeArrowheads="1"/>
          </p:cNvSpPr>
          <p:nvPr/>
        </p:nvSpPr>
        <p:spPr bwMode="auto">
          <a:xfrm>
            <a:off x="8295464" y="506757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87" name="Oval 20">
            <a:extLst>
              <a:ext uri="{FF2B5EF4-FFF2-40B4-BE49-F238E27FC236}">
                <a16:creationId xmlns:a16="http://schemas.microsoft.com/office/drawing/2014/main" id="{89EACED9-EA57-49D2-B66B-D3D4062100C4}"/>
              </a:ext>
            </a:extLst>
          </p:cNvPr>
          <p:cNvSpPr>
            <a:spLocks noChangeAspect="1" noChangeArrowheads="1"/>
          </p:cNvSpPr>
          <p:nvPr/>
        </p:nvSpPr>
        <p:spPr bwMode="auto">
          <a:xfrm>
            <a:off x="8295467" y="2925568"/>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88" name="Oval 20">
            <a:extLst>
              <a:ext uri="{FF2B5EF4-FFF2-40B4-BE49-F238E27FC236}">
                <a16:creationId xmlns:a16="http://schemas.microsoft.com/office/drawing/2014/main" id="{ABF970F0-4CA2-4ED9-B2DD-E1CF83F3CB9A}"/>
              </a:ext>
            </a:extLst>
          </p:cNvPr>
          <p:cNvSpPr>
            <a:spLocks noChangeAspect="1" noChangeArrowheads="1"/>
          </p:cNvSpPr>
          <p:nvPr/>
        </p:nvSpPr>
        <p:spPr bwMode="auto">
          <a:xfrm>
            <a:off x="8295466" y="334454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89" name="Oval 20">
            <a:extLst>
              <a:ext uri="{FF2B5EF4-FFF2-40B4-BE49-F238E27FC236}">
                <a16:creationId xmlns:a16="http://schemas.microsoft.com/office/drawing/2014/main" id="{34397A76-8A90-4A4E-A193-434C61B2BFAC}"/>
              </a:ext>
            </a:extLst>
          </p:cNvPr>
          <p:cNvSpPr>
            <a:spLocks noChangeAspect="1" noChangeArrowheads="1"/>
          </p:cNvSpPr>
          <p:nvPr/>
        </p:nvSpPr>
        <p:spPr bwMode="auto">
          <a:xfrm>
            <a:off x="8295465" y="378105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90" name="Oval 20">
            <a:extLst>
              <a:ext uri="{FF2B5EF4-FFF2-40B4-BE49-F238E27FC236}">
                <a16:creationId xmlns:a16="http://schemas.microsoft.com/office/drawing/2014/main" id="{40F10847-0B19-4EAA-8F56-8A6C11CF9063}"/>
              </a:ext>
            </a:extLst>
          </p:cNvPr>
          <p:cNvSpPr>
            <a:spLocks noChangeAspect="1" noChangeArrowheads="1"/>
          </p:cNvSpPr>
          <p:nvPr/>
        </p:nvSpPr>
        <p:spPr bwMode="auto">
          <a:xfrm>
            <a:off x="8295464" y="4197516"/>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91" name="Oval 20">
            <a:extLst>
              <a:ext uri="{FF2B5EF4-FFF2-40B4-BE49-F238E27FC236}">
                <a16:creationId xmlns:a16="http://schemas.microsoft.com/office/drawing/2014/main" id="{87BC7A10-23F3-4C52-8A24-74B9B1189A33}"/>
              </a:ext>
            </a:extLst>
          </p:cNvPr>
          <p:cNvSpPr>
            <a:spLocks noChangeAspect="1" noChangeArrowheads="1"/>
          </p:cNvSpPr>
          <p:nvPr/>
        </p:nvSpPr>
        <p:spPr bwMode="auto">
          <a:xfrm>
            <a:off x="8295464" y="465112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92" name="Oval 20">
            <a:extLst>
              <a:ext uri="{FF2B5EF4-FFF2-40B4-BE49-F238E27FC236}">
                <a16:creationId xmlns:a16="http://schemas.microsoft.com/office/drawing/2014/main" id="{CCB9E292-9BD9-4C56-B716-AC4D8B9A8242}"/>
              </a:ext>
            </a:extLst>
          </p:cNvPr>
          <p:cNvSpPr>
            <a:spLocks noChangeAspect="1" noChangeArrowheads="1"/>
          </p:cNvSpPr>
          <p:nvPr/>
        </p:nvSpPr>
        <p:spPr bwMode="auto">
          <a:xfrm>
            <a:off x="9396844" y="4657265"/>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93" name="Oval 20">
            <a:extLst>
              <a:ext uri="{FF2B5EF4-FFF2-40B4-BE49-F238E27FC236}">
                <a16:creationId xmlns:a16="http://schemas.microsoft.com/office/drawing/2014/main" id="{3E06C7FD-265B-4F5B-B03C-942DACA7CB37}"/>
              </a:ext>
            </a:extLst>
          </p:cNvPr>
          <p:cNvSpPr>
            <a:spLocks noChangeAspect="1" noChangeArrowheads="1"/>
          </p:cNvSpPr>
          <p:nvPr/>
        </p:nvSpPr>
        <p:spPr bwMode="auto">
          <a:xfrm>
            <a:off x="9396852" y="293234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94" name="Oval 20">
            <a:extLst>
              <a:ext uri="{FF2B5EF4-FFF2-40B4-BE49-F238E27FC236}">
                <a16:creationId xmlns:a16="http://schemas.microsoft.com/office/drawing/2014/main" id="{85336650-F618-4C4D-9121-5F172BF86BAA}"/>
              </a:ext>
            </a:extLst>
          </p:cNvPr>
          <p:cNvSpPr>
            <a:spLocks noChangeAspect="1" noChangeArrowheads="1"/>
          </p:cNvSpPr>
          <p:nvPr/>
        </p:nvSpPr>
        <p:spPr bwMode="auto">
          <a:xfrm>
            <a:off x="9396851" y="335132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95" name="Oval 20">
            <a:extLst>
              <a:ext uri="{FF2B5EF4-FFF2-40B4-BE49-F238E27FC236}">
                <a16:creationId xmlns:a16="http://schemas.microsoft.com/office/drawing/2014/main" id="{A8A21C3E-3BBA-46DA-8D9B-9F6476E6BB56}"/>
              </a:ext>
            </a:extLst>
          </p:cNvPr>
          <p:cNvSpPr>
            <a:spLocks noChangeAspect="1" noChangeArrowheads="1"/>
          </p:cNvSpPr>
          <p:nvPr/>
        </p:nvSpPr>
        <p:spPr bwMode="auto">
          <a:xfrm>
            <a:off x="9396850" y="378784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96" name="Oval 20">
            <a:extLst>
              <a:ext uri="{FF2B5EF4-FFF2-40B4-BE49-F238E27FC236}">
                <a16:creationId xmlns:a16="http://schemas.microsoft.com/office/drawing/2014/main" id="{D8FF5A97-53F6-40F1-BD39-F100189D94B6}"/>
              </a:ext>
            </a:extLst>
          </p:cNvPr>
          <p:cNvSpPr>
            <a:spLocks noChangeAspect="1" noChangeArrowheads="1"/>
          </p:cNvSpPr>
          <p:nvPr/>
        </p:nvSpPr>
        <p:spPr bwMode="auto">
          <a:xfrm>
            <a:off x="9396849" y="4204297"/>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97" name="Oval 20">
            <a:extLst>
              <a:ext uri="{FF2B5EF4-FFF2-40B4-BE49-F238E27FC236}">
                <a16:creationId xmlns:a16="http://schemas.microsoft.com/office/drawing/2014/main" id="{30D87BE6-E8A2-497A-83F4-E7B89C20DF5C}"/>
              </a:ext>
            </a:extLst>
          </p:cNvPr>
          <p:cNvSpPr>
            <a:spLocks noChangeAspect="1" noChangeArrowheads="1"/>
          </p:cNvSpPr>
          <p:nvPr/>
        </p:nvSpPr>
        <p:spPr bwMode="auto">
          <a:xfrm>
            <a:off x="9396844" y="5085929"/>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99" name="Oval 20">
            <a:extLst>
              <a:ext uri="{FF2B5EF4-FFF2-40B4-BE49-F238E27FC236}">
                <a16:creationId xmlns:a16="http://schemas.microsoft.com/office/drawing/2014/main" id="{8D0B258B-A336-4692-97A4-E001E497E088}"/>
              </a:ext>
            </a:extLst>
          </p:cNvPr>
          <p:cNvSpPr>
            <a:spLocks noChangeAspect="1" noChangeArrowheads="1"/>
          </p:cNvSpPr>
          <p:nvPr/>
        </p:nvSpPr>
        <p:spPr bwMode="auto">
          <a:xfrm>
            <a:off x="536127" y="5463620"/>
            <a:ext cx="187745" cy="187745"/>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x</a:t>
            </a:r>
          </a:p>
        </p:txBody>
      </p:sp>
      <p:sp>
        <p:nvSpPr>
          <p:cNvPr id="2" name="Rectangle 1">
            <a:extLst>
              <a:ext uri="{FF2B5EF4-FFF2-40B4-BE49-F238E27FC236}">
                <a16:creationId xmlns:a16="http://schemas.microsoft.com/office/drawing/2014/main" id="{3DF92C63-4ED6-46CA-BB44-BF3919FFB514}"/>
              </a:ext>
            </a:extLst>
          </p:cNvPr>
          <p:cNvSpPr/>
          <p:nvPr/>
        </p:nvSpPr>
        <p:spPr>
          <a:xfrm>
            <a:off x="723872" y="5431100"/>
            <a:ext cx="3981211" cy="26411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575757"/>
                </a:solidFill>
              </a:rPr>
              <a:t>Tool use ranking</a:t>
            </a:r>
          </a:p>
        </p:txBody>
      </p:sp>
      <p:grpSp>
        <p:nvGrpSpPr>
          <p:cNvPr id="59" name="Group 58">
            <a:extLst>
              <a:ext uri="{FF2B5EF4-FFF2-40B4-BE49-F238E27FC236}">
                <a16:creationId xmlns:a16="http://schemas.microsoft.com/office/drawing/2014/main" id="{789BE684-6496-48ED-BFED-D2D6B2CC90D9}"/>
              </a:ext>
            </a:extLst>
          </p:cNvPr>
          <p:cNvGrpSpPr>
            <a:grpSpLocks noChangeAspect="1"/>
          </p:cNvGrpSpPr>
          <p:nvPr/>
        </p:nvGrpSpPr>
        <p:grpSpPr>
          <a:xfrm>
            <a:off x="554261" y="915964"/>
            <a:ext cx="457200" cy="457200"/>
            <a:chOff x="5867400" y="3200400"/>
            <a:chExt cx="457200" cy="457200"/>
          </a:xfrm>
        </p:grpSpPr>
        <p:sp>
          <p:nvSpPr>
            <p:cNvPr id="60" name="AutoShape 43">
              <a:extLst>
                <a:ext uri="{FF2B5EF4-FFF2-40B4-BE49-F238E27FC236}">
                  <a16:creationId xmlns:a16="http://schemas.microsoft.com/office/drawing/2014/main" id="{C8F83150-021F-47B8-9ED0-E691B039665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7">
              <a:extLst>
                <a:ext uri="{FF2B5EF4-FFF2-40B4-BE49-F238E27FC236}">
                  <a16:creationId xmlns:a16="http://schemas.microsoft.com/office/drawing/2014/main" id="{3610EEBF-D54D-4B83-8FCC-9770DC369371}"/>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1881108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408568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824" name="think-cell Slide" r:id="rId27" imgW="473" imgH="473" progId="TCLayout.ActiveDocument.1">
                  <p:embed/>
                </p:oleObj>
              </mc:Choice>
              <mc:Fallback>
                <p:oleObj name="think-cell Slide" r:id="rId27" imgW="473" imgH="473" progId="TCLayout.ActiveDocument.1">
                  <p:embed/>
                  <p:pic>
                    <p:nvPicPr>
                      <p:cNvPr id="5" name="Object 4"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sym typeface="+mn-lt"/>
            </a:endParaRPr>
          </a:p>
        </p:txBody>
      </p:sp>
      <p:sp>
        <p:nvSpPr>
          <p:cNvPr id="156" name="Rectangle 155"/>
          <p:cNvSpPr/>
          <p:nvPr/>
        </p:nvSpPr>
        <p:spPr>
          <a:xfrm>
            <a:off x="9145313" y="0"/>
            <a:ext cx="2932765"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T remain most satisfied with their ability to video-conference at 87%. Video-conferencing has remained top &amp; scoring highly across 2021</a:t>
            </a:r>
          </a:p>
          <a:p>
            <a:endParaRPr lang="en-GB" dirty="0">
              <a:solidFill>
                <a:srgbClr val="FFFFFF"/>
              </a:solidFill>
              <a:cs typeface="Arial" pitchFamily="34" charset="0"/>
            </a:endParaRPr>
          </a:p>
          <a:p>
            <a:r>
              <a:rPr lang="en-GB" dirty="0">
                <a:solidFill>
                  <a:srgbClr val="FFFFFF"/>
                </a:solidFill>
                <a:cs typeface="Arial" pitchFamily="34" charset="0"/>
              </a:rPr>
              <a:t>Satisfaction for other capabilities has slightly improved in Q4 but are still significantly lower, with collaborating on files an 'Unacceptable' grade </a:t>
            </a:r>
            <a:r>
              <a:rPr lang="en-GB" sz="1400" i="1" dirty="0">
                <a:solidFill>
                  <a:srgbClr val="FFFFFF"/>
                </a:solidFill>
                <a:cs typeface="Arial" pitchFamily="34" charset="0"/>
              </a:rPr>
              <a:t>(More trending on next slide)</a:t>
            </a:r>
          </a:p>
        </p:txBody>
      </p:sp>
      <p:sp>
        <p:nvSpPr>
          <p:cNvPr id="3" name="Title 2"/>
          <p:cNvSpPr>
            <a:spLocks noGrp="1"/>
          </p:cNvSpPr>
          <p:nvPr>
            <p:ph type="title"/>
          </p:nvPr>
        </p:nvSpPr>
        <p:spPr>
          <a:xfrm>
            <a:off x="515714" y="816745"/>
            <a:ext cx="8393431" cy="332399"/>
          </a:xfrm>
        </p:spPr>
        <p:txBody>
          <a:bodyPr vert="horz"/>
          <a:lstStyle/>
          <a:p>
            <a:r>
              <a:rPr lang="en-US" dirty="0">
                <a:solidFill>
                  <a:srgbClr val="295E7E"/>
                </a:solidFill>
              </a:rPr>
              <a:t>CT satisfaction with BCG IT Tools when working with clients</a:t>
            </a:r>
          </a:p>
        </p:txBody>
      </p:sp>
      <p:graphicFrame>
        <p:nvGraphicFramePr>
          <p:cNvPr id="131" name="Chart 130">
            <a:extLst>
              <a:ext uri="{FF2B5EF4-FFF2-40B4-BE49-F238E27FC236}">
                <a16:creationId xmlns:a16="http://schemas.microsoft.com/office/drawing/2014/main" id="{DF1F5964-4A48-4176-97FA-878E9972F5ED}"/>
              </a:ext>
            </a:extLst>
          </p:cNvPr>
          <p:cNvGraphicFramePr/>
          <p:nvPr>
            <p:custDataLst>
              <p:tags r:id="rId5"/>
            </p:custDataLst>
          </p:nvPr>
        </p:nvGraphicFramePr>
        <p:xfrm>
          <a:off x="2111375" y="2011363"/>
          <a:ext cx="5311775" cy="3957637"/>
        </p:xfrm>
        <a:graphic>
          <a:graphicData uri="http://schemas.openxmlformats.org/drawingml/2006/chart">
            <c:chart xmlns:c="http://schemas.openxmlformats.org/drawingml/2006/chart" xmlns:r="http://schemas.openxmlformats.org/officeDocument/2006/relationships" r:id="rId29"/>
          </a:graphicData>
        </a:graphic>
      </p:graphicFrame>
      <p:cxnSp>
        <p:nvCxnSpPr>
          <p:cNvPr id="8" name="Straight Connector 7">
            <a:extLst>
              <a:ext uri="{FF2B5EF4-FFF2-40B4-BE49-F238E27FC236}">
                <a16:creationId xmlns:a16="http://schemas.microsoft.com/office/drawing/2014/main" id="{C27BAF7D-4971-479B-9AFF-C33D4C2A4BFD}"/>
              </a:ext>
            </a:extLst>
          </p:cNvPr>
          <p:cNvCxnSpPr>
            <a:cxnSpLocks/>
          </p:cNvCxnSpPr>
          <p:nvPr>
            <p:custDataLst>
              <p:tags r:id="rId6"/>
            </p:custDataLst>
          </p:nvPr>
        </p:nvCxnSpPr>
        <p:spPr bwMode="gray">
          <a:xfrm flipV="1">
            <a:off x="7097713" y="2525713"/>
            <a:ext cx="58738" cy="66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4" name="Text Placeholder 3"/>
          <p:cNvSpPr>
            <a:spLocks noGrp="1"/>
          </p:cNvSpPr>
          <p:nvPr>
            <p:custDataLst>
              <p:tags r:id="rId7"/>
            </p:custDataLst>
          </p:nvPr>
        </p:nvSpPr>
        <p:spPr bwMode="gray">
          <a:xfrm>
            <a:off x="1543050" y="2879725"/>
            <a:ext cx="7334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D7CE6CC-C352-4825-A833-ECF7B937C5EB}" type="datetime'Sh''ar''''e'''''''''''''''''''' F''''il''''''e''s'''''''''">
              <a:rPr lang="en-US" altLang="en-US" smtClean="0"/>
              <a:pPr/>
              <a:t>Share Files</a:t>
            </a:fld>
            <a:endParaRPr lang="en-US" dirty="0">
              <a:sym typeface="+mn-lt"/>
            </a:endParaRPr>
          </a:p>
        </p:txBody>
      </p:sp>
      <p:sp>
        <p:nvSpPr>
          <p:cNvPr id="148" name="Text Placeholder 3">
            <a:extLst>
              <a:ext uri="{FF2B5EF4-FFF2-40B4-BE49-F238E27FC236}">
                <a16:creationId xmlns:a16="http://schemas.microsoft.com/office/drawing/2014/main" id="{9940A800-93F6-48FF-A7F0-AB90EB54D881}"/>
              </a:ext>
            </a:extLst>
          </p:cNvPr>
          <p:cNvSpPr>
            <a:spLocks noGrp="1"/>
          </p:cNvSpPr>
          <p:nvPr>
            <p:custDataLst>
              <p:tags r:id="rId8"/>
            </p:custDataLst>
          </p:nvPr>
        </p:nvSpPr>
        <p:spPr bwMode="gray">
          <a:xfrm>
            <a:off x="773113" y="4060825"/>
            <a:ext cx="15033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C6ACF65-BA32-42D9-8D04-58EA7C72A2CE}" type="datetime'''''W''h''''i''''teboard ''''''''(D''igi''t''''a''l''ly)'''">
              <a:rPr lang="en-US" altLang="en-US" smtClean="0"/>
              <a:pPr/>
              <a:t>Whiteboard (Digitally)</a:t>
            </a:fld>
            <a:endParaRPr lang="en-US" dirty="0">
              <a:sym typeface="+mn-lt"/>
            </a:endParaRPr>
          </a:p>
        </p:txBody>
      </p:sp>
      <p:sp>
        <p:nvSpPr>
          <p:cNvPr id="300" name="Text Placeholder 3">
            <a:extLst>
              <a:ext uri="{FF2B5EF4-FFF2-40B4-BE49-F238E27FC236}">
                <a16:creationId xmlns:a16="http://schemas.microsoft.com/office/drawing/2014/main" id="{C9B7561A-61CA-4749-B54C-1E9FE7820895}"/>
              </a:ext>
            </a:extLst>
          </p:cNvPr>
          <p:cNvSpPr>
            <a:spLocks noGrp="1"/>
          </p:cNvSpPr>
          <p:nvPr>
            <p:custDataLst>
              <p:tags r:id="rId9"/>
            </p:custDataLst>
          </p:nvPr>
        </p:nvSpPr>
        <p:spPr bwMode="gray">
          <a:xfrm>
            <a:off x="919163" y="5243513"/>
            <a:ext cx="1357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A36BDF4-3857-426A-922F-F5D02A905644}" type="datetime'Co''ll''''a''bo''r''a''''''''''te'''''' o''''n'' F''ile''s'">
              <a:rPr lang="en-US" altLang="en-US" smtClean="0"/>
              <a:pPr/>
              <a:t>Collaborate on Files</a:t>
            </a:fld>
            <a:endParaRPr lang="en-US" dirty="0">
              <a:sym typeface="+mn-lt"/>
            </a:endParaRPr>
          </a:p>
        </p:txBody>
      </p:sp>
      <p:sp>
        <p:nvSpPr>
          <p:cNvPr id="293" name="Text Placeholder 3">
            <a:extLst>
              <a:ext uri="{FF2B5EF4-FFF2-40B4-BE49-F238E27FC236}">
                <a16:creationId xmlns:a16="http://schemas.microsoft.com/office/drawing/2014/main" id="{2F6A491C-F10C-4250-BF3C-05EBD73B0DCF}"/>
              </a:ext>
            </a:extLst>
          </p:cNvPr>
          <p:cNvSpPr>
            <a:spLocks noGrp="1"/>
          </p:cNvSpPr>
          <p:nvPr>
            <p:custDataLst>
              <p:tags r:id="rId10"/>
            </p:custDataLst>
          </p:nvPr>
        </p:nvSpPr>
        <p:spPr bwMode="gray">
          <a:xfrm>
            <a:off x="619125" y="4652963"/>
            <a:ext cx="16573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2C3E219-2C0F-402B-987D-70B79CFD2D85}" type="datetime'''''''''Chat ''(I''''n''s''tant ''''Mes''''''sag''in''g'''')'">
              <a:rPr lang="en-US" altLang="en-US" smtClean="0"/>
              <a:pPr/>
              <a:t>Chat (Instant Messaging)</a:t>
            </a:fld>
            <a:endParaRPr lang="en-US" dirty="0">
              <a:sym typeface="+mn-lt"/>
            </a:endParaRPr>
          </a:p>
        </p:txBody>
      </p:sp>
      <p:sp>
        <p:nvSpPr>
          <p:cNvPr id="284" name="Text Placeholder 3">
            <a:extLst>
              <a:ext uri="{FF2B5EF4-FFF2-40B4-BE49-F238E27FC236}">
                <a16:creationId xmlns:a16="http://schemas.microsoft.com/office/drawing/2014/main" id="{EE3DAFB3-4225-402D-BB4D-F9F2F1522161}"/>
              </a:ext>
            </a:extLst>
          </p:cNvPr>
          <p:cNvSpPr>
            <a:spLocks noGrp="1"/>
          </p:cNvSpPr>
          <p:nvPr>
            <p:custDataLst>
              <p:tags r:id="rId11"/>
            </p:custDataLst>
          </p:nvPr>
        </p:nvSpPr>
        <p:spPr bwMode="gray">
          <a:xfrm>
            <a:off x="957263" y="2287588"/>
            <a:ext cx="13192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A01F4B0-F0B8-4A45-8844-FB3911FAFF74}" type="datetime'''Video'' ''''Co''nfe''''r''''e''''nc''''''''''''''i''n''g'">
              <a:rPr lang="en-US" altLang="en-US" smtClean="0"/>
              <a:pPr/>
              <a:t>Video Conferencing</a:t>
            </a:fld>
            <a:endParaRPr lang="en-US" dirty="0">
              <a:sym typeface="+mn-lt"/>
            </a:endParaRPr>
          </a:p>
        </p:txBody>
      </p:sp>
      <p:sp>
        <p:nvSpPr>
          <p:cNvPr id="146" name="Text Placeholder 3">
            <a:extLst>
              <a:ext uri="{FF2B5EF4-FFF2-40B4-BE49-F238E27FC236}">
                <a16:creationId xmlns:a16="http://schemas.microsoft.com/office/drawing/2014/main" id="{5873D78A-2DD5-4597-AC69-8BFDEB86F8C1}"/>
              </a:ext>
            </a:extLst>
          </p:cNvPr>
          <p:cNvSpPr>
            <a:spLocks noGrp="1"/>
          </p:cNvSpPr>
          <p:nvPr>
            <p:custDataLst>
              <p:tags r:id="rId12"/>
            </p:custDataLst>
          </p:nvPr>
        </p:nvSpPr>
        <p:spPr bwMode="gray">
          <a:xfrm>
            <a:off x="520700" y="3470275"/>
            <a:ext cx="17557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AC7B05F-CA97-4268-973B-64D6D01CCD97}" type="datetime'''M''anage ''Ta''''s''k''s'' ''''(e''.''g''. T''r''el''lo'')'">
              <a:rPr lang="en-US" altLang="en-US" smtClean="0"/>
              <a:pPr/>
              <a:t>Manage Tasks (e.g. Trello)</a:t>
            </a:fld>
            <a:endParaRPr lang="en-US" dirty="0">
              <a:sym typeface="+mn-lt"/>
            </a:endParaRPr>
          </a:p>
        </p:txBody>
      </p:sp>
      <p:sp>
        <p:nvSpPr>
          <p:cNvPr id="54" name="Text Placeholder 3">
            <a:extLst>
              <a:ext uri="{FF2B5EF4-FFF2-40B4-BE49-F238E27FC236}">
                <a16:creationId xmlns:a16="http://schemas.microsoft.com/office/drawing/2014/main" id="{9F915EB5-EB78-459C-B7D0-393ECDE9A607}"/>
              </a:ext>
            </a:extLst>
          </p:cNvPr>
          <p:cNvSpPr>
            <a:spLocks noGrp="1"/>
          </p:cNvSpPr>
          <p:nvPr>
            <p:custDataLst>
              <p:tags r:id="rId13"/>
            </p:custDataLst>
          </p:nvPr>
        </p:nvSpPr>
        <p:spPr bwMode="gray">
          <a:xfrm>
            <a:off x="7038975" y="2592389"/>
            <a:ext cx="11747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AFC0F22-838C-4098-BBF4-17F6152ED785}" type="datetime'''''''''''''''''''''''''''''''''''''''''''''''0'">
              <a:rPr lang="en-US" altLang="en-US" smtClean="0">
                <a:effectLst/>
                <a:sym typeface="+mn-lt"/>
              </a:rPr>
              <a:pPr algn="ctr">
                <a:spcBef>
                  <a:spcPct val="0"/>
                </a:spcBef>
                <a:spcAft>
                  <a:spcPct val="0"/>
                </a:spcAft>
              </a:pPr>
              <a:t>0</a:t>
            </a:fld>
            <a:endParaRPr lang="en-US" dirty="0">
              <a:sym typeface="+mn-lt"/>
            </a:endParaRPr>
          </a:p>
        </p:txBody>
      </p:sp>
      <p:sp>
        <p:nvSpPr>
          <p:cNvPr id="127" name="Text Placeholder 3">
            <a:extLst>
              <a:ext uri="{FF2B5EF4-FFF2-40B4-BE49-F238E27FC236}">
                <a16:creationId xmlns:a16="http://schemas.microsoft.com/office/drawing/2014/main" id="{5ACF4AD1-23F8-4D99-BDF3-8A1180C1FE25}"/>
              </a:ext>
            </a:extLst>
          </p:cNvPr>
          <p:cNvSpPr>
            <a:spLocks noGrp="1"/>
          </p:cNvSpPr>
          <p:nvPr>
            <p:custDataLst>
              <p:tags r:id="rId14"/>
            </p:custDataLst>
          </p:nvPr>
        </p:nvSpPr>
        <p:spPr bwMode="gray">
          <a:xfrm>
            <a:off x="7073900" y="3470276"/>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F64228F-7207-4C93-ACA5-07C8B9E5F73A}" type="datetime'''''''''''''''''''''''''''''''''''''''''''''''''''''1'''''''">
              <a:rPr lang="en-US" altLang="en-US" smtClean="0">
                <a:solidFill>
                  <a:schemeClr val="bg1"/>
                </a:solidFill>
                <a:effectLst/>
                <a:sym typeface="+mn-lt"/>
              </a:rPr>
              <a:pPr algn="ctr">
                <a:spcBef>
                  <a:spcPct val="0"/>
                </a:spcBef>
                <a:spcAft>
                  <a:spcPct val="0"/>
                </a:spcAft>
              </a:pPr>
              <a:t>1</a:t>
            </a:fld>
            <a:endParaRPr lang="en-US" dirty="0">
              <a:solidFill>
                <a:schemeClr val="bg1"/>
              </a:solidFill>
              <a:sym typeface="+mn-lt"/>
            </a:endParaRPr>
          </a:p>
        </p:txBody>
      </p:sp>
      <p:sp>
        <p:nvSpPr>
          <p:cNvPr id="75" name="Rectangle 74"/>
          <p:cNvSpPr/>
          <p:nvPr>
            <p:custDataLst>
              <p:tags r:id="rId15"/>
            </p:custDataLst>
          </p:nvPr>
        </p:nvSpPr>
        <p:spPr bwMode="gray">
          <a:xfrm>
            <a:off x="2438400" y="6097588"/>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9" name="Rectangle 78"/>
          <p:cNvSpPr/>
          <p:nvPr>
            <p:custDataLst>
              <p:tags r:id="rId16"/>
            </p:custDataLst>
          </p:nvPr>
        </p:nvSpPr>
        <p:spPr bwMode="gray">
          <a:xfrm>
            <a:off x="4678363" y="60975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17"/>
            </p:custDataLst>
          </p:nvPr>
        </p:nvSpPr>
        <p:spPr bwMode="gray">
          <a:xfrm>
            <a:off x="3729038" y="6097588"/>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p:cNvSpPr/>
          <p:nvPr>
            <p:custDataLst>
              <p:tags r:id="rId18"/>
            </p:custDataLst>
          </p:nvPr>
        </p:nvSpPr>
        <p:spPr bwMode="gray">
          <a:xfrm>
            <a:off x="5549900" y="6097588"/>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p:cNvSpPr/>
          <p:nvPr>
            <p:custDataLst>
              <p:tags r:id="rId19"/>
            </p:custDataLst>
          </p:nvPr>
        </p:nvSpPr>
        <p:spPr bwMode="gray">
          <a:xfrm>
            <a:off x="6686550" y="60975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8" name="Text Placeholder 3"/>
          <p:cNvSpPr>
            <a:spLocks noGrp="1"/>
          </p:cNvSpPr>
          <p:nvPr>
            <p:custDataLst>
              <p:tags r:id="rId20"/>
            </p:custDataLst>
          </p:nvPr>
        </p:nvSpPr>
        <p:spPr bwMode="gray">
          <a:xfrm>
            <a:off x="4943475" y="60785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622D474-5FF2-4E97-B12D-7DE2A60FD3E7}" type="datetime'''N''e''''u''''''''tr''a''l'''''''''''''''''''''''''">
              <a:rPr lang="en-US" altLang="en-US" smtClean="0">
                <a:sym typeface="+mn-lt"/>
              </a:rPr>
              <a:pPr>
                <a:spcBef>
                  <a:spcPct val="0"/>
                </a:spcBef>
                <a:spcAft>
                  <a:spcPct val="0"/>
                </a:spcAft>
              </a:pPr>
              <a:t>Neutral</a:t>
            </a:fld>
            <a:endParaRPr lang="en-US" dirty="0">
              <a:sym typeface="+mn-lt"/>
            </a:endParaRPr>
          </a:p>
        </p:txBody>
      </p:sp>
      <p:sp>
        <p:nvSpPr>
          <p:cNvPr id="59" name="Text Placeholder 3"/>
          <p:cNvSpPr>
            <a:spLocks noGrp="1"/>
          </p:cNvSpPr>
          <p:nvPr>
            <p:custDataLst>
              <p:tags r:id="rId21"/>
            </p:custDataLst>
          </p:nvPr>
        </p:nvSpPr>
        <p:spPr bwMode="gray">
          <a:xfrm>
            <a:off x="2703513" y="6078538"/>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F9A80EC-A51B-4B06-A411-964777703E07}" type="datetime'''''V''e''r''''y'''''''''' S''''a''''''''ti''sf''i''e''d'''">
              <a:rPr lang="en-US" altLang="en-US" smtClean="0">
                <a:sym typeface="+mn-lt"/>
              </a:rPr>
              <a:pPr>
                <a:spcBef>
                  <a:spcPct val="0"/>
                </a:spcBef>
                <a:spcAft>
                  <a:spcPct val="0"/>
                </a:spcAft>
              </a:pPr>
              <a:t>Very Satisfied</a:t>
            </a:fld>
            <a:endParaRPr lang="en-US" dirty="0">
              <a:sym typeface="+mn-lt"/>
            </a:endParaRPr>
          </a:p>
        </p:txBody>
      </p:sp>
      <p:sp>
        <p:nvSpPr>
          <p:cNvPr id="72" name="Text Placeholder 3"/>
          <p:cNvSpPr>
            <a:spLocks noGrp="1"/>
          </p:cNvSpPr>
          <p:nvPr>
            <p:custDataLst>
              <p:tags r:id="rId22"/>
            </p:custDataLst>
          </p:nvPr>
        </p:nvSpPr>
        <p:spPr bwMode="gray">
          <a:xfrm>
            <a:off x="6951663" y="6078538"/>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D9B4F61-C2DA-4116-BF41-4A291F1153E0}" type="datetime'Ver''y ''''D''''''''''''i''''s''''s''at''i''si''''''fed'''">
              <a:rPr lang="en-US" altLang="en-US" smtClean="0">
                <a:sym typeface="+mn-lt"/>
              </a:rPr>
              <a:pPr>
                <a:spcBef>
                  <a:spcPct val="0"/>
                </a:spcBef>
                <a:spcAft>
                  <a:spcPct val="0"/>
                </a:spcAft>
              </a:pPr>
              <a:t>Very Dissatisifed</a:t>
            </a:fld>
            <a:endParaRPr lang="en-US" dirty="0">
              <a:sym typeface="+mn-lt"/>
            </a:endParaRPr>
          </a:p>
        </p:txBody>
      </p:sp>
      <p:sp>
        <p:nvSpPr>
          <p:cNvPr id="70" name="Text Placeholder 3"/>
          <p:cNvSpPr>
            <a:spLocks noGrp="1"/>
          </p:cNvSpPr>
          <p:nvPr>
            <p:custDataLst>
              <p:tags r:id="rId23"/>
            </p:custDataLst>
          </p:nvPr>
        </p:nvSpPr>
        <p:spPr bwMode="gray">
          <a:xfrm>
            <a:off x="5815013" y="6078538"/>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7D753C-8BF3-45DB-A555-5C186421099D}" type="datetime'''''''D''''''''issa''t''''is''''fi''e''''''''''d'">
              <a:rPr lang="en-US" altLang="en-US" smtClean="0">
                <a:sym typeface="+mn-lt"/>
              </a:rPr>
              <a:pPr>
                <a:spcBef>
                  <a:spcPct val="0"/>
                </a:spcBef>
                <a:spcAft>
                  <a:spcPct val="0"/>
                </a:spcAft>
              </a:pPr>
              <a:t>Dissatisfied</a:t>
            </a:fld>
            <a:endParaRPr lang="en-US" dirty="0">
              <a:sym typeface="+mn-lt"/>
            </a:endParaRPr>
          </a:p>
        </p:txBody>
      </p:sp>
      <p:sp>
        <p:nvSpPr>
          <p:cNvPr id="65" name="Text Placeholder 3"/>
          <p:cNvSpPr>
            <a:spLocks noGrp="1"/>
          </p:cNvSpPr>
          <p:nvPr>
            <p:custDataLst>
              <p:tags r:id="rId24"/>
            </p:custDataLst>
          </p:nvPr>
        </p:nvSpPr>
        <p:spPr bwMode="gray">
          <a:xfrm>
            <a:off x="3994150" y="6078538"/>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0628767-9A43-4058-A74A-F1920B192CAE}" type="datetime'''''''''S''a''''''tis''''''''''fi''''''''''''''''ed'''">
              <a:rPr lang="en-US" altLang="en-US" smtClean="0">
                <a:sym typeface="+mn-lt"/>
              </a:rPr>
              <a:pPr>
                <a:spcBef>
                  <a:spcPct val="0"/>
                </a:spcBef>
                <a:spcAft>
                  <a:spcPct val="0"/>
                </a:spcAft>
              </a:pPr>
              <a:t>Satisfied</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5754" y="1603107"/>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129" name="Rectangle 128"/>
          <p:cNvSpPr/>
          <p:nvPr/>
        </p:nvSpPr>
        <p:spPr>
          <a:xfrm>
            <a:off x="7176157" y="1603470"/>
            <a:ext cx="581025" cy="2603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130" name="Rectangle 129"/>
          <p:cNvSpPr/>
          <p:nvPr/>
        </p:nvSpPr>
        <p:spPr>
          <a:xfrm>
            <a:off x="7707229" y="1610611"/>
            <a:ext cx="881063" cy="2651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128" name="Rectangle 127"/>
          <p:cNvSpPr/>
          <p:nvPr/>
        </p:nvSpPr>
        <p:spPr>
          <a:xfrm>
            <a:off x="7270750" y="2270736"/>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7%</a:t>
            </a:r>
          </a:p>
        </p:txBody>
      </p:sp>
      <p:sp>
        <p:nvSpPr>
          <p:cNvPr id="347" name="Rectangle 346">
            <a:extLst>
              <a:ext uri="{FF2B5EF4-FFF2-40B4-BE49-F238E27FC236}">
                <a16:creationId xmlns:a16="http://schemas.microsoft.com/office/drawing/2014/main" id="{5499F83E-EAA9-4AA5-8D2A-0E8CED928570}"/>
              </a:ext>
            </a:extLst>
          </p:cNvPr>
          <p:cNvSpPr/>
          <p:nvPr/>
        </p:nvSpPr>
        <p:spPr>
          <a:xfrm>
            <a:off x="7247170" y="2836935"/>
            <a:ext cx="542925" cy="3611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0%</a:t>
            </a:r>
          </a:p>
        </p:txBody>
      </p:sp>
      <p:sp>
        <p:nvSpPr>
          <p:cNvPr id="348" name="Rectangle 347">
            <a:extLst>
              <a:ext uri="{FF2B5EF4-FFF2-40B4-BE49-F238E27FC236}">
                <a16:creationId xmlns:a16="http://schemas.microsoft.com/office/drawing/2014/main" id="{294178FB-FCBD-4039-A57E-720045906AAA}"/>
              </a:ext>
            </a:extLst>
          </p:cNvPr>
          <p:cNvSpPr/>
          <p:nvPr/>
        </p:nvSpPr>
        <p:spPr>
          <a:xfrm>
            <a:off x="7861212" y="2278641"/>
            <a:ext cx="1036638" cy="262112"/>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350" name="Rectangle 349">
            <a:extLst>
              <a:ext uri="{FF2B5EF4-FFF2-40B4-BE49-F238E27FC236}">
                <a16:creationId xmlns:a16="http://schemas.microsoft.com/office/drawing/2014/main" id="{1EA517E8-BD57-4122-ADDF-6857CD2D3974}"/>
              </a:ext>
            </a:extLst>
          </p:cNvPr>
          <p:cNvSpPr/>
          <p:nvPr/>
        </p:nvSpPr>
        <p:spPr>
          <a:xfrm>
            <a:off x="7247172" y="3429000"/>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8%</a:t>
            </a:r>
          </a:p>
        </p:txBody>
      </p:sp>
      <p:sp>
        <p:nvSpPr>
          <p:cNvPr id="353" name="Rectangle 352">
            <a:extLst>
              <a:ext uri="{FF2B5EF4-FFF2-40B4-BE49-F238E27FC236}">
                <a16:creationId xmlns:a16="http://schemas.microsoft.com/office/drawing/2014/main" id="{DD151E6C-8E4D-4630-9E66-1A835EA578C4}"/>
              </a:ext>
            </a:extLst>
          </p:cNvPr>
          <p:cNvSpPr/>
          <p:nvPr/>
        </p:nvSpPr>
        <p:spPr>
          <a:xfrm>
            <a:off x="7247172" y="4021358"/>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2%</a:t>
            </a:r>
          </a:p>
        </p:txBody>
      </p:sp>
      <p:sp>
        <p:nvSpPr>
          <p:cNvPr id="356" name="Rectangle 355">
            <a:extLst>
              <a:ext uri="{FF2B5EF4-FFF2-40B4-BE49-F238E27FC236}">
                <a16:creationId xmlns:a16="http://schemas.microsoft.com/office/drawing/2014/main" id="{9630AA37-F17C-4705-8AA7-65B57D9CB10F}"/>
              </a:ext>
            </a:extLst>
          </p:cNvPr>
          <p:cNvSpPr/>
          <p:nvPr/>
        </p:nvSpPr>
        <p:spPr>
          <a:xfrm>
            <a:off x="7247171" y="4606789"/>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1%</a:t>
            </a:r>
          </a:p>
        </p:txBody>
      </p:sp>
      <p:sp>
        <p:nvSpPr>
          <p:cNvPr id="359" name="Rectangle 358">
            <a:extLst>
              <a:ext uri="{FF2B5EF4-FFF2-40B4-BE49-F238E27FC236}">
                <a16:creationId xmlns:a16="http://schemas.microsoft.com/office/drawing/2014/main" id="{C93633F0-C515-4ADB-9660-DE721F3D4703}"/>
              </a:ext>
            </a:extLst>
          </p:cNvPr>
          <p:cNvSpPr/>
          <p:nvPr/>
        </p:nvSpPr>
        <p:spPr>
          <a:xfrm>
            <a:off x="7247171" y="5193324"/>
            <a:ext cx="542925" cy="277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36%</a:t>
            </a:r>
          </a:p>
        </p:txBody>
      </p:sp>
      <p:sp>
        <p:nvSpPr>
          <p:cNvPr id="154" name="Rectangle 153">
            <a:extLst>
              <a:ext uri="{FF2B5EF4-FFF2-40B4-BE49-F238E27FC236}">
                <a16:creationId xmlns:a16="http://schemas.microsoft.com/office/drawing/2014/main" id="{800565D6-AE54-478E-BA3D-C424BF610432}"/>
              </a:ext>
            </a:extLst>
          </p:cNvPr>
          <p:cNvSpPr/>
          <p:nvPr/>
        </p:nvSpPr>
        <p:spPr>
          <a:xfrm>
            <a:off x="7866347" y="3406251"/>
            <a:ext cx="1036638" cy="262112"/>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155" name="Rectangle 154">
            <a:extLst>
              <a:ext uri="{FF2B5EF4-FFF2-40B4-BE49-F238E27FC236}">
                <a16:creationId xmlns:a16="http://schemas.microsoft.com/office/drawing/2014/main" id="{16C2123B-B140-481F-9504-9EF1531B07D6}"/>
              </a:ext>
            </a:extLst>
          </p:cNvPr>
          <p:cNvSpPr/>
          <p:nvPr/>
        </p:nvSpPr>
        <p:spPr>
          <a:xfrm>
            <a:off x="7872507" y="4055136"/>
            <a:ext cx="1036638" cy="262112"/>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158" name="Rectangle 157">
            <a:extLst>
              <a:ext uri="{FF2B5EF4-FFF2-40B4-BE49-F238E27FC236}">
                <a16:creationId xmlns:a16="http://schemas.microsoft.com/office/drawing/2014/main" id="{5FF039B0-598A-43FF-8644-56F87FE33966}"/>
              </a:ext>
            </a:extLst>
          </p:cNvPr>
          <p:cNvSpPr/>
          <p:nvPr/>
        </p:nvSpPr>
        <p:spPr>
          <a:xfrm>
            <a:off x="7872507" y="5189500"/>
            <a:ext cx="1036638" cy="262112"/>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49" name="Rectangle 48">
            <a:extLst>
              <a:ext uri="{FF2B5EF4-FFF2-40B4-BE49-F238E27FC236}">
                <a16:creationId xmlns:a16="http://schemas.microsoft.com/office/drawing/2014/main" id="{5D07CE42-84C0-48AD-81DC-6EF9AAFA88A1}"/>
              </a:ext>
            </a:extLst>
          </p:cNvPr>
          <p:cNvSpPr/>
          <p:nvPr/>
        </p:nvSpPr>
        <p:spPr>
          <a:xfrm>
            <a:off x="919163" y="1209843"/>
            <a:ext cx="6391725"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CT Respondents – E-SAT Trending</a:t>
            </a:r>
            <a:endParaRPr lang="en-US" sz="1600" i="1" baseline="30000" dirty="0">
              <a:solidFill>
                <a:srgbClr val="575757"/>
              </a:solidFill>
            </a:endParaRPr>
          </a:p>
        </p:txBody>
      </p:sp>
      <p:grpSp>
        <p:nvGrpSpPr>
          <p:cNvPr id="45" name="Group 44">
            <a:extLst>
              <a:ext uri="{FF2B5EF4-FFF2-40B4-BE49-F238E27FC236}">
                <a16:creationId xmlns:a16="http://schemas.microsoft.com/office/drawing/2014/main" id="{1391A8B1-CFFA-4FE5-85AD-54BF5ED28EDB}"/>
              </a:ext>
            </a:extLst>
          </p:cNvPr>
          <p:cNvGrpSpPr>
            <a:grpSpLocks noChangeAspect="1"/>
          </p:cNvGrpSpPr>
          <p:nvPr/>
        </p:nvGrpSpPr>
        <p:grpSpPr>
          <a:xfrm>
            <a:off x="508794" y="1165974"/>
            <a:ext cx="457200" cy="457200"/>
            <a:chOff x="5867400" y="3200400"/>
            <a:chExt cx="457200" cy="457200"/>
          </a:xfrm>
        </p:grpSpPr>
        <p:sp>
          <p:nvSpPr>
            <p:cNvPr id="46" name="AutoShape 43">
              <a:extLst>
                <a:ext uri="{FF2B5EF4-FFF2-40B4-BE49-F238E27FC236}">
                  <a16:creationId xmlns:a16="http://schemas.microsoft.com/office/drawing/2014/main" id="{8A43632E-7F72-4D2B-A78B-F7890F564A9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7">
              <a:extLst>
                <a:ext uri="{FF2B5EF4-FFF2-40B4-BE49-F238E27FC236}">
                  <a16:creationId xmlns:a16="http://schemas.microsoft.com/office/drawing/2014/main" id="{FCEAF597-D9EC-41AA-9FB0-8A0CE8D2D4A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4" name="Rectangle 43">
            <a:extLst>
              <a:ext uri="{FF2B5EF4-FFF2-40B4-BE49-F238E27FC236}">
                <a16:creationId xmlns:a16="http://schemas.microsoft.com/office/drawing/2014/main" id="{75C3BF72-6259-40A5-9F00-084710F2E1E4}"/>
              </a:ext>
            </a:extLst>
          </p:cNvPr>
          <p:cNvSpPr/>
          <p:nvPr/>
        </p:nvSpPr>
        <p:spPr>
          <a:xfrm>
            <a:off x="7286541" y="5623008"/>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132" name="Rectangle 131">
            <a:extLst>
              <a:ext uri="{FF2B5EF4-FFF2-40B4-BE49-F238E27FC236}">
                <a16:creationId xmlns:a16="http://schemas.microsoft.com/office/drawing/2014/main" id="{B3351198-6801-4E4D-87F6-5A0A0B3A9149}"/>
              </a:ext>
            </a:extLst>
          </p:cNvPr>
          <p:cNvSpPr/>
          <p:nvPr/>
        </p:nvSpPr>
        <p:spPr>
          <a:xfrm>
            <a:off x="7861212" y="2886467"/>
            <a:ext cx="1036637" cy="262112"/>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133" name="Rectangle 132">
            <a:extLst>
              <a:ext uri="{FF2B5EF4-FFF2-40B4-BE49-F238E27FC236}">
                <a16:creationId xmlns:a16="http://schemas.microsoft.com/office/drawing/2014/main" id="{68378500-7C17-40CC-BDAE-2F4342EE582D}"/>
              </a:ext>
            </a:extLst>
          </p:cNvPr>
          <p:cNvSpPr/>
          <p:nvPr/>
        </p:nvSpPr>
        <p:spPr>
          <a:xfrm>
            <a:off x="7872507" y="4622318"/>
            <a:ext cx="1036638" cy="262112"/>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Tree>
    <p:custDataLst>
      <p:tags r:id="rId2"/>
    </p:custDataLst>
    <p:extLst>
      <p:ext uri="{BB962C8B-B14F-4D97-AF65-F5344CB8AC3E}">
        <p14:creationId xmlns:p14="http://schemas.microsoft.com/office/powerpoint/2010/main" val="114259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844"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Title 2">
            <a:extLst>
              <a:ext uri="{FF2B5EF4-FFF2-40B4-BE49-F238E27FC236}">
                <a16:creationId xmlns:a16="http://schemas.microsoft.com/office/drawing/2014/main" id="{C5EC7083-FFB4-48E6-A549-832E8E0463BD}"/>
              </a:ext>
            </a:extLst>
          </p:cNvPr>
          <p:cNvSpPr>
            <a:spLocks noGrp="1"/>
          </p:cNvSpPr>
          <p:nvPr>
            <p:ph type="title"/>
          </p:nvPr>
        </p:nvSpPr>
        <p:spPr>
          <a:xfrm>
            <a:off x="685551" y="592608"/>
            <a:ext cx="10933350" cy="332399"/>
          </a:xfrm>
        </p:spPr>
        <p:txBody>
          <a:bodyPr vert="horz"/>
          <a:lstStyle/>
          <a:p>
            <a:r>
              <a:rPr lang="en-US" dirty="0">
                <a:solidFill>
                  <a:srgbClr val="295E7E"/>
                </a:solidFill>
              </a:rPr>
              <a:t>CT satisfaction with BCG IT Tools when working with clients</a:t>
            </a:r>
          </a:p>
        </p:txBody>
      </p:sp>
      <p:sp>
        <p:nvSpPr>
          <p:cNvPr id="29" name="Rectangle 28">
            <a:extLst>
              <a:ext uri="{FF2B5EF4-FFF2-40B4-BE49-F238E27FC236}">
                <a16:creationId xmlns:a16="http://schemas.microsoft.com/office/drawing/2014/main" id="{97DEE7C1-FC10-4F4A-9322-95B0D6802318}"/>
              </a:ext>
            </a:extLst>
          </p:cNvPr>
          <p:cNvSpPr/>
          <p:nvPr/>
        </p:nvSpPr>
        <p:spPr>
          <a:xfrm>
            <a:off x="997487" y="925007"/>
            <a:ext cx="6362701" cy="33414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CT Cohort – E-SAT Trending</a:t>
            </a:r>
            <a:endParaRPr lang="en-US" sz="1600" i="1" baseline="30000" dirty="0">
              <a:solidFill>
                <a:srgbClr val="575757"/>
              </a:solidFill>
            </a:endParaRPr>
          </a:p>
        </p:txBody>
      </p:sp>
      <p:graphicFrame>
        <p:nvGraphicFramePr>
          <p:cNvPr id="42" name="table_type_name">
            <a:extLst>
              <a:ext uri="{FF2B5EF4-FFF2-40B4-BE49-F238E27FC236}">
                <a16:creationId xmlns:a16="http://schemas.microsoft.com/office/drawing/2014/main" id="{AA02397F-CCA1-4651-9AF0-6C1B4555B7EE}"/>
              </a:ext>
            </a:extLst>
          </p:cNvPr>
          <p:cNvGraphicFramePr>
            <a:graphicFrameLocks noGrp="1"/>
          </p:cNvGraphicFramePr>
          <p:nvPr>
            <p:extLst>
              <p:ext uri="{D42A27DB-BD31-4B8C-83A1-F6EECF244321}">
                <p14:modId xmlns:p14="http://schemas.microsoft.com/office/powerpoint/2010/main" val="2706675426"/>
              </p:ext>
            </p:extLst>
          </p:nvPr>
        </p:nvGraphicFramePr>
        <p:xfrm>
          <a:off x="629999" y="1596204"/>
          <a:ext cx="10988904" cy="3415107"/>
        </p:xfrm>
        <a:graphic>
          <a:graphicData uri="http://schemas.openxmlformats.org/drawingml/2006/table">
            <a:tbl>
              <a:tblPr/>
              <a:tblGrid>
                <a:gridCol w="2148464">
                  <a:extLst>
                    <a:ext uri="{9D8B030D-6E8A-4147-A177-3AD203B41FA5}">
                      <a16:colId xmlns:a16="http://schemas.microsoft.com/office/drawing/2014/main" val="20001"/>
                    </a:ext>
                  </a:extLst>
                </a:gridCol>
                <a:gridCol w="1262920">
                  <a:extLst>
                    <a:ext uri="{9D8B030D-6E8A-4147-A177-3AD203B41FA5}">
                      <a16:colId xmlns:a16="http://schemas.microsoft.com/office/drawing/2014/main" val="20002"/>
                    </a:ext>
                  </a:extLst>
                </a:gridCol>
                <a:gridCol w="1262920">
                  <a:extLst>
                    <a:ext uri="{9D8B030D-6E8A-4147-A177-3AD203B41FA5}">
                      <a16:colId xmlns:a16="http://schemas.microsoft.com/office/drawing/2014/main" val="2983475716"/>
                    </a:ext>
                  </a:extLst>
                </a:gridCol>
                <a:gridCol w="1262920">
                  <a:extLst>
                    <a:ext uri="{9D8B030D-6E8A-4147-A177-3AD203B41FA5}">
                      <a16:colId xmlns:a16="http://schemas.microsoft.com/office/drawing/2014/main" val="20010"/>
                    </a:ext>
                  </a:extLst>
                </a:gridCol>
                <a:gridCol w="1262920">
                  <a:extLst>
                    <a:ext uri="{9D8B030D-6E8A-4147-A177-3AD203B41FA5}">
                      <a16:colId xmlns:a16="http://schemas.microsoft.com/office/drawing/2014/main" val="3919354675"/>
                    </a:ext>
                  </a:extLst>
                </a:gridCol>
                <a:gridCol w="1262920">
                  <a:extLst>
                    <a:ext uri="{9D8B030D-6E8A-4147-A177-3AD203B41FA5}">
                      <a16:colId xmlns:a16="http://schemas.microsoft.com/office/drawing/2014/main" val="4021441130"/>
                    </a:ext>
                  </a:extLst>
                </a:gridCol>
                <a:gridCol w="1262920">
                  <a:extLst>
                    <a:ext uri="{9D8B030D-6E8A-4147-A177-3AD203B41FA5}">
                      <a16:colId xmlns:a16="http://schemas.microsoft.com/office/drawing/2014/main" val="2738326204"/>
                    </a:ext>
                  </a:extLst>
                </a:gridCol>
                <a:gridCol w="1262920">
                  <a:extLst>
                    <a:ext uri="{9D8B030D-6E8A-4147-A177-3AD203B41FA5}">
                      <a16:colId xmlns:a16="http://schemas.microsoft.com/office/drawing/2014/main" val="1543622992"/>
                    </a:ext>
                  </a:extLst>
                </a:gridCol>
              </a:tblGrid>
              <a:tr h="65842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r>
                        <a:rPr kumimoji="0" lang="en-US" sz="1200" b="0" i="0" u="none" strike="noStrike" cap="none" normalizeH="0" baseline="30000" dirty="0">
                          <a:ln>
                            <a:noFill/>
                          </a:ln>
                          <a:solidFill>
                            <a:schemeClr val="tx1"/>
                          </a:solidFill>
                          <a:effectLst/>
                          <a:latin typeface="+mn-lt"/>
                          <a:cs typeface="Arial" charset="0"/>
                          <a:sym typeface="Trebuchet MS" panose="020B0603020202020204" pitchFamily="34" charset="0"/>
                        </a:rPr>
                        <a:t>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2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48364">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1387">
                <a:tc>
                  <a:txBody>
                    <a:bodyPr/>
                    <a:lstStyle/>
                    <a:p>
                      <a:pPr algn="l" fontAlgn="b"/>
                      <a:r>
                        <a:rPr lang="en-GB" sz="1200" b="0" i="0" u="none" strike="noStrike" dirty="0">
                          <a:solidFill>
                            <a:srgbClr val="575757"/>
                          </a:solidFill>
                          <a:effectLst/>
                          <a:latin typeface="+mj-lt"/>
                        </a:rPr>
                        <a:t>Video Conferencing</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90</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rowSpan="6">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New in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Q3 202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42239342"/>
                  </a:ext>
                </a:extLst>
              </a:tr>
              <a:tr h="401387">
                <a:tc>
                  <a:txBody>
                    <a:bodyPr/>
                    <a:lstStyle/>
                    <a:p>
                      <a:pPr algn="l" fontAlgn="b"/>
                      <a:r>
                        <a:rPr lang="en-GB" sz="1200" b="0" i="0" u="none" strike="noStrike" dirty="0">
                          <a:solidFill>
                            <a:srgbClr val="575757"/>
                          </a:solidFill>
                          <a:effectLst/>
                          <a:latin typeface="+mj-lt"/>
                        </a:rPr>
                        <a:t>Share Files</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66</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6%</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5811906"/>
                  </a:ext>
                </a:extLst>
              </a:tr>
              <a:tr h="401387">
                <a:tc>
                  <a:txBody>
                    <a:bodyPr/>
                    <a:lstStyle/>
                    <a:p>
                      <a:pPr algn="l" fontAlgn="b"/>
                      <a:r>
                        <a:rPr lang="en-GB" sz="1200" b="0" i="0" u="none" strike="noStrike" dirty="0">
                          <a:solidFill>
                            <a:srgbClr val="575757"/>
                          </a:solidFill>
                          <a:effectLst/>
                          <a:latin typeface="+mj-lt"/>
                        </a:rPr>
                        <a:t>Manage Tasks (e.g. Trello)</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59</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5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21547587"/>
                  </a:ext>
                </a:extLst>
              </a:tr>
              <a:tr h="401387">
                <a:tc>
                  <a:txBody>
                    <a:bodyPr/>
                    <a:lstStyle/>
                    <a:p>
                      <a:pPr algn="l">
                        <a:spcBef>
                          <a:spcPct val="0"/>
                        </a:spcBef>
                        <a:spcAft>
                          <a:spcPct val="0"/>
                        </a:spcAft>
                      </a:pPr>
                      <a:fld id="{E15CC358-AD1A-44EF-9E0F-54B71E7DCB35}" type="datetime'Cha''t (I''ns''''''ta''n''t'' M''''es''''''sa''g''in''''g)'">
                        <a:rPr lang="en-US" altLang="en-US" sz="1200" smtClean="0"/>
                        <a:pPr algn="l">
                          <a:spcBef>
                            <a:spcPct val="0"/>
                          </a:spcBef>
                          <a:spcAft>
                            <a:spcPct val="0"/>
                          </a:spcAft>
                        </a:pPr>
                        <a:t>Chat (Instant Messaging)</a:t>
                      </a:fld>
                      <a:endParaRPr lang="en-US" sz="1200" dirty="0">
                        <a:sym typeface="+mn-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52</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5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5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01387">
                <a:tc>
                  <a:txBody>
                    <a:bodyPr/>
                    <a:lstStyle/>
                    <a:p>
                      <a:pPr algn="l" fontAlgn="b"/>
                      <a:fld id="{73DA7E90-29A6-4A74-B6CD-360D5A096EE2}" type="datetime'''''''''''''W''hi''teboard'' (''''''Di''git''all''y)'''">
                        <a:rPr lang="en-US" altLang="en-US" sz="1200" smtClean="0"/>
                        <a:pPr algn="l" fontAlgn="b"/>
                        <a:t>Whiteboard (Digitally)</a:t>
                      </a:fld>
                      <a:endParaRPr lang="en-GB" sz="1200" b="0" i="0" u="none" strike="noStrike" dirty="0">
                        <a:solidFill>
                          <a:srgbClr val="575757"/>
                        </a:solidFill>
                        <a:effectLst/>
                        <a:latin typeface="+mj-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40</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5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rgbClr val="FFFFFF"/>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3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4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01387">
                <a:tc>
                  <a:txBody>
                    <a:bodyPr/>
                    <a:lstStyle/>
                    <a:p>
                      <a:pPr algn="l" fontAlgn="b"/>
                      <a:r>
                        <a:rPr lang="en-GB" sz="1200" b="0" i="0" u="none" strike="noStrike" dirty="0">
                          <a:solidFill>
                            <a:srgbClr val="575757"/>
                          </a:solidFill>
                          <a:effectLst/>
                          <a:latin typeface="+mj-lt"/>
                        </a:rPr>
                        <a:t>Collaborate on files</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34</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3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rgbClr val="FFFFFF"/>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3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3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70102756"/>
                  </a:ext>
                </a:extLst>
              </a:tr>
            </a:tbl>
          </a:graphicData>
        </a:graphic>
      </p:graphicFrame>
      <p:sp>
        <p:nvSpPr>
          <p:cNvPr id="33" name="Rectangle 32">
            <a:extLst>
              <a:ext uri="{FF2B5EF4-FFF2-40B4-BE49-F238E27FC236}">
                <a16:creationId xmlns:a16="http://schemas.microsoft.com/office/drawing/2014/main" id="{518A602D-76A6-484A-AFA5-F800B466A875}"/>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 name="Rectangle 54">
            <a:extLst>
              <a:ext uri="{FF2B5EF4-FFF2-40B4-BE49-F238E27FC236}">
                <a16:creationId xmlns:a16="http://schemas.microsoft.com/office/drawing/2014/main" id="{DA2F12A5-8461-4981-B3A6-6105759644D3}"/>
              </a:ext>
            </a:extLst>
          </p:cNvPr>
          <p:cNvSpPr/>
          <p:nvPr/>
        </p:nvSpPr>
        <p:spPr>
          <a:xfrm>
            <a:off x="0" y="5964638"/>
            <a:ext cx="12192000" cy="89716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575757"/>
                </a:solidFill>
                <a:cs typeface="Arial" pitchFamily="34" charset="0"/>
              </a:rPr>
              <a:t>CT continue to be most satisfied with video conferencing &amp; least with collaborating on files, although some improvement is noted comparing annual averages for the latter. Although 'unacceptable', positive trends are seen for whiteboarding with Q4 year-over-year increasing +11% &amp; the annual average +10%.</a:t>
            </a:r>
          </a:p>
        </p:txBody>
      </p:sp>
      <p:grpSp>
        <p:nvGrpSpPr>
          <p:cNvPr id="20" name="Group 19">
            <a:extLst>
              <a:ext uri="{FF2B5EF4-FFF2-40B4-BE49-F238E27FC236}">
                <a16:creationId xmlns:a16="http://schemas.microsoft.com/office/drawing/2014/main" id="{01DB31BE-5530-4DAD-A30D-80A7B96440BD}"/>
              </a:ext>
            </a:extLst>
          </p:cNvPr>
          <p:cNvGrpSpPr/>
          <p:nvPr/>
        </p:nvGrpSpPr>
        <p:grpSpPr>
          <a:xfrm>
            <a:off x="629999" y="5187438"/>
            <a:ext cx="6155997" cy="444350"/>
            <a:chOff x="753111" y="3331233"/>
            <a:chExt cx="6155997" cy="444350"/>
          </a:xfrm>
        </p:grpSpPr>
        <p:grpSp>
          <p:nvGrpSpPr>
            <p:cNvPr id="21" name="Group 20">
              <a:extLst>
                <a:ext uri="{FF2B5EF4-FFF2-40B4-BE49-F238E27FC236}">
                  <a16:creationId xmlns:a16="http://schemas.microsoft.com/office/drawing/2014/main" id="{740CF774-A374-4CE5-9887-DD4A0275CD94}"/>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10A5A480-B471-4474-845D-E6B5ED7C18ED}"/>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1" name="Rectangle 30">
                <a:extLst>
                  <a:ext uri="{FF2B5EF4-FFF2-40B4-BE49-F238E27FC236}">
                    <a16:creationId xmlns:a16="http://schemas.microsoft.com/office/drawing/2014/main" id="{BE8A0768-3428-4345-8738-B0F2E78184A1}"/>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2" name="Rectangle 31">
                <a:extLst>
                  <a:ext uri="{FF2B5EF4-FFF2-40B4-BE49-F238E27FC236}">
                    <a16:creationId xmlns:a16="http://schemas.microsoft.com/office/drawing/2014/main" id="{3EC7DACE-6945-430E-8A91-EB91E39CBC5D}"/>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4" name="Rectangle 33">
                <a:extLst>
                  <a:ext uri="{FF2B5EF4-FFF2-40B4-BE49-F238E27FC236}">
                    <a16:creationId xmlns:a16="http://schemas.microsoft.com/office/drawing/2014/main" id="{AD4F0360-80EC-4675-8AA0-E5A2E3B18101}"/>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8" name="Rectangle 37">
                <a:extLst>
                  <a:ext uri="{FF2B5EF4-FFF2-40B4-BE49-F238E27FC236}">
                    <a16:creationId xmlns:a16="http://schemas.microsoft.com/office/drawing/2014/main" id="{C0265D29-92D6-48F6-A50E-63FE8ADC9C58}"/>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39" name="Rectangle 38">
                <a:extLst>
                  <a:ext uri="{FF2B5EF4-FFF2-40B4-BE49-F238E27FC236}">
                    <a16:creationId xmlns:a16="http://schemas.microsoft.com/office/drawing/2014/main" id="{099846F1-D280-478D-950E-0946F7BD0CC5}"/>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06B87C03-123E-41F6-851E-B3797046DFAD}"/>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A8785ED2-D02E-4D81-8C61-E60244772BB9}"/>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898A4284-6F0B-4F9B-AB01-3ABE5005FCCC}"/>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9F64CFEC-9D1B-41DE-9BC7-41D878C598DD}"/>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CCF73179-600C-4363-9B43-CD42490EED6C}"/>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9EAB4777-7A22-4EBD-B5B5-95EF282C0D88}"/>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40" name="Group 39">
            <a:extLst>
              <a:ext uri="{FF2B5EF4-FFF2-40B4-BE49-F238E27FC236}">
                <a16:creationId xmlns:a16="http://schemas.microsoft.com/office/drawing/2014/main" id="{441F3F13-9E94-4E13-901F-59E292EB111E}"/>
              </a:ext>
            </a:extLst>
          </p:cNvPr>
          <p:cNvGrpSpPr>
            <a:grpSpLocks noChangeAspect="1"/>
          </p:cNvGrpSpPr>
          <p:nvPr/>
        </p:nvGrpSpPr>
        <p:grpSpPr>
          <a:xfrm>
            <a:off x="514429" y="864696"/>
            <a:ext cx="457200" cy="457200"/>
            <a:chOff x="5867400" y="3200400"/>
            <a:chExt cx="457200" cy="457200"/>
          </a:xfrm>
        </p:grpSpPr>
        <p:sp>
          <p:nvSpPr>
            <p:cNvPr id="41" name="AutoShape 43">
              <a:extLst>
                <a:ext uri="{FF2B5EF4-FFF2-40B4-BE49-F238E27FC236}">
                  <a16:creationId xmlns:a16="http://schemas.microsoft.com/office/drawing/2014/main" id="{89D888F0-4B97-4359-A2F3-2D4A8EE6AAB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A74E0411-206D-46DC-B3D2-9518F34DD5EC}"/>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56" name="Rectangle 55">
            <a:extLst>
              <a:ext uri="{FF2B5EF4-FFF2-40B4-BE49-F238E27FC236}">
                <a16:creationId xmlns:a16="http://schemas.microsoft.com/office/drawing/2014/main" id="{DF9A9E3A-635D-4C33-9BAC-F34638F4BA66}"/>
              </a:ext>
            </a:extLst>
          </p:cNvPr>
          <p:cNvSpPr/>
          <p:nvPr/>
        </p:nvSpPr>
        <p:spPr>
          <a:xfrm flipH="1">
            <a:off x="10356113" y="1596204"/>
            <a:ext cx="1262788" cy="3415107"/>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Rectangle 59">
            <a:extLst>
              <a:ext uri="{FF2B5EF4-FFF2-40B4-BE49-F238E27FC236}">
                <a16:creationId xmlns:a16="http://schemas.microsoft.com/office/drawing/2014/main" id="{F506B9E3-631A-4C60-A2FF-AE9E7E9D9085}"/>
              </a:ext>
            </a:extLst>
          </p:cNvPr>
          <p:cNvSpPr/>
          <p:nvPr/>
        </p:nvSpPr>
        <p:spPr>
          <a:xfrm>
            <a:off x="9197164" y="5059620"/>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Tree>
    <p:custDataLst>
      <p:tags r:id="rId2"/>
    </p:custDataLst>
    <p:extLst>
      <p:ext uri="{BB962C8B-B14F-4D97-AF65-F5344CB8AC3E}">
        <p14:creationId xmlns:p14="http://schemas.microsoft.com/office/powerpoint/2010/main" val="311294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BA140-2123-49D2-B426-56D1368402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87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4BFBA140-2123-49D2-B426-56D1368402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9" name="Table 28">
            <a:extLst>
              <a:ext uri="{FF2B5EF4-FFF2-40B4-BE49-F238E27FC236}">
                <a16:creationId xmlns:a16="http://schemas.microsoft.com/office/drawing/2014/main" id="{B5F500D8-500F-4C0D-890D-E136C8FA07E3}"/>
              </a:ext>
            </a:extLst>
          </p:cNvPr>
          <p:cNvGraphicFramePr>
            <a:graphicFrameLocks noGrp="1"/>
          </p:cNvGraphicFramePr>
          <p:nvPr>
            <p:extLst>
              <p:ext uri="{D42A27DB-BD31-4B8C-83A1-F6EECF244321}">
                <p14:modId xmlns:p14="http://schemas.microsoft.com/office/powerpoint/2010/main" val="4042393971"/>
              </p:ext>
            </p:extLst>
          </p:nvPr>
        </p:nvGraphicFramePr>
        <p:xfrm>
          <a:off x="4582047" y="1149624"/>
          <a:ext cx="7106368" cy="4450475"/>
        </p:xfrm>
        <a:graphic>
          <a:graphicData uri="http://schemas.openxmlformats.org/drawingml/2006/table">
            <a:tbl>
              <a:tblPr/>
              <a:tblGrid>
                <a:gridCol w="1938023">
                  <a:extLst>
                    <a:ext uri="{9D8B030D-6E8A-4147-A177-3AD203B41FA5}">
                      <a16:colId xmlns:a16="http://schemas.microsoft.com/office/drawing/2014/main" val="20000"/>
                    </a:ext>
                  </a:extLst>
                </a:gridCol>
                <a:gridCol w="1033669">
                  <a:extLst>
                    <a:ext uri="{9D8B030D-6E8A-4147-A177-3AD203B41FA5}">
                      <a16:colId xmlns:a16="http://schemas.microsoft.com/office/drawing/2014/main" val="3014567975"/>
                    </a:ext>
                  </a:extLst>
                </a:gridCol>
                <a:gridCol w="1033669">
                  <a:extLst>
                    <a:ext uri="{9D8B030D-6E8A-4147-A177-3AD203B41FA5}">
                      <a16:colId xmlns:a16="http://schemas.microsoft.com/office/drawing/2014/main" val="3277614122"/>
                    </a:ext>
                  </a:extLst>
                </a:gridCol>
                <a:gridCol w="1033669">
                  <a:extLst>
                    <a:ext uri="{9D8B030D-6E8A-4147-A177-3AD203B41FA5}">
                      <a16:colId xmlns:a16="http://schemas.microsoft.com/office/drawing/2014/main" val="167320495"/>
                    </a:ext>
                  </a:extLst>
                </a:gridCol>
                <a:gridCol w="1033669">
                  <a:extLst>
                    <a:ext uri="{9D8B030D-6E8A-4147-A177-3AD203B41FA5}">
                      <a16:colId xmlns:a16="http://schemas.microsoft.com/office/drawing/2014/main" val="1176900411"/>
                    </a:ext>
                  </a:extLst>
                </a:gridCol>
                <a:gridCol w="1033669">
                  <a:extLst>
                    <a:ext uri="{9D8B030D-6E8A-4147-A177-3AD203B41FA5}">
                      <a16:colId xmlns:a16="http://schemas.microsoft.com/office/drawing/2014/main" val="704089029"/>
                    </a:ext>
                  </a:extLst>
                </a:gridCol>
              </a:tblGrid>
              <a:tr h="0">
                <a:tc>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100" b="1" i="0" u="none" strike="noStrike" kern="1200" dirty="0">
                          <a:solidFill>
                            <a:srgbClr val="575757"/>
                          </a:solidFill>
                          <a:effectLst/>
                          <a:latin typeface="+mj-lt"/>
                          <a:ea typeface="+mn-ea"/>
                          <a:cs typeface="+mn-cs"/>
                        </a:rPr>
                        <a:t>2019 Average (%)</a:t>
                      </a:r>
                    </a:p>
                  </a:txBody>
                  <a:tcPr marL="6334" marR="6334" marT="633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100" b="1" i="0" u="none" strike="noStrike" kern="1200" dirty="0">
                          <a:solidFill>
                            <a:srgbClr val="575757"/>
                          </a:solidFill>
                          <a:effectLst/>
                          <a:latin typeface="+mj-lt"/>
                          <a:ea typeface="+mn-ea"/>
                          <a:cs typeface="+mn-cs"/>
                        </a:rPr>
                        <a:t>2020 Average </a:t>
                      </a:r>
                    </a:p>
                    <a:p>
                      <a:pPr algn="ctr" rtl="0" fontAlgn="ctr"/>
                      <a:r>
                        <a:rPr lang="en-GB" sz="1100" b="1" i="0" u="none" strike="noStrike" kern="1200" dirty="0">
                          <a:solidFill>
                            <a:srgbClr val="575757"/>
                          </a:solidFill>
                          <a:effectLst/>
                          <a:latin typeface="+mj-lt"/>
                          <a:ea typeface="+mn-ea"/>
                          <a:cs typeface="+mn-cs"/>
                        </a:rPr>
                        <a:t>(%)</a:t>
                      </a:r>
                    </a:p>
                  </a:txBody>
                  <a:tcPr marL="6334" marR="6334" marT="633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Average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t>
                      </a:r>
                    </a:p>
                  </a:txBody>
                  <a:tcPr marL="0" marR="73152" marT="73152" marB="73152"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cap="none" normalizeH="0" baseline="0" dirty="0">
                          <a:ln>
                            <a:noFill/>
                          </a:ln>
                          <a:solidFill>
                            <a:schemeClr val="tx1"/>
                          </a:solidFill>
                          <a:effectLst/>
                          <a:latin typeface="+mn-lt"/>
                          <a:cs typeface="Arial" charset="0"/>
                          <a:sym typeface="Trebuchet MS" panose="020B0603020202020204" pitchFamily="34" charset="0"/>
                        </a:rPr>
                        <a:t>2021 vs 2020</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cap="none" normalizeH="0" baseline="0" dirty="0">
                          <a:ln>
                            <a:noFill/>
                          </a:ln>
                          <a:solidFill>
                            <a:schemeClr val="tx1"/>
                          </a:solidFill>
                          <a:effectLst/>
                          <a:latin typeface="+mn-lt"/>
                          <a:cs typeface="Arial" charset="0"/>
                          <a:sym typeface="Trebuchet MS" panose="020B0603020202020204" pitchFamily="34" charset="0"/>
                        </a:rPr>
                        <a:t>(% Change)</a:t>
                      </a:r>
                    </a:p>
                  </a:txBody>
                  <a:tcPr marL="0" marR="73152" marT="73152" marB="7315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cap="none" normalizeH="0" baseline="0" dirty="0">
                          <a:ln>
                            <a:noFill/>
                          </a:ln>
                          <a:solidFill>
                            <a:schemeClr val="tx1"/>
                          </a:solidFill>
                          <a:effectLst/>
                          <a:latin typeface="+mn-lt"/>
                          <a:cs typeface="Arial" charset="0"/>
                          <a:sym typeface="Trebuchet MS" panose="020B0603020202020204" pitchFamily="34" charset="0"/>
                        </a:rPr>
                        <a:t>2021 vs 2019</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cap="none" normalizeH="0" baseline="0" dirty="0">
                          <a:ln>
                            <a:noFill/>
                          </a:ln>
                          <a:solidFill>
                            <a:schemeClr val="tx1"/>
                          </a:solidFill>
                          <a:effectLst/>
                          <a:latin typeface="+mn-lt"/>
                          <a:cs typeface="Arial" charset="0"/>
                          <a:sym typeface="Trebuchet MS" panose="020B0603020202020204" pitchFamily="34" charset="0"/>
                        </a:rPr>
                        <a:t>(% Change)</a:t>
                      </a:r>
                    </a:p>
                  </a:txBody>
                  <a:tcPr marL="0" marR="73152" marT="73152" marB="7315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50457472"/>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Timesheets – Info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3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3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3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529429462"/>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Laptops</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3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6</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14</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197716265"/>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Expenses - Chrome River</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7</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7</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160792238"/>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PowerPoint</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chemeClr val="bg1"/>
                          </a:solidFill>
                          <a:effectLst/>
                          <a:latin typeface="Trebuchet MS" panose="020B0603020202020204" pitchFamily="34" charset="0"/>
                          <a:ea typeface="+mn-ea"/>
                          <a:cs typeface="+mn-cs"/>
                        </a:rPr>
                        <a:t>3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5C5D0"/>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5C5D0"/>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22</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357569563"/>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Okta</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7</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15406753"/>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Egnyte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chemeClr val="bg2">
                              <a:lumMod val="50000"/>
                            </a:schemeClr>
                          </a:solidFill>
                          <a:latin typeface="Wingdings 3" panose="05040102010807070707" pitchFamily="18" charset="2"/>
                        </a:rPr>
                        <a:t>w</a:t>
                      </a: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0</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960648235"/>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Trello</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224064005"/>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IT SC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5</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 typeface="Wingdings 3" panose="05040102010807070707" pitchFamily="18" charset="2"/>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6</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63293024"/>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Outlook</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3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4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2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32</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250988386"/>
                  </a:ext>
                </a:extLst>
              </a:tr>
              <a:tr h="208889">
                <a:tc>
                  <a:txBody>
                    <a:bodyPr/>
                    <a:lstStyle/>
                    <a:p>
                      <a:pPr algn="l" rtl="0" fontAlgn="t"/>
                      <a:r>
                        <a:rPr lang="en-US" sz="1100" b="0" i="0" u="none" strike="noStrike">
                          <a:solidFill>
                            <a:srgbClr val="575757"/>
                          </a:solidFill>
                          <a:effectLst/>
                          <a:latin typeface="Trebuchet MS" panose="020B0603020202020204" pitchFamily="34" charset="0"/>
                        </a:rPr>
                        <a:t>Slack </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13</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965969198"/>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Information Security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77735251"/>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Word</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10</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620396430"/>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Outlook for Mobile</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781068922"/>
                  </a:ext>
                </a:extLst>
              </a:tr>
              <a:tr h="208889">
                <a:tc>
                  <a:txBody>
                    <a:bodyPr/>
                    <a:lstStyle/>
                    <a:p>
                      <a:pPr algn="l" rtl="0" fontAlgn="t"/>
                      <a:r>
                        <a:rPr lang="en-US" sz="1100" b="0" i="0" u="none" strike="noStrike">
                          <a:solidFill>
                            <a:srgbClr val="575757"/>
                          </a:solidFill>
                          <a:effectLst/>
                          <a:latin typeface="Trebuchet MS" panose="020B0603020202020204" pitchFamily="34" charset="0"/>
                        </a:rPr>
                        <a:t>Exce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5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6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100" b="0" i="0" u="none" strike="noStrike" kern="1200" dirty="0">
                          <a:solidFill>
                            <a:srgbClr val="575757"/>
                          </a:solidFill>
                          <a:effectLst/>
                          <a:latin typeface="Trebuchet MS" panose="020B0603020202020204" pitchFamily="34" charset="0"/>
                          <a:ea typeface="+mn-ea"/>
                          <a:cs typeface="+mn-cs"/>
                        </a:rPr>
                        <a:t>22</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62636758"/>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IT Support – Overall</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3</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755597326"/>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VPN</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7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9</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7</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634753454"/>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OneNote</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chemeClr val="tx1"/>
                          </a:solidFill>
                          <a:effectLst/>
                          <a:latin typeface="Trebuchet MS" panose="020B0603020202020204" pitchFamily="34" charset="0"/>
                          <a:ea typeface="+mn-ea"/>
                          <a:cs typeface="+mn-cs"/>
                        </a:rPr>
                        <a:t>7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rtl="0" fontAlgn="t"/>
                      <a:r>
                        <a:rPr lang="en-US" sz="1100" b="0" i="0" u="none" strike="noStrike" kern="1200" dirty="0">
                          <a:solidFill>
                            <a:schemeClr val="bg1"/>
                          </a:solidFill>
                          <a:effectLst/>
                          <a:latin typeface="Trebuchet MS" panose="020B0603020202020204" pitchFamily="34" charset="0"/>
                          <a:ea typeface="+mn-ea"/>
                          <a:cs typeface="+mn-cs"/>
                        </a:rPr>
                        <a:t>8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t"/>
                      <a:r>
                        <a:rPr lang="en-US" sz="1100" b="0" i="0" u="none" strike="noStrike" kern="1200" dirty="0">
                          <a:solidFill>
                            <a:schemeClr val="bg1"/>
                          </a:solidFill>
                          <a:effectLst/>
                          <a:latin typeface="Trebuchet MS" panose="020B0603020202020204" pitchFamily="34" charset="0"/>
                          <a:ea typeface="+mn-ea"/>
                          <a:cs typeface="+mn-cs"/>
                        </a:rPr>
                        <a:t>8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t"/>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6</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84530776"/>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Local IT</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8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9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9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t"/>
                      <a:r>
                        <a:rPr lang="en-US" sz="1100" dirty="0">
                          <a:solidFill>
                            <a:schemeClr val="bg2">
                              <a:lumMod val="50000"/>
                            </a:schemeClr>
                          </a:solidFill>
                          <a:latin typeface="Wingdings 3" panose="05040102010807070707" pitchFamily="18" charset="2"/>
                        </a:rPr>
                        <a:t>w</a:t>
                      </a: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2</a:t>
                      </a: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574718202"/>
                  </a:ext>
                </a:extLst>
              </a:tr>
              <a:tr h="208889">
                <a:tc>
                  <a:txBody>
                    <a:bodyPr/>
                    <a:lstStyle/>
                    <a:p>
                      <a:pPr algn="l" rtl="0" fontAlgn="t"/>
                      <a:r>
                        <a:rPr lang="en-US" sz="1100" b="0" i="0" u="none" strike="noStrike" dirty="0">
                          <a:solidFill>
                            <a:srgbClr val="575757"/>
                          </a:solidFill>
                          <a:effectLst/>
                          <a:latin typeface="Trebuchet MS" panose="020B0603020202020204" pitchFamily="34" charset="0"/>
                        </a:rPr>
                        <a:t>Zoom</a:t>
                      </a:r>
                    </a:p>
                  </a:txBody>
                  <a:tcPr marL="0" marR="0" marT="0" marB="0">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chemeClr val="tx1"/>
                          </a:solidFill>
                          <a:effectLst/>
                          <a:latin typeface="Trebuchet MS" panose="020B0603020202020204" pitchFamily="34" charset="0"/>
                          <a:ea typeface="+mn-ea"/>
                          <a:cs typeface="+mn-cs"/>
                        </a:rPr>
                        <a: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8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rtl="0" fontAlgn="t"/>
                      <a:r>
                        <a:rPr lang="en-US" sz="1100" b="0" i="0" u="none" strike="noStrike" kern="1200" dirty="0">
                          <a:solidFill>
                            <a:srgbClr val="FFFFFF"/>
                          </a:solidFill>
                          <a:effectLst/>
                          <a:latin typeface="Trebuchet MS" panose="020B0603020202020204" pitchFamily="34" charset="0"/>
                          <a:ea typeface="+mn-ea"/>
                          <a:cs typeface="+mn-cs"/>
                        </a:rPr>
                        <a:t>9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rtl="0" fontAlgn="t"/>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lang="en-US" sz="1100" b="0" i="0" u="none" strike="noStrike" kern="1200" dirty="0">
                          <a:solidFill>
                            <a:srgbClr val="575757"/>
                          </a:solidFill>
                          <a:effectLst/>
                          <a:latin typeface="Trebuchet MS" panose="020B0603020202020204" pitchFamily="34" charset="0"/>
                          <a:ea typeface="+mn-ea"/>
                          <a:cs typeface="+mn-cs"/>
                        </a:rPr>
                        <a:t>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rtl="0" fontAlgn="t"/>
                      <a:r>
                        <a:rPr lang="en-US" sz="1100" b="0" i="0" u="none" strike="noStrike" kern="1200" dirty="0">
                          <a:solidFill>
                            <a:srgbClr val="575757"/>
                          </a:solidFill>
                          <a:effectLst/>
                          <a:latin typeface="Trebuchet MS" panose="020B0603020202020204" pitchFamily="34" charset="0"/>
                          <a:ea typeface="+mn-ea"/>
                          <a:cs typeface="+mn-cs"/>
                        </a:rPr>
                        <a:t>--</a:t>
                      </a: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816486725"/>
                  </a:ext>
                </a:extLst>
              </a:tr>
            </a:tbl>
          </a:graphicData>
        </a:graphic>
      </p:graphicFrame>
      <p:sp>
        <p:nvSpPr>
          <p:cNvPr id="25" name="TextBox 24">
            <a:extLst>
              <a:ext uri="{FF2B5EF4-FFF2-40B4-BE49-F238E27FC236}">
                <a16:creationId xmlns:a16="http://schemas.microsoft.com/office/drawing/2014/main" id="{0B47895B-75BE-4666-87E3-E860AE55EEF2}"/>
              </a:ext>
            </a:extLst>
          </p:cNvPr>
          <p:cNvSpPr txBox="1"/>
          <p:nvPr/>
        </p:nvSpPr>
        <p:spPr>
          <a:xfrm>
            <a:off x="244054" y="3193328"/>
            <a:ext cx="3620024" cy="3308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lang="en-US" dirty="0">
                <a:solidFill>
                  <a:srgbClr val="FFFFFF"/>
                </a:solidFill>
              </a:rPr>
              <a:t>79% of critical products improved for CT vs 2020. This rises to 84% if we include Local IT who trended flat (&amp; high)</a:t>
            </a:r>
          </a:p>
          <a:p>
            <a:pPr>
              <a:defRPr/>
            </a:pPr>
            <a:endParaRPr lang="en-US" dirty="0">
              <a:solidFill>
                <a:srgbClr val="FFFFFF"/>
              </a:solidFill>
            </a:endParaRPr>
          </a:p>
          <a:p>
            <a:pPr>
              <a:defRPr/>
            </a:pPr>
            <a:r>
              <a:rPr lang="en-US" dirty="0">
                <a:solidFill>
                  <a:srgbClr val="FFFFFF"/>
                </a:solidFill>
              </a:rPr>
              <a:t>Comparing with 2019, 6 products reach double digit improvement, incl. laptops, PPT &amp; Outlook</a:t>
            </a:r>
          </a:p>
          <a:p>
            <a:pPr>
              <a:defRPr/>
            </a:pPr>
            <a:endParaRPr lang="en-US" dirty="0">
              <a:solidFill>
                <a:srgbClr val="FFFFFF"/>
              </a:solidFill>
            </a:endParaRPr>
          </a:p>
          <a:p>
            <a:pPr>
              <a:defRPr/>
            </a:pPr>
            <a:r>
              <a:rPr lang="en-US" dirty="0">
                <a:solidFill>
                  <a:srgbClr val="FFFFFF"/>
                </a:solidFill>
              </a:rPr>
              <a:t>Trello's 2021 annual average is lower than both 2020 &amp; 2019</a:t>
            </a:r>
          </a:p>
        </p:txBody>
      </p:sp>
      <p:sp>
        <p:nvSpPr>
          <p:cNvPr id="2" name="Rectangle 1">
            <a:extLst>
              <a:ext uri="{FF2B5EF4-FFF2-40B4-BE49-F238E27FC236}">
                <a16:creationId xmlns:a16="http://schemas.microsoft.com/office/drawing/2014/main" id="{DA64155E-9EC5-4516-9802-FD52D1A62402}"/>
              </a:ext>
            </a:extLst>
          </p:cNvPr>
          <p:cNvSpPr/>
          <p:nvPr/>
        </p:nvSpPr>
        <p:spPr>
          <a:xfrm>
            <a:off x="4476542" y="178764"/>
            <a:ext cx="7471404"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295E7E"/>
                </a:solidFill>
                <a:effectLst/>
                <a:uLnTx/>
                <a:uFillTx/>
                <a:latin typeface="Trebuchet MS"/>
                <a:ea typeface="+mn-ea"/>
                <a:cs typeface="+mn-cs"/>
                <a:sym typeface="Trebuchet MS" panose="020B0603020202020204" pitchFamily="34" charset="0"/>
              </a:rPr>
              <a:t>Senior Consulting</a:t>
            </a:r>
            <a:r>
              <a:rPr kumimoji="0" lang="en-GB" sz="2800" b="0" i="0" u="none" strike="noStrike" kern="1200" cap="none" spc="0" normalizeH="0" baseline="30000" noProof="0" dirty="0">
                <a:ln>
                  <a:noFill/>
                </a:ln>
                <a:solidFill>
                  <a:srgbClr val="295E7E"/>
                </a:solidFill>
                <a:effectLst/>
                <a:uLnTx/>
                <a:uFillTx/>
                <a:latin typeface="Trebuchet MS"/>
                <a:ea typeface="+mn-ea"/>
                <a:cs typeface="+mn-cs"/>
                <a:sym typeface="Trebuchet MS" panose="020B0603020202020204" pitchFamily="34" charset="0"/>
              </a:rPr>
              <a:t>1</a:t>
            </a:r>
            <a:r>
              <a:rPr kumimoji="0" lang="en-GB" sz="2800" b="0" i="0" u="none" strike="noStrike" kern="1200" cap="none" spc="0" normalizeH="0" baseline="0" noProof="0" dirty="0">
                <a:ln>
                  <a:noFill/>
                </a:ln>
                <a:solidFill>
                  <a:srgbClr val="295E7E"/>
                </a:solidFill>
                <a:effectLst/>
                <a:uLnTx/>
                <a:uFillTx/>
                <a:latin typeface="Trebuchet MS"/>
                <a:ea typeface="+mn-ea"/>
                <a:cs typeface="+mn-cs"/>
                <a:sym typeface="Trebuchet MS" panose="020B0603020202020204" pitchFamily="34" charset="0"/>
              </a:rPr>
              <a:t> E-SAT for Critical Products</a:t>
            </a:r>
            <a:endParaRPr kumimoji="0" lang="en-US" sz="2800" b="0" i="0" u="none" strike="noStrike" kern="1200" cap="none" spc="0" normalizeH="0" baseline="30000" noProof="0" dirty="0">
              <a:ln>
                <a:noFill/>
              </a:ln>
              <a:solidFill>
                <a:srgbClr val="295E7E"/>
              </a:solidFill>
              <a:effectLst/>
              <a:uLnTx/>
              <a:uFillTx/>
              <a:latin typeface="Trebuchet MS"/>
              <a:ea typeface="+mn-ea"/>
              <a:cs typeface="+mn-cs"/>
              <a:sym typeface="Trebuchet MS" panose="020B0603020202020204" pitchFamily="34" charset="0"/>
            </a:endParaRPr>
          </a:p>
        </p:txBody>
      </p:sp>
      <p:sp>
        <p:nvSpPr>
          <p:cNvPr id="11" name="Rectangle 10">
            <a:extLst>
              <a:ext uri="{FF2B5EF4-FFF2-40B4-BE49-F238E27FC236}">
                <a16:creationId xmlns:a16="http://schemas.microsoft.com/office/drawing/2014/main" id="{B0B3011D-EF12-4128-8A22-1E231E859C1D}"/>
              </a:ext>
            </a:extLst>
          </p:cNvPr>
          <p:cNvSpPr/>
          <p:nvPr/>
        </p:nvSpPr>
        <p:spPr>
          <a:xfrm>
            <a:off x="4442994" y="6590600"/>
            <a:ext cx="5330803"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75757"/>
                </a:solidFill>
                <a:effectLst/>
                <a:uLnTx/>
                <a:uFillTx/>
                <a:latin typeface="Trebuchet MS"/>
                <a:ea typeface="+mn-ea"/>
                <a:cs typeface="+mn-cs"/>
              </a:rPr>
              <a:t>Table ordered by 2021 </a:t>
            </a:r>
            <a:r>
              <a:rPr lang="en-GB" sz="1000" dirty="0">
                <a:solidFill>
                  <a:srgbClr val="575757"/>
                </a:solidFill>
                <a:latin typeface="Trebuchet MS"/>
              </a:rPr>
              <a:t>Average </a:t>
            </a:r>
            <a:r>
              <a:rPr kumimoji="0" lang="en-GB" sz="1000" b="0" i="0" u="none" strike="noStrike" kern="1200" cap="none" spc="0" normalizeH="0" baseline="0" noProof="0" dirty="0">
                <a:ln>
                  <a:noFill/>
                </a:ln>
                <a:solidFill>
                  <a:srgbClr val="575757"/>
                </a:solidFill>
                <a:effectLst/>
                <a:uLnTx/>
                <a:uFillTx/>
                <a:latin typeface="Trebuchet MS"/>
                <a:ea typeface="+mn-ea"/>
                <a:cs typeface="+mn-cs"/>
              </a:rPr>
              <a:t>in reverse order with lowest E-SAT at the top</a:t>
            </a:r>
          </a:p>
        </p:txBody>
      </p:sp>
      <p:grpSp>
        <p:nvGrpSpPr>
          <p:cNvPr id="12" name="Group 11">
            <a:extLst>
              <a:ext uri="{FF2B5EF4-FFF2-40B4-BE49-F238E27FC236}">
                <a16:creationId xmlns:a16="http://schemas.microsoft.com/office/drawing/2014/main" id="{08222372-1FB2-4470-8EB4-968BC3C93416}"/>
              </a:ext>
            </a:extLst>
          </p:cNvPr>
          <p:cNvGrpSpPr>
            <a:grpSpLocks noChangeAspect="1"/>
          </p:cNvGrpSpPr>
          <p:nvPr/>
        </p:nvGrpSpPr>
        <p:grpSpPr>
          <a:xfrm>
            <a:off x="4164389" y="6608030"/>
            <a:ext cx="211360" cy="211360"/>
            <a:chOff x="5961063" y="3294063"/>
            <a:chExt cx="269875" cy="269875"/>
          </a:xfrm>
        </p:grpSpPr>
        <p:sp>
          <p:nvSpPr>
            <p:cNvPr id="13" name="Oval 14">
              <a:extLst>
                <a:ext uri="{FF2B5EF4-FFF2-40B4-BE49-F238E27FC236}">
                  <a16:creationId xmlns:a16="http://schemas.microsoft.com/office/drawing/2014/main" id="{964E660F-27E1-42B4-9ED8-1C1305F1FA54}"/>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4" name="Freeform 15">
              <a:extLst>
                <a:ext uri="{FF2B5EF4-FFF2-40B4-BE49-F238E27FC236}">
                  <a16:creationId xmlns:a16="http://schemas.microsoft.com/office/drawing/2014/main" id="{4C5CD6F7-424F-4CE3-9B52-A8F0E16FB591}"/>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nvGrpSpPr>
          <p:cNvPr id="15" name="Group 14">
            <a:extLst>
              <a:ext uri="{FF2B5EF4-FFF2-40B4-BE49-F238E27FC236}">
                <a16:creationId xmlns:a16="http://schemas.microsoft.com/office/drawing/2014/main" id="{C81399FE-E7AC-4C01-9098-6ED22C1FAD9A}"/>
              </a:ext>
            </a:extLst>
          </p:cNvPr>
          <p:cNvGrpSpPr>
            <a:grpSpLocks noChangeAspect="1"/>
          </p:cNvGrpSpPr>
          <p:nvPr/>
        </p:nvGrpSpPr>
        <p:grpSpPr>
          <a:xfrm>
            <a:off x="8993489" y="918298"/>
            <a:ext cx="211360" cy="211360"/>
            <a:chOff x="5961063" y="3294063"/>
            <a:chExt cx="269875" cy="269875"/>
          </a:xfrm>
        </p:grpSpPr>
        <p:sp>
          <p:nvSpPr>
            <p:cNvPr id="16" name="Oval 14">
              <a:extLst>
                <a:ext uri="{FF2B5EF4-FFF2-40B4-BE49-F238E27FC236}">
                  <a16:creationId xmlns:a16="http://schemas.microsoft.com/office/drawing/2014/main" id="{539144E2-7CBD-45C3-A603-6B8BF37A894D}"/>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7" name="Freeform 15">
              <a:extLst>
                <a:ext uri="{FF2B5EF4-FFF2-40B4-BE49-F238E27FC236}">
                  <a16:creationId xmlns:a16="http://schemas.microsoft.com/office/drawing/2014/main" id="{4D41CE37-0B4A-4238-BC73-1E4C22271759}"/>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4" name="Rectangle 3">
            <a:extLst>
              <a:ext uri="{FF2B5EF4-FFF2-40B4-BE49-F238E27FC236}">
                <a16:creationId xmlns:a16="http://schemas.microsoft.com/office/drawing/2014/main" id="{AE181E36-F606-4FE2-B229-639AE8FD9BE4}"/>
              </a:ext>
            </a:extLst>
          </p:cNvPr>
          <p:cNvSpPr/>
          <p:nvPr/>
        </p:nvSpPr>
        <p:spPr>
          <a:xfrm>
            <a:off x="244054" y="214758"/>
            <a:ext cx="3620024" cy="2812370"/>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75757"/>
                </a:solidFill>
                <a:effectLst/>
                <a:uLnTx/>
                <a:uFillTx/>
                <a:latin typeface="Trebuchet MS"/>
                <a:ea typeface="+mn-ea"/>
                <a:cs typeface="+mn-cs"/>
              </a:rPr>
              <a:t>Overall </a:t>
            </a:r>
            <a:r>
              <a:rPr lang="en-US" dirty="0">
                <a:solidFill>
                  <a:srgbClr val="575757"/>
                </a:solidFill>
                <a:latin typeface="Trebuchet MS"/>
              </a:rPr>
              <a:t>IT </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E-SAT for Senior CT in Q4 is </a:t>
            </a:r>
            <a:r>
              <a:rPr lang="en-US" dirty="0">
                <a:solidFill>
                  <a:srgbClr val="575757"/>
                </a:solidFill>
                <a:latin typeface="Trebuchet MS"/>
              </a:rPr>
              <a:t>71</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 a 'Good' grade, this is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800" b="0" i="0" u="none" strike="noStrike" kern="1200" cap="none" spc="0" normalizeH="0" baseline="0" noProof="0" dirty="0">
                <a:ln>
                  <a:noFill/>
                </a:ln>
                <a:solidFill>
                  <a:srgbClr val="FFFFFF"/>
                </a:solidFill>
                <a:effectLst/>
                <a:uLnTx/>
                <a:uFillTx/>
                <a:latin typeface="Trebuchet MS"/>
                <a:ea typeface="+mn-ea"/>
                <a:cs typeface="+mn-cs"/>
              </a:rPr>
              <a:t>-</a:t>
            </a:r>
            <a:r>
              <a:rPr lang="en-US" dirty="0">
                <a:solidFill>
                  <a:srgbClr val="575757"/>
                </a:solidFill>
                <a:latin typeface="Trebuchet MS"/>
              </a:rPr>
              <a:t>8</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 vs Q4 2020 (</a:t>
            </a:r>
            <a:r>
              <a:rPr lang="en-US" dirty="0">
                <a:solidFill>
                  <a:srgbClr val="575757"/>
                </a:solidFill>
                <a:latin typeface="Trebuchet MS"/>
              </a:rPr>
              <a:t>79</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575757"/>
              </a:solidFill>
              <a:latin typeface="Trebuchet MS"/>
            </a:endParaRPr>
          </a:p>
          <a:p>
            <a:pPr>
              <a:defRPr/>
            </a:pPr>
            <a:r>
              <a:rPr lang="en-US" b="1" dirty="0">
                <a:solidFill>
                  <a:srgbClr val="575757"/>
                </a:solidFill>
                <a:latin typeface="Trebuchet MS"/>
              </a:rPr>
              <a:t>More importantly</a:t>
            </a:r>
            <a:r>
              <a:rPr lang="en-US" dirty="0">
                <a:solidFill>
                  <a:srgbClr val="575757"/>
                </a:solidFill>
                <a:latin typeface="Trebuchet MS"/>
              </a:rPr>
              <a:t>, the annual average in 2021 is 69%, this is – </a:t>
            </a:r>
          </a:p>
          <a:p>
            <a:pPr>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800" b="0" i="0" u="none" strike="noStrike" kern="1200" cap="none" spc="0" normalizeH="0" baseline="0" noProof="0" dirty="0">
                <a:ln>
                  <a:noFill/>
                </a:ln>
                <a:solidFill>
                  <a:srgbClr val="FFFFFF"/>
                </a:solidFill>
                <a:effectLst/>
                <a:uLnTx/>
                <a:uFillTx/>
                <a:latin typeface="Trebuchet MS"/>
                <a:ea typeface="+mn-ea"/>
                <a:cs typeface="+mn-cs"/>
              </a:rPr>
              <a:t>-</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7% vs 2020 average (62%)</a:t>
            </a:r>
          </a:p>
          <a:p>
            <a:pPr>
              <a:defRPr/>
            </a:pPr>
            <a:r>
              <a:rPr kumimoji="0" lang="en-US" sz="18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800" b="0" i="0" u="none" strike="noStrike" kern="1200" cap="none" spc="0" normalizeH="0" baseline="0" noProof="0" dirty="0">
                <a:ln>
                  <a:noFill/>
                </a:ln>
                <a:solidFill>
                  <a:srgbClr val="FFFFFF"/>
                </a:solidFill>
                <a:effectLst/>
                <a:uLnTx/>
                <a:uFillTx/>
                <a:latin typeface="Trebuchet MS"/>
                <a:ea typeface="+mn-ea"/>
                <a:cs typeface="+mn-cs"/>
              </a:rPr>
              <a:t>-</a:t>
            </a:r>
            <a:r>
              <a:rPr kumimoji="0" lang="en-US" sz="1800" b="0" i="0" u="none" strike="noStrike" kern="1200" cap="none" spc="0" normalizeH="0" baseline="0" noProof="0" dirty="0">
                <a:ln>
                  <a:noFill/>
                </a:ln>
                <a:solidFill>
                  <a:srgbClr val="575757"/>
                </a:solidFill>
                <a:effectLst/>
                <a:uLnTx/>
                <a:uFillTx/>
                <a:latin typeface="Trebuchet MS"/>
                <a:ea typeface="+mn-ea"/>
                <a:cs typeface="+mn-cs"/>
              </a:rPr>
              <a:t>17% vs 2019 average (52%)</a:t>
            </a:r>
          </a:p>
        </p:txBody>
      </p:sp>
      <p:grpSp>
        <p:nvGrpSpPr>
          <p:cNvPr id="45" name="Group 44">
            <a:extLst>
              <a:ext uri="{FF2B5EF4-FFF2-40B4-BE49-F238E27FC236}">
                <a16:creationId xmlns:a16="http://schemas.microsoft.com/office/drawing/2014/main" id="{2DAC224F-82D9-4274-A788-D8B16306DF69}"/>
              </a:ext>
            </a:extLst>
          </p:cNvPr>
          <p:cNvGrpSpPr/>
          <p:nvPr/>
        </p:nvGrpSpPr>
        <p:grpSpPr>
          <a:xfrm>
            <a:off x="5067859" y="5803066"/>
            <a:ext cx="6155997" cy="444350"/>
            <a:chOff x="753111" y="3331233"/>
            <a:chExt cx="6155997" cy="444350"/>
          </a:xfrm>
        </p:grpSpPr>
        <p:grpSp>
          <p:nvGrpSpPr>
            <p:cNvPr id="46" name="Group 45">
              <a:extLst>
                <a:ext uri="{FF2B5EF4-FFF2-40B4-BE49-F238E27FC236}">
                  <a16:creationId xmlns:a16="http://schemas.microsoft.com/office/drawing/2014/main" id="{EBF049EA-68AC-412A-81E0-75DE41476A1B}"/>
                </a:ext>
              </a:extLst>
            </p:cNvPr>
            <p:cNvGrpSpPr/>
            <p:nvPr/>
          </p:nvGrpSpPr>
          <p:grpSpPr>
            <a:xfrm>
              <a:off x="753111" y="3331233"/>
              <a:ext cx="6155997" cy="220957"/>
              <a:chOff x="753111" y="3331233"/>
              <a:chExt cx="6155997" cy="220957"/>
            </a:xfrm>
          </p:grpSpPr>
          <p:sp>
            <p:nvSpPr>
              <p:cNvPr id="53" name="Rectangle 52">
                <a:extLst>
                  <a:ext uri="{FF2B5EF4-FFF2-40B4-BE49-F238E27FC236}">
                    <a16:creationId xmlns:a16="http://schemas.microsoft.com/office/drawing/2014/main" id="{779E171B-11C7-416E-BB71-81F2DC53572C}"/>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Unacceptable</a:t>
                </a:r>
              </a:p>
            </p:txBody>
          </p:sp>
          <p:sp>
            <p:nvSpPr>
              <p:cNvPr id="54" name="Rectangle 53">
                <a:extLst>
                  <a:ext uri="{FF2B5EF4-FFF2-40B4-BE49-F238E27FC236}">
                    <a16:creationId xmlns:a16="http://schemas.microsoft.com/office/drawing/2014/main" id="{EA099DD0-08AE-45F8-A5D6-153F1E7C4763}"/>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Excellent</a:t>
                </a:r>
              </a:p>
            </p:txBody>
          </p:sp>
          <p:sp>
            <p:nvSpPr>
              <p:cNvPr id="55" name="Rectangle 54">
                <a:extLst>
                  <a:ext uri="{FF2B5EF4-FFF2-40B4-BE49-F238E27FC236}">
                    <a16:creationId xmlns:a16="http://schemas.microsoft.com/office/drawing/2014/main" id="{BD31BF3E-9D64-430B-BA83-4202A237AB50}"/>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56" name="Rectangle 55">
                <a:extLst>
                  <a:ext uri="{FF2B5EF4-FFF2-40B4-BE49-F238E27FC236}">
                    <a16:creationId xmlns:a16="http://schemas.microsoft.com/office/drawing/2014/main" id="{76900E9C-C38F-4B44-A874-C289ADC94D4A}"/>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57" name="Rectangle 56">
                <a:extLst>
                  <a:ext uri="{FF2B5EF4-FFF2-40B4-BE49-F238E27FC236}">
                    <a16:creationId xmlns:a16="http://schemas.microsoft.com/office/drawing/2014/main" id="{F123C9DC-B382-426D-8152-C2658FED93E1}"/>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Poor</a:t>
                </a:r>
              </a:p>
            </p:txBody>
          </p:sp>
          <p:sp>
            <p:nvSpPr>
              <p:cNvPr id="58" name="Rectangle 57">
                <a:extLst>
                  <a:ext uri="{FF2B5EF4-FFF2-40B4-BE49-F238E27FC236}">
                    <a16:creationId xmlns:a16="http://schemas.microsoft.com/office/drawing/2014/main" id="{25BBADC5-D7D8-4E9F-8255-E4843F9EB6D5}"/>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Good</a:t>
                </a:r>
              </a:p>
            </p:txBody>
          </p:sp>
        </p:grpSp>
        <p:sp>
          <p:nvSpPr>
            <p:cNvPr id="47" name="Rectangle 46">
              <a:extLst>
                <a:ext uri="{FF2B5EF4-FFF2-40B4-BE49-F238E27FC236}">
                  <a16:creationId xmlns:a16="http://schemas.microsoft.com/office/drawing/2014/main" id="{B53832E1-3EE3-4D44-A700-3EA3588DF8D4}"/>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0 - 49</a:t>
              </a:r>
            </a:p>
          </p:txBody>
        </p:sp>
        <p:sp>
          <p:nvSpPr>
            <p:cNvPr id="48" name="Rectangle 47">
              <a:extLst>
                <a:ext uri="{FF2B5EF4-FFF2-40B4-BE49-F238E27FC236}">
                  <a16:creationId xmlns:a16="http://schemas.microsoft.com/office/drawing/2014/main" id="{B2C0B46C-81BD-41D6-A709-CC2F6C785925}"/>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90 - 100</a:t>
              </a:r>
            </a:p>
          </p:txBody>
        </p:sp>
        <p:sp>
          <p:nvSpPr>
            <p:cNvPr id="49" name="Rectangle 48">
              <a:extLst>
                <a:ext uri="{FF2B5EF4-FFF2-40B4-BE49-F238E27FC236}">
                  <a16:creationId xmlns:a16="http://schemas.microsoft.com/office/drawing/2014/main" id="{88346390-2453-414B-887E-0221EEFDB26A}"/>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80 - 89</a:t>
              </a:r>
            </a:p>
          </p:txBody>
        </p:sp>
        <p:sp>
          <p:nvSpPr>
            <p:cNvPr id="50" name="Rectangle 49">
              <a:extLst>
                <a:ext uri="{FF2B5EF4-FFF2-40B4-BE49-F238E27FC236}">
                  <a16:creationId xmlns:a16="http://schemas.microsoft.com/office/drawing/2014/main" id="{AB7D7C58-8DEF-45DD-9023-161F24F016AA}"/>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60 - 69</a:t>
              </a:r>
            </a:p>
          </p:txBody>
        </p:sp>
        <p:sp>
          <p:nvSpPr>
            <p:cNvPr id="51" name="Rectangle 50">
              <a:extLst>
                <a:ext uri="{FF2B5EF4-FFF2-40B4-BE49-F238E27FC236}">
                  <a16:creationId xmlns:a16="http://schemas.microsoft.com/office/drawing/2014/main" id="{9694DC98-38A9-454E-8990-1849E753B550}"/>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50 - 59</a:t>
              </a:r>
            </a:p>
          </p:txBody>
        </p:sp>
        <p:sp>
          <p:nvSpPr>
            <p:cNvPr id="52" name="Rectangle 51">
              <a:extLst>
                <a:ext uri="{FF2B5EF4-FFF2-40B4-BE49-F238E27FC236}">
                  <a16:creationId xmlns:a16="http://schemas.microsoft.com/office/drawing/2014/main" id="{3C574028-F913-4961-A8CB-9DEC70CCC983}"/>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 - 79</a:t>
              </a:r>
            </a:p>
          </p:txBody>
        </p:sp>
      </p:grpSp>
    </p:spTree>
    <p:extLst>
      <p:ext uri="{BB962C8B-B14F-4D97-AF65-F5344CB8AC3E}">
        <p14:creationId xmlns:p14="http://schemas.microsoft.com/office/powerpoint/2010/main" val="3661025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902260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97" name="think-cell Slide" r:id="rId21" imgW="395" imgH="394" progId="TCLayout.ActiveDocument.1">
                  <p:embed/>
                </p:oleObj>
              </mc:Choice>
              <mc:Fallback>
                <p:oleObj name="think-cell Slide" r:id="rId21" imgW="395" imgH="394"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a:solidFill>
                <a:srgbClr val="FFFFFF"/>
              </a:solidFill>
              <a:sym typeface="+mn-lt"/>
            </a:endParaRPr>
          </a:p>
        </p:txBody>
      </p:sp>
      <p:sp>
        <p:nvSpPr>
          <p:cNvPr id="2" name="Title 1"/>
          <p:cNvSpPr>
            <a:spLocks noGrp="1"/>
          </p:cNvSpPr>
          <p:nvPr>
            <p:ph type="title"/>
          </p:nvPr>
        </p:nvSpPr>
        <p:spPr/>
        <p:txBody>
          <a:bodyPr vert="horz"/>
          <a:lstStyle/>
          <a:p>
            <a:r>
              <a:rPr lang="en-US" dirty="0">
                <a:solidFill>
                  <a:srgbClr val="295E7E"/>
                </a:solidFill>
              </a:rPr>
              <a:t>Q4 Response Rates</a:t>
            </a:r>
          </a:p>
        </p:txBody>
      </p:sp>
      <p:graphicFrame>
        <p:nvGraphicFramePr>
          <p:cNvPr id="51" name="Chart 50">
            <a:extLst>
              <a:ext uri="{FF2B5EF4-FFF2-40B4-BE49-F238E27FC236}">
                <a16:creationId xmlns:a16="http://schemas.microsoft.com/office/drawing/2014/main" id="{E075FE47-25AB-4BF4-BFBC-CA0E84F770F3}"/>
              </a:ext>
            </a:extLst>
          </p:cNvPr>
          <p:cNvGraphicFramePr/>
          <p:nvPr>
            <p:custDataLst>
              <p:tags r:id="rId5"/>
            </p:custDataLst>
            <p:extLst>
              <p:ext uri="{D42A27DB-BD31-4B8C-83A1-F6EECF244321}">
                <p14:modId xmlns:p14="http://schemas.microsoft.com/office/powerpoint/2010/main" val="3737447618"/>
              </p:ext>
            </p:extLst>
          </p:nvPr>
        </p:nvGraphicFramePr>
        <p:xfrm>
          <a:off x="1150938" y="2006600"/>
          <a:ext cx="7183437" cy="3702050"/>
        </p:xfrm>
        <a:graphic>
          <a:graphicData uri="http://schemas.openxmlformats.org/drawingml/2006/chart">
            <c:chart xmlns:c="http://schemas.openxmlformats.org/drawingml/2006/chart" xmlns:r="http://schemas.openxmlformats.org/officeDocument/2006/relationships" r:id="rId23"/>
          </a:graphicData>
        </a:graphic>
      </p:graphicFrame>
      <p:sp>
        <p:nvSpPr>
          <p:cNvPr id="40" name="Text Placeholder 3">
            <a:extLst>
              <a:ext uri="{FF2B5EF4-FFF2-40B4-BE49-F238E27FC236}">
                <a16:creationId xmlns:a16="http://schemas.microsoft.com/office/drawing/2014/main" id="{002C3426-C871-4424-8C4E-3B080642A168}"/>
              </a:ext>
            </a:extLst>
          </p:cNvPr>
          <p:cNvSpPr>
            <a:spLocks noGrp="1"/>
          </p:cNvSpPr>
          <p:nvPr>
            <p:custDataLst>
              <p:tags r:id="rId6"/>
            </p:custDataLst>
          </p:nvPr>
        </p:nvSpPr>
        <p:spPr bwMode="gray">
          <a:xfrm>
            <a:off x="925513" y="3198813"/>
            <a:ext cx="4318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27D6276-77DC-41EF-8CEF-A8488F17351D}" type="datetime'''''''C''''E''''''''''M''''''''''''''''''''A'''''''''''''''">
              <a:rPr lang="en-US" altLang="en-US" sz="1400" smtClean="0"/>
              <a:pPr/>
              <a:t>CEMA</a:t>
            </a:fld>
            <a:endParaRPr lang="en-US" sz="1400" dirty="0">
              <a:sym typeface="+mn-lt"/>
            </a:endParaRPr>
          </a:p>
        </p:txBody>
      </p:sp>
      <p:sp>
        <p:nvSpPr>
          <p:cNvPr id="10" name="Text Placeholder 3"/>
          <p:cNvSpPr>
            <a:spLocks noGrp="1"/>
          </p:cNvSpPr>
          <p:nvPr>
            <p:custDataLst>
              <p:tags r:id="rId7"/>
            </p:custDataLst>
          </p:nvPr>
        </p:nvSpPr>
        <p:spPr bwMode="gray">
          <a:xfrm>
            <a:off x="1154113" y="1728788"/>
            <a:ext cx="5969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sz="1400" dirty="0">
                <a:sym typeface="+mn-lt"/>
              </a:rPr>
              <a:t>Regions</a:t>
            </a:r>
            <a:endParaRPr lang="en-US" sz="1400" dirty="0">
              <a:sym typeface="+mn-lt"/>
            </a:endParaRPr>
          </a:p>
        </p:txBody>
      </p:sp>
      <p:sp>
        <p:nvSpPr>
          <p:cNvPr id="34" name="Text Placeholder 3"/>
          <p:cNvSpPr>
            <a:spLocks noGrp="1"/>
          </p:cNvSpPr>
          <p:nvPr>
            <p:custDataLst>
              <p:tags r:id="rId8"/>
            </p:custDataLst>
          </p:nvPr>
        </p:nvSpPr>
        <p:spPr bwMode="gray">
          <a:xfrm>
            <a:off x="920750" y="4010025"/>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9F7F12D-077D-4D38-958B-CF4F140A5667}" type="datetime'''''''''''''''''W''''''''''''''''E''S''A'''''">
              <a:rPr lang="en-US" altLang="en-US" sz="1400" smtClean="0">
                <a:sym typeface="+mn-lt"/>
              </a:rPr>
              <a:pPr algn="r">
                <a:lnSpc>
                  <a:spcPct val="100000"/>
                </a:lnSpc>
                <a:spcBef>
                  <a:spcPct val="0"/>
                </a:spcBef>
                <a:spcAft>
                  <a:spcPct val="0"/>
                </a:spcAft>
              </a:pPr>
              <a:t>WESA</a:t>
            </a:fld>
            <a:endParaRPr lang="en-US" sz="1400" dirty="0">
              <a:sym typeface="+mn-lt"/>
            </a:endParaRPr>
          </a:p>
        </p:txBody>
      </p:sp>
      <p:sp>
        <p:nvSpPr>
          <p:cNvPr id="8" name="Text Placeholder 3"/>
          <p:cNvSpPr>
            <a:spLocks noGrp="1"/>
          </p:cNvSpPr>
          <p:nvPr>
            <p:custDataLst>
              <p:tags r:id="rId9"/>
            </p:custDataLst>
          </p:nvPr>
        </p:nvSpPr>
        <p:spPr bwMode="gray">
          <a:xfrm>
            <a:off x="7181850" y="5813425"/>
            <a:ext cx="9890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400" dirty="0">
                <a:sym typeface="+mn-lt"/>
              </a:rPr>
              <a:t># Employees</a:t>
            </a:r>
            <a:endParaRPr lang="en-US" sz="1400" dirty="0">
              <a:sym typeface="+mn-lt"/>
            </a:endParaRPr>
          </a:p>
        </p:txBody>
      </p:sp>
      <p:sp>
        <p:nvSpPr>
          <p:cNvPr id="70" name="Text Placeholder 3">
            <a:extLst>
              <a:ext uri="{FF2B5EF4-FFF2-40B4-BE49-F238E27FC236}">
                <a16:creationId xmlns:a16="http://schemas.microsoft.com/office/drawing/2014/main" id="{1CA2E9D6-BA5A-46BF-AE75-417A34188ADD}"/>
              </a:ext>
            </a:extLst>
          </p:cNvPr>
          <p:cNvSpPr>
            <a:spLocks noGrp="1"/>
          </p:cNvSpPr>
          <p:nvPr>
            <p:custDataLst>
              <p:tags r:id="rId10"/>
            </p:custDataLst>
          </p:nvPr>
        </p:nvSpPr>
        <p:spPr bwMode="gray">
          <a:xfrm>
            <a:off x="1154113" y="2387600"/>
            <a:ext cx="2032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92D7B10-1B39-4DE8-9780-322477BCC007}" type="datetime'''''''''''A''''''''P'''''''''''''''''''''''''''''''''''''">
              <a:rPr lang="en-US" altLang="en-US" sz="1400" smtClean="0"/>
              <a:pPr/>
              <a:t>AP</a:t>
            </a:fld>
            <a:endParaRPr lang="en-US" sz="1400" dirty="0">
              <a:sym typeface="+mn-lt"/>
            </a:endParaRPr>
          </a:p>
        </p:txBody>
      </p:sp>
      <p:sp>
        <p:nvSpPr>
          <p:cNvPr id="45" name="Text Placeholder 3">
            <a:extLst>
              <a:ext uri="{FF2B5EF4-FFF2-40B4-BE49-F238E27FC236}">
                <a16:creationId xmlns:a16="http://schemas.microsoft.com/office/drawing/2014/main" id="{17628788-57C9-4935-BA77-D4931E66B1CC}"/>
              </a:ext>
            </a:extLst>
          </p:cNvPr>
          <p:cNvSpPr>
            <a:spLocks noGrp="1"/>
          </p:cNvSpPr>
          <p:nvPr>
            <p:custDataLst>
              <p:tags r:id="rId11"/>
            </p:custDataLst>
          </p:nvPr>
        </p:nvSpPr>
        <p:spPr bwMode="gray">
          <a:xfrm>
            <a:off x="911225" y="4821238"/>
            <a:ext cx="4460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36AD07C-58CA-4238-82B5-8153F66EE42C}" type="datetime'NA''''''''''''M''''''''''''''''''''''R'''''">
              <a:rPr lang="en-US" altLang="en-US" sz="1400" smtClean="0">
                <a:sym typeface="+mn-lt"/>
              </a:rPr>
              <a:pPr/>
              <a:t>NAMR</a:t>
            </a:fld>
            <a:endParaRPr lang="en-US" sz="1400" dirty="0">
              <a:sym typeface="+mn-lt"/>
            </a:endParaRPr>
          </a:p>
        </p:txBody>
      </p:sp>
      <p:sp>
        <p:nvSpPr>
          <p:cNvPr id="15" name="Rectangle 14"/>
          <p:cNvSpPr/>
          <p:nvPr>
            <p:custDataLst>
              <p:tags r:id="rId12"/>
            </p:custDataLst>
          </p:nvPr>
        </p:nvSpPr>
        <p:spPr bwMode="gray">
          <a:xfrm>
            <a:off x="1293814" y="5945188"/>
            <a:ext cx="250825" cy="187325"/>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13" name="Rectangle 12"/>
          <p:cNvSpPr/>
          <p:nvPr>
            <p:custDataLst>
              <p:tags r:id="rId13"/>
            </p:custDataLst>
          </p:nvPr>
        </p:nvSpPr>
        <p:spPr bwMode="gray">
          <a:xfrm>
            <a:off x="2686050" y="5945188"/>
            <a:ext cx="250825" cy="187325"/>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14" name="Rectangle 13"/>
          <p:cNvSpPr/>
          <p:nvPr>
            <p:custDataLst>
              <p:tags r:id="rId14"/>
            </p:custDataLst>
          </p:nvPr>
        </p:nvSpPr>
        <p:spPr bwMode="gray">
          <a:xfrm>
            <a:off x="4421188" y="5945188"/>
            <a:ext cx="250825" cy="187325"/>
          </a:xfrm>
          <a:prstGeom prst="rect">
            <a:avLst/>
          </a:prstGeom>
          <a:solidFill>
            <a:srgbClr val="30C1D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17" name="Text Placeholder 3"/>
          <p:cNvSpPr>
            <a:spLocks noGrp="1"/>
          </p:cNvSpPr>
          <p:nvPr>
            <p:custDataLst>
              <p:tags r:id="rId15"/>
            </p:custDataLst>
          </p:nvPr>
        </p:nvSpPr>
        <p:spPr bwMode="gray">
          <a:xfrm>
            <a:off x="1595439" y="5940425"/>
            <a:ext cx="9890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5AAC7E4-03AD-4048-A0AC-88B1329555DF}" type="datetime'R''es''p''''o''''''''n''''''de''''''''''''''''''n''ts'''">
              <a:rPr lang="en-US" altLang="en-US" sz="1400">
                <a:sym typeface="+mn-lt"/>
              </a:rPr>
              <a:pPr/>
              <a:t>Respondents</a:t>
            </a:fld>
            <a:endParaRPr lang="en-US" sz="1400" dirty="0">
              <a:sym typeface="+mn-lt"/>
            </a:endParaRPr>
          </a:p>
        </p:txBody>
      </p:sp>
      <p:sp>
        <p:nvSpPr>
          <p:cNvPr id="16" name="Text Placeholder 3"/>
          <p:cNvSpPr>
            <a:spLocks noGrp="1"/>
          </p:cNvSpPr>
          <p:nvPr>
            <p:custDataLst>
              <p:tags r:id="rId16"/>
            </p:custDataLst>
          </p:nvPr>
        </p:nvSpPr>
        <p:spPr bwMode="gray">
          <a:xfrm>
            <a:off x="2987675" y="5940425"/>
            <a:ext cx="13319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3027C76-E36A-4326-AC5A-CDD6393DA698}" type="datetime'N''''on-''r''''''''e''sp''''o''''nd''''''''ent''s'''''''''">
              <a:rPr lang="en-US" altLang="en-US" sz="1400">
                <a:sym typeface="+mn-lt"/>
              </a:rPr>
              <a:pPr/>
              <a:t>Non-respondents</a:t>
            </a:fld>
            <a:endParaRPr lang="en-US" sz="1400" dirty="0">
              <a:sym typeface="+mn-lt"/>
            </a:endParaRPr>
          </a:p>
        </p:txBody>
      </p:sp>
      <p:sp>
        <p:nvSpPr>
          <p:cNvPr id="18" name="Text Placeholder 3"/>
          <p:cNvSpPr>
            <a:spLocks noGrp="1"/>
          </p:cNvSpPr>
          <p:nvPr>
            <p:custDataLst>
              <p:tags r:id="rId17"/>
            </p:custDataLst>
          </p:nvPr>
        </p:nvSpPr>
        <p:spPr bwMode="gray">
          <a:xfrm>
            <a:off x="4722813" y="5940425"/>
            <a:ext cx="9953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05959FC-D526-4C7B-AF32-95058D2E39B5}" type="datetime'''T''otal'' ''''''I''''''n''''''''vi''''''''''''''''''t''ed'''">
              <a:rPr lang="en-US" altLang="en-US" sz="1400">
                <a:sym typeface="+mn-lt"/>
              </a:rPr>
              <a:pPr/>
              <a:t>Total Invited</a:t>
            </a:fld>
            <a:endParaRPr lang="en-US" sz="1400" dirty="0">
              <a:sym typeface="+mn-lt"/>
            </a:endParaRPr>
          </a:p>
        </p:txBody>
      </p:sp>
      <p:sp>
        <p:nvSpPr>
          <p:cNvPr id="29" name="Rectangle 28"/>
          <p:cNvSpPr/>
          <p:nvPr/>
        </p:nvSpPr>
        <p:spPr>
          <a:xfrm>
            <a:off x="997489" y="925006"/>
            <a:ext cx="363377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 &amp; Cohort (Bar Chart View)</a:t>
            </a:r>
          </a:p>
        </p:txBody>
      </p:sp>
      <p:cxnSp>
        <p:nvCxnSpPr>
          <p:cNvPr id="73" name="Straight Connector 72">
            <a:extLst>
              <a:ext uri="{FF2B5EF4-FFF2-40B4-BE49-F238E27FC236}">
                <a16:creationId xmlns:a16="http://schemas.microsoft.com/office/drawing/2014/main" id="{9F1946A2-89C3-4418-8DE9-9161D76BB36E}"/>
              </a:ext>
            </a:extLst>
          </p:cNvPr>
          <p:cNvCxnSpPr>
            <a:cxnSpLocks/>
            <a:endCxn id="74" idx="2"/>
          </p:cNvCxnSpPr>
          <p:nvPr/>
        </p:nvCxnSpPr>
        <p:spPr>
          <a:xfrm>
            <a:off x="2355273" y="2279764"/>
            <a:ext cx="473640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F21020BC-2E04-44B0-91D9-51D47463419F}"/>
              </a:ext>
            </a:extLst>
          </p:cNvPr>
          <p:cNvSpPr/>
          <p:nvPr/>
        </p:nvSpPr>
        <p:spPr>
          <a:xfrm>
            <a:off x="7091680" y="2053704"/>
            <a:ext cx="640080" cy="452120"/>
          </a:xfrm>
          <a:prstGeom prst="ellipse">
            <a:avLst/>
          </a:prstGeom>
          <a:solidFill>
            <a:srgbClr val="F2F2F2"/>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7%</a:t>
            </a:r>
          </a:p>
        </p:txBody>
      </p:sp>
      <p:cxnSp>
        <p:nvCxnSpPr>
          <p:cNvPr id="79" name="Straight Connector 78">
            <a:extLst>
              <a:ext uri="{FF2B5EF4-FFF2-40B4-BE49-F238E27FC236}">
                <a16:creationId xmlns:a16="http://schemas.microsoft.com/office/drawing/2014/main" id="{CED4CC95-A539-4871-9712-B35C98A87BC4}"/>
              </a:ext>
            </a:extLst>
          </p:cNvPr>
          <p:cNvCxnSpPr>
            <a:cxnSpLocks/>
            <a:endCxn id="80" idx="2"/>
          </p:cNvCxnSpPr>
          <p:nvPr/>
        </p:nvCxnSpPr>
        <p:spPr>
          <a:xfrm>
            <a:off x="2355273" y="3059927"/>
            <a:ext cx="473640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81F9BCC4-A5D6-4A4C-8D9F-D4C952D8A4FD}"/>
              </a:ext>
            </a:extLst>
          </p:cNvPr>
          <p:cNvSpPr/>
          <p:nvPr/>
        </p:nvSpPr>
        <p:spPr>
          <a:xfrm>
            <a:off x="7091680" y="2833867"/>
            <a:ext cx="640080" cy="452120"/>
          </a:xfrm>
          <a:prstGeom prst="ellipse">
            <a:avLst/>
          </a:prstGeom>
          <a:solidFill>
            <a:srgbClr val="F2F2F2"/>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6%</a:t>
            </a:r>
          </a:p>
        </p:txBody>
      </p:sp>
      <p:cxnSp>
        <p:nvCxnSpPr>
          <p:cNvPr id="81" name="Straight Connector 80">
            <a:extLst>
              <a:ext uri="{FF2B5EF4-FFF2-40B4-BE49-F238E27FC236}">
                <a16:creationId xmlns:a16="http://schemas.microsoft.com/office/drawing/2014/main" id="{19BE8EBB-CE0F-499C-AD5E-D0B90726B1F5}"/>
              </a:ext>
            </a:extLst>
          </p:cNvPr>
          <p:cNvCxnSpPr>
            <a:cxnSpLocks/>
            <a:endCxn id="82" idx="2"/>
          </p:cNvCxnSpPr>
          <p:nvPr/>
        </p:nvCxnSpPr>
        <p:spPr>
          <a:xfrm>
            <a:off x="2022580" y="3877034"/>
            <a:ext cx="50691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AC4E30CE-0463-442F-9E86-932F43FEFCC9}"/>
              </a:ext>
            </a:extLst>
          </p:cNvPr>
          <p:cNvSpPr/>
          <p:nvPr/>
        </p:nvSpPr>
        <p:spPr>
          <a:xfrm>
            <a:off x="7091680" y="3650974"/>
            <a:ext cx="640080" cy="452120"/>
          </a:xfrm>
          <a:prstGeom prst="ellipse">
            <a:avLst/>
          </a:prstGeom>
          <a:solidFill>
            <a:srgbClr val="F2F2F2"/>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6%</a:t>
            </a:r>
          </a:p>
        </p:txBody>
      </p:sp>
      <p:cxnSp>
        <p:nvCxnSpPr>
          <p:cNvPr id="83" name="Straight Connector 82">
            <a:extLst>
              <a:ext uri="{FF2B5EF4-FFF2-40B4-BE49-F238E27FC236}">
                <a16:creationId xmlns:a16="http://schemas.microsoft.com/office/drawing/2014/main" id="{1FDD9E89-4C71-40E5-B888-5C3D7905F682}"/>
              </a:ext>
            </a:extLst>
          </p:cNvPr>
          <p:cNvCxnSpPr>
            <a:cxnSpLocks/>
            <a:endCxn id="84" idx="2"/>
          </p:cNvCxnSpPr>
          <p:nvPr/>
        </p:nvCxnSpPr>
        <p:spPr>
          <a:xfrm>
            <a:off x="2584452" y="4711454"/>
            <a:ext cx="450722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4E3F0588-555C-4BA4-BD68-D2913724B75C}"/>
              </a:ext>
            </a:extLst>
          </p:cNvPr>
          <p:cNvSpPr/>
          <p:nvPr/>
        </p:nvSpPr>
        <p:spPr>
          <a:xfrm>
            <a:off x="7091680" y="4485394"/>
            <a:ext cx="640080" cy="452120"/>
          </a:xfrm>
          <a:prstGeom prst="ellipse">
            <a:avLst/>
          </a:prstGeom>
          <a:solidFill>
            <a:srgbClr val="F2F2F2"/>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3%</a:t>
            </a:r>
          </a:p>
        </p:txBody>
      </p:sp>
      <p:sp>
        <p:nvSpPr>
          <p:cNvPr id="36" name="ee4pContent2">
            <a:extLst>
              <a:ext uri="{FF2B5EF4-FFF2-40B4-BE49-F238E27FC236}">
                <a16:creationId xmlns:a16="http://schemas.microsoft.com/office/drawing/2014/main" id="{F83DF52F-89A6-417E-861D-C5B54CFFD665}"/>
              </a:ext>
            </a:extLst>
          </p:cNvPr>
          <p:cNvSpPr txBox="1"/>
          <p:nvPr>
            <p:custDataLst>
              <p:tags r:id="rId18"/>
            </p:custDataLst>
          </p:nvPr>
        </p:nvSpPr>
        <p:spPr>
          <a:xfrm>
            <a:off x="9193812" y="0"/>
            <a:ext cx="2913345" cy="6857999"/>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1800" dirty="0"/>
              <a:t>For the first time, AP is top, achieving its highest response rate in 8 quarters</a:t>
            </a:r>
          </a:p>
          <a:p>
            <a:br>
              <a:rPr lang="en-US" sz="1800" dirty="0">
                <a:latin typeface="+mj-lt"/>
              </a:rPr>
            </a:br>
            <a:r>
              <a:rPr lang="en-US" sz="1800" dirty="0">
                <a:latin typeface="+mj-lt"/>
              </a:rPr>
              <a:t>CEMA drops from 1</a:t>
            </a:r>
            <a:r>
              <a:rPr lang="en-US" sz="1800" baseline="30000" dirty="0">
                <a:latin typeface="+mj-lt"/>
              </a:rPr>
              <a:t>st</a:t>
            </a:r>
            <a:r>
              <a:rPr lang="en-US" sz="1800" dirty="0">
                <a:latin typeface="+mj-lt"/>
              </a:rPr>
              <a:t> to = 2</a:t>
            </a:r>
            <a:r>
              <a:rPr lang="en-US" sz="1800" baseline="30000" dirty="0">
                <a:latin typeface="+mj-lt"/>
              </a:rPr>
              <a:t>nd</a:t>
            </a:r>
            <a:r>
              <a:rPr lang="en-US" sz="1800" dirty="0">
                <a:latin typeface="+mj-lt"/>
              </a:rPr>
              <a:t> </a:t>
            </a:r>
          </a:p>
          <a:p>
            <a:pPr>
              <a:buNone/>
            </a:pPr>
            <a:endParaRPr lang="en-US" sz="1800" dirty="0">
              <a:latin typeface="+mj-lt"/>
            </a:endParaRPr>
          </a:p>
        </p:txBody>
      </p:sp>
      <p:grpSp>
        <p:nvGrpSpPr>
          <p:cNvPr id="38" name="Group 37">
            <a:extLst>
              <a:ext uri="{FF2B5EF4-FFF2-40B4-BE49-F238E27FC236}">
                <a16:creationId xmlns:a16="http://schemas.microsoft.com/office/drawing/2014/main" id="{659F147E-6EDB-458A-A04A-4A82807A9BCC}"/>
              </a:ext>
            </a:extLst>
          </p:cNvPr>
          <p:cNvGrpSpPr>
            <a:grpSpLocks noChangeAspect="1"/>
          </p:cNvGrpSpPr>
          <p:nvPr/>
        </p:nvGrpSpPr>
        <p:grpSpPr>
          <a:xfrm>
            <a:off x="588963" y="874713"/>
            <a:ext cx="457200" cy="457200"/>
            <a:chOff x="5867400" y="3200400"/>
            <a:chExt cx="457200" cy="457200"/>
          </a:xfrm>
        </p:grpSpPr>
        <p:sp>
          <p:nvSpPr>
            <p:cNvPr id="39" name="AutoShape 43">
              <a:extLst>
                <a:ext uri="{FF2B5EF4-FFF2-40B4-BE49-F238E27FC236}">
                  <a16:creationId xmlns:a16="http://schemas.microsoft.com/office/drawing/2014/main" id="{7FE7B4D6-FD3E-463B-831E-EDFCCA94DA8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7">
              <a:extLst>
                <a:ext uri="{FF2B5EF4-FFF2-40B4-BE49-F238E27FC236}">
                  <a16:creationId xmlns:a16="http://schemas.microsoft.com/office/drawing/2014/main" id="{1FE86506-E329-4D9B-B436-EE4E0FCC80C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2" name="Oval 20">
            <a:extLst>
              <a:ext uri="{FF2B5EF4-FFF2-40B4-BE49-F238E27FC236}">
                <a16:creationId xmlns:a16="http://schemas.microsoft.com/office/drawing/2014/main" id="{916B706A-551D-4867-A789-81C499C1CE12}"/>
              </a:ext>
            </a:extLst>
          </p:cNvPr>
          <p:cNvSpPr>
            <a:spLocks noChangeAspect="1" noChangeArrowheads="1"/>
          </p:cNvSpPr>
          <p:nvPr/>
        </p:nvSpPr>
        <p:spPr bwMode="auto">
          <a:xfrm>
            <a:off x="8017408" y="4552427"/>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44" name="Oval 20">
            <a:extLst>
              <a:ext uri="{FF2B5EF4-FFF2-40B4-BE49-F238E27FC236}">
                <a16:creationId xmlns:a16="http://schemas.microsoft.com/office/drawing/2014/main" id="{6FF1A52D-9F43-430C-9954-7E81C3E25AF6}"/>
              </a:ext>
            </a:extLst>
          </p:cNvPr>
          <p:cNvSpPr>
            <a:spLocks noChangeAspect="1" noChangeArrowheads="1"/>
          </p:cNvSpPr>
          <p:nvPr/>
        </p:nvSpPr>
        <p:spPr bwMode="auto">
          <a:xfrm>
            <a:off x="8017408" y="3703115"/>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46" name="Oval 20">
            <a:extLst>
              <a:ext uri="{FF2B5EF4-FFF2-40B4-BE49-F238E27FC236}">
                <a16:creationId xmlns:a16="http://schemas.microsoft.com/office/drawing/2014/main" id="{950F6039-F34D-4223-91D8-042A7EB6EF84}"/>
              </a:ext>
            </a:extLst>
          </p:cNvPr>
          <p:cNvSpPr>
            <a:spLocks noChangeAspect="1" noChangeArrowheads="1"/>
          </p:cNvSpPr>
          <p:nvPr/>
        </p:nvSpPr>
        <p:spPr bwMode="auto">
          <a:xfrm>
            <a:off x="8017408" y="2906472"/>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47" name="Oval 20">
            <a:extLst>
              <a:ext uri="{FF2B5EF4-FFF2-40B4-BE49-F238E27FC236}">
                <a16:creationId xmlns:a16="http://schemas.microsoft.com/office/drawing/2014/main" id="{D72B5334-CFBC-465D-BAC6-8CCF2FC2C727}"/>
              </a:ext>
            </a:extLst>
          </p:cNvPr>
          <p:cNvSpPr>
            <a:spLocks noChangeAspect="1" noChangeArrowheads="1"/>
          </p:cNvSpPr>
          <p:nvPr/>
        </p:nvSpPr>
        <p:spPr bwMode="auto">
          <a:xfrm>
            <a:off x="8017408" y="2080690"/>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52" name="Left Bracket 51">
            <a:extLst>
              <a:ext uri="{FF2B5EF4-FFF2-40B4-BE49-F238E27FC236}">
                <a16:creationId xmlns:a16="http://schemas.microsoft.com/office/drawing/2014/main" id="{85CA38EB-37FE-4C6B-A9B8-B87419B6D8C3}"/>
              </a:ext>
            </a:extLst>
          </p:cNvPr>
          <p:cNvSpPr/>
          <p:nvPr/>
        </p:nvSpPr>
        <p:spPr>
          <a:xfrm>
            <a:off x="762645" y="3308815"/>
            <a:ext cx="73569" cy="807572"/>
          </a:xfrm>
          <a:prstGeom prst="leftBracket">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6B007C9E-0604-4A3B-A11D-902EA7660B44}"/>
              </a:ext>
            </a:extLst>
          </p:cNvPr>
          <p:cNvSpPr txBox="1"/>
          <p:nvPr/>
        </p:nvSpPr>
        <p:spPr>
          <a:xfrm>
            <a:off x="-92691" y="3484319"/>
            <a:ext cx="968336" cy="437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EMESA</a:t>
            </a:r>
          </a:p>
          <a:p>
            <a:pPr algn="ctr"/>
            <a:r>
              <a:rPr lang="en-US" sz="1400" dirty="0">
                <a:solidFill>
                  <a:srgbClr val="575757"/>
                </a:solidFill>
              </a:rPr>
              <a:t>(26%)</a:t>
            </a:r>
          </a:p>
        </p:txBody>
      </p:sp>
    </p:spTree>
    <p:custDataLst>
      <p:tags r:id="rId2"/>
    </p:custDataLst>
    <p:extLst>
      <p:ext uri="{BB962C8B-B14F-4D97-AF65-F5344CB8AC3E}">
        <p14:creationId xmlns:p14="http://schemas.microsoft.com/office/powerpoint/2010/main" val="599564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71"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43" name="Picture 42">
            <a:extLst>
              <a:ext uri="{FF2B5EF4-FFF2-40B4-BE49-F238E27FC236}">
                <a16:creationId xmlns:a16="http://schemas.microsoft.com/office/drawing/2014/main" id="{A8774764-FF92-4CF8-899C-CA687DEE57B0}"/>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16941" y="13854"/>
            <a:ext cx="4386392" cy="6858000"/>
          </a:xfrm>
          <a:prstGeom prst="rect">
            <a:avLst/>
          </a:prstGeom>
        </p:spPr>
      </p:pic>
      <p:sp>
        <p:nvSpPr>
          <p:cNvPr id="36" name="Rectangle 35">
            <a:extLst>
              <a:ext uri="{FF2B5EF4-FFF2-40B4-BE49-F238E27FC236}">
                <a16:creationId xmlns:a16="http://schemas.microsoft.com/office/drawing/2014/main" id="{6195CF7D-3A06-4C00-B854-3913048F84B8}"/>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CT WORK WITH CLIENTS</a:t>
            </a:r>
          </a:p>
        </p:txBody>
      </p:sp>
      <p:sp>
        <p:nvSpPr>
          <p:cNvPr id="37" name="Oval 36">
            <a:extLst>
              <a:ext uri="{FF2B5EF4-FFF2-40B4-BE49-F238E27FC236}">
                <a16:creationId xmlns:a16="http://schemas.microsoft.com/office/drawing/2014/main" id="{C8E14261-097D-454A-9DF3-A308651DA69F}"/>
              </a:ext>
            </a:extLst>
          </p:cNvPr>
          <p:cNvSpPr>
            <a:spLocks noChangeAspect="1"/>
          </p:cNvSpPr>
          <p:nvPr/>
        </p:nvSpPr>
        <p:spPr>
          <a:xfrm>
            <a:off x="8481966" y="1865376"/>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219</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38" name="Rectangular Callout 42">
            <a:extLst>
              <a:ext uri="{FF2B5EF4-FFF2-40B4-BE49-F238E27FC236}">
                <a16:creationId xmlns:a16="http://schemas.microsoft.com/office/drawing/2014/main" id="{5E533211-630D-4C0C-8385-65F06FBE828F}"/>
              </a:ext>
            </a:extLst>
          </p:cNvPr>
          <p:cNvSpPr/>
          <p:nvPr/>
        </p:nvSpPr>
        <p:spPr>
          <a:xfrm>
            <a:off x="5153194" y="5220470"/>
            <a:ext cx="1310640" cy="1259777"/>
          </a:xfrm>
          <a:prstGeom prst="wedgeRectCallout">
            <a:avLst>
              <a:gd name="adj1" fmla="val 19295"/>
              <a:gd name="adj2" fmla="val -5687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Slack and client Teams are not properly working for me when talking to clients.</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Senior ECT</a:t>
            </a:r>
          </a:p>
        </p:txBody>
      </p:sp>
      <p:sp>
        <p:nvSpPr>
          <p:cNvPr id="40" name="Rectangular Callout 52">
            <a:extLst>
              <a:ext uri="{FF2B5EF4-FFF2-40B4-BE49-F238E27FC236}">
                <a16:creationId xmlns:a16="http://schemas.microsoft.com/office/drawing/2014/main" id="{DD207B1D-0ACB-4557-949C-824F57414FBD}"/>
              </a:ext>
            </a:extLst>
          </p:cNvPr>
          <p:cNvSpPr/>
          <p:nvPr/>
        </p:nvSpPr>
        <p:spPr>
          <a:xfrm>
            <a:off x="235777" y="3851852"/>
            <a:ext cx="1835911" cy="1214180"/>
          </a:xfrm>
          <a:prstGeom prst="wedgeRectCallout">
            <a:avLst>
              <a:gd name="adj1" fmla="val 22788"/>
              <a:gd name="adj2" fmla="val 5558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Very difficult to share via Egnyte. Whenever a client needs to create a username/password, it's a recipe for disaster.</a:t>
            </a:r>
            <a:r>
              <a:rPr lang="en-GB" sz="1200" dirty="0">
                <a:cs typeface="Arial" pitchFamily="34" charset="0"/>
              </a:rPr>
              <a:t>”</a:t>
            </a:r>
          </a:p>
          <a:p>
            <a:pPr algn="r"/>
            <a:r>
              <a:rPr lang="en-GB" sz="1000" i="1" dirty="0">
                <a:cs typeface="Arial" pitchFamily="34" charset="0"/>
              </a:rPr>
              <a:t>Partner</a:t>
            </a:r>
          </a:p>
        </p:txBody>
      </p:sp>
      <p:sp>
        <p:nvSpPr>
          <p:cNvPr id="42" name="Rectangular Callout 53">
            <a:extLst>
              <a:ext uri="{FF2B5EF4-FFF2-40B4-BE49-F238E27FC236}">
                <a16:creationId xmlns:a16="http://schemas.microsoft.com/office/drawing/2014/main" id="{44409B60-3B74-44E3-AA1A-8F6D07A2EC99}"/>
              </a:ext>
            </a:extLst>
          </p:cNvPr>
          <p:cNvSpPr/>
          <p:nvPr/>
        </p:nvSpPr>
        <p:spPr>
          <a:xfrm>
            <a:off x="4895631" y="3845546"/>
            <a:ext cx="1146517" cy="1192962"/>
          </a:xfrm>
          <a:prstGeom prst="wedgeRectCallout">
            <a:avLst>
              <a:gd name="adj1" fmla="val -46481"/>
              <a:gd name="adj2" fmla="val 6079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GB" sz="1200" b="0" i="0" dirty="0">
                <a:solidFill>
                  <a:srgbClr val="FFFFFF"/>
                </a:solidFill>
                <a:effectLst/>
                <a:latin typeface="+mj-lt"/>
              </a:rPr>
              <a:t>Miro never works for clients (in my experience)</a:t>
            </a:r>
            <a:r>
              <a:rPr lang="en-US" sz="1200" dirty="0">
                <a:solidFill>
                  <a:srgbClr val="FFFFFF"/>
                </a:solidFill>
                <a:latin typeface="+mj-lt"/>
                <a:cs typeface="Arial" pitchFamily="34" charset="0"/>
              </a:rPr>
              <a:t>.</a:t>
            </a:r>
            <a:r>
              <a:rPr lang="en-GB" sz="1200" dirty="0">
                <a:solidFill>
                  <a:srgbClr val="FFFFFF"/>
                </a:solidFill>
                <a:latin typeface="+mj-lt"/>
                <a:cs typeface="Arial" pitchFamily="34" charset="0"/>
              </a:rPr>
              <a:t>”</a:t>
            </a:r>
          </a:p>
          <a:p>
            <a:endParaRPr lang="en-GB" sz="1200" i="1" dirty="0">
              <a:solidFill>
                <a:srgbClr val="FFFFFF"/>
              </a:solidFill>
              <a:latin typeface="+mj-lt"/>
              <a:cs typeface="Arial" pitchFamily="34" charset="0"/>
            </a:endParaRPr>
          </a:p>
          <a:p>
            <a:pPr algn="r"/>
            <a:r>
              <a:rPr lang="en-GB" sz="1000" i="1" dirty="0">
                <a:solidFill>
                  <a:srgbClr val="FFFFFF"/>
                </a:solidFill>
                <a:latin typeface="+mj-lt"/>
                <a:cs typeface="Arial" pitchFamily="34" charset="0"/>
              </a:rPr>
              <a:t>Associate</a:t>
            </a:r>
          </a:p>
        </p:txBody>
      </p:sp>
      <p:sp>
        <p:nvSpPr>
          <p:cNvPr id="47" name="Rectangle 46">
            <a:extLst>
              <a:ext uri="{FF2B5EF4-FFF2-40B4-BE49-F238E27FC236}">
                <a16:creationId xmlns:a16="http://schemas.microsoft.com/office/drawing/2014/main" id="{2FBE5028-E5E8-455A-A8FA-38FA694D142C}"/>
              </a:ext>
            </a:extLst>
          </p:cNvPr>
          <p:cNvSpPr/>
          <p:nvPr/>
        </p:nvSpPr>
        <p:spPr>
          <a:xfrm>
            <a:off x="156209" y="3373438"/>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50" name="Rectangle 49">
            <a:extLst>
              <a:ext uri="{FF2B5EF4-FFF2-40B4-BE49-F238E27FC236}">
                <a16:creationId xmlns:a16="http://schemas.microsoft.com/office/drawing/2014/main" id="{4DC2D4D6-A9E5-4893-9F94-8C025A712C0A}"/>
              </a:ext>
            </a:extLst>
          </p:cNvPr>
          <p:cNvSpPr/>
          <p:nvPr/>
        </p:nvSpPr>
        <p:spPr>
          <a:xfrm>
            <a:off x="235777" y="262686"/>
            <a:ext cx="7334892" cy="16026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Employees sometimes prefer to use MS teams for video conferencing with clients as Zoom is often not supported. Some teams have started deploying OneDrive for collaborating with clients, while others have requested for OneDrive training to be provided. Some employees are saying they still use Egnyte and </a:t>
            </a:r>
            <a:r>
              <a:rPr lang="en-US" sz="1600" dirty="0" err="1">
                <a:solidFill>
                  <a:srgbClr val="FFFFFF"/>
                </a:solidFill>
              </a:rPr>
              <a:t>send.bcg</a:t>
            </a:r>
            <a:r>
              <a:rPr lang="en-US" sz="1600" dirty="0">
                <a:solidFill>
                  <a:srgbClr val="FFFFFF"/>
                </a:solidFill>
              </a:rPr>
              <a:t> for file sharing with clients. Miro for whiteboarding received mixed feedback.</a:t>
            </a:r>
          </a:p>
        </p:txBody>
      </p:sp>
      <p:graphicFrame>
        <p:nvGraphicFramePr>
          <p:cNvPr id="31" name="Chart 30">
            <a:extLst>
              <a:ext uri="{FF2B5EF4-FFF2-40B4-BE49-F238E27FC236}">
                <a16:creationId xmlns:a16="http://schemas.microsoft.com/office/drawing/2014/main" id="{1A4FF157-57E3-4637-A703-DB478029CAF1}"/>
              </a:ext>
            </a:extLst>
          </p:cNvPr>
          <p:cNvGraphicFramePr/>
          <p:nvPr>
            <p:custDataLst>
              <p:tags r:id="rId4"/>
            </p:custDataLst>
          </p:nvPr>
        </p:nvGraphicFramePr>
        <p:xfrm>
          <a:off x="173038" y="2100263"/>
          <a:ext cx="7459662" cy="895350"/>
        </p:xfrm>
        <a:graphic>
          <a:graphicData uri="http://schemas.openxmlformats.org/drawingml/2006/chart">
            <c:chart xmlns:c="http://schemas.openxmlformats.org/drawingml/2006/chart" xmlns:r="http://schemas.openxmlformats.org/officeDocument/2006/relationships" r:id="rId16"/>
          </a:graphicData>
        </a:graphic>
      </p:graphicFrame>
      <p:sp>
        <p:nvSpPr>
          <p:cNvPr id="70" name="Rectangle 69">
            <a:extLst>
              <a:ext uri="{FF2B5EF4-FFF2-40B4-BE49-F238E27FC236}">
                <a16:creationId xmlns:a16="http://schemas.microsoft.com/office/drawing/2014/main" id="{83407BFD-58F6-4745-AC28-6DDBED03D413}"/>
              </a:ext>
            </a:extLst>
          </p:cNvPr>
          <p:cNvSpPr/>
          <p:nvPr>
            <p:custDataLst>
              <p:tags r:id="rId5"/>
            </p:custDataLst>
          </p:nvPr>
        </p:nvSpPr>
        <p:spPr bwMode="gray">
          <a:xfrm>
            <a:off x="2071688" y="299243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Rectangle 68">
            <a:extLst>
              <a:ext uri="{FF2B5EF4-FFF2-40B4-BE49-F238E27FC236}">
                <a16:creationId xmlns:a16="http://schemas.microsoft.com/office/drawing/2014/main" id="{53750040-4BEE-49DB-9E3A-57C392E1C06E}"/>
              </a:ext>
            </a:extLst>
          </p:cNvPr>
          <p:cNvSpPr/>
          <p:nvPr>
            <p:custDataLst>
              <p:tags r:id="rId6"/>
            </p:custDataLst>
          </p:nvPr>
        </p:nvSpPr>
        <p:spPr bwMode="gray">
          <a:xfrm>
            <a:off x="306388" y="2992438"/>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8" name="Rectangle 67">
            <a:extLst>
              <a:ext uri="{FF2B5EF4-FFF2-40B4-BE49-F238E27FC236}">
                <a16:creationId xmlns:a16="http://schemas.microsoft.com/office/drawing/2014/main" id="{C29D7475-8D1B-41AA-BA99-5C583BED0E44}"/>
              </a:ext>
            </a:extLst>
          </p:cNvPr>
          <p:cNvSpPr/>
          <p:nvPr>
            <p:custDataLst>
              <p:tags r:id="rId7"/>
            </p:custDataLst>
          </p:nvPr>
        </p:nvSpPr>
        <p:spPr bwMode="gray">
          <a:xfrm>
            <a:off x="1200150" y="299243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Text Placeholder 3">
            <a:extLst>
              <a:ext uri="{FF2B5EF4-FFF2-40B4-BE49-F238E27FC236}">
                <a16:creationId xmlns:a16="http://schemas.microsoft.com/office/drawing/2014/main" id="{BE4F93A0-61E6-44E4-8AF6-5765096F4492}"/>
              </a:ext>
            </a:extLst>
          </p:cNvPr>
          <p:cNvSpPr>
            <a:spLocks noGrp="1"/>
          </p:cNvSpPr>
          <p:nvPr>
            <p:custDataLst>
              <p:tags r:id="rId8"/>
            </p:custDataLst>
          </p:nvPr>
        </p:nvSpPr>
        <p:spPr bwMode="gray">
          <a:xfrm>
            <a:off x="571500" y="29733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1D55A58-6C10-425D-BB8A-08A7694137EF}" type="datetime'P''''''''''o''''''sit''''''''i''''v''''''''e'''''''''''''''''">
              <a:rPr lang="en-US" altLang="en-US" smtClean="0">
                <a:solidFill>
                  <a:schemeClr val="bg1"/>
                </a:solidFill>
              </a:rPr>
              <a:pPr/>
              <a:t>Positive</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00220D4D-6137-4996-8E50-E4C77F43074A}"/>
              </a:ext>
            </a:extLst>
          </p:cNvPr>
          <p:cNvSpPr>
            <a:spLocks noGrp="1"/>
          </p:cNvSpPr>
          <p:nvPr>
            <p:custDataLst>
              <p:tags r:id="rId9"/>
            </p:custDataLst>
          </p:nvPr>
        </p:nvSpPr>
        <p:spPr bwMode="gray">
          <a:xfrm>
            <a:off x="1465263" y="29733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96AAB4A-C414-48BF-8AF9-7920514AC55C}" type="datetime'N''''''''''''''''''''''''e''''ut''''''r''''a''l'''''">
              <a:rPr lang="en-US" altLang="en-US" smtClean="0">
                <a:solidFill>
                  <a:schemeClr val="bg1"/>
                </a:solidFill>
              </a:rPr>
              <a:pPr/>
              <a:t>Neutral</a:t>
            </a:fld>
            <a:endParaRPr lang="en-US" dirty="0">
              <a:solidFill>
                <a:schemeClr val="bg1"/>
              </a:solidFill>
              <a:sym typeface="+mn-lt"/>
            </a:endParaRPr>
          </a:p>
        </p:txBody>
      </p:sp>
      <p:sp>
        <p:nvSpPr>
          <p:cNvPr id="72" name="Text Placeholder 3">
            <a:extLst>
              <a:ext uri="{FF2B5EF4-FFF2-40B4-BE49-F238E27FC236}">
                <a16:creationId xmlns:a16="http://schemas.microsoft.com/office/drawing/2014/main" id="{C364B396-151E-4590-B86B-1B9C1CADE14B}"/>
              </a:ext>
            </a:extLst>
          </p:cNvPr>
          <p:cNvSpPr>
            <a:spLocks noGrp="1"/>
          </p:cNvSpPr>
          <p:nvPr>
            <p:custDataLst>
              <p:tags r:id="rId10"/>
            </p:custDataLst>
          </p:nvPr>
        </p:nvSpPr>
        <p:spPr bwMode="gray">
          <a:xfrm>
            <a:off x="2336800" y="29733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F20F66B-2E6F-41F0-A9E3-5FDAFAFE0BE3}" type="datetime'''''''''''N''''''''''''e''g''''''at''''''iv''''''''''''e'''''">
              <a:rPr lang="en-US" altLang="en-US" smtClean="0">
                <a:solidFill>
                  <a:schemeClr val="bg1"/>
                </a:solidFill>
              </a:rPr>
              <a:pPr/>
              <a:t>Negative</a:t>
            </a:fld>
            <a:endParaRPr lang="en-US" dirty="0">
              <a:solidFill>
                <a:schemeClr val="bg1"/>
              </a:solidFill>
              <a:sym typeface="+mn-lt"/>
            </a:endParaRPr>
          </a:p>
        </p:txBody>
      </p:sp>
      <p:sp>
        <p:nvSpPr>
          <p:cNvPr id="74" name="Rectangle 73">
            <a:extLst>
              <a:ext uri="{FF2B5EF4-FFF2-40B4-BE49-F238E27FC236}">
                <a16:creationId xmlns:a16="http://schemas.microsoft.com/office/drawing/2014/main" id="{E6899852-8AA4-41D7-9B24-50AB62487244}"/>
              </a:ext>
            </a:extLst>
          </p:cNvPr>
          <p:cNvSpPr/>
          <p:nvPr/>
        </p:nvSpPr>
        <p:spPr>
          <a:xfrm>
            <a:off x="156209" y="1986225"/>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46" name="Rectangular Callout 42">
            <a:extLst>
              <a:ext uri="{FF2B5EF4-FFF2-40B4-BE49-F238E27FC236}">
                <a16:creationId xmlns:a16="http://schemas.microsoft.com/office/drawing/2014/main" id="{0D403E00-CB57-45E5-8DAA-0A1900B27CAF}"/>
              </a:ext>
            </a:extLst>
          </p:cNvPr>
          <p:cNvSpPr/>
          <p:nvPr/>
        </p:nvSpPr>
        <p:spPr>
          <a:xfrm>
            <a:off x="3939142" y="3849160"/>
            <a:ext cx="863828" cy="1192962"/>
          </a:xfrm>
          <a:prstGeom prst="wedgeRectCallout">
            <a:avLst>
              <a:gd name="adj1" fmla="val -19948"/>
              <a:gd name="adj2" fmla="val 5397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Miro addition is great.</a:t>
            </a:r>
            <a:r>
              <a:rPr lang="en-GB" sz="1200" dirty="0">
                <a:cs typeface="Arial" pitchFamily="34" charset="0"/>
              </a:rPr>
              <a:t>”</a:t>
            </a:r>
          </a:p>
          <a:p>
            <a:pPr algn="r"/>
            <a:endParaRPr lang="en-GB" sz="1200" dirty="0">
              <a:cs typeface="Arial" pitchFamily="34" charset="0"/>
            </a:endParaRPr>
          </a:p>
          <a:p>
            <a:pPr algn="r"/>
            <a:endParaRPr lang="en-GB" sz="1200" dirty="0">
              <a:cs typeface="Arial" pitchFamily="34" charset="0"/>
            </a:endParaRPr>
          </a:p>
          <a:p>
            <a:pPr algn="r"/>
            <a:r>
              <a:rPr lang="en-GB" sz="1000" i="1" dirty="0">
                <a:cs typeface="Arial" pitchFamily="34" charset="0"/>
              </a:rPr>
              <a:t>Consultant</a:t>
            </a:r>
          </a:p>
        </p:txBody>
      </p:sp>
      <p:sp>
        <p:nvSpPr>
          <p:cNvPr id="52" name="Rectangular Callout 53">
            <a:extLst>
              <a:ext uri="{FF2B5EF4-FFF2-40B4-BE49-F238E27FC236}">
                <a16:creationId xmlns:a16="http://schemas.microsoft.com/office/drawing/2014/main" id="{067B7BED-A66B-48DD-84A3-6A85C3A7603E}"/>
              </a:ext>
            </a:extLst>
          </p:cNvPr>
          <p:cNvSpPr/>
          <p:nvPr/>
        </p:nvSpPr>
        <p:spPr>
          <a:xfrm>
            <a:off x="6564672" y="5220470"/>
            <a:ext cx="1091911" cy="1259776"/>
          </a:xfrm>
          <a:prstGeom prst="wedgeRectCallout">
            <a:avLst>
              <a:gd name="adj1" fmla="val -7747"/>
              <a:gd name="adj2" fmla="val -6235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Still use </a:t>
            </a:r>
            <a:r>
              <a:rPr lang="en-US" sz="1200" dirty="0" err="1">
                <a:cs typeface="Arial" pitchFamily="34" charset="0"/>
              </a:rPr>
              <a:t>send.bcg</a:t>
            </a:r>
            <a:r>
              <a:rPr lang="en-US" sz="1200" dirty="0">
                <a:cs typeface="Arial" pitchFamily="34" charset="0"/>
              </a:rPr>
              <a:t> - not sure how else to [file] share.</a:t>
            </a:r>
            <a:r>
              <a:rPr lang="en-GB" sz="1200" dirty="0">
                <a:cs typeface="Arial" pitchFamily="34" charset="0"/>
              </a:rPr>
              <a:t>”</a:t>
            </a:r>
          </a:p>
          <a:p>
            <a:pPr algn="r"/>
            <a:r>
              <a:rPr lang="en-GB" sz="1000" i="1" dirty="0">
                <a:cs typeface="Arial" pitchFamily="34" charset="0"/>
              </a:rPr>
              <a:t>Consultant</a:t>
            </a:r>
          </a:p>
        </p:txBody>
      </p:sp>
      <p:sp>
        <p:nvSpPr>
          <p:cNvPr id="41" name="Rectangular Callout 42">
            <a:extLst>
              <a:ext uri="{FF2B5EF4-FFF2-40B4-BE49-F238E27FC236}">
                <a16:creationId xmlns:a16="http://schemas.microsoft.com/office/drawing/2014/main" id="{46014ABE-23B8-440C-A09B-86E8A4A22EF2}"/>
              </a:ext>
            </a:extLst>
          </p:cNvPr>
          <p:cNvSpPr/>
          <p:nvPr/>
        </p:nvSpPr>
        <p:spPr>
          <a:xfrm>
            <a:off x="6149854" y="3857626"/>
            <a:ext cx="1529495" cy="1180882"/>
          </a:xfrm>
          <a:prstGeom prst="wedgeRectCallout">
            <a:avLst>
              <a:gd name="adj1" fmla="val -32117"/>
              <a:gd name="adj2" fmla="val 5676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err="1">
                <a:cs typeface="Arial" pitchFamily="34" charset="0"/>
              </a:rPr>
              <a:t>Onedrive</a:t>
            </a:r>
            <a:r>
              <a:rPr lang="en-US" sz="1200" dirty="0">
                <a:cs typeface="Arial" pitchFamily="34" charset="0"/>
              </a:rPr>
              <a:t> too cumbersome at the moment (could be changed with config I guess).</a:t>
            </a:r>
            <a:r>
              <a:rPr lang="en-GB" sz="1200" dirty="0">
                <a:cs typeface="Arial" pitchFamily="34" charset="0"/>
              </a:rPr>
              <a:t>”</a:t>
            </a:r>
          </a:p>
          <a:p>
            <a:pPr lvl="1" algn="r"/>
            <a:r>
              <a:rPr lang="en-GB" sz="1000" i="1" dirty="0" err="1">
                <a:cs typeface="Arial" pitchFamily="34" charset="0"/>
              </a:rPr>
              <a:t>MDP</a:t>
            </a:r>
            <a:endParaRPr lang="en-GB" sz="1000" i="1" dirty="0">
              <a:cs typeface="Arial" pitchFamily="34" charset="0"/>
            </a:endParaRPr>
          </a:p>
        </p:txBody>
      </p:sp>
      <p:sp>
        <p:nvSpPr>
          <p:cNvPr id="30" name="Rectangular Callout 53">
            <a:extLst>
              <a:ext uri="{FF2B5EF4-FFF2-40B4-BE49-F238E27FC236}">
                <a16:creationId xmlns:a16="http://schemas.microsoft.com/office/drawing/2014/main" id="{5D00F92F-B8A8-4995-8283-4783710E2CDD}"/>
              </a:ext>
            </a:extLst>
          </p:cNvPr>
          <p:cNvSpPr/>
          <p:nvPr/>
        </p:nvSpPr>
        <p:spPr>
          <a:xfrm>
            <a:off x="255677" y="5220471"/>
            <a:ext cx="2435361" cy="1279321"/>
          </a:xfrm>
          <a:prstGeom prst="wedgeRectCallout">
            <a:avLst>
              <a:gd name="adj1" fmla="val 17258"/>
              <a:gd name="adj2" fmla="val -548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 piloted SharePoint on my latest case. The stability was abysmal. If the intention is to make that the standard moving forward, it cannot be rolled out in the current state.</a:t>
            </a:r>
            <a:r>
              <a:rPr lang="en-GB" sz="1200" dirty="0">
                <a:cs typeface="Arial" pitchFamily="34" charset="0"/>
              </a:rPr>
              <a:t>” 	</a:t>
            </a:r>
          </a:p>
          <a:p>
            <a:pPr algn="r"/>
            <a:r>
              <a:rPr lang="en-GB" sz="1000" i="1" dirty="0">
                <a:cs typeface="Arial" pitchFamily="34" charset="0"/>
              </a:rPr>
              <a:t>Consultant</a:t>
            </a:r>
          </a:p>
        </p:txBody>
      </p:sp>
      <p:sp>
        <p:nvSpPr>
          <p:cNvPr id="44" name="Rectangular Callout 42">
            <a:extLst>
              <a:ext uri="{FF2B5EF4-FFF2-40B4-BE49-F238E27FC236}">
                <a16:creationId xmlns:a16="http://schemas.microsoft.com/office/drawing/2014/main" id="{E501CDB9-1FA2-4EBB-909B-9AC0E98F84CE}"/>
              </a:ext>
            </a:extLst>
          </p:cNvPr>
          <p:cNvSpPr/>
          <p:nvPr/>
        </p:nvSpPr>
        <p:spPr>
          <a:xfrm>
            <a:off x="2808850" y="5220470"/>
            <a:ext cx="2227114" cy="1279321"/>
          </a:xfrm>
          <a:prstGeom prst="wedgeRectCallout">
            <a:avLst>
              <a:gd name="adj1" fmla="val 19598"/>
              <a:gd name="adj2" fmla="val -5781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rello is okay, but not integrated with outlook tasks /emails or planner boards. Should be substituted through MS Tasks in my opinion.</a:t>
            </a:r>
            <a:r>
              <a:rPr lang="en-GB" sz="1200" dirty="0">
                <a:cs typeface="Arial" pitchFamily="34" charset="0"/>
              </a:rPr>
              <a:t>”</a:t>
            </a:r>
          </a:p>
          <a:p>
            <a:endParaRPr lang="en-GB" sz="1200" i="1" dirty="0">
              <a:cs typeface="Arial" pitchFamily="34" charset="0"/>
            </a:endParaRPr>
          </a:p>
          <a:p>
            <a:pPr algn="r"/>
            <a:r>
              <a:rPr lang="en-GB" sz="1000" i="1" dirty="0">
                <a:cs typeface="Arial" pitchFamily="34" charset="0"/>
              </a:rPr>
              <a:t>Senior ECT</a:t>
            </a:r>
          </a:p>
        </p:txBody>
      </p:sp>
      <p:sp>
        <p:nvSpPr>
          <p:cNvPr id="27" name="Rectangular Callout 42">
            <a:extLst>
              <a:ext uri="{FF2B5EF4-FFF2-40B4-BE49-F238E27FC236}">
                <a16:creationId xmlns:a16="http://schemas.microsoft.com/office/drawing/2014/main" id="{30652769-F432-49A1-99A2-8089D3A202EE}"/>
              </a:ext>
            </a:extLst>
          </p:cNvPr>
          <p:cNvSpPr/>
          <p:nvPr/>
        </p:nvSpPr>
        <p:spPr>
          <a:xfrm>
            <a:off x="2151257" y="3851852"/>
            <a:ext cx="1695224" cy="1192962"/>
          </a:xfrm>
          <a:prstGeom prst="wedgeRectCallout">
            <a:avLst>
              <a:gd name="adj1" fmla="val -3566"/>
              <a:gd name="adj2" fmla="val 5731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All clients use teams (more or less), not seeing the rationale for zoom fully.</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2710094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722634-60C0-40E6-B015-470E5BD0E7E3}"/>
              </a:ext>
            </a:extLst>
          </p:cNvPr>
          <p:cNvGraphicFramePr>
            <a:graphicFrameLocks noChangeAspect="1"/>
          </p:cNvGraphicFramePr>
          <p:nvPr>
            <p:custDataLst>
              <p:tags r:id="rId2"/>
            </p:custDataLst>
            <p:extLst>
              <p:ext uri="{D42A27DB-BD31-4B8C-83A1-F6EECF244321}">
                <p14:modId xmlns:p14="http://schemas.microsoft.com/office/powerpoint/2010/main" val="2127365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58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3178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9DC274-ABDA-40CD-BA47-C26703E8976F}"/>
              </a:ext>
            </a:extLst>
          </p:cNvPr>
          <p:cNvGraphicFramePr>
            <a:graphicFrameLocks noChangeAspect="1"/>
          </p:cNvGraphicFramePr>
          <p:nvPr>
            <p:custDataLst>
              <p:tags r:id="rId2"/>
            </p:custDataLst>
            <p:extLst>
              <p:ext uri="{D42A27DB-BD31-4B8C-83A1-F6EECF244321}">
                <p14:modId xmlns:p14="http://schemas.microsoft.com/office/powerpoint/2010/main" val="110018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17" name="think-cell Slide" r:id="rId26" imgW="395" imgH="394" progId="TCLayout.ActiveDocument.1">
                  <p:embed/>
                </p:oleObj>
              </mc:Choice>
              <mc:Fallback>
                <p:oleObj name="think-cell Slide" r:id="rId26" imgW="395" imgH="394" progId="TCLayout.ActiveDocument.1">
                  <p:embed/>
                  <p:pic>
                    <p:nvPicPr>
                      <p:cNvPr id="4" name="Object 3" hidden="1">
                        <a:extLst>
                          <a:ext uri="{FF2B5EF4-FFF2-40B4-BE49-F238E27FC236}">
                            <a16:creationId xmlns:a16="http://schemas.microsoft.com/office/drawing/2014/main" id="{D19DC274-ABDA-40CD-BA47-C26703E8976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508303-EC73-42B0-B31E-5B3F80CC0C3F}"/>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sym typeface="+mn-lt"/>
            </a:endParaRPr>
          </a:p>
        </p:txBody>
      </p:sp>
      <p:sp>
        <p:nvSpPr>
          <p:cNvPr id="3" name="Title 2">
            <a:extLst>
              <a:ext uri="{FF2B5EF4-FFF2-40B4-BE49-F238E27FC236}">
                <a16:creationId xmlns:a16="http://schemas.microsoft.com/office/drawing/2014/main" id="{AA09FB15-2D07-45FE-B380-A5B821246911}"/>
              </a:ext>
            </a:extLst>
          </p:cNvPr>
          <p:cNvSpPr>
            <a:spLocks noGrp="1"/>
          </p:cNvSpPr>
          <p:nvPr>
            <p:ph type="title"/>
          </p:nvPr>
        </p:nvSpPr>
        <p:spPr/>
        <p:txBody>
          <a:bodyPr vert="horz"/>
          <a:lstStyle/>
          <a:p>
            <a:r>
              <a:rPr lang="en-US" dirty="0">
                <a:solidFill>
                  <a:srgbClr val="295E7E"/>
                </a:solidFill>
              </a:rPr>
              <a:t>Response rates</a:t>
            </a:r>
          </a:p>
        </p:txBody>
      </p:sp>
      <p:sp>
        <p:nvSpPr>
          <p:cNvPr id="43" name="Rectangle 42">
            <a:extLst>
              <a:ext uri="{FF2B5EF4-FFF2-40B4-BE49-F238E27FC236}">
                <a16:creationId xmlns:a16="http://schemas.microsoft.com/office/drawing/2014/main" id="{8E692897-305C-4342-8EA1-B73F5CAD72F1}"/>
              </a:ext>
            </a:extLst>
          </p:cNvPr>
          <p:cNvSpPr/>
          <p:nvPr/>
        </p:nvSpPr>
        <p:spPr>
          <a:xfrm>
            <a:off x="998540" y="925103"/>
            <a:ext cx="363377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Trending</a:t>
            </a:r>
          </a:p>
        </p:txBody>
      </p:sp>
      <p:graphicFrame>
        <p:nvGraphicFramePr>
          <p:cNvPr id="67" name="Chart 66">
            <a:extLst>
              <a:ext uri="{FF2B5EF4-FFF2-40B4-BE49-F238E27FC236}">
                <a16:creationId xmlns:a16="http://schemas.microsoft.com/office/drawing/2014/main" id="{F0DF7C70-4A0D-4126-AE2D-E6FE1E901297}"/>
              </a:ext>
            </a:extLst>
          </p:cNvPr>
          <p:cNvGraphicFramePr/>
          <p:nvPr>
            <p:custDataLst>
              <p:tags r:id="rId4"/>
            </p:custDataLst>
            <p:extLst>
              <p:ext uri="{D42A27DB-BD31-4B8C-83A1-F6EECF244321}">
                <p14:modId xmlns:p14="http://schemas.microsoft.com/office/powerpoint/2010/main" val="988765413"/>
              </p:ext>
            </p:extLst>
          </p:nvPr>
        </p:nvGraphicFramePr>
        <p:xfrm>
          <a:off x="515938" y="1806575"/>
          <a:ext cx="7150100" cy="4083050"/>
        </p:xfrm>
        <a:graphic>
          <a:graphicData uri="http://schemas.openxmlformats.org/drawingml/2006/chart">
            <c:chart xmlns:c="http://schemas.openxmlformats.org/drawingml/2006/chart" xmlns:r="http://schemas.openxmlformats.org/officeDocument/2006/relationships" r:id="rId28"/>
          </a:graphicData>
        </a:graphic>
      </p:graphicFrame>
      <p:sp>
        <p:nvSpPr>
          <p:cNvPr id="36" name="Text Placeholder 3">
            <a:extLst>
              <a:ext uri="{FF2B5EF4-FFF2-40B4-BE49-F238E27FC236}">
                <a16:creationId xmlns:a16="http://schemas.microsoft.com/office/drawing/2014/main" id="{EBCDB617-157E-478B-BBCC-3BEE7D43F9ED}"/>
              </a:ext>
            </a:extLst>
          </p:cNvPr>
          <p:cNvSpPr>
            <a:spLocks noGrp="1"/>
          </p:cNvSpPr>
          <p:nvPr>
            <p:custDataLst>
              <p:tags r:id="rId5"/>
            </p:custDataLst>
          </p:nvPr>
        </p:nvSpPr>
        <p:spPr bwMode="gray">
          <a:xfrm>
            <a:off x="5640388"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B96275F-2BA9-4E27-B5FA-6591CC585E10}" type="datetime'''''''Q''''''2'''' ''''''''''’''''''''''''''2''1'">
              <a:rPr lang="en-US" altLang="en-US" sz="1600" smtClean="0"/>
              <a:pPr/>
              <a:t>Q2 ’21</a:t>
            </a:fld>
            <a:endParaRPr lang="en-US" sz="1600" dirty="0">
              <a:sym typeface="+mn-lt"/>
            </a:endParaRPr>
          </a:p>
        </p:txBody>
      </p:sp>
      <p:sp>
        <p:nvSpPr>
          <p:cNvPr id="71" name="Text Placeholder 3">
            <a:extLst>
              <a:ext uri="{FF2B5EF4-FFF2-40B4-BE49-F238E27FC236}">
                <a16:creationId xmlns:a16="http://schemas.microsoft.com/office/drawing/2014/main" id="{80F4287E-3512-4B00-969D-712B48E16DB6}"/>
              </a:ext>
            </a:extLst>
          </p:cNvPr>
          <p:cNvSpPr>
            <a:spLocks noGrp="1"/>
          </p:cNvSpPr>
          <p:nvPr>
            <p:custDataLst>
              <p:tags r:id="rId6"/>
            </p:custDataLst>
          </p:nvPr>
        </p:nvSpPr>
        <p:spPr bwMode="gray">
          <a:xfrm>
            <a:off x="722313"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EADEF24-63CF-48B4-9E70-C159C02A535D}" type="datetime'''''''''Q''''''4 ''’''1''''''''''9'''''''''''''''''''''''">
              <a:rPr lang="en-US" altLang="en-US" sz="1600" smtClean="0"/>
              <a:pPr/>
              <a:t>Q4 ’19</a:t>
            </a:fld>
            <a:endParaRPr lang="en-US" sz="1600" dirty="0">
              <a:sym typeface="+mn-lt"/>
            </a:endParaRPr>
          </a:p>
        </p:txBody>
      </p:sp>
      <p:sp>
        <p:nvSpPr>
          <p:cNvPr id="38" name="Text Placeholder 3">
            <a:extLst>
              <a:ext uri="{FF2B5EF4-FFF2-40B4-BE49-F238E27FC236}">
                <a16:creationId xmlns:a16="http://schemas.microsoft.com/office/drawing/2014/main" id="{FD48EBF5-A732-4E6F-A129-727D95D86AB3}"/>
              </a:ext>
            </a:extLst>
          </p:cNvPr>
          <p:cNvSpPr>
            <a:spLocks noGrp="1"/>
          </p:cNvSpPr>
          <p:nvPr>
            <p:custDataLst>
              <p:tags r:id="rId7"/>
            </p:custDataLst>
          </p:nvPr>
        </p:nvSpPr>
        <p:spPr bwMode="gray">
          <a:xfrm>
            <a:off x="4821238"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D893F30-503D-43D9-8348-6BD2122FDC73}" type="datetime'''''''''Q''1'''''''''''''' ''''’''''2''''1'">
              <a:rPr lang="en-US" altLang="en-US" sz="1600" smtClean="0"/>
              <a:pPr/>
              <a:t>Q1 ’21</a:t>
            </a:fld>
            <a:endParaRPr lang="en-US" sz="1600" dirty="0">
              <a:sym typeface="+mn-lt"/>
            </a:endParaRPr>
          </a:p>
        </p:txBody>
      </p:sp>
      <p:sp>
        <p:nvSpPr>
          <p:cNvPr id="75" name="Text Placeholder 3">
            <a:extLst>
              <a:ext uri="{FF2B5EF4-FFF2-40B4-BE49-F238E27FC236}">
                <a16:creationId xmlns:a16="http://schemas.microsoft.com/office/drawing/2014/main" id="{C3EA4E27-BE6D-4580-96C3-B8155C7A4AEF}"/>
              </a:ext>
            </a:extLst>
          </p:cNvPr>
          <p:cNvSpPr>
            <a:spLocks noGrp="1"/>
          </p:cNvSpPr>
          <p:nvPr>
            <p:custDataLst>
              <p:tags r:id="rId8"/>
            </p:custDataLst>
          </p:nvPr>
        </p:nvSpPr>
        <p:spPr bwMode="gray">
          <a:xfrm>
            <a:off x="1541463"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AD66419-6AAB-4263-933A-2752AD444F4D}" type="datetime'''''''''''''Q''1 ’''''''''''2''''''''''''''''''''''''''''0'">
              <a:rPr lang="en-US" altLang="en-US" sz="1600" smtClean="0">
                <a:sym typeface="+mn-lt"/>
              </a:rPr>
              <a:pPr algn="ctr">
                <a:spcBef>
                  <a:spcPct val="0"/>
                </a:spcBef>
                <a:spcAft>
                  <a:spcPct val="0"/>
                </a:spcAft>
              </a:pPr>
              <a:t>Q1 ’20</a:t>
            </a:fld>
            <a:endParaRPr lang="en-US" sz="1600" dirty="0">
              <a:sym typeface="+mn-lt"/>
            </a:endParaRPr>
          </a:p>
        </p:txBody>
      </p:sp>
      <p:sp>
        <p:nvSpPr>
          <p:cNvPr id="76" name="Text Placeholder 3">
            <a:extLst>
              <a:ext uri="{FF2B5EF4-FFF2-40B4-BE49-F238E27FC236}">
                <a16:creationId xmlns:a16="http://schemas.microsoft.com/office/drawing/2014/main" id="{E7C57AD7-8CE8-4A21-9EB9-EFAECA74A1B5}"/>
              </a:ext>
            </a:extLst>
          </p:cNvPr>
          <p:cNvSpPr>
            <a:spLocks noGrp="1"/>
          </p:cNvSpPr>
          <p:nvPr>
            <p:custDataLst>
              <p:tags r:id="rId9"/>
            </p:custDataLst>
          </p:nvPr>
        </p:nvSpPr>
        <p:spPr bwMode="gray">
          <a:xfrm>
            <a:off x="2362200"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48F9337-4F35-413E-9E6B-796B504ECC1E}" type="datetime'''''''''''''''''''Q''2 ''''''’''''''''''''''''2''0'">
              <a:rPr lang="en-US" altLang="en-US" sz="1600" smtClean="0">
                <a:sym typeface="+mn-lt"/>
              </a:rPr>
              <a:pPr algn="ctr">
                <a:spcBef>
                  <a:spcPct val="0"/>
                </a:spcBef>
                <a:spcAft>
                  <a:spcPct val="0"/>
                </a:spcAft>
              </a:pPr>
              <a:t>Q2 ’20</a:t>
            </a:fld>
            <a:endParaRPr lang="en-US" sz="1600" dirty="0">
              <a:sym typeface="+mn-lt"/>
            </a:endParaRPr>
          </a:p>
        </p:txBody>
      </p:sp>
      <p:sp>
        <p:nvSpPr>
          <p:cNvPr id="78" name="Text Placeholder 3">
            <a:extLst>
              <a:ext uri="{FF2B5EF4-FFF2-40B4-BE49-F238E27FC236}">
                <a16:creationId xmlns:a16="http://schemas.microsoft.com/office/drawing/2014/main" id="{BA3136F6-DC0F-4358-9882-4804B3C2C187}"/>
              </a:ext>
            </a:extLst>
          </p:cNvPr>
          <p:cNvSpPr>
            <a:spLocks noGrp="1"/>
          </p:cNvSpPr>
          <p:nvPr>
            <p:custDataLst>
              <p:tags r:id="rId10"/>
            </p:custDataLst>
          </p:nvPr>
        </p:nvSpPr>
        <p:spPr bwMode="gray">
          <a:xfrm>
            <a:off x="4002088"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AE36B03-ECA2-4D7D-9A08-33BFF8BF30BD}" type="datetime'''Q''''''''4 ''''''’''''''''''''''2''''0'''">
              <a:rPr lang="en-US" altLang="en-US" sz="1600" smtClean="0">
                <a:sym typeface="+mn-lt"/>
              </a:rPr>
              <a:pPr algn="ctr">
                <a:spcBef>
                  <a:spcPct val="0"/>
                </a:spcBef>
                <a:spcAft>
                  <a:spcPct val="0"/>
                </a:spcAft>
              </a:pPr>
              <a:t>Q4 ’20</a:t>
            </a:fld>
            <a:endParaRPr lang="en-US" sz="1600" dirty="0">
              <a:sym typeface="+mn-lt"/>
            </a:endParaRPr>
          </a:p>
        </p:txBody>
      </p:sp>
      <p:sp>
        <p:nvSpPr>
          <p:cNvPr id="77" name="Text Placeholder 3">
            <a:extLst>
              <a:ext uri="{FF2B5EF4-FFF2-40B4-BE49-F238E27FC236}">
                <a16:creationId xmlns:a16="http://schemas.microsoft.com/office/drawing/2014/main" id="{C924F9E1-9021-43CB-870E-73C5F31DEC5C}"/>
              </a:ext>
            </a:extLst>
          </p:cNvPr>
          <p:cNvSpPr>
            <a:spLocks noGrp="1"/>
          </p:cNvSpPr>
          <p:nvPr>
            <p:custDataLst>
              <p:tags r:id="rId11"/>
            </p:custDataLst>
          </p:nvPr>
        </p:nvSpPr>
        <p:spPr bwMode="gray">
          <a:xfrm>
            <a:off x="3181350"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1579EB2-E523-496F-8533-6830A6367C59}" type="datetime'''''''''''''''''''''''''Q''''''''''''3'''''' ''’''''''''20'''">
              <a:rPr lang="en-US" altLang="en-US" sz="1600" smtClean="0">
                <a:sym typeface="+mn-lt"/>
              </a:rPr>
              <a:pPr algn="ctr">
                <a:spcBef>
                  <a:spcPct val="0"/>
                </a:spcBef>
                <a:spcAft>
                  <a:spcPct val="0"/>
                </a:spcAft>
              </a:pPr>
              <a:t>Q3 ’20</a:t>
            </a:fld>
            <a:endParaRPr lang="en-US" sz="1600" dirty="0">
              <a:sym typeface="+mn-lt"/>
            </a:endParaRPr>
          </a:p>
        </p:txBody>
      </p:sp>
      <p:sp>
        <p:nvSpPr>
          <p:cNvPr id="35" name="Text Placeholder 3">
            <a:extLst>
              <a:ext uri="{FF2B5EF4-FFF2-40B4-BE49-F238E27FC236}">
                <a16:creationId xmlns:a16="http://schemas.microsoft.com/office/drawing/2014/main" id="{7F856FB9-DD1C-49E0-8C2E-BB0BDF5C7F08}"/>
              </a:ext>
            </a:extLst>
          </p:cNvPr>
          <p:cNvSpPr>
            <a:spLocks noGrp="1"/>
          </p:cNvSpPr>
          <p:nvPr>
            <p:custDataLst>
              <p:tags r:id="rId12"/>
            </p:custDataLst>
          </p:nvPr>
        </p:nvSpPr>
        <p:spPr bwMode="gray">
          <a:xfrm>
            <a:off x="6461125"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D9B5BB5-F537-4333-A14D-7635171D158E}" type="datetime'Q''''''''''''''''''''3 ’''''''''''''21'''''''''''''''''''">
              <a:rPr lang="en-US" altLang="en-US" sz="1600" smtClean="0"/>
              <a:pPr/>
              <a:t>Q3 ’21</a:t>
            </a:fld>
            <a:endParaRPr lang="en-US" sz="1600" dirty="0">
              <a:sym typeface="+mn-lt"/>
            </a:endParaRPr>
          </a:p>
        </p:txBody>
      </p:sp>
      <p:sp>
        <p:nvSpPr>
          <p:cNvPr id="42" name="Text Placeholder 3">
            <a:extLst>
              <a:ext uri="{FF2B5EF4-FFF2-40B4-BE49-F238E27FC236}">
                <a16:creationId xmlns:a16="http://schemas.microsoft.com/office/drawing/2014/main" id="{F0F57104-B30E-46B8-8B5D-3B0B724CC28D}"/>
              </a:ext>
            </a:extLst>
          </p:cNvPr>
          <p:cNvSpPr>
            <a:spLocks noGrp="1"/>
          </p:cNvSpPr>
          <p:nvPr>
            <p:custDataLst>
              <p:tags r:id="rId13"/>
            </p:custDataLst>
          </p:nvPr>
        </p:nvSpPr>
        <p:spPr bwMode="gray">
          <a:xfrm>
            <a:off x="7280275" y="5813425"/>
            <a:ext cx="60642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2848A62-87E1-4486-B5CE-8422B711693B}" type="datetime'''Q''4'' ''''’''2''''''''''''''''''''''''''''1'''''''">
              <a:rPr lang="en-US" altLang="en-US" sz="1600" smtClean="0"/>
              <a:pPr/>
              <a:t>Q4 ’21</a:t>
            </a:fld>
            <a:endParaRPr lang="en-US" sz="1600" dirty="0">
              <a:sym typeface="+mn-lt"/>
            </a:endParaRPr>
          </a:p>
        </p:txBody>
      </p:sp>
      <p:cxnSp>
        <p:nvCxnSpPr>
          <p:cNvPr id="11" name="Straight Connector 10">
            <a:extLst>
              <a:ext uri="{FF2B5EF4-FFF2-40B4-BE49-F238E27FC236}">
                <a16:creationId xmlns:a16="http://schemas.microsoft.com/office/drawing/2014/main" id="{B93740F2-0034-49D0-928D-25858F598D47}"/>
              </a:ext>
            </a:extLst>
          </p:cNvPr>
          <p:cNvCxnSpPr/>
          <p:nvPr>
            <p:custDataLst>
              <p:tags r:id="rId14"/>
            </p:custDataLst>
          </p:nvPr>
        </p:nvCxnSpPr>
        <p:spPr bwMode="gray">
          <a:xfrm>
            <a:off x="7948613" y="3119438"/>
            <a:ext cx="285750" cy="0"/>
          </a:xfrm>
          <a:prstGeom prst="line">
            <a:avLst/>
          </a:prstGeom>
          <a:ln w="28575" cap="flat" cmpd="sng" algn="ctr">
            <a:solidFill>
              <a:srgbClr val="E1584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C75CF88B-A68B-4568-AE6A-C195606A7A37}"/>
              </a:ext>
            </a:extLst>
          </p:cNvPr>
          <p:cNvCxnSpPr/>
          <p:nvPr>
            <p:custDataLst>
              <p:tags r:id="rId15"/>
            </p:custDataLst>
          </p:nvPr>
        </p:nvCxnSpPr>
        <p:spPr bwMode="gray">
          <a:xfrm>
            <a:off x="7948613" y="2162175"/>
            <a:ext cx="285750" cy="0"/>
          </a:xfrm>
          <a:prstGeom prst="line">
            <a:avLst/>
          </a:prstGeom>
          <a:ln w="28575" cap="flat" cmpd="sng" algn="ctr">
            <a:solidFill>
              <a:srgbClr val="D4DF3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66DC1012-E057-4F3F-BCAB-16D13EEDCE92}"/>
              </a:ext>
            </a:extLst>
          </p:cNvPr>
          <p:cNvCxnSpPr/>
          <p:nvPr>
            <p:custDataLst>
              <p:tags r:id="rId16"/>
            </p:custDataLst>
          </p:nvPr>
        </p:nvCxnSpPr>
        <p:spPr bwMode="gray">
          <a:xfrm>
            <a:off x="7948613" y="2481263"/>
            <a:ext cx="285750" cy="0"/>
          </a:xfrm>
          <a:prstGeom prst="line">
            <a:avLst/>
          </a:prstGeom>
          <a:ln w="2857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A65665D7-8D08-4A89-9811-2CD55A88F5ED}"/>
              </a:ext>
            </a:extLst>
          </p:cNvPr>
          <p:cNvCxnSpPr/>
          <p:nvPr>
            <p:custDataLst>
              <p:tags r:id="rId17"/>
            </p:custDataLst>
          </p:nvPr>
        </p:nvCxnSpPr>
        <p:spPr bwMode="gray">
          <a:xfrm>
            <a:off x="7948613" y="2800350"/>
            <a:ext cx="285750" cy="0"/>
          </a:xfrm>
          <a:prstGeom prst="line">
            <a:avLst/>
          </a:prstGeom>
          <a:ln w="28575" cap="flat" cmpd="sng" algn="ctr">
            <a:solidFill>
              <a:srgbClr val="60DB6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EBD4C33-E048-40A3-A92F-DA05FB333B74}"/>
              </a:ext>
            </a:extLst>
          </p:cNvPr>
          <p:cNvCxnSpPr/>
          <p:nvPr>
            <p:custDataLst>
              <p:tags r:id="rId18"/>
            </p:custDataLst>
          </p:nvPr>
        </p:nvCxnSpPr>
        <p:spPr bwMode="gray">
          <a:xfrm>
            <a:off x="7948613" y="3438525"/>
            <a:ext cx="285750" cy="0"/>
          </a:xfrm>
          <a:prstGeom prst="line">
            <a:avLst/>
          </a:prstGeom>
          <a:ln w="28575" cap="flat" cmpd="sng" algn="ctr">
            <a:solidFill>
              <a:srgbClr val="00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8" name="Text Placeholder 3">
            <a:extLst>
              <a:ext uri="{FF2B5EF4-FFF2-40B4-BE49-F238E27FC236}">
                <a16:creationId xmlns:a16="http://schemas.microsoft.com/office/drawing/2014/main" id="{6B96ACD6-D793-457F-99EF-F64E1C10E904}"/>
              </a:ext>
            </a:extLst>
          </p:cNvPr>
          <p:cNvSpPr>
            <a:spLocks noGrp="1"/>
          </p:cNvSpPr>
          <p:nvPr>
            <p:custDataLst>
              <p:tags r:id="rId19"/>
            </p:custDataLst>
          </p:nvPr>
        </p:nvSpPr>
        <p:spPr bwMode="gray">
          <a:xfrm>
            <a:off x="8285163" y="2032000"/>
            <a:ext cx="2333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69E305D-8253-4F72-9058-46E434B66343}" type="datetime'''''''''''''''''''''''''''A''''''''''''P'''''''''''''''''''">
              <a:rPr lang="en-US" altLang="en-US" sz="1600" smtClean="0">
                <a:sym typeface="+mn-lt"/>
              </a:rPr>
              <a:pPr>
                <a:spcBef>
                  <a:spcPct val="0"/>
                </a:spcBef>
                <a:spcAft>
                  <a:spcPct val="0"/>
                </a:spcAft>
              </a:pPr>
              <a:t>AP</a:t>
            </a:fld>
            <a:endParaRPr lang="en-US" sz="1600" dirty="0">
              <a:sym typeface="+mn-lt"/>
            </a:endParaRPr>
          </a:p>
        </p:txBody>
      </p:sp>
      <p:sp>
        <p:nvSpPr>
          <p:cNvPr id="129" name="Text Placeholder 3">
            <a:extLst>
              <a:ext uri="{FF2B5EF4-FFF2-40B4-BE49-F238E27FC236}">
                <a16:creationId xmlns:a16="http://schemas.microsoft.com/office/drawing/2014/main" id="{F25E91AD-5977-47CF-8759-0CA0D771B4D8}"/>
              </a:ext>
            </a:extLst>
          </p:cNvPr>
          <p:cNvSpPr>
            <a:spLocks noGrp="1"/>
          </p:cNvSpPr>
          <p:nvPr>
            <p:custDataLst>
              <p:tags r:id="rId20"/>
            </p:custDataLst>
          </p:nvPr>
        </p:nvSpPr>
        <p:spPr bwMode="gray">
          <a:xfrm>
            <a:off x="8285163" y="2351088"/>
            <a:ext cx="49688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74C8BA2-9C1F-48B0-90F5-2149530129E0}" type="datetime'''''''C''''''''''E''''''''''''''''''M''''''''''''''''''A'">
              <a:rPr lang="en-US" altLang="en-US" sz="1600" smtClean="0">
                <a:sym typeface="+mn-lt"/>
              </a:rPr>
              <a:pPr>
                <a:spcBef>
                  <a:spcPct val="0"/>
                </a:spcBef>
                <a:spcAft>
                  <a:spcPct val="0"/>
                </a:spcAft>
              </a:pPr>
              <a:t>CEMA</a:t>
            </a:fld>
            <a:endParaRPr lang="en-US" sz="1600" dirty="0">
              <a:sym typeface="+mn-lt"/>
            </a:endParaRPr>
          </a:p>
        </p:txBody>
      </p:sp>
      <p:sp>
        <p:nvSpPr>
          <p:cNvPr id="130" name="Text Placeholder 3">
            <a:extLst>
              <a:ext uri="{FF2B5EF4-FFF2-40B4-BE49-F238E27FC236}">
                <a16:creationId xmlns:a16="http://schemas.microsoft.com/office/drawing/2014/main" id="{63621D1D-890B-4682-B8DA-F6C601427F9E}"/>
              </a:ext>
            </a:extLst>
          </p:cNvPr>
          <p:cNvSpPr>
            <a:spLocks noGrp="1"/>
          </p:cNvSpPr>
          <p:nvPr>
            <p:custDataLst>
              <p:tags r:id="rId21"/>
            </p:custDataLst>
          </p:nvPr>
        </p:nvSpPr>
        <p:spPr bwMode="gray">
          <a:xfrm>
            <a:off x="8285163" y="2670175"/>
            <a:ext cx="5143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CB1D72A-5168-4F79-82E5-AAF54271A998}" type="datetime'''''''''''''N''A''M''''''R'''''''''''">
              <a:rPr lang="en-US" altLang="en-US" sz="1600" smtClean="0">
                <a:sym typeface="+mn-lt"/>
              </a:rPr>
              <a:pPr>
                <a:spcBef>
                  <a:spcPct val="0"/>
                </a:spcBef>
                <a:spcAft>
                  <a:spcPct val="0"/>
                </a:spcAft>
              </a:pPr>
              <a:t>NAMR</a:t>
            </a:fld>
            <a:endParaRPr lang="en-US" sz="1600" dirty="0">
              <a:sym typeface="+mn-lt"/>
            </a:endParaRPr>
          </a:p>
        </p:txBody>
      </p:sp>
      <p:sp>
        <p:nvSpPr>
          <p:cNvPr id="131" name="Text Placeholder 3">
            <a:extLst>
              <a:ext uri="{FF2B5EF4-FFF2-40B4-BE49-F238E27FC236}">
                <a16:creationId xmlns:a16="http://schemas.microsoft.com/office/drawing/2014/main" id="{92EB9453-46CC-4AD8-92A1-451DEB16AF83}"/>
              </a:ext>
            </a:extLst>
          </p:cNvPr>
          <p:cNvSpPr>
            <a:spLocks noGrp="1"/>
          </p:cNvSpPr>
          <p:nvPr>
            <p:custDataLst>
              <p:tags r:id="rId22"/>
            </p:custDataLst>
          </p:nvPr>
        </p:nvSpPr>
        <p:spPr bwMode="gray">
          <a:xfrm>
            <a:off x="8285163" y="2989263"/>
            <a:ext cx="5016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1D88BF6-7A7C-4C44-AE55-D0921B8C28A8}" type="datetime'''''''''''''''''''WE''''''''''''''''''''''''''S''''A'''''">
              <a:rPr lang="en-US" altLang="en-US" sz="1600" smtClean="0">
                <a:sym typeface="+mn-lt"/>
              </a:rPr>
              <a:pPr>
                <a:spcBef>
                  <a:spcPct val="0"/>
                </a:spcBef>
                <a:spcAft>
                  <a:spcPct val="0"/>
                </a:spcAft>
              </a:pPr>
              <a:t>WESA</a:t>
            </a:fld>
            <a:endParaRPr lang="en-US" sz="1600" dirty="0">
              <a:sym typeface="+mn-lt"/>
            </a:endParaRPr>
          </a:p>
        </p:txBody>
      </p:sp>
      <p:sp>
        <p:nvSpPr>
          <p:cNvPr id="40" name="Text Placeholder 3">
            <a:extLst>
              <a:ext uri="{FF2B5EF4-FFF2-40B4-BE49-F238E27FC236}">
                <a16:creationId xmlns:a16="http://schemas.microsoft.com/office/drawing/2014/main" id="{2C83E55E-1CE0-4DF7-8129-F9ABA1DDC1BD}"/>
              </a:ext>
            </a:extLst>
          </p:cNvPr>
          <p:cNvSpPr>
            <a:spLocks noGrp="1"/>
          </p:cNvSpPr>
          <p:nvPr>
            <p:custDataLst>
              <p:tags r:id="rId23"/>
            </p:custDataLst>
          </p:nvPr>
        </p:nvSpPr>
        <p:spPr bwMode="gray">
          <a:xfrm>
            <a:off x="8285163" y="3308350"/>
            <a:ext cx="6540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DDA41E8-2DD2-4E0B-9AF1-8C5FE124C578}" type="datetime'''''O''''''''''''''''''v''''er''''''''a''''l''l'''''''''''">
              <a:rPr lang="en-US" altLang="en-US" sz="1600" smtClean="0"/>
              <a:pPr/>
              <a:t>Overall</a:t>
            </a:fld>
            <a:endParaRPr lang="en-US" sz="1600" dirty="0">
              <a:sym typeface="+mn-lt"/>
            </a:endParaRPr>
          </a:p>
        </p:txBody>
      </p:sp>
      <p:sp>
        <p:nvSpPr>
          <p:cNvPr id="41" name="Rectangle 40">
            <a:extLst>
              <a:ext uri="{FF2B5EF4-FFF2-40B4-BE49-F238E27FC236}">
                <a16:creationId xmlns:a16="http://schemas.microsoft.com/office/drawing/2014/main" id="{CD6767CE-9F48-46BB-8567-D6C4E3EDCF1E}"/>
              </a:ext>
            </a:extLst>
          </p:cNvPr>
          <p:cNvSpPr/>
          <p:nvPr/>
        </p:nvSpPr>
        <p:spPr>
          <a:xfrm>
            <a:off x="425379" y="1529018"/>
            <a:ext cx="1468697" cy="17742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Response Rate</a:t>
            </a:r>
          </a:p>
        </p:txBody>
      </p:sp>
      <p:sp>
        <p:nvSpPr>
          <p:cNvPr id="47" name="Rectangle 46">
            <a:extLst>
              <a:ext uri="{FF2B5EF4-FFF2-40B4-BE49-F238E27FC236}">
                <a16:creationId xmlns:a16="http://schemas.microsoft.com/office/drawing/2014/main" id="{638EDB22-6707-401B-A5E2-4A1B1C479B8F}"/>
              </a:ext>
            </a:extLst>
          </p:cNvPr>
          <p:cNvSpPr/>
          <p:nvPr/>
        </p:nvSpPr>
        <p:spPr>
          <a:xfrm>
            <a:off x="7853790" y="5745798"/>
            <a:ext cx="1003265" cy="2505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Time Period</a:t>
            </a:r>
          </a:p>
        </p:txBody>
      </p:sp>
      <p:sp>
        <p:nvSpPr>
          <p:cNvPr id="81" name="ee4pContent2">
            <a:extLst>
              <a:ext uri="{FF2B5EF4-FFF2-40B4-BE49-F238E27FC236}">
                <a16:creationId xmlns:a16="http://schemas.microsoft.com/office/drawing/2014/main" id="{A89AE2C6-532D-43B2-B116-7137289A44AC}"/>
              </a:ext>
            </a:extLst>
          </p:cNvPr>
          <p:cNvSpPr txBox="1"/>
          <p:nvPr>
            <p:custDataLst>
              <p:tags r:id="rId24"/>
            </p:custDataLst>
          </p:nvPr>
        </p:nvSpPr>
        <p:spPr>
          <a:xfrm>
            <a:off x="9217751" y="0"/>
            <a:ext cx="2798757" cy="68580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buNone/>
            </a:pPr>
            <a:r>
              <a:rPr lang="en-US" sz="1800" dirty="0">
                <a:latin typeface="+mj-lt"/>
              </a:rPr>
              <a:t>AP persistently had the lowest response rates until Q4 2021 where it ranked top for the first time</a:t>
            </a:r>
          </a:p>
          <a:p>
            <a:pPr>
              <a:buNone/>
            </a:pPr>
            <a:endParaRPr lang="en-US" sz="1800" dirty="0">
              <a:latin typeface="+mj-lt"/>
            </a:endParaRPr>
          </a:p>
          <a:p>
            <a:pPr>
              <a:buNone/>
            </a:pPr>
            <a:r>
              <a:rPr lang="en-US" sz="1800" dirty="0">
                <a:latin typeface="+mj-lt"/>
              </a:rPr>
              <a:t>CEMA moves to 2</a:t>
            </a:r>
            <a:r>
              <a:rPr lang="en-US" sz="1800" baseline="30000" dirty="0">
                <a:latin typeface="+mj-lt"/>
              </a:rPr>
              <a:t>nd</a:t>
            </a:r>
            <a:r>
              <a:rPr lang="en-US" sz="1800" dirty="0">
                <a:latin typeface="+mj-lt"/>
              </a:rPr>
              <a:t> place after 4 quarters achieving the highest response rates</a:t>
            </a:r>
          </a:p>
        </p:txBody>
      </p:sp>
      <p:cxnSp>
        <p:nvCxnSpPr>
          <p:cNvPr id="82" name="Straight Connector 81">
            <a:extLst>
              <a:ext uri="{FF2B5EF4-FFF2-40B4-BE49-F238E27FC236}">
                <a16:creationId xmlns:a16="http://schemas.microsoft.com/office/drawing/2014/main" id="{988AE781-6C1F-4F33-BB98-53492DAB8AEF}"/>
              </a:ext>
            </a:extLst>
          </p:cNvPr>
          <p:cNvCxnSpPr>
            <a:cxnSpLocks/>
          </p:cNvCxnSpPr>
          <p:nvPr/>
        </p:nvCxnSpPr>
        <p:spPr>
          <a:xfrm>
            <a:off x="4734698" y="1811637"/>
            <a:ext cx="0" cy="4653721"/>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654B7E5-116C-48A7-B00C-1EDAE1796AC5}"/>
              </a:ext>
            </a:extLst>
          </p:cNvPr>
          <p:cNvSpPr/>
          <p:nvPr/>
        </p:nvSpPr>
        <p:spPr>
          <a:xfrm>
            <a:off x="823279" y="6161147"/>
            <a:ext cx="567813" cy="278448"/>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019</a:t>
            </a:r>
          </a:p>
        </p:txBody>
      </p:sp>
      <p:sp>
        <p:nvSpPr>
          <p:cNvPr id="108" name="Rectangle 107">
            <a:extLst>
              <a:ext uri="{FF2B5EF4-FFF2-40B4-BE49-F238E27FC236}">
                <a16:creationId xmlns:a16="http://schemas.microsoft.com/office/drawing/2014/main" id="{BD5870BD-7AAF-4013-AC48-DC8A435D6AE2}"/>
              </a:ext>
            </a:extLst>
          </p:cNvPr>
          <p:cNvSpPr/>
          <p:nvPr/>
        </p:nvSpPr>
        <p:spPr>
          <a:xfrm>
            <a:off x="1794386" y="6166227"/>
            <a:ext cx="2794112" cy="26829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020</a:t>
            </a:r>
          </a:p>
        </p:txBody>
      </p:sp>
      <p:cxnSp>
        <p:nvCxnSpPr>
          <p:cNvPr id="51" name="Straight Connector 50">
            <a:extLst>
              <a:ext uri="{FF2B5EF4-FFF2-40B4-BE49-F238E27FC236}">
                <a16:creationId xmlns:a16="http://schemas.microsoft.com/office/drawing/2014/main" id="{B75DA85D-FF1A-45AC-835C-3676E4D0EFCB}"/>
              </a:ext>
            </a:extLst>
          </p:cNvPr>
          <p:cNvCxnSpPr>
            <a:cxnSpLocks/>
          </p:cNvCxnSpPr>
          <p:nvPr/>
        </p:nvCxnSpPr>
        <p:spPr>
          <a:xfrm>
            <a:off x="1466277" y="1931780"/>
            <a:ext cx="0" cy="4428296"/>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61AC28EC-5FCA-4ABF-9C03-D219C6CA76D0}"/>
              </a:ext>
            </a:extLst>
          </p:cNvPr>
          <p:cNvSpPr/>
          <p:nvPr/>
        </p:nvSpPr>
        <p:spPr>
          <a:xfrm>
            <a:off x="4821238" y="6166227"/>
            <a:ext cx="2960405" cy="268289"/>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2021</a:t>
            </a:r>
          </a:p>
        </p:txBody>
      </p:sp>
      <p:grpSp>
        <p:nvGrpSpPr>
          <p:cNvPr id="37" name="Group 36">
            <a:extLst>
              <a:ext uri="{FF2B5EF4-FFF2-40B4-BE49-F238E27FC236}">
                <a16:creationId xmlns:a16="http://schemas.microsoft.com/office/drawing/2014/main" id="{F3135FE7-2CF1-4926-8F9A-6A68DCBA7722}"/>
              </a:ext>
            </a:extLst>
          </p:cNvPr>
          <p:cNvGrpSpPr>
            <a:grpSpLocks noChangeAspect="1"/>
          </p:cNvGrpSpPr>
          <p:nvPr/>
        </p:nvGrpSpPr>
        <p:grpSpPr>
          <a:xfrm>
            <a:off x="588963" y="874713"/>
            <a:ext cx="457200" cy="457200"/>
            <a:chOff x="5867400" y="3200400"/>
            <a:chExt cx="457200" cy="457200"/>
          </a:xfrm>
        </p:grpSpPr>
        <p:sp>
          <p:nvSpPr>
            <p:cNvPr id="39" name="AutoShape 43">
              <a:extLst>
                <a:ext uri="{FF2B5EF4-FFF2-40B4-BE49-F238E27FC236}">
                  <a16:creationId xmlns:a16="http://schemas.microsoft.com/office/drawing/2014/main" id="{0C5F718B-99AE-4712-8401-36995133019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05F0AD03-FFA9-40B0-93C8-5486DC928D14}"/>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339825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CD0103-F99D-42CE-870F-AF4B6E32EADD}"/>
              </a:ext>
            </a:extLst>
          </p:cNvPr>
          <p:cNvGraphicFramePr>
            <a:graphicFrameLocks noChangeAspect="1"/>
          </p:cNvGraphicFramePr>
          <p:nvPr>
            <p:custDataLst>
              <p:tags r:id="rId2"/>
            </p:custDataLst>
            <p:extLst>
              <p:ext uri="{D42A27DB-BD31-4B8C-83A1-F6EECF244321}">
                <p14:modId xmlns:p14="http://schemas.microsoft.com/office/powerpoint/2010/main" val="424308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8"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2CCD0103-F99D-42CE-870F-AF4B6E32EA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icture Placeholder 1">
            <a:extLst>
              <a:ext uri="{FF2B5EF4-FFF2-40B4-BE49-F238E27FC236}">
                <a16:creationId xmlns:a16="http://schemas.microsoft.com/office/drawing/2014/main" id="{B20C120E-C9BA-4D4C-9167-0AFEC6EB24DB}"/>
              </a:ext>
            </a:extLst>
          </p:cNvPr>
          <p:cNvSpPr>
            <a:spLocks noGrp="1"/>
          </p:cNvSpPr>
          <p:nvPr>
            <p:ph type="pic" sz="quarter" idx="14"/>
          </p:nvPr>
        </p:nvSpPr>
        <p:spPr/>
      </p:sp>
      <p:sp>
        <p:nvSpPr>
          <p:cNvPr id="5" name="Rectangle 4">
            <a:extLst>
              <a:ext uri="{FF2B5EF4-FFF2-40B4-BE49-F238E27FC236}">
                <a16:creationId xmlns:a16="http://schemas.microsoft.com/office/drawing/2014/main" id="{118CED11-2A73-48AA-8F1E-552E069023C2}"/>
              </a:ext>
            </a:extLst>
          </p:cNvPr>
          <p:cNvSpPr/>
          <p:nvPr/>
        </p:nvSpPr>
        <p:spPr>
          <a:xfrm>
            <a:off x="78661" y="1"/>
            <a:ext cx="5915038" cy="224389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600" dirty="0">
                <a:solidFill>
                  <a:srgbClr val="FFFFFF"/>
                </a:solidFill>
              </a:rPr>
              <a:t>From Q3 2020 we ask if employees want to opt-in to take part in future IT research. Since then -</a:t>
            </a:r>
          </a:p>
        </p:txBody>
      </p:sp>
      <p:pic>
        <p:nvPicPr>
          <p:cNvPr id="6" name="Picture 5">
            <a:extLst>
              <a:ext uri="{FF2B5EF4-FFF2-40B4-BE49-F238E27FC236}">
                <a16:creationId xmlns:a16="http://schemas.microsoft.com/office/drawing/2014/main" id="{6C1DEE25-FE11-4F64-A17D-68078B03F6B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092020" y="0"/>
            <a:ext cx="6099978" cy="6858000"/>
          </a:xfrm>
          <a:prstGeom prst="rect">
            <a:avLst/>
          </a:prstGeom>
        </p:spPr>
      </p:pic>
      <p:sp>
        <p:nvSpPr>
          <p:cNvPr id="7" name="Oval 6">
            <a:extLst>
              <a:ext uri="{FF2B5EF4-FFF2-40B4-BE49-F238E27FC236}">
                <a16:creationId xmlns:a16="http://schemas.microsoft.com/office/drawing/2014/main" id="{E7A4CE68-B4CF-4354-A632-D8459CD80AE7}"/>
              </a:ext>
            </a:extLst>
          </p:cNvPr>
          <p:cNvSpPr>
            <a:spLocks noChangeAspect="1"/>
          </p:cNvSpPr>
          <p:nvPr/>
        </p:nvSpPr>
        <p:spPr>
          <a:xfrm>
            <a:off x="2812478" y="2455933"/>
            <a:ext cx="2580715" cy="2580715"/>
          </a:xfrm>
          <a:prstGeom prst="ellipse">
            <a:avLst/>
          </a:prstGeom>
          <a:solidFill>
            <a:srgbClr val="FFFFFF"/>
          </a:solidFill>
          <a:ln w="5715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5200" b="1" kern="0" dirty="0">
                <a:solidFill>
                  <a:srgbClr val="295E7E"/>
                </a:solidFill>
              </a:rPr>
              <a:t>1,226</a:t>
            </a:r>
          </a:p>
          <a:p>
            <a:pPr algn="ctr">
              <a:lnSpc>
                <a:spcPct val="95000"/>
              </a:lnSpc>
            </a:pPr>
            <a:endParaRPr lang="en-US" sz="5400" b="1" kern="0" dirty="0">
              <a:solidFill>
                <a:srgbClr val="29BA74"/>
              </a:solidFill>
            </a:endParaRPr>
          </a:p>
          <a:p>
            <a:pPr algn="ctr">
              <a:lnSpc>
                <a:spcPct val="95000"/>
              </a:lnSpc>
            </a:pPr>
            <a:endParaRPr lang="en-US" sz="1200" kern="0" dirty="0">
              <a:solidFill>
                <a:srgbClr val="575757"/>
              </a:solidFill>
            </a:endParaRPr>
          </a:p>
        </p:txBody>
      </p:sp>
      <p:sp>
        <p:nvSpPr>
          <p:cNvPr id="9" name="Rectangle 8">
            <a:extLst>
              <a:ext uri="{FF2B5EF4-FFF2-40B4-BE49-F238E27FC236}">
                <a16:creationId xmlns:a16="http://schemas.microsoft.com/office/drawing/2014/main" id="{A828EAF6-B47B-43DE-8626-9C0D7434F931}"/>
              </a:ext>
            </a:extLst>
          </p:cNvPr>
          <p:cNvSpPr/>
          <p:nvPr/>
        </p:nvSpPr>
        <p:spPr>
          <a:xfrm>
            <a:off x="176981" y="5120986"/>
            <a:ext cx="5659382" cy="17370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FFFFFF"/>
                </a:solidFill>
              </a:rPr>
              <a:t>This is a total of </a:t>
            </a:r>
            <a:r>
              <a:rPr lang="en-US" sz="2800" dirty="0">
                <a:solidFill>
                  <a:srgbClr val="D4DF33"/>
                </a:solidFill>
              </a:rPr>
              <a:t>2,300</a:t>
            </a:r>
            <a:r>
              <a:rPr lang="en-US" sz="2800" dirty="0">
                <a:solidFill>
                  <a:srgbClr val="FFFFFF"/>
                </a:solidFill>
              </a:rPr>
              <a:t> with 1,138 from CT, &amp; 233 from Senior CT</a:t>
            </a:r>
            <a:r>
              <a:rPr lang="en-US" sz="2800" baseline="30000" dirty="0">
                <a:solidFill>
                  <a:srgbClr val="FFFFFF"/>
                </a:solidFill>
              </a:rPr>
              <a:t>2</a:t>
            </a:r>
          </a:p>
        </p:txBody>
      </p:sp>
      <p:sp>
        <p:nvSpPr>
          <p:cNvPr id="13" name="Oval 12">
            <a:extLst>
              <a:ext uri="{FF2B5EF4-FFF2-40B4-BE49-F238E27FC236}">
                <a16:creationId xmlns:a16="http://schemas.microsoft.com/office/drawing/2014/main" id="{9AA4AADB-B888-4CE2-A0FF-49AECEB524C0}"/>
              </a:ext>
            </a:extLst>
          </p:cNvPr>
          <p:cNvSpPr/>
          <p:nvPr/>
        </p:nvSpPr>
        <p:spPr>
          <a:xfrm>
            <a:off x="3527385" y="2171501"/>
            <a:ext cx="1146942" cy="568864"/>
          </a:xfrm>
          <a:prstGeom prst="ellipse">
            <a:avLst/>
          </a:prstGeom>
          <a:solidFill>
            <a:srgbClr val="D4DF33"/>
          </a:solidFill>
          <a:ln w="9525" cap="rnd" cmpd="sng" algn="ctr">
            <a:solidFill>
              <a:srgbClr val="D4DF33"/>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2021</a:t>
            </a:r>
          </a:p>
        </p:txBody>
      </p:sp>
      <p:sp>
        <p:nvSpPr>
          <p:cNvPr id="20" name="Oval 19">
            <a:extLst>
              <a:ext uri="{FF2B5EF4-FFF2-40B4-BE49-F238E27FC236}">
                <a16:creationId xmlns:a16="http://schemas.microsoft.com/office/drawing/2014/main" id="{A4F8922A-D137-4213-8703-1D7D392591F2}"/>
              </a:ext>
            </a:extLst>
          </p:cNvPr>
          <p:cNvSpPr>
            <a:spLocks noChangeAspect="1"/>
          </p:cNvSpPr>
          <p:nvPr/>
        </p:nvSpPr>
        <p:spPr>
          <a:xfrm>
            <a:off x="573480" y="2455933"/>
            <a:ext cx="2580715" cy="2580715"/>
          </a:xfrm>
          <a:prstGeom prst="ellipse">
            <a:avLst/>
          </a:prstGeom>
          <a:solidFill>
            <a:srgbClr val="FFFFFF"/>
          </a:solidFill>
          <a:ln w="5715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5200" b="1" kern="0" dirty="0">
                <a:solidFill>
                  <a:srgbClr val="295E7E"/>
                </a:solidFill>
              </a:rPr>
              <a:t>1,074</a:t>
            </a:r>
          </a:p>
          <a:p>
            <a:pPr algn="ctr">
              <a:lnSpc>
                <a:spcPct val="95000"/>
              </a:lnSpc>
            </a:pPr>
            <a:endParaRPr lang="en-US" sz="5400" b="1" kern="0" dirty="0">
              <a:solidFill>
                <a:srgbClr val="29BA74"/>
              </a:solidFill>
            </a:endParaRPr>
          </a:p>
          <a:p>
            <a:pPr algn="ctr">
              <a:lnSpc>
                <a:spcPct val="95000"/>
              </a:lnSpc>
            </a:pPr>
            <a:endParaRPr lang="en-US" sz="1200" kern="0" dirty="0">
              <a:solidFill>
                <a:srgbClr val="575757"/>
              </a:solidFill>
            </a:endParaRPr>
          </a:p>
        </p:txBody>
      </p:sp>
      <p:sp>
        <p:nvSpPr>
          <p:cNvPr id="16" name="Oval 15">
            <a:extLst>
              <a:ext uri="{FF2B5EF4-FFF2-40B4-BE49-F238E27FC236}">
                <a16:creationId xmlns:a16="http://schemas.microsoft.com/office/drawing/2014/main" id="{96072DCE-5522-4AAA-A04B-E3235DC0A39D}"/>
              </a:ext>
            </a:extLst>
          </p:cNvPr>
          <p:cNvSpPr/>
          <p:nvPr/>
        </p:nvSpPr>
        <p:spPr>
          <a:xfrm>
            <a:off x="1364210" y="2173403"/>
            <a:ext cx="999256" cy="568864"/>
          </a:xfrm>
          <a:prstGeom prst="ellipse">
            <a:avLst/>
          </a:prstGeom>
          <a:solidFill>
            <a:srgbClr val="D4DF33"/>
          </a:solidFill>
          <a:ln w="9525" cap="rnd" cmpd="sng" algn="ctr">
            <a:solidFill>
              <a:srgbClr val="D4DF33"/>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2020</a:t>
            </a:r>
          </a:p>
        </p:txBody>
      </p:sp>
      <p:sp>
        <p:nvSpPr>
          <p:cNvPr id="15" name="Rectangle 14">
            <a:extLst>
              <a:ext uri="{FF2B5EF4-FFF2-40B4-BE49-F238E27FC236}">
                <a16:creationId xmlns:a16="http://schemas.microsoft.com/office/drawing/2014/main" id="{5C555D47-989D-43F2-AEEC-CF5AB6DDBF63}"/>
              </a:ext>
            </a:extLst>
          </p:cNvPr>
          <p:cNvSpPr/>
          <p:nvPr/>
        </p:nvSpPr>
        <p:spPr>
          <a:xfrm>
            <a:off x="654397" y="3746290"/>
            <a:ext cx="2391612" cy="76602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US" sz="2000" kern="0" dirty="0">
                <a:solidFill>
                  <a:srgbClr val="575757"/>
                </a:solidFill>
              </a:rPr>
              <a:t>Opted-in! </a:t>
            </a:r>
          </a:p>
          <a:p>
            <a:pPr algn="ctr">
              <a:lnSpc>
                <a:spcPct val="95000"/>
              </a:lnSpc>
            </a:pPr>
            <a:r>
              <a:rPr lang="en-US" sz="1600" kern="0" dirty="0">
                <a:solidFill>
                  <a:srgbClr val="575757"/>
                </a:solidFill>
              </a:rPr>
              <a:t>(35% of respondents</a:t>
            </a:r>
            <a:r>
              <a:rPr lang="en-US" sz="1600" kern="0" baseline="30000" dirty="0">
                <a:solidFill>
                  <a:srgbClr val="575757"/>
                </a:solidFill>
              </a:rPr>
              <a:t>1</a:t>
            </a:r>
            <a:r>
              <a:rPr lang="en-US" sz="1600" kern="0" dirty="0">
                <a:solidFill>
                  <a:srgbClr val="575757"/>
                </a:solidFill>
              </a:rPr>
              <a:t>)</a:t>
            </a:r>
          </a:p>
        </p:txBody>
      </p:sp>
      <p:sp>
        <p:nvSpPr>
          <p:cNvPr id="21" name="Rectangle 20">
            <a:extLst>
              <a:ext uri="{FF2B5EF4-FFF2-40B4-BE49-F238E27FC236}">
                <a16:creationId xmlns:a16="http://schemas.microsoft.com/office/drawing/2014/main" id="{9230DB98-346D-4C27-B893-60AD3E0C0413}"/>
              </a:ext>
            </a:extLst>
          </p:cNvPr>
          <p:cNvSpPr/>
          <p:nvPr/>
        </p:nvSpPr>
        <p:spPr>
          <a:xfrm>
            <a:off x="2926701" y="3734624"/>
            <a:ext cx="2391612" cy="76602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US" sz="2000" kern="0" dirty="0">
                <a:solidFill>
                  <a:srgbClr val="575757"/>
                </a:solidFill>
              </a:rPr>
              <a:t>Opted-in! </a:t>
            </a:r>
          </a:p>
          <a:p>
            <a:pPr algn="ctr">
              <a:lnSpc>
                <a:spcPct val="95000"/>
              </a:lnSpc>
            </a:pPr>
            <a:r>
              <a:rPr lang="en-US" sz="1600" kern="0" dirty="0">
                <a:solidFill>
                  <a:srgbClr val="575757"/>
                </a:solidFill>
              </a:rPr>
              <a:t>(39% of respondents)</a:t>
            </a:r>
          </a:p>
        </p:txBody>
      </p:sp>
    </p:spTree>
    <p:extLst>
      <p:ext uri="{BB962C8B-B14F-4D97-AF65-F5344CB8AC3E}">
        <p14:creationId xmlns:p14="http://schemas.microsoft.com/office/powerpoint/2010/main" val="980292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62" name="think-cell Slide" r:id="rId6" imgW="470" imgH="469" progId="TCLayout.ActiveDocument.1">
                  <p:embed/>
                </p:oleObj>
              </mc:Choice>
              <mc:Fallback>
                <p:oleObj name="think-cell Slide" r:id="rId6" imgW="470" imgH="469" progId="TCLayout.ActiveDocument.1">
                  <p:embed/>
                  <p:pic>
                    <p:nvPicPr>
                      <p:cNvPr id="13" name="Object 1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374575" y="0"/>
            <a:ext cx="3371161" cy="6857999"/>
          </a:xfrm>
        </p:spPr>
        <p:txBody>
          <a:bodyPr vert="horz"/>
          <a:lstStyle/>
          <a:p>
            <a:r>
              <a:rPr lang="es-ES_tradnl" sz="2800" dirty="0"/>
              <a:t>W</a:t>
            </a:r>
            <a:r>
              <a:rPr lang="en-GB" sz="2800" dirty="0"/>
              <a:t>e provided options for employees to opt-in to be contacted by IT, or for their laptop data to be used in laptop analyses</a:t>
            </a:r>
          </a:p>
        </p:txBody>
      </p:sp>
      <p:sp>
        <p:nvSpPr>
          <p:cNvPr id="14" name="Rectangle 13"/>
          <p:cNvSpPr>
            <a:spLocks/>
          </p:cNvSpPr>
          <p:nvPr/>
        </p:nvSpPr>
        <p:spPr>
          <a:xfrm>
            <a:off x="4087260" y="3005840"/>
            <a:ext cx="4052370" cy="3852160"/>
          </a:xfrm>
          <a:prstGeom prst="rect">
            <a:avLst/>
          </a:prstGeom>
          <a:solidFill>
            <a:schemeClr val="bg1"/>
          </a:solidFill>
          <a:ln w="25400" cap="rnd" cmpd="sng" algn="ctr">
            <a:noFill/>
            <a:prstDash val="solid"/>
            <a:round/>
            <a:headEnd type="none" w="med" len="med"/>
            <a:tailEnd type="none" w="med" len="med"/>
          </a:ln>
          <a:effectLst/>
          <a:extLst>
            <a:ext uri="{91240B29-F687-4F45-9708-019B960494DF}">
              <a14:hiddenLine xmlns:a14="http://schemas.microsoft.com/office/drawing/2010/main" w="25400" cap="rnd" cmpd="sng" algn="ctr">
                <a:solidFill>
                  <a:srgbClr val="C8C8C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91440" rIns="36000" bIns="91440" rtlCol="0" anchor="ctr"/>
          <a:lstStyle/>
          <a:p>
            <a:pPr algn="ctr"/>
            <a:endParaRPr lang="es-ES_tradnl" sz="1600" kern="0" dirty="0">
              <a:solidFill>
                <a:srgbClr val="5E5F62"/>
              </a:solidFill>
            </a:endParaRPr>
          </a:p>
        </p:txBody>
      </p:sp>
      <p:sp>
        <p:nvSpPr>
          <p:cNvPr id="17" name="Rectangle 16"/>
          <p:cNvSpPr>
            <a:spLocks/>
          </p:cNvSpPr>
          <p:nvPr/>
        </p:nvSpPr>
        <p:spPr>
          <a:xfrm>
            <a:off x="8139630" y="3005840"/>
            <a:ext cx="4052370" cy="3852160"/>
          </a:xfrm>
          <a:prstGeom prst="rect">
            <a:avLst/>
          </a:prstGeom>
          <a:solidFill>
            <a:schemeClr val="bg1"/>
          </a:solidFill>
          <a:ln w="25400" cap="rnd" cmpd="sng" algn="ctr">
            <a:noFill/>
            <a:prstDash val="solid"/>
            <a:round/>
            <a:headEnd type="none" w="med" len="med"/>
            <a:tailEnd type="none" w="med" len="med"/>
          </a:ln>
          <a:effectLst/>
          <a:extLst>
            <a:ext uri="{91240B29-F687-4F45-9708-019B960494DF}">
              <a14:hiddenLine xmlns:a14="http://schemas.microsoft.com/office/drawing/2010/main" w="25400" cap="rnd" cmpd="sng" algn="ctr">
                <a:solidFill>
                  <a:srgbClr val="C8C8C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91440" rIns="36000" bIns="91440" rtlCol="0" anchor="ctr"/>
          <a:lstStyle/>
          <a:p>
            <a:pPr algn="ctr"/>
            <a:endParaRPr lang="es-ES_tradnl" sz="1600" kern="0" dirty="0">
              <a:solidFill>
                <a:srgbClr val="5E5F62"/>
              </a:solidFill>
            </a:endParaRPr>
          </a:p>
        </p:txBody>
      </p:sp>
      <p:cxnSp>
        <p:nvCxnSpPr>
          <p:cNvPr id="5" name="Straight Connector 4"/>
          <p:cNvCxnSpPr/>
          <p:nvPr/>
        </p:nvCxnSpPr>
        <p:spPr>
          <a:xfrm>
            <a:off x="8139630" y="3004344"/>
            <a:ext cx="0" cy="3827355"/>
          </a:xfrm>
          <a:prstGeom prst="line">
            <a:avLst/>
          </a:prstGeom>
          <a:ln w="25400" cap="rnd" cmpd="sng" algn="ctr">
            <a:solidFill>
              <a:srgbClr val="C8C8C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592275" y="4995611"/>
            <a:ext cx="3147078" cy="0"/>
          </a:xfrm>
          <a:prstGeom prst="line">
            <a:avLst/>
          </a:prstGeom>
          <a:ln w="19050" cap="rnd" cmpd="sng" algn="ctr">
            <a:solidFill>
              <a:schemeClr val="accent5"/>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539906" y="4995611"/>
            <a:ext cx="3147078" cy="0"/>
          </a:xfrm>
          <a:prstGeom prst="line">
            <a:avLst/>
          </a:prstGeom>
          <a:ln w="19050" cap="rnd" cmpd="sng" algn="ctr">
            <a:solidFill>
              <a:schemeClr val="accent5"/>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a:stCxn id="8" idx="0"/>
          </p:cNvCxnSpPr>
          <p:nvPr/>
        </p:nvCxnSpPr>
        <p:spPr>
          <a:xfrm>
            <a:off x="8139630" y="1"/>
            <a:ext cx="0" cy="3004344"/>
          </a:xfrm>
          <a:prstGeom prst="line">
            <a:avLst/>
          </a:prstGeom>
          <a:ln w="31750"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descr="A computer on a table&#10;&#10;Description automatically generated with medium confidence">
            <a:extLst>
              <a:ext uri="{FF2B5EF4-FFF2-40B4-BE49-F238E27FC236}">
                <a16:creationId xmlns:a16="http://schemas.microsoft.com/office/drawing/2014/main" id="{1C1012F9-65B4-42E6-87B4-2014C5610C9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54320" y="2385"/>
            <a:ext cx="4037680" cy="3003208"/>
          </a:xfrm>
          <a:prstGeom prst="rect">
            <a:avLst/>
          </a:prstGeom>
        </p:spPr>
      </p:pic>
      <p:pic>
        <p:nvPicPr>
          <p:cNvPr id="7" name="Picture 6">
            <a:extLst>
              <a:ext uri="{FF2B5EF4-FFF2-40B4-BE49-F238E27FC236}">
                <a16:creationId xmlns:a16="http://schemas.microsoft.com/office/drawing/2014/main" id="{B2819B92-29D4-4452-A400-E030E51E5E5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073954" y="0"/>
            <a:ext cx="4037680" cy="3004344"/>
          </a:xfrm>
          <a:prstGeom prst="rect">
            <a:avLst/>
          </a:prstGeom>
        </p:spPr>
      </p:pic>
      <p:sp>
        <p:nvSpPr>
          <p:cNvPr id="8" name="Overlay"/>
          <p:cNvSpPr/>
          <p:nvPr>
            <p:custDataLst>
              <p:tags r:id="rId3"/>
            </p:custDataLst>
          </p:nvPr>
        </p:nvSpPr>
        <p:spPr>
          <a:xfrm>
            <a:off x="4076242" y="1"/>
            <a:ext cx="8126776" cy="3004344"/>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5" name="Rectangle 14"/>
          <p:cNvSpPr>
            <a:spLocks/>
          </p:cNvSpPr>
          <p:nvPr/>
        </p:nvSpPr>
        <p:spPr>
          <a:xfrm>
            <a:off x="4077209" y="0"/>
            <a:ext cx="4039067" cy="3004344"/>
          </a:xfrm>
          <a:prstGeom prst="rect">
            <a:avLst/>
          </a:prstGeom>
          <a:solidFill>
            <a:srgbClr val="9A9A9A">
              <a:alpha val="30000"/>
            </a:srgbClr>
          </a:solidFill>
          <a:ln w="50800" cap="rnd" cmpd="sng" algn="ctr">
            <a:noFill/>
            <a:prstDash val="solid"/>
            <a:round/>
            <a:headEnd type="none" w="med" len="med"/>
            <a:tailEnd type="none" w="med" len="med"/>
          </a:ln>
          <a:effectLst/>
          <a:extLst>
            <a:ext uri="{91240B29-F687-4F45-9708-019B960494DF}">
              <a14:hiddenLine xmlns:a14="http://schemas.microsoft.com/office/drawing/2010/main" w="50800"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91440" rIns="36000" bIns="91440" rtlCol="0" anchor="ctr"/>
          <a:lstStyle/>
          <a:p>
            <a:pPr algn="ctr"/>
            <a:r>
              <a:rPr lang="es-ES_tradnl" sz="7400" b="1" kern="0" spc="-300" dirty="0">
                <a:solidFill>
                  <a:srgbClr val="FFFFFF"/>
                </a:solidFill>
                <a:effectLst>
                  <a:outerShdw blurRad="38100" dist="38100" dir="2700000" algn="tl">
                    <a:srgbClr val="000000">
                      <a:alpha val="43137"/>
                    </a:srgbClr>
                  </a:outerShdw>
                </a:effectLst>
              </a:rPr>
              <a:t>68</a:t>
            </a:r>
          </a:p>
          <a:p>
            <a:pPr algn="ctr"/>
            <a:r>
              <a:rPr lang="es-ES_tradnl" sz="2800" kern="0" dirty="0">
                <a:solidFill>
                  <a:srgbClr val="FFFFFF"/>
                </a:solidFill>
                <a:effectLst>
                  <a:outerShdw blurRad="38100" dist="38100" dir="2700000" algn="tl">
                    <a:srgbClr val="000000">
                      <a:alpha val="43137"/>
                    </a:srgbClr>
                  </a:outerShdw>
                </a:effectLst>
              </a:rPr>
              <a:t>(12 in Q4)</a:t>
            </a:r>
          </a:p>
        </p:txBody>
      </p:sp>
      <p:sp>
        <p:nvSpPr>
          <p:cNvPr id="16" name="Rectangle 15"/>
          <p:cNvSpPr>
            <a:spLocks/>
          </p:cNvSpPr>
          <p:nvPr/>
        </p:nvSpPr>
        <p:spPr>
          <a:xfrm>
            <a:off x="8161506" y="7486"/>
            <a:ext cx="4052365" cy="3004344"/>
          </a:xfrm>
          <a:prstGeom prst="rect">
            <a:avLst/>
          </a:prstGeom>
          <a:solidFill>
            <a:srgbClr val="9A9A9A">
              <a:alpha val="30000"/>
            </a:srgbClr>
          </a:solidFill>
          <a:ln w="50800" cap="rnd" cmpd="sng" algn="ctr">
            <a:noFill/>
            <a:prstDash val="solid"/>
            <a:round/>
            <a:headEnd type="none" w="med" len="med"/>
            <a:tailEnd type="none" w="med" len="med"/>
          </a:ln>
          <a:effectLst/>
          <a:extLst>
            <a:ext uri="{91240B29-F687-4F45-9708-019B960494DF}">
              <a14:hiddenLine xmlns:a14="http://schemas.microsoft.com/office/drawing/2010/main" w="50800"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91440" rIns="36000" bIns="91440" rtlCol="0" anchor="ctr"/>
          <a:lstStyle/>
          <a:p>
            <a:pPr algn="ctr"/>
            <a:r>
              <a:rPr lang="es-ES_tradnl" sz="7400" b="1" kern="0" spc="-300" dirty="0">
                <a:solidFill>
                  <a:srgbClr val="FFFFFF"/>
                </a:solidFill>
                <a:effectLst>
                  <a:outerShdw blurRad="38100" dist="38100" dir="2700000" algn="tl">
                    <a:srgbClr val="000000">
                      <a:alpha val="43137"/>
                    </a:srgbClr>
                  </a:outerShdw>
                </a:effectLst>
              </a:rPr>
              <a:t>879</a:t>
            </a:r>
          </a:p>
          <a:p>
            <a:pPr algn="ctr"/>
            <a:r>
              <a:rPr lang="es-ES_tradnl" sz="2800" kern="0" dirty="0">
                <a:solidFill>
                  <a:srgbClr val="FFFFFF"/>
                </a:solidFill>
                <a:effectLst>
                  <a:outerShdw blurRad="38100" dist="38100" dir="2700000" algn="tl">
                    <a:srgbClr val="000000">
                      <a:alpha val="43137"/>
                    </a:srgbClr>
                  </a:outerShdw>
                </a:effectLst>
              </a:rPr>
              <a:t>(341 in Q4)</a:t>
            </a:r>
          </a:p>
        </p:txBody>
      </p:sp>
      <p:grpSp>
        <p:nvGrpSpPr>
          <p:cNvPr id="26" name="Group 25">
            <a:extLst>
              <a:ext uri="{FF2B5EF4-FFF2-40B4-BE49-F238E27FC236}">
                <a16:creationId xmlns:a16="http://schemas.microsoft.com/office/drawing/2014/main" id="{FE098E4D-3B15-4891-96C4-506606F26AB0}"/>
              </a:ext>
            </a:extLst>
          </p:cNvPr>
          <p:cNvGrpSpPr/>
          <p:nvPr/>
        </p:nvGrpSpPr>
        <p:grpSpPr>
          <a:xfrm>
            <a:off x="11274174" y="-596"/>
            <a:ext cx="1123060" cy="984057"/>
            <a:chOff x="11149180" y="-9331"/>
            <a:chExt cx="1327523" cy="1054387"/>
          </a:xfrm>
        </p:grpSpPr>
        <p:sp>
          <p:nvSpPr>
            <p:cNvPr id="28" name="NavigationTriangle">
              <a:extLst>
                <a:ext uri="{FF2B5EF4-FFF2-40B4-BE49-F238E27FC236}">
                  <a16:creationId xmlns:a16="http://schemas.microsoft.com/office/drawing/2014/main" id="{C5538D8F-923F-46D0-BA15-211DCFE033C2}"/>
                </a:ext>
              </a:extLst>
            </p:cNvPr>
            <p:cNvSpPr/>
            <p:nvPr/>
          </p:nvSpPr>
          <p:spPr>
            <a:xfrm rot="16200000">
              <a:off x="11170627" y="-30778"/>
              <a:ext cx="1054387" cy="1097281"/>
            </a:xfrm>
            <a:prstGeom prst="triangle">
              <a:avLst>
                <a:gd name="adj" fmla="val 100000"/>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29" name="Rectangle 28">
              <a:extLst>
                <a:ext uri="{FF2B5EF4-FFF2-40B4-BE49-F238E27FC236}">
                  <a16:creationId xmlns:a16="http://schemas.microsoft.com/office/drawing/2014/main" id="{02EA670E-8627-42B0-858D-0B40235895D6}"/>
                </a:ext>
              </a:extLst>
            </p:cNvPr>
            <p:cNvSpPr/>
            <p:nvPr/>
          </p:nvSpPr>
          <p:spPr>
            <a:xfrm rot="2635127">
              <a:off x="11299415" y="98989"/>
              <a:ext cx="1177288" cy="4108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Q2- Q4</a:t>
              </a:r>
            </a:p>
            <a:p>
              <a:pPr algn="ctr"/>
              <a:r>
                <a:rPr lang="en-US" sz="1000" dirty="0">
                  <a:solidFill>
                    <a:srgbClr val="575757"/>
                  </a:solidFill>
                </a:rPr>
                <a:t> '21 Only</a:t>
              </a:r>
            </a:p>
          </p:txBody>
        </p:sp>
      </p:grpSp>
      <p:sp>
        <p:nvSpPr>
          <p:cNvPr id="32" name="Rectangle 31">
            <a:extLst>
              <a:ext uri="{FF2B5EF4-FFF2-40B4-BE49-F238E27FC236}">
                <a16:creationId xmlns:a16="http://schemas.microsoft.com/office/drawing/2014/main" id="{3346DAE9-F981-4A05-A7EC-8FFFA4DC50A2}"/>
              </a:ext>
            </a:extLst>
          </p:cNvPr>
          <p:cNvSpPr/>
          <p:nvPr/>
        </p:nvSpPr>
        <p:spPr>
          <a:xfrm rot="18873850">
            <a:off x="3942216" y="133867"/>
            <a:ext cx="815617" cy="3167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2021 So far..,</a:t>
            </a:r>
          </a:p>
        </p:txBody>
      </p:sp>
      <p:sp>
        <p:nvSpPr>
          <p:cNvPr id="65" name="Rectangle 64">
            <a:extLst>
              <a:ext uri="{FF2B5EF4-FFF2-40B4-BE49-F238E27FC236}">
                <a16:creationId xmlns:a16="http://schemas.microsoft.com/office/drawing/2014/main" id="{CAF271DD-6F1A-459F-9FAA-417B6186E5FB}"/>
              </a:ext>
            </a:extLst>
          </p:cNvPr>
          <p:cNvSpPr/>
          <p:nvPr/>
        </p:nvSpPr>
        <p:spPr>
          <a:xfrm>
            <a:off x="8274715" y="3133223"/>
            <a:ext cx="3817089" cy="17789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2200" kern="0" dirty="0">
                <a:solidFill>
                  <a:srgbClr val="575757"/>
                </a:solidFill>
              </a:rPr>
              <a:t>opted-in to have their laptop data to be proactively analyzed</a:t>
            </a:r>
            <a:r>
              <a:rPr lang="es-ES_tradnl" sz="2200" kern="0" baseline="30000" dirty="0">
                <a:solidFill>
                  <a:srgbClr val="575757"/>
                </a:solidFill>
              </a:rPr>
              <a:t>2</a:t>
            </a:r>
          </a:p>
        </p:txBody>
      </p:sp>
      <p:sp>
        <p:nvSpPr>
          <p:cNvPr id="66" name="Rectangle 65">
            <a:extLst>
              <a:ext uri="{FF2B5EF4-FFF2-40B4-BE49-F238E27FC236}">
                <a16:creationId xmlns:a16="http://schemas.microsoft.com/office/drawing/2014/main" id="{79210777-BB34-405F-9471-B06EACFDC867}"/>
              </a:ext>
            </a:extLst>
          </p:cNvPr>
          <p:cNvSpPr/>
          <p:nvPr/>
        </p:nvSpPr>
        <p:spPr>
          <a:xfrm>
            <a:off x="4178595" y="3133223"/>
            <a:ext cx="3817089" cy="17789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2200" kern="0" dirty="0">
                <a:solidFill>
                  <a:srgbClr val="575757"/>
                </a:solidFill>
              </a:rPr>
              <a:t>opted-in to have IT connect with them about their</a:t>
            </a:r>
          </a:p>
          <a:p>
            <a:pPr algn="ctr"/>
            <a:r>
              <a:rPr lang="es-ES_tradnl" sz="2200" kern="0" dirty="0">
                <a:solidFill>
                  <a:srgbClr val="575757"/>
                </a:solidFill>
              </a:rPr>
              <a:t>overall IT experience</a:t>
            </a:r>
            <a:r>
              <a:rPr lang="es-ES_tradnl" sz="2200" kern="0" baseline="30000" dirty="0">
                <a:solidFill>
                  <a:srgbClr val="575757"/>
                </a:solidFill>
              </a:rPr>
              <a:t>1</a:t>
            </a:r>
          </a:p>
        </p:txBody>
      </p:sp>
      <p:sp>
        <p:nvSpPr>
          <p:cNvPr id="67" name="Rectangle 66">
            <a:extLst>
              <a:ext uri="{FF2B5EF4-FFF2-40B4-BE49-F238E27FC236}">
                <a16:creationId xmlns:a16="http://schemas.microsoft.com/office/drawing/2014/main" id="{C68E925A-9781-427D-B361-DC0981DAA7A8}"/>
              </a:ext>
            </a:extLst>
          </p:cNvPr>
          <p:cNvSpPr/>
          <p:nvPr/>
        </p:nvSpPr>
        <p:spPr>
          <a:xfrm>
            <a:off x="4187455" y="5037307"/>
            <a:ext cx="3817089" cy="17789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5000" b="1" kern="0" spc="-300" dirty="0">
                <a:solidFill>
                  <a:srgbClr val="A8B21C"/>
                </a:solidFill>
              </a:rPr>
              <a:t>88%</a:t>
            </a:r>
            <a:br>
              <a:rPr lang="es-ES_tradnl" sz="5000" kern="0" dirty="0">
                <a:solidFill>
                  <a:srgbClr val="000000"/>
                </a:solidFill>
              </a:rPr>
            </a:br>
            <a:r>
              <a:rPr lang="es-ES_tradnl" sz="2200" kern="0" dirty="0">
                <a:solidFill>
                  <a:srgbClr val="5E5F62"/>
                </a:solidFill>
              </a:rPr>
              <a:t>are from Consulting</a:t>
            </a:r>
          </a:p>
        </p:txBody>
      </p:sp>
      <p:sp>
        <p:nvSpPr>
          <p:cNvPr id="68" name="Rectangle 67">
            <a:extLst>
              <a:ext uri="{FF2B5EF4-FFF2-40B4-BE49-F238E27FC236}">
                <a16:creationId xmlns:a16="http://schemas.microsoft.com/office/drawing/2014/main" id="{5F778173-7F8F-4C18-B2E7-3DAEF1D912F7}"/>
              </a:ext>
            </a:extLst>
          </p:cNvPr>
          <p:cNvSpPr/>
          <p:nvPr/>
        </p:nvSpPr>
        <p:spPr>
          <a:xfrm>
            <a:off x="8274716" y="5033613"/>
            <a:ext cx="3817089" cy="17789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4200" b="1" kern="0" spc="-300" dirty="0">
                <a:solidFill>
                  <a:srgbClr val="A8B21C"/>
                </a:solidFill>
              </a:rPr>
              <a:t>53%</a:t>
            </a:r>
            <a:br>
              <a:rPr lang="es-ES_tradnl" sz="4800" b="1" kern="0" dirty="0">
                <a:solidFill>
                  <a:srgbClr val="000000"/>
                </a:solidFill>
              </a:rPr>
            </a:br>
            <a:r>
              <a:rPr lang="es-ES_tradnl" sz="2200" kern="0" dirty="0">
                <a:solidFill>
                  <a:srgbClr val="5E5F62"/>
                </a:solidFill>
              </a:rPr>
              <a:t>are from Consulting</a:t>
            </a:r>
          </a:p>
        </p:txBody>
      </p:sp>
      <p:grpSp>
        <p:nvGrpSpPr>
          <p:cNvPr id="30" name="Group 29">
            <a:extLst>
              <a:ext uri="{FF2B5EF4-FFF2-40B4-BE49-F238E27FC236}">
                <a16:creationId xmlns:a16="http://schemas.microsoft.com/office/drawing/2014/main" id="{F1BC716D-ABE4-43A2-B601-57E28602DAC4}"/>
              </a:ext>
            </a:extLst>
          </p:cNvPr>
          <p:cNvGrpSpPr/>
          <p:nvPr/>
        </p:nvGrpSpPr>
        <p:grpSpPr>
          <a:xfrm rot="16200000">
            <a:off x="4007925" y="-121794"/>
            <a:ext cx="1123060" cy="984057"/>
            <a:chOff x="11149180" y="-9331"/>
            <a:chExt cx="1327523" cy="1054387"/>
          </a:xfrm>
        </p:grpSpPr>
        <p:sp>
          <p:nvSpPr>
            <p:cNvPr id="35" name="NavigationTriangle">
              <a:extLst>
                <a:ext uri="{FF2B5EF4-FFF2-40B4-BE49-F238E27FC236}">
                  <a16:creationId xmlns:a16="http://schemas.microsoft.com/office/drawing/2014/main" id="{49D6111B-1CC1-43F8-893C-778DFF623221}"/>
                </a:ext>
              </a:extLst>
            </p:cNvPr>
            <p:cNvSpPr/>
            <p:nvPr/>
          </p:nvSpPr>
          <p:spPr>
            <a:xfrm rot="16200000">
              <a:off x="11170627" y="-30778"/>
              <a:ext cx="1054387" cy="1097281"/>
            </a:xfrm>
            <a:prstGeom prst="triangle">
              <a:avLst>
                <a:gd name="adj" fmla="val 100000"/>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36" name="Rectangle 35">
              <a:extLst>
                <a:ext uri="{FF2B5EF4-FFF2-40B4-BE49-F238E27FC236}">
                  <a16:creationId xmlns:a16="http://schemas.microsoft.com/office/drawing/2014/main" id="{58AE5CBF-B99F-4B45-BCDE-E5A2D17FEA08}"/>
                </a:ext>
              </a:extLst>
            </p:cNvPr>
            <p:cNvSpPr/>
            <p:nvPr/>
          </p:nvSpPr>
          <p:spPr>
            <a:xfrm rot="2635127">
              <a:off x="11299415" y="98989"/>
              <a:ext cx="1177288" cy="4108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2021</a:t>
              </a:r>
            </a:p>
          </p:txBody>
        </p:sp>
      </p:grpSp>
    </p:spTree>
    <p:extLst>
      <p:ext uri="{BB962C8B-B14F-4D97-AF65-F5344CB8AC3E}">
        <p14:creationId xmlns:p14="http://schemas.microsoft.com/office/powerpoint/2010/main" val="2686204293"/>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431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8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dirty="0"/>
              <a:t>SECTION 3 – </a:t>
            </a:r>
            <a:br>
              <a:rPr lang="en-US" dirty="0"/>
            </a:br>
            <a:r>
              <a:rPr lang="en-US" dirty="0"/>
              <a:t>Key Takeaways &amp; Summary Charts</a:t>
            </a:r>
          </a:p>
        </p:txBody>
      </p:sp>
      <p:cxnSp>
        <p:nvCxnSpPr>
          <p:cNvPr id="10" name="Straight Connector 9"/>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a:grpSpLocks noChangeAspect="1"/>
          </p:cNvGrpSpPr>
          <p:nvPr/>
        </p:nvGrpSpPr>
        <p:grpSpPr>
          <a:xfrm>
            <a:off x="9449435" y="1671161"/>
            <a:ext cx="1644650" cy="1646238"/>
            <a:chOff x="5273675" y="2606040"/>
            <a:chExt cx="1644650" cy="1646238"/>
          </a:xfrm>
        </p:grpSpPr>
        <p:sp>
          <p:nvSpPr>
            <p:cNvPr id="18" name="AutoShape 16"/>
            <p:cNvSpPr>
              <a:spLocks noChangeAspect="1" noChangeArrowheads="1" noTextEdit="1"/>
            </p:cNvSpPr>
            <p:nvPr/>
          </p:nvSpPr>
          <p:spPr bwMode="auto">
            <a:xfrm>
              <a:off x="5273675" y="2606040"/>
              <a:ext cx="1644650"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5437186" y="3025140"/>
              <a:ext cx="1311276" cy="788987"/>
            </a:xfrm>
            <a:custGeom>
              <a:avLst/>
              <a:gdLst>
                <a:gd name="connsiteX0" fmla="*/ 655640 w 1311276"/>
                <a:gd name="connsiteY0" fmla="*/ 439738 h 788987"/>
                <a:gd name="connsiteX1" fmla="*/ 596902 w 1311276"/>
                <a:gd name="connsiteY1" fmla="*/ 498476 h 788987"/>
                <a:gd name="connsiteX2" fmla="*/ 655640 w 1311276"/>
                <a:gd name="connsiteY2" fmla="*/ 557214 h 788987"/>
                <a:gd name="connsiteX3" fmla="*/ 714378 w 1311276"/>
                <a:gd name="connsiteY3" fmla="*/ 498476 h 788987"/>
                <a:gd name="connsiteX4" fmla="*/ 655640 w 1311276"/>
                <a:gd name="connsiteY4" fmla="*/ 439738 h 788987"/>
                <a:gd name="connsiteX5" fmla="*/ 1041249 w 1311276"/>
                <a:gd name="connsiteY5" fmla="*/ 314325 h 788987"/>
                <a:gd name="connsiteX6" fmla="*/ 1247777 w 1311276"/>
                <a:gd name="connsiteY6" fmla="*/ 520853 h 788987"/>
                <a:gd name="connsiteX7" fmla="*/ 1232055 w 1311276"/>
                <a:gd name="connsiteY7" fmla="*/ 536575 h 788987"/>
                <a:gd name="connsiteX8" fmla="*/ 1216333 w 1311276"/>
                <a:gd name="connsiteY8" fmla="*/ 520853 h 788987"/>
                <a:gd name="connsiteX9" fmla="*/ 1041249 w 1311276"/>
                <a:gd name="connsiteY9" fmla="*/ 345054 h 788987"/>
                <a:gd name="connsiteX10" fmla="*/ 1025527 w 1311276"/>
                <a:gd name="connsiteY10" fmla="*/ 330047 h 788987"/>
                <a:gd name="connsiteX11" fmla="*/ 1041249 w 1311276"/>
                <a:gd name="connsiteY11" fmla="*/ 314325 h 788987"/>
                <a:gd name="connsiteX12" fmla="*/ 268493 w 1311276"/>
                <a:gd name="connsiteY12" fmla="*/ 314325 h 788987"/>
                <a:gd name="connsiteX13" fmla="*/ 284164 w 1311276"/>
                <a:gd name="connsiteY13" fmla="*/ 330047 h 788987"/>
                <a:gd name="connsiteX14" fmla="*/ 268493 w 1311276"/>
                <a:gd name="connsiteY14" fmla="*/ 345054 h 788987"/>
                <a:gd name="connsiteX15" fmla="*/ 93257 w 1311276"/>
                <a:gd name="connsiteY15" fmla="*/ 520853 h 788987"/>
                <a:gd name="connsiteX16" fmla="*/ 77585 w 1311276"/>
                <a:gd name="connsiteY16" fmla="*/ 536575 h 788987"/>
                <a:gd name="connsiteX17" fmla="*/ 61914 w 1311276"/>
                <a:gd name="connsiteY17" fmla="*/ 520853 h 788987"/>
                <a:gd name="connsiteX18" fmla="*/ 268493 w 1311276"/>
                <a:gd name="connsiteY18" fmla="*/ 314325 h 788987"/>
                <a:gd name="connsiteX19" fmla="*/ 1042195 w 1311276"/>
                <a:gd name="connsiteY19" fmla="*/ 282574 h 788987"/>
                <a:gd name="connsiteX20" fmla="*/ 804863 w 1311276"/>
                <a:gd name="connsiteY20" fmla="*/ 519906 h 788987"/>
                <a:gd name="connsiteX21" fmla="*/ 1042195 w 1311276"/>
                <a:gd name="connsiteY21" fmla="*/ 757238 h 788987"/>
                <a:gd name="connsiteX22" fmla="*/ 1279527 w 1311276"/>
                <a:gd name="connsiteY22" fmla="*/ 519906 h 788987"/>
                <a:gd name="connsiteX23" fmla="*/ 1042195 w 1311276"/>
                <a:gd name="connsiteY23" fmla="*/ 282574 h 788987"/>
                <a:gd name="connsiteX24" fmla="*/ 267494 w 1311276"/>
                <a:gd name="connsiteY24" fmla="*/ 282573 h 788987"/>
                <a:gd name="connsiteX25" fmla="*/ 30162 w 1311276"/>
                <a:gd name="connsiteY25" fmla="*/ 519905 h 788987"/>
                <a:gd name="connsiteX26" fmla="*/ 267494 w 1311276"/>
                <a:gd name="connsiteY26" fmla="*/ 757237 h 788987"/>
                <a:gd name="connsiteX27" fmla="*/ 504826 w 1311276"/>
                <a:gd name="connsiteY27" fmla="*/ 519905 h 788987"/>
                <a:gd name="connsiteX28" fmla="*/ 267494 w 1311276"/>
                <a:gd name="connsiteY28" fmla="*/ 282573 h 788987"/>
                <a:gd name="connsiteX29" fmla="*/ 1042552 w 1311276"/>
                <a:gd name="connsiteY29" fmla="*/ 250824 h 788987"/>
                <a:gd name="connsiteX30" fmla="*/ 1311276 w 1311276"/>
                <a:gd name="connsiteY30" fmla="*/ 519548 h 788987"/>
                <a:gd name="connsiteX31" fmla="*/ 1042552 w 1311276"/>
                <a:gd name="connsiteY31" fmla="*/ 788987 h 788987"/>
                <a:gd name="connsiteX32" fmla="*/ 773113 w 1311276"/>
                <a:gd name="connsiteY32" fmla="*/ 519548 h 788987"/>
                <a:gd name="connsiteX33" fmla="*/ 1042552 w 1311276"/>
                <a:gd name="connsiteY33" fmla="*/ 250824 h 788987"/>
                <a:gd name="connsiteX34" fmla="*/ 268288 w 1311276"/>
                <a:gd name="connsiteY34" fmla="*/ 250823 h 788987"/>
                <a:gd name="connsiteX35" fmla="*/ 536576 w 1311276"/>
                <a:gd name="connsiteY35" fmla="*/ 519905 h 788987"/>
                <a:gd name="connsiteX36" fmla="*/ 268288 w 1311276"/>
                <a:gd name="connsiteY36" fmla="*/ 788987 h 788987"/>
                <a:gd name="connsiteX37" fmla="*/ 0 w 1311276"/>
                <a:gd name="connsiteY37" fmla="*/ 519905 h 788987"/>
                <a:gd name="connsiteX38" fmla="*/ 268288 w 1311276"/>
                <a:gd name="connsiteY38" fmla="*/ 250823 h 788987"/>
                <a:gd name="connsiteX39" fmla="*/ 461501 w 1311276"/>
                <a:gd name="connsiteY39" fmla="*/ 0 h 788987"/>
                <a:gd name="connsiteX40" fmla="*/ 576414 w 1311276"/>
                <a:gd name="connsiteY40" fmla="*/ 114937 h 788987"/>
                <a:gd name="connsiteX41" fmla="*/ 576414 w 1311276"/>
                <a:gd name="connsiteY41" fmla="*/ 129929 h 788987"/>
                <a:gd name="connsiteX42" fmla="*/ 569277 w 1311276"/>
                <a:gd name="connsiteY42" fmla="*/ 203460 h 788987"/>
                <a:gd name="connsiteX43" fmla="*/ 583551 w 1311276"/>
                <a:gd name="connsiteY43" fmla="*/ 227732 h 788987"/>
                <a:gd name="connsiteX44" fmla="*/ 655640 w 1311276"/>
                <a:gd name="connsiteY44" fmla="*/ 190610 h 788987"/>
                <a:gd name="connsiteX45" fmla="*/ 727728 w 1311276"/>
                <a:gd name="connsiteY45" fmla="*/ 227019 h 788987"/>
                <a:gd name="connsiteX46" fmla="*/ 742002 w 1311276"/>
                <a:gd name="connsiteY46" fmla="*/ 203460 h 788987"/>
                <a:gd name="connsiteX47" fmla="*/ 734865 w 1311276"/>
                <a:gd name="connsiteY47" fmla="*/ 129929 h 788987"/>
                <a:gd name="connsiteX48" fmla="*/ 734865 w 1311276"/>
                <a:gd name="connsiteY48" fmla="*/ 114937 h 788987"/>
                <a:gd name="connsiteX49" fmla="*/ 849778 w 1311276"/>
                <a:gd name="connsiteY49" fmla="*/ 0 h 788987"/>
                <a:gd name="connsiteX50" fmla="*/ 938282 w 1311276"/>
                <a:gd name="connsiteY50" fmla="*/ 42120 h 788987"/>
                <a:gd name="connsiteX51" fmla="*/ 987530 w 1311276"/>
                <a:gd name="connsiteY51" fmla="*/ 98518 h 788987"/>
                <a:gd name="connsiteX52" fmla="*/ 988244 w 1311276"/>
                <a:gd name="connsiteY52" fmla="*/ 102801 h 788987"/>
                <a:gd name="connsiteX53" fmla="*/ 1121714 w 1311276"/>
                <a:gd name="connsiteY53" fmla="*/ 179188 h 788987"/>
                <a:gd name="connsiteX54" fmla="*/ 1133848 w 1311276"/>
                <a:gd name="connsiteY54" fmla="*/ 192038 h 788987"/>
                <a:gd name="connsiteX55" fmla="*/ 1154546 w 1311276"/>
                <a:gd name="connsiteY55" fmla="*/ 214168 h 788987"/>
                <a:gd name="connsiteX56" fmla="*/ 1193802 w 1311276"/>
                <a:gd name="connsiteY56" fmla="*/ 261286 h 788987"/>
                <a:gd name="connsiteX57" fmla="*/ 1041775 w 1311276"/>
                <a:gd name="connsiteY57" fmla="*/ 220594 h 788987"/>
                <a:gd name="connsiteX58" fmla="*/ 744857 w 1311276"/>
                <a:gd name="connsiteY58" fmla="*/ 486162 h 788987"/>
                <a:gd name="connsiteX59" fmla="*/ 745571 w 1311276"/>
                <a:gd name="connsiteY59" fmla="*/ 499013 h 788987"/>
                <a:gd name="connsiteX60" fmla="*/ 655640 w 1311276"/>
                <a:gd name="connsiteY60" fmla="*/ 588963 h 788987"/>
                <a:gd name="connsiteX61" fmla="*/ 566422 w 1311276"/>
                <a:gd name="connsiteY61" fmla="*/ 499013 h 788987"/>
                <a:gd name="connsiteX62" fmla="*/ 566422 w 1311276"/>
                <a:gd name="connsiteY62" fmla="*/ 489018 h 788987"/>
                <a:gd name="connsiteX63" fmla="*/ 268791 w 1311276"/>
                <a:gd name="connsiteY63" fmla="*/ 220594 h 788987"/>
                <a:gd name="connsiteX64" fmla="*/ 117477 w 1311276"/>
                <a:gd name="connsiteY64" fmla="*/ 261286 h 788987"/>
                <a:gd name="connsiteX65" fmla="*/ 156019 w 1311276"/>
                <a:gd name="connsiteY65" fmla="*/ 214168 h 788987"/>
                <a:gd name="connsiteX66" fmla="*/ 177432 w 1311276"/>
                <a:gd name="connsiteY66" fmla="*/ 192038 h 788987"/>
                <a:gd name="connsiteX67" fmla="*/ 189565 w 1311276"/>
                <a:gd name="connsiteY67" fmla="*/ 179188 h 788987"/>
                <a:gd name="connsiteX68" fmla="*/ 322321 w 1311276"/>
                <a:gd name="connsiteY68" fmla="*/ 102801 h 788987"/>
                <a:gd name="connsiteX69" fmla="*/ 323749 w 1311276"/>
                <a:gd name="connsiteY69" fmla="*/ 98518 h 788987"/>
                <a:gd name="connsiteX70" fmla="*/ 372997 w 1311276"/>
                <a:gd name="connsiteY70" fmla="*/ 42120 h 788987"/>
                <a:gd name="connsiteX71" fmla="*/ 461501 w 1311276"/>
                <a:gd name="connsiteY71"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11276" h="788987">
                  <a:moveTo>
                    <a:pt x="655640" y="439738"/>
                  </a:moveTo>
                  <a:cubicBezTo>
                    <a:pt x="623200" y="439738"/>
                    <a:pt x="596902" y="466036"/>
                    <a:pt x="596902" y="498476"/>
                  </a:cubicBezTo>
                  <a:cubicBezTo>
                    <a:pt x="596902" y="530916"/>
                    <a:pt x="623200" y="557214"/>
                    <a:pt x="655640" y="557214"/>
                  </a:cubicBezTo>
                  <a:cubicBezTo>
                    <a:pt x="688080" y="557214"/>
                    <a:pt x="714378" y="530916"/>
                    <a:pt x="714378" y="498476"/>
                  </a:cubicBezTo>
                  <a:cubicBezTo>
                    <a:pt x="714378" y="466036"/>
                    <a:pt x="688080" y="439738"/>
                    <a:pt x="655640" y="439738"/>
                  </a:cubicBezTo>
                  <a:close/>
                  <a:moveTo>
                    <a:pt x="1041249" y="314325"/>
                  </a:moveTo>
                  <a:cubicBezTo>
                    <a:pt x="1154875" y="314325"/>
                    <a:pt x="1247777" y="407227"/>
                    <a:pt x="1247777" y="520853"/>
                  </a:cubicBezTo>
                  <a:cubicBezTo>
                    <a:pt x="1247777" y="529429"/>
                    <a:pt x="1240631" y="536575"/>
                    <a:pt x="1232055" y="536575"/>
                  </a:cubicBezTo>
                  <a:cubicBezTo>
                    <a:pt x="1223480" y="536575"/>
                    <a:pt x="1216333" y="529429"/>
                    <a:pt x="1216333" y="520853"/>
                  </a:cubicBezTo>
                  <a:cubicBezTo>
                    <a:pt x="1216333" y="424378"/>
                    <a:pt x="1137009" y="345054"/>
                    <a:pt x="1041249" y="345054"/>
                  </a:cubicBezTo>
                  <a:cubicBezTo>
                    <a:pt x="1031959" y="345054"/>
                    <a:pt x="1025527" y="338623"/>
                    <a:pt x="1025527" y="330047"/>
                  </a:cubicBezTo>
                  <a:cubicBezTo>
                    <a:pt x="1025527" y="321471"/>
                    <a:pt x="1031959" y="314325"/>
                    <a:pt x="1041249" y="314325"/>
                  </a:cubicBezTo>
                  <a:close/>
                  <a:moveTo>
                    <a:pt x="268493" y="314325"/>
                  </a:moveTo>
                  <a:cubicBezTo>
                    <a:pt x="277753" y="314325"/>
                    <a:pt x="284164" y="321471"/>
                    <a:pt x="284164" y="330047"/>
                  </a:cubicBezTo>
                  <a:cubicBezTo>
                    <a:pt x="284164" y="338623"/>
                    <a:pt x="277753" y="345054"/>
                    <a:pt x="268493" y="345054"/>
                  </a:cubicBezTo>
                  <a:cubicBezTo>
                    <a:pt x="172327" y="345054"/>
                    <a:pt x="93257" y="424378"/>
                    <a:pt x="93257" y="520853"/>
                  </a:cubicBezTo>
                  <a:cubicBezTo>
                    <a:pt x="93257" y="529429"/>
                    <a:pt x="86133" y="536575"/>
                    <a:pt x="77585" y="536575"/>
                  </a:cubicBezTo>
                  <a:cubicBezTo>
                    <a:pt x="69037" y="536575"/>
                    <a:pt x="61914" y="529429"/>
                    <a:pt x="61914" y="520853"/>
                  </a:cubicBezTo>
                  <a:cubicBezTo>
                    <a:pt x="61914" y="407227"/>
                    <a:pt x="154518" y="314325"/>
                    <a:pt x="268493" y="314325"/>
                  </a:cubicBezTo>
                  <a:close/>
                  <a:moveTo>
                    <a:pt x="1042195" y="282574"/>
                  </a:moveTo>
                  <a:cubicBezTo>
                    <a:pt x="911120" y="282574"/>
                    <a:pt x="804863" y="388831"/>
                    <a:pt x="804863" y="519906"/>
                  </a:cubicBezTo>
                  <a:cubicBezTo>
                    <a:pt x="804863" y="650981"/>
                    <a:pt x="911120" y="757238"/>
                    <a:pt x="1042195" y="757238"/>
                  </a:cubicBezTo>
                  <a:cubicBezTo>
                    <a:pt x="1173270" y="757238"/>
                    <a:pt x="1279527" y="650981"/>
                    <a:pt x="1279527" y="519906"/>
                  </a:cubicBezTo>
                  <a:cubicBezTo>
                    <a:pt x="1279527" y="388831"/>
                    <a:pt x="1173270" y="282574"/>
                    <a:pt x="1042195" y="282574"/>
                  </a:cubicBezTo>
                  <a:close/>
                  <a:moveTo>
                    <a:pt x="267494" y="282573"/>
                  </a:moveTo>
                  <a:cubicBezTo>
                    <a:pt x="136419" y="282573"/>
                    <a:pt x="30162" y="388830"/>
                    <a:pt x="30162" y="519905"/>
                  </a:cubicBezTo>
                  <a:cubicBezTo>
                    <a:pt x="30162" y="650980"/>
                    <a:pt x="136419" y="757237"/>
                    <a:pt x="267494" y="757237"/>
                  </a:cubicBezTo>
                  <a:cubicBezTo>
                    <a:pt x="398569" y="757237"/>
                    <a:pt x="504826" y="650980"/>
                    <a:pt x="504826" y="519905"/>
                  </a:cubicBezTo>
                  <a:cubicBezTo>
                    <a:pt x="504826" y="388830"/>
                    <a:pt x="398569" y="282573"/>
                    <a:pt x="267494" y="282573"/>
                  </a:cubicBezTo>
                  <a:close/>
                  <a:moveTo>
                    <a:pt x="1042552" y="250824"/>
                  </a:moveTo>
                  <a:cubicBezTo>
                    <a:pt x="1190493" y="250824"/>
                    <a:pt x="1311276" y="371607"/>
                    <a:pt x="1311276" y="519548"/>
                  </a:cubicBezTo>
                  <a:cubicBezTo>
                    <a:pt x="1311276" y="668204"/>
                    <a:pt x="1190493" y="788987"/>
                    <a:pt x="1042552" y="788987"/>
                  </a:cubicBezTo>
                  <a:cubicBezTo>
                    <a:pt x="893181" y="788987"/>
                    <a:pt x="773113" y="668204"/>
                    <a:pt x="773113" y="519548"/>
                  </a:cubicBezTo>
                  <a:cubicBezTo>
                    <a:pt x="773113" y="371607"/>
                    <a:pt x="893181" y="250824"/>
                    <a:pt x="1042552" y="250824"/>
                  </a:cubicBezTo>
                  <a:close/>
                  <a:moveTo>
                    <a:pt x="268288" y="250823"/>
                  </a:moveTo>
                  <a:cubicBezTo>
                    <a:pt x="416459" y="250823"/>
                    <a:pt x="536576" y="371295"/>
                    <a:pt x="536576" y="519905"/>
                  </a:cubicBezTo>
                  <a:cubicBezTo>
                    <a:pt x="536576" y="668515"/>
                    <a:pt x="416459" y="788987"/>
                    <a:pt x="268288" y="788987"/>
                  </a:cubicBezTo>
                  <a:cubicBezTo>
                    <a:pt x="120117" y="788987"/>
                    <a:pt x="0" y="668515"/>
                    <a:pt x="0" y="519905"/>
                  </a:cubicBezTo>
                  <a:cubicBezTo>
                    <a:pt x="0" y="371295"/>
                    <a:pt x="120117" y="250823"/>
                    <a:pt x="268288" y="250823"/>
                  </a:cubicBezTo>
                  <a:close/>
                  <a:moveTo>
                    <a:pt x="461501" y="0"/>
                  </a:moveTo>
                  <a:cubicBezTo>
                    <a:pt x="524311" y="0"/>
                    <a:pt x="576414" y="51401"/>
                    <a:pt x="576414" y="114937"/>
                  </a:cubicBezTo>
                  <a:cubicBezTo>
                    <a:pt x="576414" y="119221"/>
                    <a:pt x="576414" y="124932"/>
                    <a:pt x="576414" y="129929"/>
                  </a:cubicBezTo>
                  <a:cubicBezTo>
                    <a:pt x="577128" y="154201"/>
                    <a:pt x="577841" y="183471"/>
                    <a:pt x="569277" y="203460"/>
                  </a:cubicBezTo>
                  <a:cubicBezTo>
                    <a:pt x="574273" y="211313"/>
                    <a:pt x="579269" y="219166"/>
                    <a:pt x="583551" y="227732"/>
                  </a:cubicBezTo>
                  <a:cubicBezTo>
                    <a:pt x="599968" y="205602"/>
                    <a:pt x="626376" y="190610"/>
                    <a:pt x="655640" y="190610"/>
                  </a:cubicBezTo>
                  <a:cubicBezTo>
                    <a:pt x="685617" y="190610"/>
                    <a:pt x="711312" y="204888"/>
                    <a:pt x="727728" y="227019"/>
                  </a:cubicBezTo>
                  <a:cubicBezTo>
                    <a:pt x="732010" y="219166"/>
                    <a:pt x="737006" y="210599"/>
                    <a:pt x="742002" y="203460"/>
                  </a:cubicBezTo>
                  <a:cubicBezTo>
                    <a:pt x="732724" y="183471"/>
                    <a:pt x="734151" y="154201"/>
                    <a:pt x="734865" y="129929"/>
                  </a:cubicBezTo>
                  <a:cubicBezTo>
                    <a:pt x="734865" y="124932"/>
                    <a:pt x="734865" y="119221"/>
                    <a:pt x="734865" y="114937"/>
                  </a:cubicBezTo>
                  <a:cubicBezTo>
                    <a:pt x="734865" y="51401"/>
                    <a:pt x="786255" y="0"/>
                    <a:pt x="849778" y="0"/>
                  </a:cubicBezTo>
                  <a:cubicBezTo>
                    <a:pt x="886892" y="0"/>
                    <a:pt x="914728" y="22131"/>
                    <a:pt x="938282" y="42120"/>
                  </a:cubicBezTo>
                  <a:cubicBezTo>
                    <a:pt x="938996" y="42834"/>
                    <a:pt x="981820" y="81384"/>
                    <a:pt x="987530" y="98518"/>
                  </a:cubicBezTo>
                  <a:cubicBezTo>
                    <a:pt x="988244" y="99945"/>
                    <a:pt x="988244" y="101373"/>
                    <a:pt x="988244" y="102801"/>
                  </a:cubicBezTo>
                  <a:cubicBezTo>
                    <a:pt x="1041061" y="113509"/>
                    <a:pt x="1088168" y="139923"/>
                    <a:pt x="1121714" y="179188"/>
                  </a:cubicBezTo>
                  <a:cubicBezTo>
                    <a:pt x="1124569" y="182757"/>
                    <a:pt x="1128851" y="187041"/>
                    <a:pt x="1133848" y="192038"/>
                  </a:cubicBezTo>
                  <a:cubicBezTo>
                    <a:pt x="1140271" y="198463"/>
                    <a:pt x="1148122" y="206316"/>
                    <a:pt x="1154546" y="214168"/>
                  </a:cubicBezTo>
                  <a:cubicBezTo>
                    <a:pt x="1170962" y="233444"/>
                    <a:pt x="1183810" y="248435"/>
                    <a:pt x="1193802" y="261286"/>
                  </a:cubicBezTo>
                  <a:cubicBezTo>
                    <a:pt x="1148836" y="236299"/>
                    <a:pt x="1097447" y="220594"/>
                    <a:pt x="1041775" y="220594"/>
                  </a:cubicBezTo>
                  <a:cubicBezTo>
                    <a:pt x="888320" y="220594"/>
                    <a:pt x="761274" y="336958"/>
                    <a:pt x="744857" y="486162"/>
                  </a:cubicBezTo>
                  <a:cubicBezTo>
                    <a:pt x="745571" y="490446"/>
                    <a:pt x="745571" y="494729"/>
                    <a:pt x="745571" y="499013"/>
                  </a:cubicBezTo>
                  <a:cubicBezTo>
                    <a:pt x="745571" y="548271"/>
                    <a:pt x="705602" y="588963"/>
                    <a:pt x="655640" y="588963"/>
                  </a:cubicBezTo>
                  <a:cubicBezTo>
                    <a:pt x="606391" y="588963"/>
                    <a:pt x="566422" y="548271"/>
                    <a:pt x="566422" y="499013"/>
                  </a:cubicBezTo>
                  <a:cubicBezTo>
                    <a:pt x="566422" y="495443"/>
                    <a:pt x="566422" y="491873"/>
                    <a:pt x="566422" y="489018"/>
                  </a:cubicBezTo>
                  <a:cubicBezTo>
                    <a:pt x="551433" y="338386"/>
                    <a:pt x="423673" y="220594"/>
                    <a:pt x="268791" y="220594"/>
                  </a:cubicBezTo>
                  <a:cubicBezTo>
                    <a:pt x="213833" y="220594"/>
                    <a:pt x="162443" y="236299"/>
                    <a:pt x="117477" y="261286"/>
                  </a:cubicBezTo>
                  <a:cubicBezTo>
                    <a:pt x="127470" y="248435"/>
                    <a:pt x="140317" y="233444"/>
                    <a:pt x="156019" y="214168"/>
                  </a:cubicBezTo>
                  <a:cubicBezTo>
                    <a:pt x="163157" y="206316"/>
                    <a:pt x="170294" y="198463"/>
                    <a:pt x="177432" y="192038"/>
                  </a:cubicBezTo>
                  <a:cubicBezTo>
                    <a:pt x="181714" y="187041"/>
                    <a:pt x="186710" y="182757"/>
                    <a:pt x="189565" y="179188"/>
                  </a:cubicBezTo>
                  <a:cubicBezTo>
                    <a:pt x="223111" y="139923"/>
                    <a:pt x="270218" y="113509"/>
                    <a:pt x="322321" y="102801"/>
                  </a:cubicBezTo>
                  <a:cubicBezTo>
                    <a:pt x="323035" y="101373"/>
                    <a:pt x="323035" y="99945"/>
                    <a:pt x="323749" y="98518"/>
                  </a:cubicBezTo>
                  <a:cubicBezTo>
                    <a:pt x="329459" y="81384"/>
                    <a:pt x="372283" y="42834"/>
                    <a:pt x="372997" y="42120"/>
                  </a:cubicBezTo>
                  <a:cubicBezTo>
                    <a:pt x="395837" y="22131"/>
                    <a:pt x="424387" y="0"/>
                    <a:pt x="46150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55092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extLst>
              <p:ext uri="{D42A27DB-BD31-4B8C-83A1-F6EECF244321}">
                <p14:modId xmlns:p14="http://schemas.microsoft.com/office/powerpoint/2010/main" val="2162451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28" name="think-cell Slide" r:id="rId18" imgW="270" imgH="270" progId="TCLayout.ActiveDocument.1">
                  <p:embed/>
                </p:oleObj>
              </mc:Choice>
              <mc:Fallback>
                <p:oleObj name="think-cell Slide" r:id="rId18" imgW="270" imgH="270" progId="TCLayout.ActiveDocument.1">
                  <p:embed/>
                  <p:pic>
                    <p:nvPicPr>
                      <p:cNvPr id="63" name="Object 62"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4" name="Picture 3">
            <a:extLst>
              <a:ext uri="{FF2B5EF4-FFF2-40B4-BE49-F238E27FC236}">
                <a16:creationId xmlns:a16="http://schemas.microsoft.com/office/drawing/2014/main" id="{A6EA201C-86B9-4B9C-84F2-02E4DC376AAB}"/>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0" y="-8823"/>
            <a:ext cx="12192000" cy="6866823"/>
          </a:xfrm>
          <a:prstGeom prst="rect">
            <a:avLst/>
          </a:prstGeom>
        </p:spPr>
      </p:pic>
      <p:sp>
        <p:nvSpPr>
          <p:cNvPr id="54" name="Rectangle 53">
            <a:extLst>
              <a:ext uri="{FF2B5EF4-FFF2-40B4-BE49-F238E27FC236}">
                <a16:creationId xmlns:a16="http://schemas.microsoft.com/office/drawing/2014/main" id="{AC612528-A678-4922-AADF-1B13F3710692}"/>
              </a:ext>
            </a:extLst>
          </p:cNvPr>
          <p:cNvSpPr/>
          <p:nvPr/>
        </p:nvSpPr>
        <p:spPr>
          <a:xfrm>
            <a:off x="1" y="1"/>
            <a:ext cx="12191999" cy="6858000"/>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Title 15"/>
          <p:cNvSpPr>
            <a:spLocks noGrp="1"/>
          </p:cNvSpPr>
          <p:nvPr>
            <p:ph type="title"/>
          </p:nvPr>
        </p:nvSpPr>
        <p:spPr>
          <a:xfrm>
            <a:off x="342268" y="2497249"/>
            <a:ext cx="4040099" cy="1180897"/>
          </a:xfrm>
        </p:spPr>
        <p:txBody>
          <a:bodyPr vert="horz" wrap="square">
            <a:noAutofit/>
          </a:bodyPr>
          <a:lstStyle/>
          <a:p>
            <a:r>
              <a:rPr lang="en-US" sz="4400" dirty="0">
                <a:solidFill>
                  <a:srgbClr val="FFFFFF"/>
                </a:solidFill>
              </a:rPr>
              <a:t>What would you like to view?</a:t>
            </a:r>
          </a:p>
        </p:txBody>
      </p:sp>
      <p:cxnSp>
        <p:nvCxnSpPr>
          <p:cNvPr id="8" name="Straight Connector 7"/>
          <p:cNvCxnSpPr/>
          <p:nvPr/>
        </p:nvCxnSpPr>
        <p:spPr>
          <a:xfrm>
            <a:off x="5123656" y="-8824"/>
            <a:ext cx="0" cy="481852"/>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5123656" y="1540881"/>
            <a:ext cx="0" cy="138758"/>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123656" y="2747492"/>
            <a:ext cx="0" cy="138758"/>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5123656" y="3954103"/>
            <a:ext cx="0" cy="138758"/>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5123656" y="5160714"/>
            <a:ext cx="0" cy="1688462"/>
          </a:xfrm>
          <a:prstGeom prst="line">
            <a:avLst/>
          </a:prstGeom>
          <a:ln w="19050"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4589730" y="473028"/>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latin typeface="Trebuchet MS" panose="020B0603020202020204" pitchFamily="34" charset="0"/>
            </a:endParaRPr>
          </a:p>
        </p:txBody>
      </p:sp>
      <p:sp>
        <p:nvSpPr>
          <p:cNvPr id="55" name="Oval 54"/>
          <p:cNvSpPr/>
          <p:nvPr/>
        </p:nvSpPr>
        <p:spPr>
          <a:xfrm>
            <a:off x="4589730" y="1679639"/>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latin typeface="Trebuchet MS" panose="020B0603020202020204" pitchFamily="34" charset="0"/>
            </a:endParaRPr>
          </a:p>
        </p:txBody>
      </p:sp>
      <p:sp>
        <p:nvSpPr>
          <p:cNvPr id="56" name="Oval 55"/>
          <p:cNvSpPr/>
          <p:nvPr/>
        </p:nvSpPr>
        <p:spPr>
          <a:xfrm>
            <a:off x="4589730" y="2886250"/>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latin typeface="Trebuchet MS" panose="020B0603020202020204" pitchFamily="34" charset="0"/>
            </a:endParaRPr>
          </a:p>
        </p:txBody>
      </p:sp>
      <p:sp>
        <p:nvSpPr>
          <p:cNvPr id="57" name="Oval 56"/>
          <p:cNvSpPr/>
          <p:nvPr/>
        </p:nvSpPr>
        <p:spPr>
          <a:xfrm>
            <a:off x="4589730" y="4092861"/>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latin typeface="Trebuchet MS" panose="020B0603020202020204" pitchFamily="34" charset="0"/>
            </a:endParaRPr>
          </a:p>
        </p:txBody>
      </p:sp>
      <p:sp>
        <p:nvSpPr>
          <p:cNvPr id="47" name="ee4pContent1"/>
          <p:cNvSpPr txBox="1"/>
          <p:nvPr>
            <p:custDataLst>
              <p:tags r:id="rId4"/>
            </p:custDataLst>
          </p:nvPr>
        </p:nvSpPr>
        <p:spPr>
          <a:xfrm>
            <a:off x="5963025" y="819275"/>
            <a:ext cx="3549155" cy="375359"/>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Response Rates</a:t>
            </a:r>
          </a:p>
        </p:txBody>
      </p:sp>
      <p:sp>
        <p:nvSpPr>
          <p:cNvPr id="48" name="ee4pContent1"/>
          <p:cNvSpPr txBox="1"/>
          <p:nvPr>
            <p:custDataLst>
              <p:tags r:id="rId5"/>
            </p:custDataLst>
          </p:nvPr>
        </p:nvSpPr>
        <p:spPr>
          <a:xfrm>
            <a:off x="5960918" y="2881335"/>
            <a:ext cx="3549155" cy="897040"/>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Summary Charts </a:t>
            </a:r>
          </a:p>
          <a:p>
            <a:r>
              <a:rPr lang="en-US" dirty="0">
                <a:solidFill>
                  <a:srgbClr val="FFFFFF"/>
                </a:solidFill>
              </a:rPr>
              <a:t>(Including 'Bubble')</a:t>
            </a:r>
          </a:p>
        </p:txBody>
      </p:sp>
      <p:sp>
        <p:nvSpPr>
          <p:cNvPr id="50" name="ee4pContent1"/>
          <p:cNvSpPr txBox="1"/>
          <p:nvPr>
            <p:custDataLst>
              <p:tags r:id="rId6"/>
            </p:custDataLst>
          </p:nvPr>
        </p:nvSpPr>
        <p:spPr>
          <a:xfrm>
            <a:off x="5963025" y="1967040"/>
            <a:ext cx="3549155" cy="375359"/>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Key Takeaways</a:t>
            </a:r>
          </a:p>
        </p:txBody>
      </p:sp>
      <p:sp>
        <p:nvSpPr>
          <p:cNvPr id="51" name="ee4pContent1"/>
          <p:cNvSpPr txBox="1"/>
          <p:nvPr>
            <p:custDataLst>
              <p:tags r:id="rId7"/>
            </p:custDataLst>
          </p:nvPr>
        </p:nvSpPr>
        <p:spPr>
          <a:xfrm>
            <a:off x="5960918" y="4369845"/>
            <a:ext cx="3549155" cy="375359"/>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buNone/>
            </a:pPr>
            <a:r>
              <a:rPr lang="en-US" dirty="0">
                <a:solidFill>
                  <a:srgbClr val="FFFFFF"/>
                </a:solidFill>
              </a:rPr>
              <a:t>Detailed Results</a:t>
            </a:r>
          </a:p>
        </p:txBody>
      </p:sp>
      <p:grpSp>
        <p:nvGrpSpPr>
          <p:cNvPr id="61" name="Group 60">
            <a:extLst>
              <a:ext uri="{FF2B5EF4-FFF2-40B4-BE49-F238E27FC236}">
                <a16:creationId xmlns:a16="http://schemas.microsoft.com/office/drawing/2014/main" id="{E7DDA266-81BD-40D2-909D-7B4BBCA1CFB7}"/>
              </a:ext>
            </a:extLst>
          </p:cNvPr>
          <p:cNvGrpSpPr>
            <a:grpSpLocks noChangeAspect="1"/>
          </p:cNvGrpSpPr>
          <p:nvPr/>
        </p:nvGrpSpPr>
        <p:grpSpPr>
          <a:xfrm>
            <a:off x="4759691" y="586278"/>
            <a:ext cx="706472" cy="706472"/>
            <a:chOff x="5273675" y="2606675"/>
            <a:chExt cx="1644650" cy="1644650"/>
          </a:xfrm>
        </p:grpSpPr>
        <p:sp>
          <p:nvSpPr>
            <p:cNvPr id="75" name="AutoShape 3">
              <a:extLst>
                <a:ext uri="{FF2B5EF4-FFF2-40B4-BE49-F238E27FC236}">
                  <a16:creationId xmlns:a16="http://schemas.microsoft.com/office/drawing/2014/main" id="{FD5CF298-DCAC-4EEA-B322-EBA9F349C867}"/>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1">
              <a:extLst>
                <a:ext uri="{FF2B5EF4-FFF2-40B4-BE49-F238E27FC236}">
                  <a16:creationId xmlns:a16="http://schemas.microsoft.com/office/drawing/2014/main" id="{93BBE530-0322-4E8F-B69B-19E2B38E43F6}"/>
                </a:ext>
              </a:extLst>
            </p:cNvPr>
            <p:cNvSpPr>
              <a:spLocks/>
            </p:cNvSpPr>
            <p:nvPr/>
          </p:nvSpPr>
          <p:spPr bwMode="auto">
            <a:xfrm>
              <a:off x="5335588" y="2770188"/>
              <a:ext cx="1517650"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77" name="Group 76">
            <a:extLst>
              <a:ext uri="{FF2B5EF4-FFF2-40B4-BE49-F238E27FC236}">
                <a16:creationId xmlns:a16="http://schemas.microsoft.com/office/drawing/2014/main" id="{1E2296FE-879A-47AA-9C0E-6A4C042C999F}"/>
              </a:ext>
            </a:extLst>
          </p:cNvPr>
          <p:cNvGrpSpPr>
            <a:grpSpLocks noChangeAspect="1"/>
          </p:cNvGrpSpPr>
          <p:nvPr/>
        </p:nvGrpSpPr>
        <p:grpSpPr>
          <a:xfrm>
            <a:off x="4712492" y="1802403"/>
            <a:ext cx="822325" cy="822325"/>
            <a:chOff x="5273675" y="2606675"/>
            <a:chExt cx="1644650" cy="1644650"/>
          </a:xfrm>
        </p:grpSpPr>
        <p:sp>
          <p:nvSpPr>
            <p:cNvPr id="86" name="AutoShape 3">
              <a:extLst>
                <a:ext uri="{FF2B5EF4-FFF2-40B4-BE49-F238E27FC236}">
                  <a16:creationId xmlns:a16="http://schemas.microsoft.com/office/drawing/2014/main" id="{7CE79EA1-8A75-461A-A32A-B5CE8A813D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8">
              <a:extLst>
                <a:ext uri="{FF2B5EF4-FFF2-40B4-BE49-F238E27FC236}">
                  <a16:creationId xmlns:a16="http://schemas.microsoft.com/office/drawing/2014/main" id="{9E6CFAB7-815B-40D5-88D8-7EA3AA3D40C7}"/>
                </a:ext>
              </a:extLst>
            </p:cNvPr>
            <p:cNvSpPr>
              <a:spLocks/>
            </p:cNvSpPr>
            <p:nvPr/>
          </p:nvSpPr>
          <p:spPr bwMode="auto">
            <a:xfrm>
              <a:off x="5567650" y="2832877"/>
              <a:ext cx="1045370" cy="1210486"/>
            </a:xfrm>
            <a:custGeom>
              <a:avLst/>
              <a:gdLst>
                <a:gd name="connsiteX0" fmla="*/ 265245 w 1045370"/>
                <a:gd name="connsiteY0" fmla="*/ 794561 h 1210486"/>
                <a:gd name="connsiteX1" fmla="*/ 32414 w 1045370"/>
                <a:gd name="connsiteY1" fmla="*/ 1100478 h 1210486"/>
                <a:gd name="connsiteX2" fmla="*/ 65982 w 1045370"/>
                <a:gd name="connsiteY2" fmla="*/ 1156682 h 1210486"/>
                <a:gd name="connsiteX3" fmla="*/ 109548 w 1045370"/>
                <a:gd name="connsiteY3" fmla="*/ 1177313 h 1210486"/>
                <a:gd name="connsiteX4" fmla="*/ 129546 w 1045370"/>
                <a:gd name="connsiteY4" fmla="*/ 1174468 h 1210486"/>
                <a:gd name="connsiteX5" fmla="*/ 361663 w 1045370"/>
                <a:gd name="connsiteY5" fmla="*/ 867839 h 1210486"/>
                <a:gd name="connsiteX6" fmla="*/ 265245 w 1045370"/>
                <a:gd name="connsiteY6" fmla="*/ 794561 h 1210486"/>
                <a:gd name="connsiteX7" fmla="*/ 260672 w 1045370"/>
                <a:gd name="connsiteY7" fmla="*/ 755588 h 1210486"/>
                <a:gd name="connsiteX8" fmla="*/ 272098 w 1045370"/>
                <a:gd name="connsiteY8" fmla="*/ 758449 h 1210486"/>
                <a:gd name="connsiteX9" fmla="*/ 393495 w 1045370"/>
                <a:gd name="connsiteY9" fmla="*/ 852147 h 1210486"/>
                <a:gd name="connsiteX10" fmla="*/ 396352 w 1045370"/>
                <a:gd name="connsiteY10" fmla="*/ 874320 h 1210486"/>
                <a:gd name="connsiteX11" fmla="*/ 154986 w 1045370"/>
                <a:gd name="connsiteY11" fmla="*/ 1194035 h 1210486"/>
                <a:gd name="connsiteX12" fmla="*/ 117852 w 1045370"/>
                <a:gd name="connsiteY12" fmla="*/ 1210486 h 1210486"/>
                <a:gd name="connsiteX13" fmla="*/ 104285 w 1045370"/>
                <a:gd name="connsiteY13" fmla="*/ 1209056 h 1210486"/>
                <a:gd name="connsiteX14" fmla="*/ 47871 w 1045370"/>
                <a:gd name="connsiteY14" fmla="*/ 1182591 h 1210486"/>
                <a:gd name="connsiteX15" fmla="*/ 7881 w 1045370"/>
                <a:gd name="connsiteY15" fmla="*/ 1082457 h 1210486"/>
                <a:gd name="connsiteX16" fmla="*/ 249961 w 1045370"/>
                <a:gd name="connsiteY16" fmla="*/ 761310 h 1210486"/>
                <a:gd name="connsiteX17" fmla="*/ 260672 w 1045370"/>
                <a:gd name="connsiteY17" fmla="*/ 755588 h 1210486"/>
                <a:gd name="connsiteX18" fmla="*/ 774993 w 1045370"/>
                <a:gd name="connsiteY18" fmla="*/ 154566 h 1210486"/>
                <a:gd name="connsiteX19" fmla="*/ 765991 w 1045370"/>
                <a:gd name="connsiteY19" fmla="*/ 162325 h 1210486"/>
                <a:gd name="connsiteX20" fmla="*/ 772409 w 1045370"/>
                <a:gd name="connsiteY20" fmla="*/ 183730 h 1210486"/>
                <a:gd name="connsiteX21" fmla="*/ 802356 w 1045370"/>
                <a:gd name="connsiteY21" fmla="*/ 202994 h 1210486"/>
                <a:gd name="connsiteX22" fmla="*/ 890059 w 1045370"/>
                <a:gd name="connsiteY22" fmla="*/ 353539 h 1210486"/>
                <a:gd name="connsiteX23" fmla="*/ 844425 w 1045370"/>
                <a:gd name="connsiteY23" fmla="*/ 521207 h 1210486"/>
                <a:gd name="connsiteX24" fmla="*/ 796652 w 1045370"/>
                <a:gd name="connsiteY24" fmla="*/ 567584 h 1210486"/>
                <a:gd name="connsiteX25" fmla="*/ 793087 w 1045370"/>
                <a:gd name="connsiteY25" fmla="*/ 589702 h 1210486"/>
                <a:gd name="connsiteX26" fmla="*/ 805921 w 1045370"/>
                <a:gd name="connsiteY26" fmla="*/ 596123 h 1210486"/>
                <a:gd name="connsiteX27" fmla="*/ 815190 w 1045370"/>
                <a:gd name="connsiteY27" fmla="*/ 593269 h 1210486"/>
                <a:gd name="connsiteX28" fmla="*/ 869381 w 1045370"/>
                <a:gd name="connsiteY28" fmla="*/ 540471 h 1210486"/>
                <a:gd name="connsiteX29" fmla="*/ 921432 w 1045370"/>
                <a:gd name="connsiteY29" fmla="*/ 349258 h 1210486"/>
                <a:gd name="connsiteX30" fmla="*/ 820895 w 1045370"/>
                <a:gd name="connsiteY30" fmla="*/ 178022 h 1210486"/>
                <a:gd name="connsiteX31" fmla="*/ 786669 w 1045370"/>
                <a:gd name="connsiteY31" fmla="*/ 155904 h 1210486"/>
                <a:gd name="connsiteX32" fmla="*/ 774993 w 1045370"/>
                <a:gd name="connsiteY32" fmla="*/ 154566 h 1210486"/>
                <a:gd name="connsiteX33" fmla="*/ 679939 w 1045370"/>
                <a:gd name="connsiteY33" fmla="*/ 81941 h 1210486"/>
                <a:gd name="connsiteX34" fmla="*/ 847738 w 1045370"/>
                <a:gd name="connsiteY34" fmla="*/ 143293 h 1210486"/>
                <a:gd name="connsiteX35" fmla="*/ 904180 w 1045370"/>
                <a:gd name="connsiteY35" fmla="*/ 568075 h 1210486"/>
                <a:gd name="connsiteX36" fmla="*/ 474791 w 1045370"/>
                <a:gd name="connsiteY36" fmla="*/ 625093 h 1210486"/>
                <a:gd name="connsiteX37" fmla="*/ 417635 w 1045370"/>
                <a:gd name="connsiteY37" fmla="*/ 201023 h 1210486"/>
                <a:gd name="connsiteX38" fmla="*/ 679939 w 1045370"/>
                <a:gd name="connsiteY38" fmla="*/ 81941 h 1210486"/>
                <a:gd name="connsiteX39" fmla="*/ 682264 w 1045370"/>
                <a:gd name="connsiteY39" fmla="*/ 48100 h 1210486"/>
                <a:gd name="connsiteX40" fmla="*/ 395387 w 1045370"/>
                <a:gd name="connsiteY40" fmla="*/ 178934 h 1210486"/>
                <a:gd name="connsiteX41" fmla="*/ 426816 w 1045370"/>
                <a:gd name="connsiteY41" fmla="*/ 622375 h 1210486"/>
                <a:gd name="connsiteX42" fmla="*/ 458245 w 1045370"/>
                <a:gd name="connsiteY42" fmla="*/ 650224 h 1210486"/>
                <a:gd name="connsiteX43" fmla="*/ 488960 w 1045370"/>
                <a:gd name="connsiteY43" fmla="*/ 670932 h 1210486"/>
                <a:gd name="connsiteX44" fmla="*/ 928968 w 1045370"/>
                <a:gd name="connsiteY44" fmla="*/ 587385 h 1210486"/>
                <a:gd name="connsiteX45" fmla="*/ 866110 w 1045370"/>
                <a:gd name="connsiteY45" fmla="*/ 116810 h 1210486"/>
                <a:gd name="connsiteX46" fmla="*/ 682264 w 1045370"/>
                <a:gd name="connsiteY46" fmla="*/ 48100 h 1210486"/>
                <a:gd name="connsiteX47" fmla="*/ 684983 w 1045370"/>
                <a:gd name="connsiteY47" fmla="*/ 623 h 1210486"/>
                <a:gd name="connsiteX48" fmla="*/ 895212 w 1045370"/>
                <a:gd name="connsiteY48" fmla="*/ 78517 h 1210486"/>
                <a:gd name="connsiteX49" fmla="*/ 966597 w 1045370"/>
                <a:gd name="connsiteY49" fmla="*/ 616813 h 1210486"/>
                <a:gd name="connsiteX50" fmla="*/ 484039 w 1045370"/>
                <a:gd name="connsiteY50" fmla="*/ 723187 h 1210486"/>
                <a:gd name="connsiteX51" fmla="*/ 407658 w 1045370"/>
                <a:gd name="connsiteY51" fmla="*/ 823136 h 1210486"/>
                <a:gd name="connsiteX52" fmla="*/ 300582 w 1045370"/>
                <a:gd name="connsiteY52" fmla="*/ 741035 h 1210486"/>
                <a:gd name="connsiteX53" fmla="*/ 377677 w 1045370"/>
                <a:gd name="connsiteY53" fmla="*/ 639659 h 1210486"/>
                <a:gd name="connsiteX54" fmla="*/ 357689 w 1045370"/>
                <a:gd name="connsiteY54" fmla="*/ 150623 h 1210486"/>
                <a:gd name="connsiteX55" fmla="*/ 684983 w 1045370"/>
                <a:gd name="connsiteY55" fmla="*/ 623 h 1210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45370" h="1210486">
                  <a:moveTo>
                    <a:pt x="265245" y="794561"/>
                  </a:moveTo>
                  <a:cubicBezTo>
                    <a:pt x="32414" y="1100478"/>
                    <a:pt x="32414" y="1100478"/>
                    <a:pt x="32414" y="1100478"/>
                  </a:cubicBezTo>
                  <a:cubicBezTo>
                    <a:pt x="26700" y="1108304"/>
                    <a:pt x="37413" y="1134627"/>
                    <a:pt x="65982" y="1156682"/>
                  </a:cubicBezTo>
                  <a:cubicBezTo>
                    <a:pt x="80266" y="1167353"/>
                    <a:pt x="95978" y="1174468"/>
                    <a:pt x="109548" y="1177313"/>
                  </a:cubicBezTo>
                  <a:cubicBezTo>
                    <a:pt x="118833" y="1178736"/>
                    <a:pt x="126689" y="1177313"/>
                    <a:pt x="129546" y="1174468"/>
                  </a:cubicBezTo>
                  <a:cubicBezTo>
                    <a:pt x="361663" y="867839"/>
                    <a:pt x="361663" y="867839"/>
                    <a:pt x="361663" y="867839"/>
                  </a:cubicBezTo>
                  <a:cubicBezTo>
                    <a:pt x="265245" y="794561"/>
                    <a:pt x="265245" y="794561"/>
                    <a:pt x="265245" y="794561"/>
                  </a:cubicBezTo>
                  <a:close/>
                  <a:moveTo>
                    <a:pt x="260672" y="755588"/>
                  </a:moveTo>
                  <a:cubicBezTo>
                    <a:pt x="264243" y="754873"/>
                    <a:pt x="268528" y="756304"/>
                    <a:pt x="272098" y="758449"/>
                  </a:cubicBezTo>
                  <a:cubicBezTo>
                    <a:pt x="393495" y="852147"/>
                    <a:pt x="393495" y="852147"/>
                    <a:pt x="393495" y="852147"/>
                  </a:cubicBezTo>
                  <a:cubicBezTo>
                    <a:pt x="400636" y="857154"/>
                    <a:pt x="401350" y="867167"/>
                    <a:pt x="396352" y="874320"/>
                  </a:cubicBezTo>
                  <a:cubicBezTo>
                    <a:pt x="154986" y="1194035"/>
                    <a:pt x="154986" y="1194035"/>
                    <a:pt x="154986" y="1194035"/>
                  </a:cubicBezTo>
                  <a:cubicBezTo>
                    <a:pt x="146416" y="1204764"/>
                    <a:pt x="133563" y="1210486"/>
                    <a:pt x="117852" y="1210486"/>
                  </a:cubicBezTo>
                  <a:cubicBezTo>
                    <a:pt x="113568" y="1210486"/>
                    <a:pt x="109283" y="1209771"/>
                    <a:pt x="104285" y="1209056"/>
                  </a:cubicBezTo>
                  <a:cubicBezTo>
                    <a:pt x="86432" y="1206195"/>
                    <a:pt x="65723" y="1196181"/>
                    <a:pt x="47871" y="1182591"/>
                  </a:cubicBezTo>
                  <a:cubicBezTo>
                    <a:pt x="5739" y="1150405"/>
                    <a:pt x="-11400" y="1107490"/>
                    <a:pt x="7881" y="1082457"/>
                  </a:cubicBezTo>
                  <a:cubicBezTo>
                    <a:pt x="249961" y="761310"/>
                    <a:pt x="249961" y="761310"/>
                    <a:pt x="249961" y="761310"/>
                  </a:cubicBezTo>
                  <a:cubicBezTo>
                    <a:pt x="252817" y="758449"/>
                    <a:pt x="256388" y="756304"/>
                    <a:pt x="260672" y="755588"/>
                  </a:cubicBezTo>
                  <a:close/>
                  <a:moveTo>
                    <a:pt x="774993" y="154566"/>
                  </a:moveTo>
                  <a:cubicBezTo>
                    <a:pt x="771161" y="155726"/>
                    <a:pt x="767774" y="158401"/>
                    <a:pt x="765991" y="162325"/>
                  </a:cubicBezTo>
                  <a:cubicBezTo>
                    <a:pt x="761713" y="170174"/>
                    <a:pt x="764565" y="179449"/>
                    <a:pt x="772409" y="183730"/>
                  </a:cubicBezTo>
                  <a:cubicBezTo>
                    <a:pt x="782391" y="189438"/>
                    <a:pt x="792374" y="195859"/>
                    <a:pt x="802356" y="202994"/>
                  </a:cubicBezTo>
                  <a:cubicBezTo>
                    <a:pt x="850842" y="240095"/>
                    <a:pt x="882215" y="292893"/>
                    <a:pt x="890059" y="353539"/>
                  </a:cubicBezTo>
                  <a:cubicBezTo>
                    <a:pt x="897902" y="413471"/>
                    <a:pt x="882215" y="473404"/>
                    <a:pt x="844425" y="521207"/>
                  </a:cubicBezTo>
                  <a:cubicBezTo>
                    <a:pt x="830877" y="539044"/>
                    <a:pt x="814477" y="554741"/>
                    <a:pt x="796652" y="567584"/>
                  </a:cubicBezTo>
                  <a:cubicBezTo>
                    <a:pt x="789521" y="573292"/>
                    <a:pt x="788095" y="582567"/>
                    <a:pt x="793087" y="589702"/>
                  </a:cubicBezTo>
                  <a:cubicBezTo>
                    <a:pt x="795939" y="593983"/>
                    <a:pt x="800930" y="596123"/>
                    <a:pt x="805921" y="596123"/>
                  </a:cubicBezTo>
                  <a:cubicBezTo>
                    <a:pt x="808773" y="596123"/>
                    <a:pt x="812338" y="595410"/>
                    <a:pt x="815190" y="593269"/>
                  </a:cubicBezTo>
                  <a:cubicBezTo>
                    <a:pt x="835868" y="578286"/>
                    <a:pt x="853694" y="561162"/>
                    <a:pt x="869381" y="540471"/>
                  </a:cubicBezTo>
                  <a:cubicBezTo>
                    <a:pt x="912163" y="485533"/>
                    <a:pt x="929988" y="417752"/>
                    <a:pt x="921432" y="349258"/>
                  </a:cubicBezTo>
                  <a:cubicBezTo>
                    <a:pt x="912163" y="280764"/>
                    <a:pt x="876511" y="220118"/>
                    <a:pt x="820895" y="178022"/>
                  </a:cubicBezTo>
                  <a:cubicBezTo>
                    <a:pt x="810199" y="169460"/>
                    <a:pt x="798791" y="162325"/>
                    <a:pt x="786669" y="155904"/>
                  </a:cubicBezTo>
                  <a:cubicBezTo>
                    <a:pt x="783104" y="153764"/>
                    <a:pt x="778826" y="153407"/>
                    <a:pt x="774993" y="154566"/>
                  </a:cubicBezTo>
                  <a:close/>
                  <a:moveTo>
                    <a:pt x="679939" y="81941"/>
                  </a:moveTo>
                  <a:cubicBezTo>
                    <a:pt x="738861" y="85228"/>
                    <a:pt x="797369" y="105340"/>
                    <a:pt x="847738" y="143293"/>
                  </a:cubicBezTo>
                  <a:cubicBezTo>
                    <a:pt x="982056" y="245212"/>
                    <a:pt x="1007776" y="434796"/>
                    <a:pt x="904180" y="568075"/>
                  </a:cubicBezTo>
                  <a:cubicBezTo>
                    <a:pt x="801298" y="701354"/>
                    <a:pt x="609109" y="726299"/>
                    <a:pt x="474791" y="625093"/>
                  </a:cubicBezTo>
                  <a:cubicBezTo>
                    <a:pt x="339044" y="523886"/>
                    <a:pt x="314038" y="333589"/>
                    <a:pt x="417635" y="201023"/>
                  </a:cubicBezTo>
                  <a:cubicBezTo>
                    <a:pt x="482382" y="117724"/>
                    <a:pt x="581736" y="76464"/>
                    <a:pt x="679939" y="81941"/>
                  </a:cubicBezTo>
                  <a:close/>
                  <a:moveTo>
                    <a:pt x="682264" y="48100"/>
                  </a:moveTo>
                  <a:cubicBezTo>
                    <a:pt x="574687" y="41642"/>
                    <a:pt x="465924" y="86997"/>
                    <a:pt x="395387" y="178934"/>
                  </a:cubicBezTo>
                  <a:cubicBezTo>
                    <a:pt x="291813" y="315323"/>
                    <a:pt x="307528" y="505981"/>
                    <a:pt x="426816" y="622375"/>
                  </a:cubicBezTo>
                  <a:cubicBezTo>
                    <a:pt x="436816" y="632372"/>
                    <a:pt x="447530" y="641655"/>
                    <a:pt x="458245" y="650224"/>
                  </a:cubicBezTo>
                  <a:cubicBezTo>
                    <a:pt x="468245" y="657365"/>
                    <a:pt x="478245" y="664505"/>
                    <a:pt x="488960" y="670932"/>
                  </a:cubicBezTo>
                  <a:cubicBezTo>
                    <a:pt x="633248" y="758049"/>
                    <a:pt x="823966" y="724488"/>
                    <a:pt x="928968" y="587385"/>
                  </a:cubicBezTo>
                  <a:cubicBezTo>
                    <a:pt x="1041113" y="440286"/>
                    <a:pt x="1013256" y="228920"/>
                    <a:pt x="866110" y="116810"/>
                  </a:cubicBezTo>
                  <a:cubicBezTo>
                    <a:pt x="810930" y="74501"/>
                    <a:pt x="746811" y="51974"/>
                    <a:pt x="682264" y="48100"/>
                  </a:cubicBezTo>
                  <a:close/>
                  <a:moveTo>
                    <a:pt x="684983" y="623"/>
                  </a:moveTo>
                  <a:cubicBezTo>
                    <a:pt x="758724" y="4827"/>
                    <a:pt x="832037" y="30327"/>
                    <a:pt x="895212" y="78517"/>
                  </a:cubicBezTo>
                  <a:cubicBezTo>
                    <a:pt x="1062965" y="207737"/>
                    <a:pt x="1095088" y="448328"/>
                    <a:pt x="966597" y="616813"/>
                  </a:cubicBezTo>
                  <a:cubicBezTo>
                    <a:pt x="851668" y="766736"/>
                    <a:pt x="646081" y="808144"/>
                    <a:pt x="484039" y="723187"/>
                  </a:cubicBezTo>
                  <a:cubicBezTo>
                    <a:pt x="484039" y="723187"/>
                    <a:pt x="484039" y="723187"/>
                    <a:pt x="407658" y="823136"/>
                  </a:cubicBezTo>
                  <a:cubicBezTo>
                    <a:pt x="407658" y="823136"/>
                    <a:pt x="407658" y="823136"/>
                    <a:pt x="300582" y="741035"/>
                  </a:cubicBezTo>
                  <a:cubicBezTo>
                    <a:pt x="305579" y="734610"/>
                    <a:pt x="321283" y="713192"/>
                    <a:pt x="377677" y="639659"/>
                  </a:cubicBezTo>
                  <a:cubicBezTo>
                    <a:pt x="256324" y="505441"/>
                    <a:pt x="244188" y="299118"/>
                    <a:pt x="357689" y="150623"/>
                  </a:cubicBezTo>
                  <a:cubicBezTo>
                    <a:pt x="437996" y="45766"/>
                    <a:pt x="562082" y="-6384"/>
                    <a:pt x="684983" y="623"/>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88" name="Group 87">
            <a:extLst>
              <a:ext uri="{FF2B5EF4-FFF2-40B4-BE49-F238E27FC236}">
                <a16:creationId xmlns:a16="http://schemas.microsoft.com/office/drawing/2014/main" id="{2EFAB259-A00E-4389-9A66-FD791D6338D6}"/>
              </a:ext>
            </a:extLst>
          </p:cNvPr>
          <p:cNvGrpSpPr>
            <a:grpSpLocks noChangeAspect="1"/>
          </p:cNvGrpSpPr>
          <p:nvPr/>
        </p:nvGrpSpPr>
        <p:grpSpPr>
          <a:xfrm>
            <a:off x="4687479" y="2991535"/>
            <a:ext cx="855936" cy="855110"/>
            <a:chOff x="5272881" y="2606675"/>
            <a:chExt cx="1646238" cy="1644650"/>
          </a:xfrm>
        </p:grpSpPr>
        <p:sp>
          <p:nvSpPr>
            <p:cNvPr id="89" name="AutoShape 3">
              <a:extLst>
                <a:ext uri="{FF2B5EF4-FFF2-40B4-BE49-F238E27FC236}">
                  <a16:creationId xmlns:a16="http://schemas.microsoft.com/office/drawing/2014/main" id="{05388ABF-B130-4B57-8F54-08D522F694A7}"/>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
              <a:extLst>
                <a:ext uri="{FF2B5EF4-FFF2-40B4-BE49-F238E27FC236}">
                  <a16:creationId xmlns:a16="http://schemas.microsoft.com/office/drawing/2014/main" id="{EEC4A2A2-86E9-4605-81AA-6D755ADC5FC5}"/>
                </a:ext>
              </a:extLst>
            </p:cNvPr>
            <p:cNvSpPr>
              <a:spLocks/>
            </p:cNvSpPr>
            <p:nvPr/>
          </p:nvSpPr>
          <p:spPr bwMode="auto">
            <a:xfrm>
              <a:off x="5444331" y="2944053"/>
              <a:ext cx="1304925" cy="931863"/>
            </a:xfrm>
            <a:custGeom>
              <a:avLst/>
              <a:gdLst>
                <a:gd name="connsiteX0" fmla="*/ 346518 w 1304925"/>
                <a:gd name="connsiteY0" fmla="*/ 566738 h 931863"/>
                <a:gd name="connsiteX1" fmla="*/ 306388 w 1304925"/>
                <a:gd name="connsiteY1" fmla="*/ 607572 h 931863"/>
                <a:gd name="connsiteX2" fmla="*/ 306388 w 1304925"/>
                <a:gd name="connsiteY2" fmla="*/ 609684 h 931863"/>
                <a:gd name="connsiteX3" fmla="*/ 319765 w 1304925"/>
                <a:gd name="connsiteY3" fmla="*/ 637141 h 931863"/>
                <a:gd name="connsiteX4" fmla="*/ 346518 w 1304925"/>
                <a:gd name="connsiteY4" fmla="*/ 647701 h 931863"/>
                <a:gd name="connsiteX5" fmla="*/ 387351 w 1304925"/>
                <a:gd name="connsiteY5" fmla="*/ 607572 h 931863"/>
                <a:gd name="connsiteX6" fmla="*/ 383127 w 1304925"/>
                <a:gd name="connsiteY6" fmla="*/ 589971 h 931863"/>
                <a:gd name="connsiteX7" fmla="*/ 360598 w 1304925"/>
                <a:gd name="connsiteY7" fmla="*/ 569554 h 931863"/>
                <a:gd name="connsiteX8" fmla="*/ 346518 w 1304925"/>
                <a:gd name="connsiteY8" fmla="*/ 566738 h 931863"/>
                <a:gd name="connsiteX9" fmla="*/ 808397 w 1304925"/>
                <a:gd name="connsiteY9" fmla="*/ 458788 h 931863"/>
                <a:gd name="connsiteX10" fmla="*/ 780402 w 1304925"/>
                <a:gd name="connsiteY10" fmla="*/ 468731 h 931863"/>
                <a:gd name="connsiteX11" fmla="*/ 766763 w 1304925"/>
                <a:gd name="connsiteY11" fmla="*/ 497139 h 931863"/>
                <a:gd name="connsiteX12" fmla="*/ 766763 w 1304925"/>
                <a:gd name="connsiteY12" fmla="*/ 499270 h 931863"/>
                <a:gd name="connsiteX13" fmla="*/ 808397 w 1304925"/>
                <a:gd name="connsiteY13" fmla="*/ 539751 h 931863"/>
                <a:gd name="connsiteX14" fmla="*/ 849313 w 1304925"/>
                <a:gd name="connsiteY14" fmla="*/ 499270 h 931863"/>
                <a:gd name="connsiteX15" fmla="*/ 847878 w 1304925"/>
                <a:gd name="connsiteY15" fmla="*/ 487906 h 931863"/>
                <a:gd name="connsiteX16" fmla="*/ 827778 w 1304925"/>
                <a:gd name="connsiteY16" fmla="*/ 463760 h 931863"/>
                <a:gd name="connsiteX17" fmla="*/ 808397 w 1304925"/>
                <a:gd name="connsiteY17" fmla="*/ 458788 h 931863"/>
                <a:gd name="connsiteX18" fmla="*/ 556420 w 1304925"/>
                <a:gd name="connsiteY18" fmla="*/ 336550 h 931863"/>
                <a:gd name="connsiteX19" fmla="*/ 515938 w 1304925"/>
                <a:gd name="connsiteY19" fmla="*/ 376680 h 931863"/>
                <a:gd name="connsiteX20" fmla="*/ 519489 w 1304925"/>
                <a:gd name="connsiteY20" fmla="*/ 394280 h 931863"/>
                <a:gd name="connsiteX21" fmla="*/ 542926 w 1304925"/>
                <a:gd name="connsiteY21" fmla="*/ 414697 h 931863"/>
                <a:gd name="connsiteX22" fmla="*/ 556420 w 1304925"/>
                <a:gd name="connsiteY22" fmla="*/ 417513 h 931863"/>
                <a:gd name="connsiteX23" fmla="*/ 583407 w 1304925"/>
                <a:gd name="connsiteY23" fmla="*/ 406953 h 931863"/>
                <a:gd name="connsiteX24" fmla="*/ 596901 w 1304925"/>
                <a:gd name="connsiteY24" fmla="*/ 379496 h 931863"/>
                <a:gd name="connsiteX25" fmla="*/ 596901 w 1304925"/>
                <a:gd name="connsiteY25" fmla="*/ 376680 h 931863"/>
                <a:gd name="connsiteX26" fmla="*/ 556420 w 1304925"/>
                <a:gd name="connsiteY26" fmla="*/ 336550 h 931863"/>
                <a:gd name="connsiteX27" fmla="*/ 1089384 w 1304925"/>
                <a:gd name="connsiteY27" fmla="*/ 233363 h 931863"/>
                <a:gd name="connsiteX28" fmla="*/ 1047750 w 1304925"/>
                <a:gd name="connsiteY28" fmla="*/ 274997 h 931863"/>
                <a:gd name="connsiteX29" fmla="*/ 1049186 w 1304925"/>
                <a:gd name="connsiteY29" fmla="*/ 286482 h 931863"/>
                <a:gd name="connsiteX30" fmla="*/ 1069285 w 1304925"/>
                <a:gd name="connsiteY30" fmla="*/ 310888 h 931863"/>
                <a:gd name="connsiteX31" fmla="*/ 1089384 w 1304925"/>
                <a:gd name="connsiteY31" fmla="*/ 315913 h 931863"/>
                <a:gd name="connsiteX32" fmla="*/ 1130300 w 1304925"/>
                <a:gd name="connsiteY32" fmla="*/ 274997 h 931863"/>
                <a:gd name="connsiteX33" fmla="*/ 1128865 w 1304925"/>
                <a:gd name="connsiteY33" fmla="*/ 264230 h 931863"/>
                <a:gd name="connsiteX34" fmla="*/ 1109483 w 1304925"/>
                <a:gd name="connsiteY34" fmla="*/ 239106 h 931863"/>
                <a:gd name="connsiteX35" fmla="*/ 1089384 w 1304925"/>
                <a:gd name="connsiteY35" fmla="*/ 233363 h 931863"/>
                <a:gd name="connsiteX36" fmla="*/ 1243013 w 1304925"/>
                <a:gd name="connsiteY36" fmla="*/ 215900 h 931863"/>
                <a:gd name="connsiteX37" fmla="*/ 1243013 w 1304925"/>
                <a:gd name="connsiteY37" fmla="*/ 869950 h 931863"/>
                <a:gd name="connsiteX38" fmla="*/ 61913 w 1304925"/>
                <a:gd name="connsiteY38" fmla="*/ 869950 h 931863"/>
                <a:gd name="connsiteX39" fmla="*/ 61913 w 1304925"/>
                <a:gd name="connsiteY39" fmla="*/ 797119 h 931863"/>
                <a:gd name="connsiteX40" fmla="*/ 283548 w 1304925"/>
                <a:gd name="connsiteY40" fmla="*/ 690015 h 931863"/>
                <a:gd name="connsiteX41" fmla="*/ 346464 w 1304925"/>
                <a:gd name="connsiteY41" fmla="*/ 711436 h 931863"/>
                <a:gd name="connsiteX42" fmla="*/ 450847 w 1304925"/>
                <a:gd name="connsiteY42" fmla="*/ 607902 h 931863"/>
                <a:gd name="connsiteX43" fmla="*/ 443697 w 1304925"/>
                <a:gd name="connsiteY43" fmla="*/ 570772 h 931863"/>
                <a:gd name="connsiteX44" fmla="*/ 528777 w 1304925"/>
                <a:gd name="connsiteY44" fmla="*/ 477949 h 931863"/>
                <a:gd name="connsiteX45" fmla="*/ 555945 w 1304925"/>
                <a:gd name="connsiteY45" fmla="*/ 481519 h 931863"/>
                <a:gd name="connsiteX46" fmla="*/ 618860 w 1304925"/>
                <a:gd name="connsiteY46" fmla="*/ 460098 h 931863"/>
                <a:gd name="connsiteX47" fmla="*/ 704655 w 1304925"/>
                <a:gd name="connsiteY47" fmla="*/ 501511 h 931863"/>
                <a:gd name="connsiteX48" fmla="*/ 809038 w 1304925"/>
                <a:gd name="connsiteY48" fmla="*/ 602904 h 931863"/>
                <a:gd name="connsiteX49" fmla="*/ 912706 w 1304925"/>
                <a:gd name="connsiteY49" fmla="*/ 499369 h 931863"/>
                <a:gd name="connsiteX50" fmla="*/ 910561 w 1304925"/>
                <a:gd name="connsiteY50" fmla="*/ 478663 h 931863"/>
                <a:gd name="connsiteX51" fmla="*/ 1047116 w 1304925"/>
                <a:gd name="connsiteY51" fmla="*/ 369416 h 931863"/>
                <a:gd name="connsiteX52" fmla="*/ 1090014 w 1304925"/>
                <a:gd name="connsiteY52" fmla="*/ 378699 h 931863"/>
                <a:gd name="connsiteX53" fmla="*/ 1193682 w 1304925"/>
                <a:gd name="connsiteY53" fmla="*/ 275164 h 931863"/>
                <a:gd name="connsiteX54" fmla="*/ 1191537 w 1304925"/>
                <a:gd name="connsiteY54" fmla="*/ 255886 h 931863"/>
                <a:gd name="connsiteX55" fmla="*/ 1274763 w 1304925"/>
                <a:gd name="connsiteY55" fmla="*/ 150813 h 931863"/>
                <a:gd name="connsiteX56" fmla="*/ 1243291 w 1304925"/>
                <a:gd name="connsiteY56" fmla="*/ 175076 h 931863"/>
                <a:gd name="connsiteX57" fmla="*/ 1155310 w 1304925"/>
                <a:gd name="connsiteY57" fmla="*/ 242870 h 931863"/>
                <a:gd name="connsiteX58" fmla="*/ 1162463 w 1304925"/>
                <a:gd name="connsiteY58" fmla="*/ 274269 h 931863"/>
                <a:gd name="connsiteX59" fmla="*/ 1090219 w 1304925"/>
                <a:gd name="connsiteY59" fmla="*/ 346345 h 931863"/>
                <a:gd name="connsiteX60" fmla="*/ 1044441 w 1304925"/>
                <a:gd name="connsiteY60" fmla="*/ 330645 h 931863"/>
                <a:gd name="connsiteX61" fmla="*/ 874202 w 1304925"/>
                <a:gd name="connsiteY61" fmla="*/ 466233 h 931863"/>
                <a:gd name="connsiteX62" fmla="*/ 881355 w 1304925"/>
                <a:gd name="connsiteY62" fmla="*/ 498346 h 931863"/>
                <a:gd name="connsiteX63" fmla="*/ 809111 w 1304925"/>
                <a:gd name="connsiteY63" fmla="*/ 570421 h 931863"/>
                <a:gd name="connsiteX64" fmla="*/ 736152 w 1304925"/>
                <a:gd name="connsiteY64" fmla="*/ 498346 h 931863"/>
                <a:gd name="connsiteX65" fmla="*/ 738298 w 1304925"/>
                <a:gd name="connsiteY65" fmla="*/ 481932 h 931863"/>
                <a:gd name="connsiteX66" fmla="*/ 613122 w 1304925"/>
                <a:gd name="connsiteY66" fmla="*/ 421275 h 931863"/>
                <a:gd name="connsiteX67" fmla="*/ 555899 w 1304925"/>
                <a:gd name="connsiteY67" fmla="*/ 449106 h 931863"/>
                <a:gd name="connsiteX68" fmla="*/ 520135 w 1304925"/>
                <a:gd name="connsiteY68" fmla="*/ 439115 h 931863"/>
                <a:gd name="connsiteX69" fmla="*/ 405689 w 1304925"/>
                <a:gd name="connsiteY69" fmla="*/ 564712 h 931863"/>
                <a:gd name="connsiteX70" fmla="*/ 419280 w 1304925"/>
                <a:gd name="connsiteY70" fmla="*/ 606816 h 931863"/>
                <a:gd name="connsiteX71" fmla="*/ 346320 w 1304925"/>
                <a:gd name="connsiteY71" fmla="*/ 678891 h 931863"/>
                <a:gd name="connsiteX72" fmla="*/ 289813 w 1304925"/>
                <a:gd name="connsiteY72" fmla="*/ 651060 h 931863"/>
                <a:gd name="connsiteX73" fmla="*/ 61636 w 1304925"/>
                <a:gd name="connsiteY73" fmla="*/ 760957 h 931863"/>
                <a:gd name="connsiteX74" fmla="*/ 30163 w 1304925"/>
                <a:gd name="connsiteY74" fmla="*/ 775943 h 931863"/>
                <a:gd name="connsiteX75" fmla="*/ 30163 w 1304925"/>
                <a:gd name="connsiteY75" fmla="*/ 900113 h 931863"/>
                <a:gd name="connsiteX76" fmla="*/ 1274763 w 1304925"/>
                <a:gd name="connsiteY76" fmla="*/ 900113 h 931863"/>
                <a:gd name="connsiteX77" fmla="*/ 1274763 w 1304925"/>
                <a:gd name="connsiteY77" fmla="*/ 150813 h 931863"/>
                <a:gd name="connsiteX78" fmla="*/ 30163 w 1304925"/>
                <a:gd name="connsiteY78" fmla="*/ 31750 h 931863"/>
                <a:gd name="connsiteX79" fmla="*/ 30163 w 1304925"/>
                <a:gd name="connsiteY79" fmla="*/ 741363 h 931863"/>
                <a:gd name="connsiteX80" fmla="*/ 61636 w 1304925"/>
                <a:gd name="connsiteY80" fmla="*/ 726386 h 931863"/>
                <a:gd name="connsiteX81" fmla="*/ 276222 w 1304925"/>
                <a:gd name="connsiteY81" fmla="*/ 623689 h 931863"/>
                <a:gd name="connsiteX82" fmla="*/ 274076 w 1304925"/>
                <a:gd name="connsiteY82" fmla="*/ 607286 h 931863"/>
                <a:gd name="connsiteX83" fmla="*/ 346320 w 1304925"/>
                <a:gd name="connsiteY83" fmla="*/ 534541 h 931863"/>
                <a:gd name="connsiteX84" fmla="*/ 382800 w 1304925"/>
                <a:gd name="connsiteY84" fmla="*/ 543813 h 931863"/>
                <a:gd name="connsiteX85" fmla="*/ 496531 w 1304925"/>
                <a:gd name="connsiteY85" fmla="*/ 419006 h 931863"/>
                <a:gd name="connsiteX86" fmla="*/ 483655 w 1304925"/>
                <a:gd name="connsiteY86" fmla="*/ 376929 h 931863"/>
                <a:gd name="connsiteX87" fmla="*/ 555899 w 1304925"/>
                <a:gd name="connsiteY87" fmla="*/ 304898 h 931863"/>
                <a:gd name="connsiteX88" fmla="*/ 628143 w 1304925"/>
                <a:gd name="connsiteY88" fmla="*/ 376929 h 931863"/>
                <a:gd name="connsiteX89" fmla="*/ 626713 w 1304925"/>
                <a:gd name="connsiteY89" fmla="*/ 394045 h 931863"/>
                <a:gd name="connsiteX90" fmla="*/ 751888 w 1304925"/>
                <a:gd name="connsiteY90" fmla="*/ 453952 h 931863"/>
                <a:gd name="connsiteX91" fmla="*/ 809111 w 1304925"/>
                <a:gd name="connsiteY91" fmla="*/ 426851 h 931863"/>
                <a:gd name="connsiteX92" fmla="*/ 854174 w 1304925"/>
                <a:gd name="connsiteY92" fmla="*/ 442541 h 931863"/>
                <a:gd name="connsiteX93" fmla="*/ 1025128 w 1304925"/>
                <a:gd name="connsiteY93" fmla="*/ 306324 h 931863"/>
                <a:gd name="connsiteX94" fmla="*/ 1017260 w 1304925"/>
                <a:gd name="connsiteY94" fmla="*/ 274944 h 931863"/>
                <a:gd name="connsiteX95" fmla="*/ 1090219 w 1304925"/>
                <a:gd name="connsiteY95" fmla="*/ 202200 h 931863"/>
                <a:gd name="connsiteX96" fmla="*/ 1135997 w 1304925"/>
                <a:gd name="connsiteY96" fmla="*/ 219316 h 931863"/>
                <a:gd name="connsiteX97" fmla="*/ 1243291 w 1304925"/>
                <a:gd name="connsiteY97" fmla="*/ 136587 h 931863"/>
                <a:gd name="connsiteX98" fmla="*/ 1271187 w 1304925"/>
                <a:gd name="connsiteY98" fmla="*/ 115192 h 931863"/>
                <a:gd name="connsiteX99" fmla="*/ 1274763 w 1304925"/>
                <a:gd name="connsiteY99" fmla="*/ 113053 h 931863"/>
                <a:gd name="connsiteX100" fmla="*/ 1274763 w 1304925"/>
                <a:gd name="connsiteY100" fmla="*/ 31750 h 931863"/>
                <a:gd name="connsiteX101" fmla="*/ 30163 w 1304925"/>
                <a:gd name="connsiteY101" fmla="*/ 31750 h 931863"/>
                <a:gd name="connsiteX102" fmla="*/ 15705 w 1304925"/>
                <a:gd name="connsiteY102" fmla="*/ 0 h 931863"/>
                <a:gd name="connsiteX103" fmla="*/ 1289220 w 1304925"/>
                <a:gd name="connsiteY103" fmla="*/ 0 h 931863"/>
                <a:gd name="connsiteX104" fmla="*/ 1304925 w 1304925"/>
                <a:gd name="connsiteY104" fmla="*/ 15698 h 931863"/>
                <a:gd name="connsiteX105" fmla="*/ 1304925 w 1304925"/>
                <a:gd name="connsiteY105" fmla="*/ 916166 h 931863"/>
                <a:gd name="connsiteX106" fmla="*/ 1289220 w 1304925"/>
                <a:gd name="connsiteY106" fmla="*/ 931863 h 931863"/>
                <a:gd name="connsiteX107" fmla="*/ 15705 w 1304925"/>
                <a:gd name="connsiteY107" fmla="*/ 931863 h 931863"/>
                <a:gd name="connsiteX108" fmla="*/ 0 w 1304925"/>
                <a:gd name="connsiteY108" fmla="*/ 916166 h 931863"/>
                <a:gd name="connsiteX109" fmla="*/ 0 w 1304925"/>
                <a:gd name="connsiteY109" fmla="*/ 15698 h 931863"/>
                <a:gd name="connsiteX110" fmla="*/ 15705 w 1304925"/>
                <a:gd name="connsiteY110"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304925" h="931863">
                  <a:moveTo>
                    <a:pt x="346518" y="566738"/>
                  </a:moveTo>
                  <a:cubicBezTo>
                    <a:pt x="324693" y="566738"/>
                    <a:pt x="306388" y="585043"/>
                    <a:pt x="306388" y="607572"/>
                  </a:cubicBezTo>
                  <a:cubicBezTo>
                    <a:pt x="306388" y="608276"/>
                    <a:pt x="306388" y="608980"/>
                    <a:pt x="306388" y="609684"/>
                  </a:cubicBezTo>
                  <a:cubicBezTo>
                    <a:pt x="307092" y="620244"/>
                    <a:pt x="312020" y="630805"/>
                    <a:pt x="319765" y="637141"/>
                  </a:cubicBezTo>
                  <a:cubicBezTo>
                    <a:pt x="326805" y="643477"/>
                    <a:pt x="336661" y="647701"/>
                    <a:pt x="346518" y="647701"/>
                  </a:cubicBezTo>
                  <a:cubicBezTo>
                    <a:pt x="369047" y="647701"/>
                    <a:pt x="387351" y="629396"/>
                    <a:pt x="387351" y="607572"/>
                  </a:cubicBezTo>
                  <a:cubicBezTo>
                    <a:pt x="387351" y="601235"/>
                    <a:pt x="385943" y="595603"/>
                    <a:pt x="383127" y="589971"/>
                  </a:cubicBezTo>
                  <a:cubicBezTo>
                    <a:pt x="378903" y="580115"/>
                    <a:pt x="370455" y="573074"/>
                    <a:pt x="360598" y="569554"/>
                  </a:cubicBezTo>
                  <a:cubicBezTo>
                    <a:pt x="356374" y="567442"/>
                    <a:pt x="351446" y="566738"/>
                    <a:pt x="346518" y="566738"/>
                  </a:cubicBezTo>
                  <a:close/>
                  <a:moveTo>
                    <a:pt x="808397" y="458788"/>
                  </a:moveTo>
                  <a:cubicBezTo>
                    <a:pt x="797630" y="458788"/>
                    <a:pt x="788298" y="462339"/>
                    <a:pt x="780402" y="468731"/>
                  </a:cubicBezTo>
                  <a:cubicBezTo>
                    <a:pt x="772506" y="475833"/>
                    <a:pt x="767481" y="485776"/>
                    <a:pt x="766763" y="497139"/>
                  </a:cubicBezTo>
                  <a:cubicBezTo>
                    <a:pt x="766763" y="497849"/>
                    <a:pt x="766763" y="498559"/>
                    <a:pt x="766763" y="499270"/>
                  </a:cubicBezTo>
                  <a:cubicBezTo>
                    <a:pt x="766763" y="521996"/>
                    <a:pt x="785427" y="539751"/>
                    <a:pt x="808397" y="539751"/>
                  </a:cubicBezTo>
                  <a:cubicBezTo>
                    <a:pt x="830650" y="539751"/>
                    <a:pt x="849313" y="521996"/>
                    <a:pt x="849313" y="499270"/>
                  </a:cubicBezTo>
                  <a:cubicBezTo>
                    <a:pt x="849313" y="495008"/>
                    <a:pt x="848595" y="491457"/>
                    <a:pt x="847878" y="487906"/>
                  </a:cubicBezTo>
                  <a:cubicBezTo>
                    <a:pt x="844288" y="477253"/>
                    <a:pt x="837110" y="468731"/>
                    <a:pt x="827778" y="463760"/>
                  </a:cubicBezTo>
                  <a:cubicBezTo>
                    <a:pt x="822036" y="460209"/>
                    <a:pt x="815575" y="458788"/>
                    <a:pt x="808397" y="458788"/>
                  </a:cubicBezTo>
                  <a:close/>
                  <a:moveTo>
                    <a:pt x="556420" y="336550"/>
                  </a:moveTo>
                  <a:cubicBezTo>
                    <a:pt x="533693" y="336550"/>
                    <a:pt x="515938" y="354855"/>
                    <a:pt x="515938" y="376680"/>
                  </a:cubicBezTo>
                  <a:cubicBezTo>
                    <a:pt x="515938" y="383016"/>
                    <a:pt x="517359" y="388648"/>
                    <a:pt x="519489" y="394280"/>
                  </a:cubicBezTo>
                  <a:cubicBezTo>
                    <a:pt x="524461" y="403433"/>
                    <a:pt x="532273" y="411177"/>
                    <a:pt x="542926" y="414697"/>
                  </a:cubicBezTo>
                  <a:cubicBezTo>
                    <a:pt x="547187" y="416809"/>
                    <a:pt x="551448" y="417513"/>
                    <a:pt x="556420" y="417513"/>
                  </a:cubicBezTo>
                  <a:cubicBezTo>
                    <a:pt x="567073" y="417513"/>
                    <a:pt x="576305" y="413289"/>
                    <a:pt x="583407" y="406953"/>
                  </a:cubicBezTo>
                  <a:cubicBezTo>
                    <a:pt x="591220" y="399912"/>
                    <a:pt x="596191" y="390056"/>
                    <a:pt x="596901" y="379496"/>
                  </a:cubicBezTo>
                  <a:cubicBezTo>
                    <a:pt x="596901" y="378088"/>
                    <a:pt x="596901" y="377384"/>
                    <a:pt x="596901" y="376680"/>
                  </a:cubicBezTo>
                  <a:cubicBezTo>
                    <a:pt x="596901" y="354855"/>
                    <a:pt x="579146" y="336550"/>
                    <a:pt x="556420" y="336550"/>
                  </a:cubicBezTo>
                  <a:close/>
                  <a:moveTo>
                    <a:pt x="1089384" y="233363"/>
                  </a:moveTo>
                  <a:cubicBezTo>
                    <a:pt x="1066414" y="233363"/>
                    <a:pt x="1047750" y="252027"/>
                    <a:pt x="1047750" y="274997"/>
                  </a:cubicBezTo>
                  <a:cubicBezTo>
                    <a:pt x="1047750" y="278586"/>
                    <a:pt x="1048468" y="282893"/>
                    <a:pt x="1049186" y="286482"/>
                  </a:cubicBezTo>
                  <a:cubicBezTo>
                    <a:pt x="1052775" y="296532"/>
                    <a:pt x="1059953" y="305864"/>
                    <a:pt x="1069285" y="310888"/>
                  </a:cubicBezTo>
                  <a:cubicBezTo>
                    <a:pt x="1075028" y="314477"/>
                    <a:pt x="1082206" y="315913"/>
                    <a:pt x="1089384" y="315913"/>
                  </a:cubicBezTo>
                  <a:cubicBezTo>
                    <a:pt x="1111637" y="315913"/>
                    <a:pt x="1130300" y="297250"/>
                    <a:pt x="1130300" y="274997"/>
                  </a:cubicBezTo>
                  <a:cubicBezTo>
                    <a:pt x="1130300" y="271408"/>
                    <a:pt x="1129582" y="267101"/>
                    <a:pt x="1128865" y="264230"/>
                  </a:cubicBezTo>
                  <a:cubicBezTo>
                    <a:pt x="1125993" y="253462"/>
                    <a:pt x="1118815" y="244131"/>
                    <a:pt x="1109483" y="239106"/>
                  </a:cubicBezTo>
                  <a:cubicBezTo>
                    <a:pt x="1103741" y="235517"/>
                    <a:pt x="1096562" y="233363"/>
                    <a:pt x="1089384" y="233363"/>
                  </a:cubicBezTo>
                  <a:close/>
                  <a:moveTo>
                    <a:pt x="1243013" y="215900"/>
                  </a:moveTo>
                  <a:cubicBezTo>
                    <a:pt x="1243013" y="215900"/>
                    <a:pt x="1243013" y="215900"/>
                    <a:pt x="1243013" y="869950"/>
                  </a:cubicBezTo>
                  <a:cubicBezTo>
                    <a:pt x="1243013" y="869950"/>
                    <a:pt x="1243013" y="869950"/>
                    <a:pt x="61913" y="869950"/>
                  </a:cubicBezTo>
                  <a:cubicBezTo>
                    <a:pt x="61913" y="869950"/>
                    <a:pt x="61913" y="869950"/>
                    <a:pt x="61913" y="797119"/>
                  </a:cubicBezTo>
                  <a:cubicBezTo>
                    <a:pt x="61913" y="797119"/>
                    <a:pt x="61913" y="797119"/>
                    <a:pt x="283548" y="690015"/>
                  </a:cubicBezTo>
                  <a:cubicBezTo>
                    <a:pt x="301422" y="703582"/>
                    <a:pt x="323586" y="711436"/>
                    <a:pt x="346464" y="711436"/>
                  </a:cubicBezTo>
                  <a:cubicBezTo>
                    <a:pt x="404375" y="711436"/>
                    <a:pt x="450847" y="665024"/>
                    <a:pt x="450847" y="607902"/>
                  </a:cubicBezTo>
                  <a:cubicBezTo>
                    <a:pt x="450847" y="595049"/>
                    <a:pt x="448702" y="582197"/>
                    <a:pt x="443697" y="570772"/>
                  </a:cubicBezTo>
                  <a:cubicBezTo>
                    <a:pt x="443697" y="570772"/>
                    <a:pt x="443697" y="570772"/>
                    <a:pt x="528777" y="477949"/>
                  </a:cubicBezTo>
                  <a:cubicBezTo>
                    <a:pt x="537356" y="480091"/>
                    <a:pt x="546650" y="481519"/>
                    <a:pt x="555945" y="481519"/>
                  </a:cubicBezTo>
                  <a:cubicBezTo>
                    <a:pt x="578823" y="481519"/>
                    <a:pt x="600987" y="473664"/>
                    <a:pt x="618860" y="460098"/>
                  </a:cubicBezTo>
                  <a:cubicBezTo>
                    <a:pt x="618860" y="460098"/>
                    <a:pt x="618860" y="460098"/>
                    <a:pt x="704655" y="501511"/>
                  </a:cubicBezTo>
                  <a:cubicBezTo>
                    <a:pt x="706085" y="557920"/>
                    <a:pt x="751841" y="602904"/>
                    <a:pt x="809038" y="602904"/>
                  </a:cubicBezTo>
                  <a:cubicBezTo>
                    <a:pt x="866234" y="602904"/>
                    <a:pt x="912706" y="556492"/>
                    <a:pt x="912706" y="499369"/>
                  </a:cubicBezTo>
                  <a:cubicBezTo>
                    <a:pt x="912706" y="492229"/>
                    <a:pt x="911991" y="485089"/>
                    <a:pt x="910561" y="478663"/>
                  </a:cubicBezTo>
                  <a:cubicBezTo>
                    <a:pt x="910561" y="478663"/>
                    <a:pt x="910561" y="478663"/>
                    <a:pt x="1047116" y="369416"/>
                  </a:cubicBezTo>
                  <a:cubicBezTo>
                    <a:pt x="1059986" y="375842"/>
                    <a:pt x="1075000" y="378699"/>
                    <a:pt x="1090014" y="378699"/>
                  </a:cubicBezTo>
                  <a:cubicBezTo>
                    <a:pt x="1147210" y="378699"/>
                    <a:pt x="1193682" y="332287"/>
                    <a:pt x="1193682" y="275164"/>
                  </a:cubicBezTo>
                  <a:cubicBezTo>
                    <a:pt x="1193682" y="268738"/>
                    <a:pt x="1192967" y="261598"/>
                    <a:pt x="1191537" y="255886"/>
                  </a:cubicBezTo>
                  <a:close/>
                  <a:moveTo>
                    <a:pt x="1274763" y="150813"/>
                  </a:moveTo>
                  <a:cubicBezTo>
                    <a:pt x="1274763" y="150813"/>
                    <a:pt x="1274763" y="150813"/>
                    <a:pt x="1243291" y="175076"/>
                  </a:cubicBezTo>
                  <a:cubicBezTo>
                    <a:pt x="1243291" y="175076"/>
                    <a:pt x="1243291" y="175076"/>
                    <a:pt x="1155310" y="242870"/>
                  </a:cubicBezTo>
                  <a:cubicBezTo>
                    <a:pt x="1160317" y="252861"/>
                    <a:pt x="1162463" y="262851"/>
                    <a:pt x="1162463" y="274269"/>
                  </a:cubicBezTo>
                  <a:cubicBezTo>
                    <a:pt x="1162463" y="314232"/>
                    <a:pt x="1130275" y="346345"/>
                    <a:pt x="1090219" y="346345"/>
                  </a:cubicBezTo>
                  <a:cubicBezTo>
                    <a:pt x="1072337" y="346345"/>
                    <a:pt x="1056601" y="340636"/>
                    <a:pt x="1044441" y="330645"/>
                  </a:cubicBezTo>
                  <a:cubicBezTo>
                    <a:pt x="1044441" y="330645"/>
                    <a:pt x="1044441" y="330645"/>
                    <a:pt x="874202" y="466233"/>
                  </a:cubicBezTo>
                  <a:cubicBezTo>
                    <a:pt x="878494" y="476223"/>
                    <a:pt x="881355" y="486928"/>
                    <a:pt x="881355" y="498346"/>
                  </a:cubicBezTo>
                  <a:cubicBezTo>
                    <a:pt x="881355" y="538308"/>
                    <a:pt x="849167" y="570421"/>
                    <a:pt x="809111" y="570421"/>
                  </a:cubicBezTo>
                  <a:cubicBezTo>
                    <a:pt x="769055" y="570421"/>
                    <a:pt x="736152" y="538308"/>
                    <a:pt x="736152" y="498346"/>
                  </a:cubicBezTo>
                  <a:cubicBezTo>
                    <a:pt x="736152" y="492637"/>
                    <a:pt x="736867" y="486928"/>
                    <a:pt x="738298" y="481932"/>
                  </a:cubicBezTo>
                  <a:cubicBezTo>
                    <a:pt x="738298" y="481932"/>
                    <a:pt x="738298" y="481932"/>
                    <a:pt x="613122" y="421275"/>
                  </a:cubicBezTo>
                  <a:cubicBezTo>
                    <a:pt x="599532" y="438402"/>
                    <a:pt x="578789" y="449106"/>
                    <a:pt x="555899" y="449106"/>
                  </a:cubicBezTo>
                  <a:cubicBezTo>
                    <a:pt x="543024" y="449106"/>
                    <a:pt x="530864" y="445538"/>
                    <a:pt x="520135" y="439115"/>
                  </a:cubicBezTo>
                  <a:cubicBezTo>
                    <a:pt x="520135" y="439115"/>
                    <a:pt x="520135" y="439115"/>
                    <a:pt x="405689" y="564712"/>
                  </a:cubicBezTo>
                  <a:cubicBezTo>
                    <a:pt x="414273" y="576844"/>
                    <a:pt x="419280" y="591116"/>
                    <a:pt x="419280" y="606816"/>
                  </a:cubicBezTo>
                  <a:cubicBezTo>
                    <a:pt x="419280" y="646778"/>
                    <a:pt x="386376" y="678891"/>
                    <a:pt x="346320" y="678891"/>
                  </a:cubicBezTo>
                  <a:cubicBezTo>
                    <a:pt x="323431" y="678891"/>
                    <a:pt x="302688" y="668187"/>
                    <a:pt x="289813" y="651060"/>
                  </a:cubicBezTo>
                  <a:cubicBezTo>
                    <a:pt x="289813" y="651060"/>
                    <a:pt x="289813" y="651060"/>
                    <a:pt x="61636" y="760957"/>
                  </a:cubicBezTo>
                  <a:cubicBezTo>
                    <a:pt x="61636" y="760957"/>
                    <a:pt x="61636" y="760957"/>
                    <a:pt x="30163" y="775943"/>
                  </a:cubicBezTo>
                  <a:cubicBezTo>
                    <a:pt x="30163" y="900113"/>
                    <a:pt x="30163" y="900113"/>
                    <a:pt x="30163" y="900113"/>
                  </a:cubicBezTo>
                  <a:cubicBezTo>
                    <a:pt x="1274763" y="900113"/>
                    <a:pt x="1274763" y="900113"/>
                    <a:pt x="1274763" y="900113"/>
                  </a:cubicBezTo>
                  <a:cubicBezTo>
                    <a:pt x="1274763" y="480505"/>
                    <a:pt x="1274763" y="263565"/>
                    <a:pt x="1274763" y="150813"/>
                  </a:cubicBezTo>
                  <a:close/>
                  <a:moveTo>
                    <a:pt x="30163" y="31750"/>
                  </a:moveTo>
                  <a:cubicBezTo>
                    <a:pt x="30163" y="406882"/>
                    <a:pt x="30163" y="620836"/>
                    <a:pt x="30163" y="741363"/>
                  </a:cubicBezTo>
                  <a:cubicBezTo>
                    <a:pt x="30163" y="741363"/>
                    <a:pt x="30163" y="741363"/>
                    <a:pt x="61636" y="726386"/>
                  </a:cubicBezTo>
                  <a:cubicBezTo>
                    <a:pt x="61636" y="726386"/>
                    <a:pt x="61636" y="726386"/>
                    <a:pt x="276222" y="623689"/>
                  </a:cubicBezTo>
                  <a:cubicBezTo>
                    <a:pt x="274792" y="617983"/>
                    <a:pt x="274076" y="612991"/>
                    <a:pt x="274076" y="607286"/>
                  </a:cubicBezTo>
                  <a:cubicBezTo>
                    <a:pt x="274076" y="567348"/>
                    <a:pt x="306264" y="534541"/>
                    <a:pt x="346320" y="534541"/>
                  </a:cubicBezTo>
                  <a:cubicBezTo>
                    <a:pt x="359911" y="534541"/>
                    <a:pt x="372071" y="538107"/>
                    <a:pt x="382800" y="543813"/>
                  </a:cubicBezTo>
                  <a:cubicBezTo>
                    <a:pt x="382800" y="543813"/>
                    <a:pt x="382800" y="543813"/>
                    <a:pt x="496531" y="419006"/>
                  </a:cubicBezTo>
                  <a:cubicBezTo>
                    <a:pt x="487947" y="406882"/>
                    <a:pt x="483655" y="392619"/>
                    <a:pt x="483655" y="376929"/>
                  </a:cubicBezTo>
                  <a:cubicBezTo>
                    <a:pt x="483655" y="336991"/>
                    <a:pt x="515843" y="304898"/>
                    <a:pt x="555899" y="304898"/>
                  </a:cubicBezTo>
                  <a:cubicBezTo>
                    <a:pt x="595956" y="304898"/>
                    <a:pt x="628143" y="336991"/>
                    <a:pt x="628143" y="376929"/>
                  </a:cubicBezTo>
                  <a:cubicBezTo>
                    <a:pt x="628143" y="382634"/>
                    <a:pt x="627428" y="388340"/>
                    <a:pt x="626713" y="394045"/>
                  </a:cubicBezTo>
                  <a:cubicBezTo>
                    <a:pt x="626713" y="394045"/>
                    <a:pt x="626713" y="394045"/>
                    <a:pt x="751888" y="453952"/>
                  </a:cubicBezTo>
                  <a:cubicBezTo>
                    <a:pt x="765479" y="437549"/>
                    <a:pt x="785507" y="426851"/>
                    <a:pt x="809111" y="426851"/>
                  </a:cubicBezTo>
                  <a:cubicBezTo>
                    <a:pt x="826278" y="426851"/>
                    <a:pt x="842014" y="432557"/>
                    <a:pt x="854174" y="442541"/>
                  </a:cubicBezTo>
                  <a:cubicBezTo>
                    <a:pt x="854174" y="442541"/>
                    <a:pt x="854174" y="442541"/>
                    <a:pt x="1025128" y="306324"/>
                  </a:cubicBezTo>
                  <a:cubicBezTo>
                    <a:pt x="1020121" y="297053"/>
                    <a:pt x="1017260" y="286355"/>
                    <a:pt x="1017260" y="274944"/>
                  </a:cubicBezTo>
                  <a:cubicBezTo>
                    <a:pt x="1017260" y="235006"/>
                    <a:pt x="1050163" y="202200"/>
                    <a:pt x="1090219" y="202200"/>
                  </a:cubicBezTo>
                  <a:cubicBezTo>
                    <a:pt x="1107386" y="202200"/>
                    <a:pt x="1123838" y="208618"/>
                    <a:pt x="1135997" y="219316"/>
                  </a:cubicBezTo>
                  <a:cubicBezTo>
                    <a:pt x="1135997" y="219316"/>
                    <a:pt x="1135997" y="219316"/>
                    <a:pt x="1243291" y="136587"/>
                  </a:cubicBezTo>
                  <a:cubicBezTo>
                    <a:pt x="1243291" y="136587"/>
                    <a:pt x="1243291" y="136587"/>
                    <a:pt x="1271187" y="115192"/>
                  </a:cubicBezTo>
                  <a:cubicBezTo>
                    <a:pt x="1271902" y="114479"/>
                    <a:pt x="1273333" y="113766"/>
                    <a:pt x="1274763" y="113053"/>
                  </a:cubicBezTo>
                  <a:cubicBezTo>
                    <a:pt x="1274763" y="31750"/>
                    <a:pt x="1274763" y="31750"/>
                    <a:pt x="1274763" y="31750"/>
                  </a:cubicBezTo>
                  <a:cubicBezTo>
                    <a:pt x="30163" y="31750"/>
                    <a:pt x="30163" y="31750"/>
                    <a:pt x="30163"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91" name="Group 90">
            <a:extLst>
              <a:ext uri="{FF2B5EF4-FFF2-40B4-BE49-F238E27FC236}">
                <a16:creationId xmlns:a16="http://schemas.microsoft.com/office/drawing/2014/main" id="{D9B20AFD-1870-4075-A348-2377845F267F}"/>
              </a:ext>
            </a:extLst>
          </p:cNvPr>
          <p:cNvGrpSpPr>
            <a:grpSpLocks noChangeAspect="1"/>
          </p:cNvGrpSpPr>
          <p:nvPr/>
        </p:nvGrpSpPr>
        <p:grpSpPr>
          <a:xfrm>
            <a:off x="4728346" y="4196901"/>
            <a:ext cx="823119" cy="822325"/>
            <a:chOff x="5272881" y="2606675"/>
            <a:chExt cx="1646238" cy="1644650"/>
          </a:xfrm>
        </p:grpSpPr>
        <p:sp>
          <p:nvSpPr>
            <p:cNvPr id="92" name="AutoShape 3">
              <a:extLst>
                <a:ext uri="{FF2B5EF4-FFF2-40B4-BE49-F238E27FC236}">
                  <a16:creationId xmlns:a16="http://schemas.microsoft.com/office/drawing/2014/main" id="{07355D7F-B14F-43C2-A568-DA344CD88AA5}"/>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8">
              <a:extLst>
                <a:ext uri="{FF2B5EF4-FFF2-40B4-BE49-F238E27FC236}">
                  <a16:creationId xmlns:a16="http://schemas.microsoft.com/office/drawing/2014/main" id="{3DD51B79-D7D9-4899-A9CF-2AE1FE19E0B6}"/>
                </a:ext>
              </a:extLst>
            </p:cNvPr>
            <p:cNvSpPr>
              <a:spLocks/>
            </p:cNvSpPr>
            <p:nvPr/>
          </p:nvSpPr>
          <p:spPr bwMode="auto">
            <a:xfrm>
              <a:off x="5442744" y="2962275"/>
              <a:ext cx="1306513" cy="931863"/>
            </a:xfrm>
            <a:custGeom>
              <a:avLst/>
              <a:gdLst>
                <a:gd name="connsiteX0" fmla="*/ 924442 w 1306513"/>
                <a:gd name="connsiteY0" fmla="*/ 836613 h 931863"/>
                <a:gd name="connsiteX1" fmla="*/ 1226621 w 1306513"/>
                <a:gd name="connsiteY1" fmla="*/ 836613 h 931863"/>
                <a:gd name="connsiteX2" fmla="*/ 1243013 w 1306513"/>
                <a:gd name="connsiteY2" fmla="*/ 853653 h 931863"/>
                <a:gd name="connsiteX3" fmla="*/ 1226621 w 1306513"/>
                <a:gd name="connsiteY3" fmla="*/ 869951 h 931863"/>
                <a:gd name="connsiteX4" fmla="*/ 924442 w 1306513"/>
                <a:gd name="connsiteY4" fmla="*/ 869951 h 931863"/>
                <a:gd name="connsiteX5" fmla="*/ 908050 w 1306513"/>
                <a:gd name="connsiteY5" fmla="*/ 853653 h 931863"/>
                <a:gd name="connsiteX6" fmla="*/ 924442 w 1306513"/>
                <a:gd name="connsiteY6" fmla="*/ 836613 h 931863"/>
                <a:gd name="connsiteX7" fmla="*/ 502244 w 1306513"/>
                <a:gd name="connsiteY7" fmla="*/ 836613 h 931863"/>
                <a:gd name="connsiteX8" fmla="*/ 805855 w 1306513"/>
                <a:gd name="connsiteY8" fmla="*/ 836613 h 931863"/>
                <a:gd name="connsiteX9" fmla="*/ 822325 w 1306513"/>
                <a:gd name="connsiteY9" fmla="*/ 853653 h 931863"/>
                <a:gd name="connsiteX10" fmla="*/ 805855 w 1306513"/>
                <a:gd name="connsiteY10" fmla="*/ 869951 h 931863"/>
                <a:gd name="connsiteX11" fmla="*/ 502244 w 1306513"/>
                <a:gd name="connsiteY11" fmla="*/ 869951 h 931863"/>
                <a:gd name="connsiteX12" fmla="*/ 485775 w 1306513"/>
                <a:gd name="connsiteY12" fmla="*/ 853653 h 931863"/>
                <a:gd name="connsiteX13" fmla="*/ 502244 w 1306513"/>
                <a:gd name="connsiteY13" fmla="*/ 836613 h 931863"/>
                <a:gd name="connsiteX14" fmla="*/ 79969 w 1306513"/>
                <a:gd name="connsiteY14" fmla="*/ 836613 h 931863"/>
                <a:gd name="connsiteX15" fmla="*/ 383580 w 1306513"/>
                <a:gd name="connsiteY15" fmla="*/ 836613 h 931863"/>
                <a:gd name="connsiteX16" fmla="*/ 400050 w 1306513"/>
                <a:gd name="connsiteY16" fmla="*/ 853653 h 931863"/>
                <a:gd name="connsiteX17" fmla="*/ 383580 w 1306513"/>
                <a:gd name="connsiteY17" fmla="*/ 869951 h 931863"/>
                <a:gd name="connsiteX18" fmla="*/ 79969 w 1306513"/>
                <a:gd name="connsiteY18" fmla="*/ 869951 h 931863"/>
                <a:gd name="connsiteX19" fmla="*/ 63500 w 1306513"/>
                <a:gd name="connsiteY19" fmla="*/ 853653 h 931863"/>
                <a:gd name="connsiteX20" fmla="*/ 79969 w 1306513"/>
                <a:gd name="connsiteY20" fmla="*/ 836613 h 931863"/>
                <a:gd name="connsiteX21" fmla="*/ 924487 w 1306513"/>
                <a:gd name="connsiteY21" fmla="*/ 762000 h 931863"/>
                <a:gd name="connsiteX22" fmla="*/ 1113864 w 1306513"/>
                <a:gd name="connsiteY22" fmla="*/ 762000 h 931863"/>
                <a:gd name="connsiteX23" fmla="*/ 1130300 w 1306513"/>
                <a:gd name="connsiteY23" fmla="*/ 777522 h 931863"/>
                <a:gd name="connsiteX24" fmla="*/ 1113864 w 1306513"/>
                <a:gd name="connsiteY24" fmla="*/ 793750 h 931863"/>
                <a:gd name="connsiteX25" fmla="*/ 924487 w 1306513"/>
                <a:gd name="connsiteY25" fmla="*/ 793750 h 931863"/>
                <a:gd name="connsiteX26" fmla="*/ 908050 w 1306513"/>
                <a:gd name="connsiteY26" fmla="*/ 777522 h 931863"/>
                <a:gd name="connsiteX27" fmla="*/ 924487 w 1306513"/>
                <a:gd name="connsiteY27" fmla="*/ 762000 h 931863"/>
                <a:gd name="connsiteX28" fmla="*/ 502211 w 1306513"/>
                <a:gd name="connsiteY28" fmla="*/ 762000 h 931863"/>
                <a:gd name="connsiteX29" fmla="*/ 691588 w 1306513"/>
                <a:gd name="connsiteY29" fmla="*/ 762000 h 931863"/>
                <a:gd name="connsiteX30" fmla="*/ 708025 w 1306513"/>
                <a:gd name="connsiteY30" fmla="*/ 777522 h 931863"/>
                <a:gd name="connsiteX31" fmla="*/ 691588 w 1306513"/>
                <a:gd name="connsiteY31" fmla="*/ 793750 h 931863"/>
                <a:gd name="connsiteX32" fmla="*/ 502211 w 1306513"/>
                <a:gd name="connsiteY32" fmla="*/ 793750 h 931863"/>
                <a:gd name="connsiteX33" fmla="*/ 485775 w 1306513"/>
                <a:gd name="connsiteY33" fmla="*/ 777522 h 931863"/>
                <a:gd name="connsiteX34" fmla="*/ 502211 w 1306513"/>
                <a:gd name="connsiteY34" fmla="*/ 762000 h 931863"/>
                <a:gd name="connsiteX35" fmla="*/ 79936 w 1306513"/>
                <a:gd name="connsiteY35" fmla="*/ 762000 h 931863"/>
                <a:gd name="connsiteX36" fmla="*/ 269313 w 1306513"/>
                <a:gd name="connsiteY36" fmla="*/ 762000 h 931863"/>
                <a:gd name="connsiteX37" fmla="*/ 285750 w 1306513"/>
                <a:gd name="connsiteY37" fmla="*/ 777522 h 931863"/>
                <a:gd name="connsiteX38" fmla="*/ 269313 w 1306513"/>
                <a:gd name="connsiteY38" fmla="*/ 793750 h 931863"/>
                <a:gd name="connsiteX39" fmla="*/ 79936 w 1306513"/>
                <a:gd name="connsiteY39" fmla="*/ 793750 h 931863"/>
                <a:gd name="connsiteX40" fmla="*/ 63500 w 1306513"/>
                <a:gd name="connsiteY40" fmla="*/ 777522 h 931863"/>
                <a:gd name="connsiteX41" fmla="*/ 79936 w 1306513"/>
                <a:gd name="connsiteY41" fmla="*/ 762000 h 931863"/>
                <a:gd name="connsiteX42" fmla="*/ 924442 w 1306513"/>
                <a:gd name="connsiteY42" fmla="*/ 681038 h 931863"/>
                <a:gd name="connsiteX43" fmla="*/ 1226621 w 1306513"/>
                <a:gd name="connsiteY43" fmla="*/ 681038 h 931863"/>
                <a:gd name="connsiteX44" fmla="*/ 1243013 w 1306513"/>
                <a:gd name="connsiteY44" fmla="*/ 697707 h 931863"/>
                <a:gd name="connsiteX45" fmla="*/ 1226621 w 1306513"/>
                <a:gd name="connsiteY45" fmla="*/ 714376 h 931863"/>
                <a:gd name="connsiteX46" fmla="*/ 924442 w 1306513"/>
                <a:gd name="connsiteY46" fmla="*/ 714376 h 931863"/>
                <a:gd name="connsiteX47" fmla="*/ 908050 w 1306513"/>
                <a:gd name="connsiteY47" fmla="*/ 697707 h 931863"/>
                <a:gd name="connsiteX48" fmla="*/ 924442 w 1306513"/>
                <a:gd name="connsiteY48" fmla="*/ 681038 h 931863"/>
                <a:gd name="connsiteX49" fmla="*/ 502244 w 1306513"/>
                <a:gd name="connsiteY49" fmla="*/ 681038 h 931863"/>
                <a:gd name="connsiteX50" fmla="*/ 805855 w 1306513"/>
                <a:gd name="connsiteY50" fmla="*/ 681038 h 931863"/>
                <a:gd name="connsiteX51" fmla="*/ 822325 w 1306513"/>
                <a:gd name="connsiteY51" fmla="*/ 697707 h 931863"/>
                <a:gd name="connsiteX52" fmla="*/ 805855 w 1306513"/>
                <a:gd name="connsiteY52" fmla="*/ 714376 h 931863"/>
                <a:gd name="connsiteX53" fmla="*/ 502244 w 1306513"/>
                <a:gd name="connsiteY53" fmla="*/ 714376 h 931863"/>
                <a:gd name="connsiteX54" fmla="*/ 485775 w 1306513"/>
                <a:gd name="connsiteY54" fmla="*/ 697707 h 931863"/>
                <a:gd name="connsiteX55" fmla="*/ 502244 w 1306513"/>
                <a:gd name="connsiteY55" fmla="*/ 681038 h 931863"/>
                <a:gd name="connsiteX56" fmla="*/ 79969 w 1306513"/>
                <a:gd name="connsiteY56" fmla="*/ 681038 h 931863"/>
                <a:gd name="connsiteX57" fmla="*/ 383580 w 1306513"/>
                <a:gd name="connsiteY57" fmla="*/ 681038 h 931863"/>
                <a:gd name="connsiteX58" fmla="*/ 400050 w 1306513"/>
                <a:gd name="connsiteY58" fmla="*/ 697707 h 931863"/>
                <a:gd name="connsiteX59" fmla="*/ 383580 w 1306513"/>
                <a:gd name="connsiteY59" fmla="*/ 714376 h 931863"/>
                <a:gd name="connsiteX60" fmla="*/ 79969 w 1306513"/>
                <a:gd name="connsiteY60" fmla="*/ 714376 h 931863"/>
                <a:gd name="connsiteX61" fmla="*/ 63500 w 1306513"/>
                <a:gd name="connsiteY61" fmla="*/ 697707 h 931863"/>
                <a:gd name="connsiteX62" fmla="*/ 79969 w 1306513"/>
                <a:gd name="connsiteY62" fmla="*/ 681038 h 931863"/>
                <a:gd name="connsiteX63" fmla="*/ 502230 w 1306513"/>
                <a:gd name="connsiteY63" fmla="*/ 595313 h 931863"/>
                <a:gd name="connsiteX64" fmla="*/ 788408 w 1306513"/>
                <a:gd name="connsiteY64" fmla="*/ 595313 h 931863"/>
                <a:gd name="connsiteX65" fmla="*/ 804863 w 1306513"/>
                <a:gd name="connsiteY65" fmla="*/ 611982 h 931863"/>
                <a:gd name="connsiteX66" fmla="*/ 788408 w 1306513"/>
                <a:gd name="connsiteY66" fmla="*/ 628651 h 931863"/>
                <a:gd name="connsiteX67" fmla="*/ 502230 w 1306513"/>
                <a:gd name="connsiteY67" fmla="*/ 628651 h 931863"/>
                <a:gd name="connsiteX68" fmla="*/ 485775 w 1306513"/>
                <a:gd name="connsiteY68" fmla="*/ 611982 h 931863"/>
                <a:gd name="connsiteX69" fmla="*/ 502230 w 1306513"/>
                <a:gd name="connsiteY69" fmla="*/ 595313 h 931863"/>
                <a:gd name="connsiteX70" fmla="*/ 79955 w 1306513"/>
                <a:gd name="connsiteY70" fmla="*/ 595313 h 931863"/>
                <a:gd name="connsiteX71" fmla="*/ 366133 w 1306513"/>
                <a:gd name="connsiteY71" fmla="*/ 595313 h 931863"/>
                <a:gd name="connsiteX72" fmla="*/ 382588 w 1306513"/>
                <a:gd name="connsiteY72" fmla="*/ 611982 h 931863"/>
                <a:gd name="connsiteX73" fmla="*/ 366133 w 1306513"/>
                <a:gd name="connsiteY73" fmla="*/ 628651 h 931863"/>
                <a:gd name="connsiteX74" fmla="*/ 79955 w 1306513"/>
                <a:gd name="connsiteY74" fmla="*/ 628651 h 931863"/>
                <a:gd name="connsiteX75" fmla="*/ 63500 w 1306513"/>
                <a:gd name="connsiteY75" fmla="*/ 611982 h 931863"/>
                <a:gd name="connsiteX76" fmla="*/ 79955 w 1306513"/>
                <a:gd name="connsiteY76" fmla="*/ 595313 h 931863"/>
                <a:gd name="connsiteX77" fmla="*/ 502244 w 1306513"/>
                <a:gd name="connsiteY77" fmla="*/ 512763 h 931863"/>
                <a:gd name="connsiteX78" fmla="*/ 805855 w 1306513"/>
                <a:gd name="connsiteY78" fmla="*/ 512763 h 931863"/>
                <a:gd name="connsiteX79" fmla="*/ 822325 w 1306513"/>
                <a:gd name="connsiteY79" fmla="*/ 528638 h 931863"/>
                <a:gd name="connsiteX80" fmla="*/ 805855 w 1306513"/>
                <a:gd name="connsiteY80" fmla="*/ 544513 h 931863"/>
                <a:gd name="connsiteX81" fmla="*/ 502244 w 1306513"/>
                <a:gd name="connsiteY81" fmla="*/ 544513 h 931863"/>
                <a:gd name="connsiteX82" fmla="*/ 485775 w 1306513"/>
                <a:gd name="connsiteY82" fmla="*/ 528638 h 931863"/>
                <a:gd name="connsiteX83" fmla="*/ 502244 w 1306513"/>
                <a:gd name="connsiteY83" fmla="*/ 512763 h 931863"/>
                <a:gd name="connsiteX84" fmla="*/ 1151218 w 1306513"/>
                <a:gd name="connsiteY84" fmla="*/ 481013 h 931863"/>
                <a:gd name="connsiteX85" fmla="*/ 1184724 w 1306513"/>
                <a:gd name="connsiteY85" fmla="*/ 481013 h 931863"/>
                <a:gd name="connsiteX86" fmla="*/ 1198563 w 1306513"/>
                <a:gd name="connsiteY86" fmla="*/ 496888 h 931863"/>
                <a:gd name="connsiteX87" fmla="*/ 1184724 w 1306513"/>
                <a:gd name="connsiteY87" fmla="*/ 512763 h 931863"/>
                <a:gd name="connsiteX88" fmla="*/ 1151218 w 1306513"/>
                <a:gd name="connsiteY88" fmla="*/ 512763 h 931863"/>
                <a:gd name="connsiteX89" fmla="*/ 1136650 w 1306513"/>
                <a:gd name="connsiteY89" fmla="*/ 496888 h 931863"/>
                <a:gd name="connsiteX90" fmla="*/ 1151218 w 1306513"/>
                <a:gd name="connsiteY90" fmla="*/ 481013 h 931863"/>
                <a:gd name="connsiteX91" fmla="*/ 952406 w 1306513"/>
                <a:gd name="connsiteY91" fmla="*/ 481013 h 931863"/>
                <a:gd name="connsiteX92" fmla="*/ 985053 w 1306513"/>
                <a:gd name="connsiteY92" fmla="*/ 481013 h 931863"/>
                <a:gd name="connsiteX93" fmla="*/ 998537 w 1306513"/>
                <a:gd name="connsiteY93" fmla="*/ 496888 h 931863"/>
                <a:gd name="connsiteX94" fmla="*/ 985053 w 1306513"/>
                <a:gd name="connsiteY94" fmla="*/ 512763 h 931863"/>
                <a:gd name="connsiteX95" fmla="*/ 952406 w 1306513"/>
                <a:gd name="connsiteY95" fmla="*/ 512763 h 931863"/>
                <a:gd name="connsiteX96" fmla="*/ 938212 w 1306513"/>
                <a:gd name="connsiteY96" fmla="*/ 496888 h 931863"/>
                <a:gd name="connsiteX97" fmla="*/ 952406 w 1306513"/>
                <a:gd name="connsiteY97" fmla="*/ 481013 h 931863"/>
                <a:gd name="connsiteX98" fmla="*/ 1166812 w 1306513"/>
                <a:gd name="connsiteY98" fmla="*/ 449263 h 931863"/>
                <a:gd name="connsiteX99" fmla="*/ 1119187 w 1306513"/>
                <a:gd name="connsiteY99" fmla="*/ 496888 h 931863"/>
                <a:gd name="connsiteX100" fmla="*/ 1166812 w 1306513"/>
                <a:gd name="connsiteY100" fmla="*/ 544513 h 931863"/>
                <a:gd name="connsiteX101" fmla="*/ 1214437 w 1306513"/>
                <a:gd name="connsiteY101" fmla="*/ 496888 h 931863"/>
                <a:gd name="connsiteX102" fmla="*/ 1166812 w 1306513"/>
                <a:gd name="connsiteY102" fmla="*/ 449263 h 931863"/>
                <a:gd name="connsiteX103" fmla="*/ 969169 w 1306513"/>
                <a:gd name="connsiteY103" fmla="*/ 449263 h 931863"/>
                <a:gd name="connsiteX104" fmla="*/ 922337 w 1306513"/>
                <a:gd name="connsiteY104" fmla="*/ 497246 h 931863"/>
                <a:gd name="connsiteX105" fmla="*/ 969169 w 1306513"/>
                <a:gd name="connsiteY105" fmla="*/ 544513 h 931863"/>
                <a:gd name="connsiteX106" fmla="*/ 1016000 w 1306513"/>
                <a:gd name="connsiteY106" fmla="*/ 497246 h 931863"/>
                <a:gd name="connsiteX107" fmla="*/ 969169 w 1306513"/>
                <a:gd name="connsiteY107" fmla="*/ 449263 h 931863"/>
                <a:gd name="connsiteX108" fmla="*/ 502213 w 1306513"/>
                <a:gd name="connsiteY108" fmla="*/ 428625 h 931863"/>
                <a:gd name="connsiteX109" fmla="*/ 813825 w 1306513"/>
                <a:gd name="connsiteY109" fmla="*/ 428625 h 931863"/>
                <a:gd name="connsiteX110" fmla="*/ 830263 w 1306513"/>
                <a:gd name="connsiteY110" fmla="*/ 445294 h 931863"/>
                <a:gd name="connsiteX111" fmla="*/ 813825 w 1306513"/>
                <a:gd name="connsiteY111" fmla="*/ 461963 h 931863"/>
                <a:gd name="connsiteX112" fmla="*/ 502213 w 1306513"/>
                <a:gd name="connsiteY112" fmla="*/ 461963 h 931863"/>
                <a:gd name="connsiteX113" fmla="*/ 485775 w 1306513"/>
                <a:gd name="connsiteY113" fmla="*/ 445294 h 931863"/>
                <a:gd name="connsiteX114" fmla="*/ 502213 w 1306513"/>
                <a:gd name="connsiteY114" fmla="*/ 428625 h 931863"/>
                <a:gd name="connsiteX115" fmla="*/ 79941 w 1306513"/>
                <a:gd name="connsiteY115" fmla="*/ 428625 h 931863"/>
                <a:gd name="connsiteX116" fmla="*/ 291533 w 1306513"/>
                <a:gd name="connsiteY116" fmla="*/ 428625 h 931863"/>
                <a:gd name="connsiteX117" fmla="*/ 307975 w 1306513"/>
                <a:gd name="connsiteY117" fmla="*/ 445294 h 931863"/>
                <a:gd name="connsiteX118" fmla="*/ 291533 w 1306513"/>
                <a:gd name="connsiteY118" fmla="*/ 461963 h 931863"/>
                <a:gd name="connsiteX119" fmla="*/ 79941 w 1306513"/>
                <a:gd name="connsiteY119" fmla="*/ 461963 h 931863"/>
                <a:gd name="connsiteX120" fmla="*/ 63500 w 1306513"/>
                <a:gd name="connsiteY120" fmla="*/ 445294 h 931863"/>
                <a:gd name="connsiteX121" fmla="*/ 79941 w 1306513"/>
                <a:gd name="connsiteY121" fmla="*/ 428625 h 931863"/>
                <a:gd name="connsiteX122" fmla="*/ 1133309 w 1306513"/>
                <a:gd name="connsiteY122" fmla="*/ 377825 h 931863"/>
                <a:gd name="connsiteX123" fmla="*/ 1067311 w 1306513"/>
                <a:gd name="connsiteY123" fmla="*/ 411474 h 931863"/>
                <a:gd name="connsiteX124" fmla="*/ 1002748 w 1306513"/>
                <a:gd name="connsiteY124" fmla="*/ 378541 h 931863"/>
                <a:gd name="connsiteX125" fmla="*/ 982662 w 1306513"/>
                <a:gd name="connsiteY125" fmla="*/ 418633 h 931863"/>
                <a:gd name="connsiteX126" fmla="*/ 1047225 w 1306513"/>
                <a:gd name="connsiteY126" fmla="*/ 496670 h 931863"/>
                <a:gd name="connsiteX127" fmla="*/ 1043638 w 1306513"/>
                <a:gd name="connsiteY127" fmla="*/ 520295 h 931863"/>
                <a:gd name="connsiteX128" fmla="*/ 1068029 w 1306513"/>
                <a:gd name="connsiteY128" fmla="*/ 523875 h 931863"/>
                <a:gd name="connsiteX129" fmla="*/ 1092419 w 1306513"/>
                <a:gd name="connsiteY129" fmla="*/ 520295 h 931863"/>
                <a:gd name="connsiteX130" fmla="*/ 1088115 w 1306513"/>
                <a:gd name="connsiteY130" fmla="*/ 496670 h 931863"/>
                <a:gd name="connsiteX131" fmla="*/ 1154112 w 1306513"/>
                <a:gd name="connsiteY131" fmla="*/ 418633 h 931863"/>
                <a:gd name="connsiteX132" fmla="*/ 1133309 w 1306513"/>
                <a:gd name="connsiteY132" fmla="*/ 377825 h 931863"/>
                <a:gd name="connsiteX133" fmla="*/ 79980 w 1306513"/>
                <a:gd name="connsiteY133" fmla="*/ 346075 h 931863"/>
                <a:gd name="connsiteX134" fmla="*/ 393095 w 1306513"/>
                <a:gd name="connsiteY134" fmla="*/ 346075 h 931863"/>
                <a:gd name="connsiteX135" fmla="*/ 409575 w 1306513"/>
                <a:gd name="connsiteY135" fmla="*/ 362744 h 931863"/>
                <a:gd name="connsiteX136" fmla="*/ 393095 w 1306513"/>
                <a:gd name="connsiteY136" fmla="*/ 379413 h 931863"/>
                <a:gd name="connsiteX137" fmla="*/ 79980 w 1306513"/>
                <a:gd name="connsiteY137" fmla="*/ 379413 h 931863"/>
                <a:gd name="connsiteX138" fmla="*/ 63500 w 1306513"/>
                <a:gd name="connsiteY138" fmla="*/ 362744 h 931863"/>
                <a:gd name="connsiteX139" fmla="*/ 79980 w 1306513"/>
                <a:gd name="connsiteY139" fmla="*/ 346075 h 931863"/>
                <a:gd name="connsiteX140" fmla="*/ 502244 w 1306513"/>
                <a:gd name="connsiteY140" fmla="*/ 344488 h 931863"/>
                <a:gd name="connsiteX141" fmla="*/ 805855 w 1306513"/>
                <a:gd name="connsiteY141" fmla="*/ 344488 h 931863"/>
                <a:gd name="connsiteX142" fmla="*/ 822325 w 1306513"/>
                <a:gd name="connsiteY142" fmla="*/ 360363 h 931863"/>
                <a:gd name="connsiteX143" fmla="*/ 805855 w 1306513"/>
                <a:gd name="connsiteY143" fmla="*/ 376238 h 931863"/>
                <a:gd name="connsiteX144" fmla="*/ 502244 w 1306513"/>
                <a:gd name="connsiteY144" fmla="*/ 376238 h 931863"/>
                <a:gd name="connsiteX145" fmla="*/ 485775 w 1306513"/>
                <a:gd name="connsiteY145" fmla="*/ 360363 h 931863"/>
                <a:gd name="connsiteX146" fmla="*/ 502244 w 1306513"/>
                <a:gd name="connsiteY146" fmla="*/ 344488 h 931863"/>
                <a:gd name="connsiteX147" fmla="*/ 1052419 w 1306513"/>
                <a:gd name="connsiteY147" fmla="*/ 317500 h 931863"/>
                <a:gd name="connsiteX148" fmla="*/ 1085066 w 1306513"/>
                <a:gd name="connsiteY148" fmla="*/ 317500 h 931863"/>
                <a:gd name="connsiteX149" fmla="*/ 1098550 w 1306513"/>
                <a:gd name="connsiteY149" fmla="*/ 333375 h 931863"/>
                <a:gd name="connsiteX150" fmla="*/ 1085066 w 1306513"/>
                <a:gd name="connsiteY150" fmla="*/ 349250 h 931863"/>
                <a:gd name="connsiteX151" fmla="*/ 1052419 w 1306513"/>
                <a:gd name="connsiteY151" fmla="*/ 349250 h 931863"/>
                <a:gd name="connsiteX152" fmla="*/ 1038225 w 1306513"/>
                <a:gd name="connsiteY152" fmla="*/ 333375 h 931863"/>
                <a:gd name="connsiteX153" fmla="*/ 1052419 w 1306513"/>
                <a:gd name="connsiteY153" fmla="*/ 317500 h 931863"/>
                <a:gd name="connsiteX154" fmla="*/ 1068387 w 1306513"/>
                <a:gd name="connsiteY154" fmla="*/ 285750 h 931863"/>
                <a:gd name="connsiteX155" fmla="*/ 1020762 w 1306513"/>
                <a:gd name="connsiteY155" fmla="*/ 333375 h 931863"/>
                <a:gd name="connsiteX156" fmla="*/ 1068387 w 1306513"/>
                <a:gd name="connsiteY156" fmla="*/ 381000 h 931863"/>
                <a:gd name="connsiteX157" fmla="*/ 1116012 w 1306513"/>
                <a:gd name="connsiteY157" fmla="*/ 333375 h 931863"/>
                <a:gd name="connsiteX158" fmla="*/ 1068387 w 1306513"/>
                <a:gd name="connsiteY158" fmla="*/ 285750 h 931863"/>
                <a:gd name="connsiteX159" fmla="*/ 502230 w 1306513"/>
                <a:gd name="connsiteY159" fmla="*/ 258763 h 931863"/>
                <a:gd name="connsiteX160" fmla="*/ 788408 w 1306513"/>
                <a:gd name="connsiteY160" fmla="*/ 258763 h 931863"/>
                <a:gd name="connsiteX161" fmla="*/ 804863 w 1306513"/>
                <a:gd name="connsiteY161" fmla="*/ 274638 h 931863"/>
                <a:gd name="connsiteX162" fmla="*/ 788408 w 1306513"/>
                <a:gd name="connsiteY162" fmla="*/ 290513 h 931863"/>
                <a:gd name="connsiteX163" fmla="*/ 502230 w 1306513"/>
                <a:gd name="connsiteY163" fmla="*/ 290513 h 931863"/>
                <a:gd name="connsiteX164" fmla="*/ 485775 w 1306513"/>
                <a:gd name="connsiteY164" fmla="*/ 274638 h 931863"/>
                <a:gd name="connsiteX165" fmla="*/ 502230 w 1306513"/>
                <a:gd name="connsiteY165" fmla="*/ 258763 h 931863"/>
                <a:gd name="connsiteX166" fmla="*/ 79955 w 1306513"/>
                <a:gd name="connsiteY166" fmla="*/ 258763 h 931863"/>
                <a:gd name="connsiteX167" fmla="*/ 366133 w 1306513"/>
                <a:gd name="connsiteY167" fmla="*/ 258763 h 931863"/>
                <a:gd name="connsiteX168" fmla="*/ 382588 w 1306513"/>
                <a:gd name="connsiteY168" fmla="*/ 274638 h 931863"/>
                <a:gd name="connsiteX169" fmla="*/ 366133 w 1306513"/>
                <a:gd name="connsiteY169" fmla="*/ 290513 h 931863"/>
                <a:gd name="connsiteX170" fmla="*/ 79955 w 1306513"/>
                <a:gd name="connsiteY170" fmla="*/ 290513 h 931863"/>
                <a:gd name="connsiteX171" fmla="*/ 63500 w 1306513"/>
                <a:gd name="connsiteY171" fmla="*/ 274638 h 931863"/>
                <a:gd name="connsiteX172" fmla="*/ 79955 w 1306513"/>
                <a:gd name="connsiteY172" fmla="*/ 258763 h 931863"/>
                <a:gd name="connsiteX173" fmla="*/ 1067673 w 1306513"/>
                <a:gd name="connsiteY173" fmla="*/ 254000 h 931863"/>
                <a:gd name="connsiteX174" fmla="*/ 1147647 w 1306513"/>
                <a:gd name="connsiteY174" fmla="*/ 332562 h 931863"/>
                <a:gd name="connsiteX175" fmla="*/ 1146219 w 1306513"/>
                <a:gd name="connsiteY175" fmla="*/ 346132 h 931863"/>
                <a:gd name="connsiteX176" fmla="*/ 1186207 w 1306513"/>
                <a:gd name="connsiteY176" fmla="*/ 419694 h 931863"/>
                <a:gd name="connsiteX177" fmla="*/ 1246187 w 1306513"/>
                <a:gd name="connsiteY177" fmla="*/ 496113 h 931863"/>
                <a:gd name="connsiteX178" fmla="*/ 1167641 w 1306513"/>
                <a:gd name="connsiteY178" fmla="*/ 574675 h 931863"/>
                <a:gd name="connsiteX179" fmla="*/ 1108374 w 1306513"/>
                <a:gd name="connsiteY179" fmla="*/ 547536 h 931863"/>
                <a:gd name="connsiteX180" fmla="*/ 1068387 w 1306513"/>
                <a:gd name="connsiteY180" fmla="*/ 554678 h 931863"/>
                <a:gd name="connsiteX181" fmla="*/ 1028400 w 1306513"/>
                <a:gd name="connsiteY181" fmla="*/ 547536 h 931863"/>
                <a:gd name="connsiteX182" fmla="*/ 969133 w 1306513"/>
                <a:gd name="connsiteY182" fmla="*/ 574675 h 931863"/>
                <a:gd name="connsiteX183" fmla="*/ 890587 w 1306513"/>
                <a:gd name="connsiteY183" fmla="*/ 496113 h 931863"/>
                <a:gd name="connsiteX184" fmla="*/ 951282 w 1306513"/>
                <a:gd name="connsiteY184" fmla="*/ 418980 h 931863"/>
                <a:gd name="connsiteX185" fmla="*/ 990555 w 1306513"/>
                <a:gd name="connsiteY185" fmla="*/ 346846 h 931863"/>
                <a:gd name="connsiteX186" fmla="*/ 989127 w 1306513"/>
                <a:gd name="connsiteY186" fmla="*/ 332562 h 931863"/>
                <a:gd name="connsiteX187" fmla="*/ 1067673 w 1306513"/>
                <a:gd name="connsiteY187" fmla="*/ 254000 h 931863"/>
                <a:gd name="connsiteX188" fmla="*/ 79928 w 1306513"/>
                <a:gd name="connsiteY188" fmla="*/ 146050 h 931863"/>
                <a:gd name="connsiteX189" fmla="*/ 596347 w 1306513"/>
                <a:gd name="connsiteY189" fmla="*/ 146050 h 931863"/>
                <a:gd name="connsiteX190" fmla="*/ 612775 w 1306513"/>
                <a:gd name="connsiteY190" fmla="*/ 161925 h 931863"/>
                <a:gd name="connsiteX191" fmla="*/ 596347 w 1306513"/>
                <a:gd name="connsiteY191" fmla="*/ 177800 h 931863"/>
                <a:gd name="connsiteX192" fmla="*/ 79928 w 1306513"/>
                <a:gd name="connsiteY192" fmla="*/ 177800 h 931863"/>
                <a:gd name="connsiteX193" fmla="*/ 63500 w 1306513"/>
                <a:gd name="connsiteY193" fmla="*/ 161925 h 931863"/>
                <a:gd name="connsiteX194" fmla="*/ 79928 w 1306513"/>
                <a:gd name="connsiteY194" fmla="*/ 146050 h 931863"/>
                <a:gd name="connsiteX195" fmla="*/ 79936 w 1306513"/>
                <a:gd name="connsiteY195" fmla="*/ 63500 h 931863"/>
                <a:gd name="connsiteX196" fmla="*/ 814542 w 1306513"/>
                <a:gd name="connsiteY196" fmla="*/ 63500 h 931863"/>
                <a:gd name="connsiteX197" fmla="*/ 830263 w 1306513"/>
                <a:gd name="connsiteY197" fmla="*/ 79022 h 931863"/>
                <a:gd name="connsiteX198" fmla="*/ 814542 w 1306513"/>
                <a:gd name="connsiteY198" fmla="*/ 95250 h 931863"/>
                <a:gd name="connsiteX199" fmla="*/ 79936 w 1306513"/>
                <a:gd name="connsiteY199" fmla="*/ 95250 h 931863"/>
                <a:gd name="connsiteX200" fmla="*/ 63500 w 1306513"/>
                <a:gd name="connsiteY200" fmla="*/ 79022 h 931863"/>
                <a:gd name="connsiteX201" fmla="*/ 79936 w 1306513"/>
                <a:gd name="connsiteY201" fmla="*/ 63500 h 931863"/>
                <a:gd name="connsiteX202" fmla="*/ 31750 w 1306513"/>
                <a:gd name="connsiteY202" fmla="*/ 31750 h 931863"/>
                <a:gd name="connsiteX203" fmla="*/ 31750 w 1306513"/>
                <a:gd name="connsiteY203" fmla="*/ 900113 h 931863"/>
                <a:gd name="connsiteX204" fmla="*/ 1274763 w 1306513"/>
                <a:gd name="connsiteY204" fmla="*/ 900113 h 931863"/>
                <a:gd name="connsiteX205" fmla="*/ 1274763 w 1306513"/>
                <a:gd name="connsiteY205" fmla="*/ 31750 h 931863"/>
                <a:gd name="connsiteX206" fmla="*/ 31750 w 1306513"/>
                <a:gd name="connsiteY206" fmla="*/ 31750 h 931863"/>
                <a:gd name="connsiteX207" fmla="*/ 15724 w 1306513"/>
                <a:gd name="connsiteY207" fmla="*/ 0 h 931863"/>
                <a:gd name="connsiteX208" fmla="*/ 1290789 w 1306513"/>
                <a:gd name="connsiteY208" fmla="*/ 0 h 931863"/>
                <a:gd name="connsiteX209" fmla="*/ 1306513 w 1306513"/>
                <a:gd name="connsiteY209" fmla="*/ 15698 h 931863"/>
                <a:gd name="connsiteX210" fmla="*/ 1306513 w 1306513"/>
                <a:gd name="connsiteY210" fmla="*/ 916166 h 931863"/>
                <a:gd name="connsiteX211" fmla="*/ 1290789 w 1306513"/>
                <a:gd name="connsiteY211" fmla="*/ 931863 h 931863"/>
                <a:gd name="connsiteX212" fmla="*/ 15724 w 1306513"/>
                <a:gd name="connsiteY212" fmla="*/ 931863 h 931863"/>
                <a:gd name="connsiteX213" fmla="*/ 0 w 1306513"/>
                <a:gd name="connsiteY213" fmla="*/ 916166 h 931863"/>
                <a:gd name="connsiteX214" fmla="*/ 0 w 1306513"/>
                <a:gd name="connsiteY214" fmla="*/ 15698 h 931863"/>
                <a:gd name="connsiteX215" fmla="*/ 15724 w 1306513"/>
                <a:gd name="connsiteY215"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1306513" h="931863">
                  <a:moveTo>
                    <a:pt x="924442" y="836613"/>
                  </a:moveTo>
                  <a:cubicBezTo>
                    <a:pt x="924442" y="836613"/>
                    <a:pt x="924442" y="836613"/>
                    <a:pt x="1226621" y="836613"/>
                  </a:cubicBezTo>
                  <a:cubicBezTo>
                    <a:pt x="1235886" y="836613"/>
                    <a:pt x="1243013" y="844022"/>
                    <a:pt x="1243013" y="853653"/>
                  </a:cubicBezTo>
                  <a:cubicBezTo>
                    <a:pt x="1243013" y="862543"/>
                    <a:pt x="1235886" y="869951"/>
                    <a:pt x="1226621" y="869951"/>
                  </a:cubicBezTo>
                  <a:cubicBezTo>
                    <a:pt x="1226621" y="869951"/>
                    <a:pt x="1226621" y="869951"/>
                    <a:pt x="924442" y="869951"/>
                  </a:cubicBezTo>
                  <a:cubicBezTo>
                    <a:pt x="915177" y="869951"/>
                    <a:pt x="908050" y="862543"/>
                    <a:pt x="908050" y="853653"/>
                  </a:cubicBezTo>
                  <a:cubicBezTo>
                    <a:pt x="908050" y="844022"/>
                    <a:pt x="915177" y="836613"/>
                    <a:pt x="924442" y="836613"/>
                  </a:cubicBezTo>
                  <a:close/>
                  <a:moveTo>
                    <a:pt x="502244" y="836613"/>
                  </a:moveTo>
                  <a:cubicBezTo>
                    <a:pt x="502244" y="836613"/>
                    <a:pt x="502244" y="836613"/>
                    <a:pt x="805855" y="836613"/>
                  </a:cubicBezTo>
                  <a:cubicBezTo>
                    <a:pt x="815164" y="836613"/>
                    <a:pt x="822325" y="844022"/>
                    <a:pt x="822325" y="853653"/>
                  </a:cubicBezTo>
                  <a:cubicBezTo>
                    <a:pt x="822325" y="862543"/>
                    <a:pt x="815164" y="869951"/>
                    <a:pt x="805855" y="869951"/>
                  </a:cubicBezTo>
                  <a:cubicBezTo>
                    <a:pt x="805855" y="869951"/>
                    <a:pt x="805855" y="869951"/>
                    <a:pt x="502244" y="869951"/>
                  </a:cubicBezTo>
                  <a:cubicBezTo>
                    <a:pt x="492219" y="869951"/>
                    <a:pt x="485775" y="862543"/>
                    <a:pt x="485775" y="853653"/>
                  </a:cubicBezTo>
                  <a:cubicBezTo>
                    <a:pt x="485775" y="844022"/>
                    <a:pt x="492219" y="836613"/>
                    <a:pt x="502244" y="836613"/>
                  </a:cubicBezTo>
                  <a:close/>
                  <a:moveTo>
                    <a:pt x="79969" y="836613"/>
                  </a:moveTo>
                  <a:cubicBezTo>
                    <a:pt x="79969" y="836613"/>
                    <a:pt x="79969" y="836613"/>
                    <a:pt x="383580" y="836613"/>
                  </a:cubicBezTo>
                  <a:cubicBezTo>
                    <a:pt x="393605" y="836613"/>
                    <a:pt x="400050" y="844022"/>
                    <a:pt x="400050" y="853653"/>
                  </a:cubicBezTo>
                  <a:cubicBezTo>
                    <a:pt x="400050" y="862543"/>
                    <a:pt x="393605" y="869951"/>
                    <a:pt x="383580" y="869951"/>
                  </a:cubicBezTo>
                  <a:cubicBezTo>
                    <a:pt x="383580" y="869951"/>
                    <a:pt x="383580" y="869951"/>
                    <a:pt x="79969" y="869951"/>
                  </a:cubicBezTo>
                  <a:cubicBezTo>
                    <a:pt x="71376" y="869951"/>
                    <a:pt x="63500" y="862543"/>
                    <a:pt x="63500" y="853653"/>
                  </a:cubicBezTo>
                  <a:cubicBezTo>
                    <a:pt x="63500" y="844022"/>
                    <a:pt x="71376" y="836613"/>
                    <a:pt x="79969" y="836613"/>
                  </a:cubicBezTo>
                  <a:close/>
                  <a:moveTo>
                    <a:pt x="924487" y="762000"/>
                  </a:moveTo>
                  <a:cubicBezTo>
                    <a:pt x="924487" y="762000"/>
                    <a:pt x="924487" y="762000"/>
                    <a:pt x="1113864" y="762000"/>
                  </a:cubicBezTo>
                  <a:cubicBezTo>
                    <a:pt x="1123154" y="762000"/>
                    <a:pt x="1130300" y="769056"/>
                    <a:pt x="1130300" y="777522"/>
                  </a:cubicBezTo>
                  <a:cubicBezTo>
                    <a:pt x="1130300" y="786695"/>
                    <a:pt x="1123154" y="793750"/>
                    <a:pt x="1113864" y="793750"/>
                  </a:cubicBezTo>
                  <a:cubicBezTo>
                    <a:pt x="1113864" y="793750"/>
                    <a:pt x="1113864" y="793750"/>
                    <a:pt x="924487" y="793750"/>
                  </a:cubicBezTo>
                  <a:cubicBezTo>
                    <a:pt x="915197" y="793750"/>
                    <a:pt x="908050" y="786695"/>
                    <a:pt x="908050" y="777522"/>
                  </a:cubicBezTo>
                  <a:cubicBezTo>
                    <a:pt x="908050" y="769056"/>
                    <a:pt x="915197" y="762000"/>
                    <a:pt x="924487" y="762000"/>
                  </a:cubicBezTo>
                  <a:close/>
                  <a:moveTo>
                    <a:pt x="502211" y="762000"/>
                  </a:moveTo>
                  <a:cubicBezTo>
                    <a:pt x="502211" y="762000"/>
                    <a:pt x="502211" y="762000"/>
                    <a:pt x="691588" y="762000"/>
                  </a:cubicBezTo>
                  <a:cubicBezTo>
                    <a:pt x="700164" y="762000"/>
                    <a:pt x="708025" y="769056"/>
                    <a:pt x="708025" y="777522"/>
                  </a:cubicBezTo>
                  <a:cubicBezTo>
                    <a:pt x="708025" y="786695"/>
                    <a:pt x="700164" y="793750"/>
                    <a:pt x="691588" y="793750"/>
                  </a:cubicBezTo>
                  <a:cubicBezTo>
                    <a:pt x="691588" y="793750"/>
                    <a:pt x="691588" y="793750"/>
                    <a:pt x="502211" y="793750"/>
                  </a:cubicBezTo>
                  <a:cubicBezTo>
                    <a:pt x="492206" y="793750"/>
                    <a:pt x="485775" y="786695"/>
                    <a:pt x="485775" y="777522"/>
                  </a:cubicBezTo>
                  <a:cubicBezTo>
                    <a:pt x="485775" y="769056"/>
                    <a:pt x="492206" y="762000"/>
                    <a:pt x="502211" y="762000"/>
                  </a:cubicBezTo>
                  <a:close/>
                  <a:moveTo>
                    <a:pt x="79936" y="762000"/>
                  </a:moveTo>
                  <a:cubicBezTo>
                    <a:pt x="79936" y="762000"/>
                    <a:pt x="79936" y="762000"/>
                    <a:pt x="269313" y="762000"/>
                  </a:cubicBezTo>
                  <a:cubicBezTo>
                    <a:pt x="278603" y="762000"/>
                    <a:pt x="285750" y="769056"/>
                    <a:pt x="285750" y="777522"/>
                  </a:cubicBezTo>
                  <a:cubicBezTo>
                    <a:pt x="285750" y="786695"/>
                    <a:pt x="278603" y="793750"/>
                    <a:pt x="269313" y="793750"/>
                  </a:cubicBezTo>
                  <a:cubicBezTo>
                    <a:pt x="269313" y="793750"/>
                    <a:pt x="269313" y="793750"/>
                    <a:pt x="79936" y="793750"/>
                  </a:cubicBezTo>
                  <a:cubicBezTo>
                    <a:pt x="71361" y="793750"/>
                    <a:pt x="63500" y="786695"/>
                    <a:pt x="63500" y="777522"/>
                  </a:cubicBezTo>
                  <a:cubicBezTo>
                    <a:pt x="63500" y="769056"/>
                    <a:pt x="71361" y="762000"/>
                    <a:pt x="79936" y="762000"/>
                  </a:cubicBezTo>
                  <a:close/>
                  <a:moveTo>
                    <a:pt x="924442" y="681038"/>
                  </a:moveTo>
                  <a:cubicBezTo>
                    <a:pt x="924442" y="681038"/>
                    <a:pt x="924442" y="681038"/>
                    <a:pt x="1226621" y="681038"/>
                  </a:cubicBezTo>
                  <a:cubicBezTo>
                    <a:pt x="1235886" y="681038"/>
                    <a:pt x="1243013" y="689010"/>
                    <a:pt x="1243013" y="697707"/>
                  </a:cubicBezTo>
                  <a:cubicBezTo>
                    <a:pt x="1243013" y="706404"/>
                    <a:pt x="1235886" y="714376"/>
                    <a:pt x="1226621" y="714376"/>
                  </a:cubicBezTo>
                  <a:cubicBezTo>
                    <a:pt x="1226621" y="714376"/>
                    <a:pt x="1226621" y="714376"/>
                    <a:pt x="924442" y="714376"/>
                  </a:cubicBezTo>
                  <a:cubicBezTo>
                    <a:pt x="915177" y="714376"/>
                    <a:pt x="908050" y="706404"/>
                    <a:pt x="908050" y="697707"/>
                  </a:cubicBezTo>
                  <a:cubicBezTo>
                    <a:pt x="908050" y="689010"/>
                    <a:pt x="915177" y="681038"/>
                    <a:pt x="924442" y="681038"/>
                  </a:cubicBezTo>
                  <a:close/>
                  <a:moveTo>
                    <a:pt x="502244" y="681038"/>
                  </a:moveTo>
                  <a:cubicBezTo>
                    <a:pt x="502244" y="681038"/>
                    <a:pt x="502244" y="681038"/>
                    <a:pt x="805855" y="681038"/>
                  </a:cubicBezTo>
                  <a:cubicBezTo>
                    <a:pt x="815164" y="681038"/>
                    <a:pt x="822325" y="689010"/>
                    <a:pt x="822325" y="697707"/>
                  </a:cubicBezTo>
                  <a:cubicBezTo>
                    <a:pt x="822325" y="706404"/>
                    <a:pt x="815164" y="714376"/>
                    <a:pt x="805855" y="714376"/>
                  </a:cubicBezTo>
                  <a:cubicBezTo>
                    <a:pt x="805855" y="714376"/>
                    <a:pt x="805855" y="714376"/>
                    <a:pt x="502244" y="714376"/>
                  </a:cubicBezTo>
                  <a:cubicBezTo>
                    <a:pt x="492219" y="714376"/>
                    <a:pt x="485775" y="706404"/>
                    <a:pt x="485775" y="697707"/>
                  </a:cubicBezTo>
                  <a:cubicBezTo>
                    <a:pt x="485775" y="689010"/>
                    <a:pt x="492219" y="681038"/>
                    <a:pt x="502244" y="681038"/>
                  </a:cubicBezTo>
                  <a:close/>
                  <a:moveTo>
                    <a:pt x="79969" y="681038"/>
                  </a:moveTo>
                  <a:cubicBezTo>
                    <a:pt x="79969" y="681038"/>
                    <a:pt x="79969" y="681038"/>
                    <a:pt x="383580" y="681038"/>
                  </a:cubicBezTo>
                  <a:cubicBezTo>
                    <a:pt x="393605" y="681038"/>
                    <a:pt x="400050" y="689010"/>
                    <a:pt x="400050" y="697707"/>
                  </a:cubicBezTo>
                  <a:cubicBezTo>
                    <a:pt x="400050" y="706404"/>
                    <a:pt x="393605" y="714376"/>
                    <a:pt x="383580" y="714376"/>
                  </a:cubicBezTo>
                  <a:cubicBezTo>
                    <a:pt x="383580" y="714376"/>
                    <a:pt x="383580" y="714376"/>
                    <a:pt x="79969" y="714376"/>
                  </a:cubicBezTo>
                  <a:cubicBezTo>
                    <a:pt x="71376" y="714376"/>
                    <a:pt x="63500" y="706404"/>
                    <a:pt x="63500" y="697707"/>
                  </a:cubicBezTo>
                  <a:cubicBezTo>
                    <a:pt x="63500" y="689010"/>
                    <a:pt x="71376" y="681038"/>
                    <a:pt x="79969" y="681038"/>
                  </a:cubicBezTo>
                  <a:close/>
                  <a:moveTo>
                    <a:pt x="502230" y="595313"/>
                  </a:moveTo>
                  <a:cubicBezTo>
                    <a:pt x="502230" y="595313"/>
                    <a:pt x="502230" y="595313"/>
                    <a:pt x="788408" y="595313"/>
                  </a:cubicBezTo>
                  <a:cubicBezTo>
                    <a:pt x="796993" y="595313"/>
                    <a:pt x="804863" y="603285"/>
                    <a:pt x="804863" y="611982"/>
                  </a:cubicBezTo>
                  <a:cubicBezTo>
                    <a:pt x="804863" y="621404"/>
                    <a:pt x="796993" y="628651"/>
                    <a:pt x="788408" y="628651"/>
                  </a:cubicBezTo>
                  <a:cubicBezTo>
                    <a:pt x="788408" y="628651"/>
                    <a:pt x="788408" y="628651"/>
                    <a:pt x="502230" y="628651"/>
                  </a:cubicBezTo>
                  <a:cubicBezTo>
                    <a:pt x="492214" y="628651"/>
                    <a:pt x="485775" y="621404"/>
                    <a:pt x="485775" y="611982"/>
                  </a:cubicBezTo>
                  <a:cubicBezTo>
                    <a:pt x="485775" y="603285"/>
                    <a:pt x="492214" y="595313"/>
                    <a:pt x="502230" y="595313"/>
                  </a:cubicBezTo>
                  <a:close/>
                  <a:moveTo>
                    <a:pt x="79955" y="595313"/>
                  </a:moveTo>
                  <a:cubicBezTo>
                    <a:pt x="79955" y="595313"/>
                    <a:pt x="79955" y="595313"/>
                    <a:pt x="366133" y="595313"/>
                  </a:cubicBezTo>
                  <a:cubicBezTo>
                    <a:pt x="375433" y="595313"/>
                    <a:pt x="382588" y="603285"/>
                    <a:pt x="382588" y="611982"/>
                  </a:cubicBezTo>
                  <a:cubicBezTo>
                    <a:pt x="382588" y="621404"/>
                    <a:pt x="375433" y="628651"/>
                    <a:pt x="366133" y="628651"/>
                  </a:cubicBezTo>
                  <a:cubicBezTo>
                    <a:pt x="366133" y="628651"/>
                    <a:pt x="366133" y="628651"/>
                    <a:pt x="79955" y="628651"/>
                  </a:cubicBezTo>
                  <a:cubicBezTo>
                    <a:pt x="71370" y="628651"/>
                    <a:pt x="63500" y="621404"/>
                    <a:pt x="63500" y="611982"/>
                  </a:cubicBezTo>
                  <a:cubicBezTo>
                    <a:pt x="63500" y="603285"/>
                    <a:pt x="71370" y="595313"/>
                    <a:pt x="79955" y="595313"/>
                  </a:cubicBezTo>
                  <a:close/>
                  <a:moveTo>
                    <a:pt x="502244" y="512763"/>
                  </a:moveTo>
                  <a:cubicBezTo>
                    <a:pt x="502244" y="512763"/>
                    <a:pt x="502244" y="512763"/>
                    <a:pt x="805855" y="512763"/>
                  </a:cubicBezTo>
                  <a:cubicBezTo>
                    <a:pt x="815164" y="512763"/>
                    <a:pt x="822325" y="519665"/>
                    <a:pt x="822325" y="528638"/>
                  </a:cubicBezTo>
                  <a:cubicBezTo>
                    <a:pt x="822325" y="536921"/>
                    <a:pt x="815164" y="544513"/>
                    <a:pt x="805855" y="544513"/>
                  </a:cubicBezTo>
                  <a:cubicBezTo>
                    <a:pt x="805855" y="544513"/>
                    <a:pt x="805855" y="544513"/>
                    <a:pt x="502244" y="544513"/>
                  </a:cubicBezTo>
                  <a:cubicBezTo>
                    <a:pt x="492219" y="544513"/>
                    <a:pt x="485775" y="536921"/>
                    <a:pt x="485775" y="528638"/>
                  </a:cubicBezTo>
                  <a:cubicBezTo>
                    <a:pt x="485775" y="519665"/>
                    <a:pt x="492219" y="512763"/>
                    <a:pt x="502244" y="512763"/>
                  </a:cubicBezTo>
                  <a:close/>
                  <a:moveTo>
                    <a:pt x="1151218" y="481013"/>
                  </a:moveTo>
                  <a:cubicBezTo>
                    <a:pt x="1151218" y="481013"/>
                    <a:pt x="1151218" y="481013"/>
                    <a:pt x="1184724" y="481013"/>
                  </a:cubicBezTo>
                  <a:cubicBezTo>
                    <a:pt x="1192008" y="481013"/>
                    <a:pt x="1198563" y="488229"/>
                    <a:pt x="1198563" y="496888"/>
                  </a:cubicBezTo>
                  <a:cubicBezTo>
                    <a:pt x="1198563" y="505547"/>
                    <a:pt x="1192008" y="512763"/>
                    <a:pt x="1184724" y="512763"/>
                  </a:cubicBezTo>
                  <a:cubicBezTo>
                    <a:pt x="1184724" y="512763"/>
                    <a:pt x="1184724" y="512763"/>
                    <a:pt x="1151218" y="512763"/>
                  </a:cubicBezTo>
                  <a:cubicBezTo>
                    <a:pt x="1143206" y="512763"/>
                    <a:pt x="1136650" y="505547"/>
                    <a:pt x="1136650" y="496888"/>
                  </a:cubicBezTo>
                  <a:cubicBezTo>
                    <a:pt x="1136650" y="488229"/>
                    <a:pt x="1143206" y="481013"/>
                    <a:pt x="1151218" y="481013"/>
                  </a:cubicBezTo>
                  <a:close/>
                  <a:moveTo>
                    <a:pt x="952406" y="481013"/>
                  </a:moveTo>
                  <a:cubicBezTo>
                    <a:pt x="952406" y="481013"/>
                    <a:pt x="952406" y="481013"/>
                    <a:pt x="985053" y="481013"/>
                  </a:cubicBezTo>
                  <a:cubicBezTo>
                    <a:pt x="992860" y="481013"/>
                    <a:pt x="998537" y="488229"/>
                    <a:pt x="998537" y="496888"/>
                  </a:cubicBezTo>
                  <a:cubicBezTo>
                    <a:pt x="998537" y="505547"/>
                    <a:pt x="992860" y="512763"/>
                    <a:pt x="985053" y="512763"/>
                  </a:cubicBezTo>
                  <a:cubicBezTo>
                    <a:pt x="985053" y="512763"/>
                    <a:pt x="985053" y="512763"/>
                    <a:pt x="952406" y="512763"/>
                  </a:cubicBezTo>
                  <a:cubicBezTo>
                    <a:pt x="944600" y="512763"/>
                    <a:pt x="938212" y="505547"/>
                    <a:pt x="938212" y="496888"/>
                  </a:cubicBezTo>
                  <a:cubicBezTo>
                    <a:pt x="938212" y="488229"/>
                    <a:pt x="944600" y="481013"/>
                    <a:pt x="952406" y="481013"/>
                  </a:cubicBezTo>
                  <a:close/>
                  <a:moveTo>
                    <a:pt x="1166812" y="449263"/>
                  </a:moveTo>
                  <a:cubicBezTo>
                    <a:pt x="1140509" y="449263"/>
                    <a:pt x="1119187" y="470585"/>
                    <a:pt x="1119187" y="496888"/>
                  </a:cubicBezTo>
                  <a:cubicBezTo>
                    <a:pt x="1119187" y="523191"/>
                    <a:pt x="1140509" y="544513"/>
                    <a:pt x="1166812" y="544513"/>
                  </a:cubicBezTo>
                  <a:cubicBezTo>
                    <a:pt x="1193115" y="544513"/>
                    <a:pt x="1214437" y="523191"/>
                    <a:pt x="1214437" y="496888"/>
                  </a:cubicBezTo>
                  <a:cubicBezTo>
                    <a:pt x="1214437" y="470585"/>
                    <a:pt x="1193115" y="449263"/>
                    <a:pt x="1166812" y="449263"/>
                  </a:cubicBezTo>
                  <a:close/>
                  <a:moveTo>
                    <a:pt x="969169" y="449263"/>
                  </a:moveTo>
                  <a:cubicBezTo>
                    <a:pt x="942915" y="449263"/>
                    <a:pt x="922337" y="470748"/>
                    <a:pt x="922337" y="497246"/>
                  </a:cubicBezTo>
                  <a:cubicBezTo>
                    <a:pt x="922337" y="523744"/>
                    <a:pt x="942915" y="544513"/>
                    <a:pt x="969169" y="544513"/>
                  </a:cubicBezTo>
                  <a:cubicBezTo>
                    <a:pt x="994713" y="544513"/>
                    <a:pt x="1016000" y="523028"/>
                    <a:pt x="1016000" y="497246"/>
                  </a:cubicBezTo>
                  <a:cubicBezTo>
                    <a:pt x="1016000" y="470748"/>
                    <a:pt x="994713" y="449263"/>
                    <a:pt x="969169" y="449263"/>
                  </a:cubicBezTo>
                  <a:close/>
                  <a:moveTo>
                    <a:pt x="502213" y="428625"/>
                  </a:moveTo>
                  <a:cubicBezTo>
                    <a:pt x="502213" y="428625"/>
                    <a:pt x="502213" y="428625"/>
                    <a:pt x="813825" y="428625"/>
                  </a:cubicBezTo>
                  <a:cubicBezTo>
                    <a:pt x="823116" y="428625"/>
                    <a:pt x="830263" y="436597"/>
                    <a:pt x="830263" y="445294"/>
                  </a:cubicBezTo>
                  <a:cubicBezTo>
                    <a:pt x="830263" y="454716"/>
                    <a:pt x="823116" y="461963"/>
                    <a:pt x="813825" y="461963"/>
                  </a:cubicBezTo>
                  <a:cubicBezTo>
                    <a:pt x="813825" y="461963"/>
                    <a:pt x="813825" y="461963"/>
                    <a:pt x="502213" y="461963"/>
                  </a:cubicBezTo>
                  <a:cubicBezTo>
                    <a:pt x="492207" y="461963"/>
                    <a:pt x="485775" y="454716"/>
                    <a:pt x="485775" y="445294"/>
                  </a:cubicBezTo>
                  <a:cubicBezTo>
                    <a:pt x="485775" y="436597"/>
                    <a:pt x="492207" y="428625"/>
                    <a:pt x="502213" y="428625"/>
                  </a:cubicBezTo>
                  <a:close/>
                  <a:moveTo>
                    <a:pt x="79941" y="428625"/>
                  </a:moveTo>
                  <a:cubicBezTo>
                    <a:pt x="79941" y="428625"/>
                    <a:pt x="79941" y="428625"/>
                    <a:pt x="291533" y="428625"/>
                  </a:cubicBezTo>
                  <a:cubicBezTo>
                    <a:pt x="301541" y="428625"/>
                    <a:pt x="307975" y="436597"/>
                    <a:pt x="307975" y="445294"/>
                  </a:cubicBezTo>
                  <a:cubicBezTo>
                    <a:pt x="307975" y="454716"/>
                    <a:pt x="301541" y="461963"/>
                    <a:pt x="291533" y="461963"/>
                  </a:cubicBezTo>
                  <a:cubicBezTo>
                    <a:pt x="291533" y="461963"/>
                    <a:pt x="291533" y="461963"/>
                    <a:pt x="79941" y="461963"/>
                  </a:cubicBezTo>
                  <a:cubicBezTo>
                    <a:pt x="71363" y="461963"/>
                    <a:pt x="63500" y="454716"/>
                    <a:pt x="63500" y="445294"/>
                  </a:cubicBezTo>
                  <a:cubicBezTo>
                    <a:pt x="63500" y="436597"/>
                    <a:pt x="71363" y="428625"/>
                    <a:pt x="79941" y="428625"/>
                  </a:cubicBezTo>
                  <a:close/>
                  <a:moveTo>
                    <a:pt x="1133309" y="377825"/>
                  </a:moveTo>
                  <a:cubicBezTo>
                    <a:pt x="1118961" y="398587"/>
                    <a:pt x="1094571" y="411474"/>
                    <a:pt x="1067311" y="411474"/>
                  </a:cubicBezTo>
                  <a:cubicBezTo>
                    <a:pt x="1040769" y="411474"/>
                    <a:pt x="1017096" y="398587"/>
                    <a:pt x="1002748" y="378541"/>
                  </a:cubicBezTo>
                  <a:cubicBezTo>
                    <a:pt x="992705" y="389280"/>
                    <a:pt x="985532" y="403599"/>
                    <a:pt x="982662" y="418633"/>
                  </a:cubicBezTo>
                  <a:cubicBezTo>
                    <a:pt x="1019248" y="425793"/>
                    <a:pt x="1047225" y="458009"/>
                    <a:pt x="1047225" y="496670"/>
                  </a:cubicBezTo>
                  <a:cubicBezTo>
                    <a:pt x="1047225" y="504545"/>
                    <a:pt x="1045790" y="512420"/>
                    <a:pt x="1043638" y="520295"/>
                  </a:cubicBezTo>
                  <a:cubicBezTo>
                    <a:pt x="1051529" y="522443"/>
                    <a:pt x="1059420" y="523875"/>
                    <a:pt x="1068029" y="523875"/>
                  </a:cubicBezTo>
                  <a:cubicBezTo>
                    <a:pt x="1076637" y="523875"/>
                    <a:pt x="1084528" y="522443"/>
                    <a:pt x="1092419" y="520295"/>
                  </a:cubicBezTo>
                  <a:cubicBezTo>
                    <a:pt x="1089549" y="513136"/>
                    <a:pt x="1088115" y="504545"/>
                    <a:pt x="1088115" y="496670"/>
                  </a:cubicBezTo>
                  <a:cubicBezTo>
                    <a:pt x="1088115" y="457294"/>
                    <a:pt x="1116809" y="425077"/>
                    <a:pt x="1154112" y="418633"/>
                  </a:cubicBezTo>
                  <a:cubicBezTo>
                    <a:pt x="1150525" y="402883"/>
                    <a:pt x="1143352" y="389280"/>
                    <a:pt x="1133309" y="377825"/>
                  </a:cubicBezTo>
                  <a:close/>
                  <a:moveTo>
                    <a:pt x="79980" y="346075"/>
                  </a:moveTo>
                  <a:cubicBezTo>
                    <a:pt x="79980" y="346075"/>
                    <a:pt x="79980" y="346075"/>
                    <a:pt x="393095" y="346075"/>
                  </a:cubicBezTo>
                  <a:cubicBezTo>
                    <a:pt x="401693" y="346075"/>
                    <a:pt x="409575" y="353323"/>
                    <a:pt x="409575" y="362744"/>
                  </a:cubicBezTo>
                  <a:cubicBezTo>
                    <a:pt x="409575" y="371441"/>
                    <a:pt x="401693" y="379413"/>
                    <a:pt x="393095" y="379413"/>
                  </a:cubicBezTo>
                  <a:cubicBezTo>
                    <a:pt x="393095" y="379413"/>
                    <a:pt x="393095" y="379413"/>
                    <a:pt x="79980" y="379413"/>
                  </a:cubicBezTo>
                  <a:cubicBezTo>
                    <a:pt x="71381" y="379413"/>
                    <a:pt x="63500" y="371441"/>
                    <a:pt x="63500" y="362744"/>
                  </a:cubicBezTo>
                  <a:cubicBezTo>
                    <a:pt x="63500" y="353323"/>
                    <a:pt x="71381" y="346075"/>
                    <a:pt x="79980" y="346075"/>
                  </a:cubicBezTo>
                  <a:close/>
                  <a:moveTo>
                    <a:pt x="502244" y="344488"/>
                  </a:moveTo>
                  <a:cubicBezTo>
                    <a:pt x="502244" y="344488"/>
                    <a:pt x="502244" y="344488"/>
                    <a:pt x="805855" y="344488"/>
                  </a:cubicBezTo>
                  <a:cubicBezTo>
                    <a:pt x="815164" y="344488"/>
                    <a:pt x="822325" y="351390"/>
                    <a:pt x="822325" y="360363"/>
                  </a:cubicBezTo>
                  <a:cubicBezTo>
                    <a:pt x="822325" y="368646"/>
                    <a:pt x="815164" y="376238"/>
                    <a:pt x="805855" y="376238"/>
                  </a:cubicBezTo>
                  <a:cubicBezTo>
                    <a:pt x="805855" y="376238"/>
                    <a:pt x="805855" y="376238"/>
                    <a:pt x="502244" y="376238"/>
                  </a:cubicBezTo>
                  <a:cubicBezTo>
                    <a:pt x="492219" y="376238"/>
                    <a:pt x="485775" y="368646"/>
                    <a:pt x="485775" y="360363"/>
                  </a:cubicBezTo>
                  <a:cubicBezTo>
                    <a:pt x="485775" y="351390"/>
                    <a:pt x="492219" y="344488"/>
                    <a:pt x="502244" y="344488"/>
                  </a:cubicBezTo>
                  <a:close/>
                  <a:moveTo>
                    <a:pt x="1052419" y="317500"/>
                  </a:moveTo>
                  <a:cubicBezTo>
                    <a:pt x="1052419" y="317500"/>
                    <a:pt x="1052419" y="317500"/>
                    <a:pt x="1085066" y="317500"/>
                  </a:cubicBezTo>
                  <a:cubicBezTo>
                    <a:pt x="1092873" y="317500"/>
                    <a:pt x="1098550" y="324716"/>
                    <a:pt x="1098550" y="333375"/>
                  </a:cubicBezTo>
                  <a:cubicBezTo>
                    <a:pt x="1098550" y="342034"/>
                    <a:pt x="1092873" y="349250"/>
                    <a:pt x="1085066" y="349250"/>
                  </a:cubicBezTo>
                  <a:cubicBezTo>
                    <a:pt x="1085066" y="349250"/>
                    <a:pt x="1085066" y="349250"/>
                    <a:pt x="1052419" y="349250"/>
                  </a:cubicBezTo>
                  <a:cubicBezTo>
                    <a:pt x="1044613" y="349250"/>
                    <a:pt x="1038225" y="342034"/>
                    <a:pt x="1038225" y="333375"/>
                  </a:cubicBezTo>
                  <a:cubicBezTo>
                    <a:pt x="1038225" y="324716"/>
                    <a:pt x="1044613" y="317500"/>
                    <a:pt x="1052419" y="317500"/>
                  </a:cubicBezTo>
                  <a:close/>
                  <a:moveTo>
                    <a:pt x="1068387" y="285750"/>
                  </a:moveTo>
                  <a:cubicBezTo>
                    <a:pt x="1042084" y="285750"/>
                    <a:pt x="1020762" y="307072"/>
                    <a:pt x="1020762" y="333375"/>
                  </a:cubicBezTo>
                  <a:cubicBezTo>
                    <a:pt x="1020762" y="359678"/>
                    <a:pt x="1042084" y="381000"/>
                    <a:pt x="1068387" y="381000"/>
                  </a:cubicBezTo>
                  <a:cubicBezTo>
                    <a:pt x="1094690" y="381000"/>
                    <a:pt x="1116012" y="359678"/>
                    <a:pt x="1116012" y="333375"/>
                  </a:cubicBezTo>
                  <a:cubicBezTo>
                    <a:pt x="1116012" y="307072"/>
                    <a:pt x="1094690" y="285750"/>
                    <a:pt x="1068387" y="285750"/>
                  </a:cubicBezTo>
                  <a:close/>
                  <a:moveTo>
                    <a:pt x="502230" y="258763"/>
                  </a:moveTo>
                  <a:cubicBezTo>
                    <a:pt x="502230" y="258763"/>
                    <a:pt x="502230" y="258763"/>
                    <a:pt x="788408" y="258763"/>
                  </a:cubicBezTo>
                  <a:cubicBezTo>
                    <a:pt x="796993" y="258763"/>
                    <a:pt x="804863" y="266356"/>
                    <a:pt x="804863" y="274638"/>
                  </a:cubicBezTo>
                  <a:cubicBezTo>
                    <a:pt x="804863" y="284301"/>
                    <a:pt x="796993" y="290513"/>
                    <a:pt x="788408" y="290513"/>
                  </a:cubicBezTo>
                  <a:cubicBezTo>
                    <a:pt x="788408" y="290513"/>
                    <a:pt x="788408" y="290513"/>
                    <a:pt x="502230" y="290513"/>
                  </a:cubicBezTo>
                  <a:cubicBezTo>
                    <a:pt x="492214" y="290513"/>
                    <a:pt x="485775" y="284301"/>
                    <a:pt x="485775" y="274638"/>
                  </a:cubicBezTo>
                  <a:cubicBezTo>
                    <a:pt x="485775" y="266356"/>
                    <a:pt x="492214" y="258763"/>
                    <a:pt x="502230" y="258763"/>
                  </a:cubicBezTo>
                  <a:close/>
                  <a:moveTo>
                    <a:pt x="79955" y="258763"/>
                  </a:moveTo>
                  <a:cubicBezTo>
                    <a:pt x="79955" y="258763"/>
                    <a:pt x="79955" y="258763"/>
                    <a:pt x="366133" y="258763"/>
                  </a:cubicBezTo>
                  <a:cubicBezTo>
                    <a:pt x="375433" y="258763"/>
                    <a:pt x="382588" y="266356"/>
                    <a:pt x="382588" y="274638"/>
                  </a:cubicBezTo>
                  <a:cubicBezTo>
                    <a:pt x="382588" y="284301"/>
                    <a:pt x="375433" y="290513"/>
                    <a:pt x="366133" y="290513"/>
                  </a:cubicBezTo>
                  <a:cubicBezTo>
                    <a:pt x="366133" y="290513"/>
                    <a:pt x="366133" y="290513"/>
                    <a:pt x="79955" y="290513"/>
                  </a:cubicBezTo>
                  <a:cubicBezTo>
                    <a:pt x="71370" y="290513"/>
                    <a:pt x="63500" y="284301"/>
                    <a:pt x="63500" y="274638"/>
                  </a:cubicBezTo>
                  <a:cubicBezTo>
                    <a:pt x="63500" y="266356"/>
                    <a:pt x="71370" y="258763"/>
                    <a:pt x="79955" y="258763"/>
                  </a:cubicBezTo>
                  <a:close/>
                  <a:moveTo>
                    <a:pt x="1067673" y="254000"/>
                  </a:moveTo>
                  <a:cubicBezTo>
                    <a:pt x="1111945" y="254000"/>
                    <a:pt x="1147647" y="288996"/>
                    <a:pt x="1147647" y="332562"/>
                  </a:cubicBezTo>
                  <a:cubicBezTo>
                    <a:pt x="1147647" y="337561"/>
                    <a:pt x="1146933" y="341847"/>
                    <a:pt x="1146219" y="346132"/>
                  </a:cubicBezTo>
                  <a:cubicBezTo>
                    <a:pt x="1166927" y="364701"/>
                    <a:pt x="1181922" y="390412"/>
                    <a:pt x="1186207" y="419694"/>
                  </a:cubicBezTo>
                  <a:cubicBezTo>
                    <a:pt x="1220481" y="427550"/>
                    <a:pt x="1246187" y="458975"/>
                    <a:pt x="1246187" y="496113"/>
                  </a:cubicBezTo>
                  <a:cubicBezTo>
                    <a:pt x="1246187" y="539679"/>
                    <a:pt x="1211198" y="574675"/>
                    <a:pt x="1167641" y="574675"/>
                  </a:cubicBezTo>
                  <a:cubicBezTo>
                    <a:pt x="1144077" y="574675"/>
                    <a:pt x="1122656" y="563962"/>
                    <a:pt x="1108374" y="547536"/>
                  </a:cubicBezTo>
                  <a:cubicBezTo>
                    <a:pt x="1095521" y="552535"/>
                    <a:pt x="1082668" y="554678"/>
                    <a:pt x="1068387" y="554678"/>
                  </a:cubicBezTo>
                  <a:cubicBezTo>
                    <a:pt x="1054820" y="554678"/>
                    <a:pt x="1040539" y="552535"/>
                    <a:pt x="1028400" y="547536"/>
                  </a:cubicBezTo>
                  <a:cubicBezTo>
                    <a:pt x="1013405" y="563962"/>
                    <a:pt x="992697" y="574675"/>
                    <a:pt x="969133" y="574675"/>
                  </a:cubicBezTo>
                  <a:cubicBezTo>
                    <a:pt x="925576" y="574675"/>
                    <a:pt x="890587" y="539679"/>
                    <a:pt x="890587" y="496113"/>
                  </a:cubicBezTo>
                  <a:cubicBezTo>
                    <a:pt x="890587" y="458261"/>
                    <a:pt x="916293" y="427550"/>
                    <a:pt x="951282" y="418980"/>
                  </a:cubicBezTo>
                  <a:cubicBezTo>
                    <a:pt x="955566" y="390412"/>
                    <a:pt x="969847" y="364701"/>
                    <a:pt x="990555" y="346846"/>
                  </a:cubicBezTo>
                  <a:cubicBezTo>
                    <a:pt x="989841" y="342561"/>
                    <a:pt x="989127" y="337561"/>
                    <a:pt x="989127" y="332562"/>
                  </a:cubicBezTo>
                  <a:cubicBezTo>
                    <a:pt x="989127" y="288996"/>
                    <a:pt x="1024116" y="254000"/>
                    <a:pt x="1067673" y="254000"/>
                  </a:cubicBezTo>
                  <a:close/>
                  <a:moveTo>
                    <a:pt x="79928" y="146050"/>
                  </a:moveTo>
                  <a:cubicBezTo>
                    <a:pt x="79928" y="146050"/>
                    <a:pt x="79928" y="146050"/>
                    <a:pt x="596347" y="146050"/>
                  </a:cubicBezTo>
                  <a:cubicBezTo>
                    <a:pt x="605633" y="146050"/>
                    <a:pt x="612775" y="152952"/>
                    <a:pt x="612775" y="161925"/>
                  </a:cubicBezTo>
                  <a:cubicBezTo>
                    <a:pt x="612775" y="170208"/>
                    <a:pt x="605633" y="177800"/>
                    <a:pt x="596347" y="177800"/>
                  </a:cubicBezTo>
                  <a:cubicBezTo>
                    <a:pt x="596347" y="177800"/>
                    <a:pt x="596347" y="177800"/>
                    <a:pt x="79928" y="177800"/>
                  </a:cubicBezTo>
                  <a:cubicBezTo>
                    <a:pt x="70643" y="177800"/>
                    <a:pt x="63500" y="170208"/>
                    <a:pt x="63500" y="161925"/>
                  </a:cubicBezTo>
                  <a:cubicBezTo>
                    <a:pt x="63500" y="152952"/>
                    <a:pt x="70643" y="146050"/>
                    <a:pt x="79928" y="146050"/>
                  </a:cubicBezTo>
                  <a:close/>
                  <a:moveTo>
                    <a:pt x="79936" y="63500"/>
                  </a:moveTo>
                  <a:cubicBezTo>
                    <a:pt x="814542" y="63500"/>
                    <a:pt x="814542" y="63500"/>
                    <a:pt x="814542" y="63500"/>
                  </a:cubicBezTo>
                  <a:cubicBezTo>
                    <a:pt x="823117" y="63500"/>
                    <a:pt x="830263" y="70556"/>
                    <a:pt x="830263" y="79022"/>
                  </a:cubicBezTo>
                  <a:cubicBezTo>
                    <a:pt x="830263" y="88195"/>
                    <a:pt x="823117" y="95250"/>
                    <a:pt x="814542" y="95250"/>
                  </a:cubicBezTo>
                  <a:cubicBezTo>
                    <a:pt x="79936" y="95250"/>
                    <a:pt x="79936" y="95250"/>
                    <a:pt x="79936" y="95250"/>
                  </a:cubicBezTo>
                  <a:cubicBezTo>
                    <a:pt x="70646" y="95250"/>
                    <a:pt x="63500" y="88195"/>
                    <a:pt x="63500" y="79022"/>
                  </a:cubicBezTo>
                  <a:cubicBezTo>
                    <a:pt x="63500" y="70556"/>
                    <a:pt x="70646" y="63500"/>
                    <a:pt x="79936" y="63500"/>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24" y="0"/>
                  </a:moveTo>
                  <a:cubicBezTo>
                    <a:pt x="15724" y="0"/>
                    <a:pt x="15724" y="0"/>
                    <a:pt x="1290789" y="0"/>
                  </a:cubicBezTo>
                  <a:cubicBezTo>
                    <a:pt x="1299366" y="0"/>
                    <a:pt x="1306513" y="6422"/>
                    <a:pt x="1306513" y="15698"/>
                  </a:cubicBezTo>
                  <a:cubicBezTo>
                    <a:pt x="1306513" y="15698"/>
                    <a:pt x="1306513" y="15698"/>
                    <a:pt x="1306513" y="916166"/>
                  </a:cubicBezTo>
                  <a:cubicBezTo>
                    <a:pt x="1306513" y="925441"/>
                    <a:pt x="1299366" y="931863"/>
                    <a:pt x="1290789" y="931863"/>
                  </a:cubicBezTo>
                  <a:cubicBezTo>
                    <a:pt x="1290789" y="931863"/>
                    <a:pt x="1290789" y="931863"/>
                    <a:pt x="15724" y="931863"/>
                  </a:cubicBezTo>
                  <a:cubicBezTo>
                    <a:pt x="7147" y="931863"/>
                    <a:pt x="0" y="925441"/>
                    <a:pt x="0" y="916166"/>
                  </a:cubicBezTo>
                  <a:cubicBezTo>
                    <a:pt x="0" y="916166"/>
                    <a:pt x="0" y="916166"/>
                    <a:pt x="0" y="15698"/>
                  </a:cubicBezTo>
                  <a:cubicBezTo>
                    <a:pt x="0" y="6422"/>
                    <a:pt x="7147" y="0"/>
                    <a:pt x="1572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94" name="ee4pContent1">
            <a:extLst>
              <a:ext uri="{FF2B5EF4-FFF2-40B4-BE49-F238E27FC236}">
                <a16:creationId xmlns:a16="http://schemas.microsoft.com/office/drawing/2014/main" id="{C9E77071-C343-4B86-AC98-9EFCE59BE7DB}"/>
              </a:ext>
            </a:extLst>
          </p:cNvPr>
          <p:cNvSpPr txBox="1"/>
          <p:nvPr>
            <p:custDataLst>
              <p:tags r:id="rId8"/>
            </p:custDataLst>
          </p:nvPr>
        </p:nvSpPr>
        <p:spPr>
          <a:xfrm>
            <a:off x="8259848" y="812173"/>
            <a:ext cx="2666653"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a:t>
            </a:r>
          </a:p>
        </p:txBody>
      </p:sp>
      <p:sp>
        <p:nvSpPr>
          <p:cNvPr id="95" name="ee4pContent1">
            <a:extLst>
              <a:ext uri="{FF2B5EF4-FFF2-40B4-BE49-F238E27FC236}">
                <a16:creationId xmlns:a16="http://schemas.microsoft.com/office/drawing/2014/main" id="{3960E642-567B-4C9D-81A2-9480129C9895}"/>
              </a:ext>
            </a:extLst>
          </p:cNvPr>
          <p:cNvSpPr txBox="1"/>
          <p:nvPr>
            <p:custDataLst>
              <p:tags r:id="rId9"/>
            </p:custDataLst>
          </p:nvPr>
        </p:nvSpPr>
        <p:spPr>
          <a:xfrm>
            <a:off x="11012004" y="812173"/>
            <a:ext cx="5628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buNone/>
            </a:pPr>
            <a:r>
              <a:rPr lang="en-US" dirty="0">
                <a:solidFill>
                  <a:srgbClr val="FFFFFF"/>
                </a:solidFill>
              </a:rPr>
              <a:t>8</a:t>
            </a:r>
          </a:p>
        </p:txBody>
      </p:sp>
      <p:sp>
        <p:nvSpPr>
          <p:cNvPr id="96" name="ee4pContent1">
            <a:extLst>
              <a:ext uri="{FF2B5EF4-FFF2-40B4-BE49-F238E27FC236}">
                <a16:creationId xmlns:a16="http://schemas.microsoft.com/office/drawing/2014/main" id="{88E791FA-EEEE-4320-8170-7F1CFDF7D1DC}"/>
              </a:ext>
            </a:extLst>
          </p:cNvPr>
          <p:cNvSpPr txBox="1"/>
          <p:nvPr>
            <p:custDataLst>
              <p:tags r:id="rId10"/>
            </p:custDataLst>
          </p:nvPr>
        </p:nvSpPr>
        <p:spPr>
          <a:xfrm>
            <a:off x="8259848" y="1912229"/>
            <a:ext cx="2629390"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a:t>
            </a:r>
          </a:p>
        </p:txBody>
      </p:sp>
      <p:sp>
        <p:nvSpPr>
          <p:cNvPr id="97" name="ee4pContent1">
            <a:extLst>
              <a:ext uri="{FF2B5EF4-FFF2-40B4-BE49-F238E27FC236}">
                <a16:creationId xmlns:a16="http://schemas.microsoft.com/office/drawing/2014/main" id="{18E0BC1D-CF98-440D-A635-F997579BA488}"/>
              </a:ext>
            </a:extLst>
          </p:cNvPr>
          <p:cNvSpPr txBox="1"/>
          <p:nvPr>
            <p:custDataLst>
              <p:tags r:id="rId11"/>
            </p:custDataLst>
          </p:nvPr>
        </p:nvSpPr>
        <p:spPr>
          <a:xfrm>
            <a:off x="11012004" y="1916899"/>
            <a:ext cx="5628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18</a:t>
            </a:r>
          </a:p>
        </p:txBody>
      </p:sp>
      <p:sp>
        <p:nvSpPr>
          <p:cNvPr id="99" name="ee4pContent1">
            <a:extLst>
              <a:ext uri="{FF2B5EF4-FFF2-40B4-BE49-F238E27FC236}">
                <a16:creationId xmlns:a16="http://schemas.microsoft.com/office/drawing/2014/main" id="{AB953AB9-39BE-4628-B782-2F846103E7A5}"/>
              </a:ext>
            </a:extLst>
          </p:cNvPr>
          <p:cNvSpPr txBox="1"/>
          <p:nvPr>
            <p:custDataLst>
              <p:tags r:id="rId12"/>
            </p:custDataLst>
          </p:nvPr>
        </p:nvSpPr>
        <p:spPr>
          <a:xfrm>
            <a:off x="11009896" y="3032330"/>
            <a:ext cx="5628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26</a:t>
            </a:r>
          </a:p>
        </p:txBody>
      </p:sp>
      <p:sp>
        <p:nvSpPr>
          <p:cNvPr id="100" name="ee4pContent1">
            <a:extLst>
              <a:ext uri="{FF2B5EF4-FFF2-40B4-BE49-F238E27FC236}">
                <a16:creationId xmlns:a16="http://schemas.microsoft.com/office/drawing/2014/main" id="{970DE37E-564B-4814-8CEE-ED5C9BE81D28}"/>
              </a:ext>
            </a:extLst>
          </p:cNvPr>
          <p:cNvSpPr txBox="1"/>
          <p:nvPr>
            <p:custDataLst>
              <p:tags r:id="rId13"/>
            </p:custDataLst>
          </p:nvPr>
        </p:nvSpPr>
        <p:spPr>
          <a:xfrm>
            <a:off x="8247802" y="4357670"/>
            <a:ext cx="26259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a:t>
            </a:r>
          </a:p>
        </p:txBody>
      </p:sp>
      <p:sp>
        <p:nvSpPr>
          <p:cNvPr id="101" name="ee4pContent1">
            <a:extLst>
              <a:ext uri="{FF2B5EF4-FFF2-40B4-BE49-F238E27FC236}">
                <a16:creationId xmlns:a16="http://schemas.microsoft.com/office/drawing/2014/main" id="{5BE0171C-F51D-4E54-BF12-53A38AF05224}"/>
              </a:ext>
            </a:extLst>
          </p:cNvPr>
          <p:cNvSpPr txBox="1"/>
          <p:nvPr>
            <p:custDataLst>
              <p:tags r:id="rId14"/>
            </p:custDataLst>
          </p:nvPr>
        </p:nvSpPr>
        <p:spPr>
          <a:xfrm>
            <a:off x="11009897" y="4345495"/>
            <a:ext cx="562859"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37</a:t>
            </a:r>
          </a:p>
        </p:txBody>
      </p:sp>
      <p:sp>
        <p:nvSpPr>
          <p:cNvPr id="102" name="ee4pContent1">
            <a:extLst>
              <a:ext uri="{FF2B5EF4-FFF2-40B4-BE49-F238E27FC236}">
                <a16:creationId xmlns:a16="http://schemas.microsoft.com/office/drawing/2014/main" id="{408E56A4-C558-4FA9-9EFB-6F3737D0E837}"/>
              </a:ext>
            </a:extLst>
          </p:cNvPr>
          <p:cNvSpPr txBox="1"/>
          <p:nvPr>
            <p:custDataLst>
              <p:tags r:id="rId15"/>
            </p:custDataLst>
          </p:nvPr>
        </p:nvSpPr>
        <p:spPr>
          <a:xfrm>
            <a:off x="8244370" y="3007638"/>
            <a:ext cx="2629390" cy="375359"/>
          </a:xfrm>
          <a:prstGeom prst="rect">
            <a:avLst/>
          </a:prstGeom>
          <a:ln w="9525" cap="flat" cmpd="sng" algn="ctr">
            <a:noFill/>
            <a:prstDash val="solid"/>
            <a:round/>
            <a:headEnd type="none" w="med" len="med"/>
            <a:tailEnd type="none" w="med" len="med"/>
          </a:ln>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solidFill>
                  <a:srgbClr val="FFFFFF"/>
                </a:solidFill>
              </a:rPr>
              <a:t>…………………………….</a:t>
            </a:r>
          </a:p>
        </p:txBody>
      </p:sp>
      <p:sp>
        <p:nvSpPr>
          <p:cNvPr id="104" name="Rectangle 103">
            <a:extLst>
              <a:ext uri="{FF2B5EF4-FFF2-40B4-BE49-F238E27FC236}">
                <a16:creationId xmlns:a16="http://schemas.microsoft.com/office/drawing/2014/main" id="{B481E830-D010-4662-9F13-FDA52C4AB2FF}"/>
              </a:ext>
            </a:extLst>
          </p:cNvPr>
          <p:cNvSpPr/>
          <p:nvPr/>
        </p:nvSpPr>
        <p:spPr>
          <a:xfrm>
            <a:off x="5243782" y="5273318"/>
            <a:ext cx="4800893" cy="3171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FFFFFF"/>
                </a:solidFill>
              </a:rPr>
              <a:t>Fast click to detailed data views –</a:t>
            </a:r>
            <a:endParaRPr lang="en-US" sz="1200" dirty="0">
              <a:solidFill>
                <a:srgbClr val="FFFFFF"/>
              </a:solidFill>
            </a:endParaRPr>
          </a:p>
        </p:txBody>
      </p:sp>
      <p:sp>
        <p:nvSpPr>
          <p:cNvPr id="105" name="Rectangle 104">
            <a:extLst>
              <a:ext uri="{FF2B5EF4-FFF2-40B4-BE49-F238E27FC236}">
                <a16:creationId xmlns:a16="http://schemas.microsoft.com/office/drawing/2014/main" id="{8C79B442-3373-4B37-A4F9-7365E44B7464}"/>
              </a:ext>
            </a:extLst>
          </p:cNvPr>
          <p:cNvSpPr/>
          <p:nvPr/>
        </p:nvSpPr>
        <p:spPr>
          <a:xfrm>
            <a:off x="5255241" y="5637099"/>
            <a:ext cx="1659989"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1" action="ppaction://hlinksldjump">
                  <a:extLst>
                    <a:ext uri="{A12FA001-AC4F-418D-AE19-62706E023703}">
                      <ahyp:hlinkClr xmlns:ahyp="http://schemas.microsoft.com/office/drawing/2018/hyperlinkcolor" val="tx"/>
                    </a:ext>
                  </a:extLst>
                </a:hlinkClick>
              </a:rPr>
              <a:t>Overall IT Satisfaction</a:t>
            </a:r>
            <a:endParaRPr lang="en-US" sz="1100" dirty="0">
              <a:solidFill>
                <a:srgbClr val="FFFFFF"/>
              </a:solidFill>
            </a:endParaRPr>
          </a:p>
        </p:txBody>
      </p:sp>
      <p:sp>
        <p:nvSpPr>
          <p:cNvPr id="106" name="Rectangle 105">
            <a:extLst>
              <a:ext uri="{FF2B5EF4-FFF2-40B4-BE49-F238E27FC236}">
                <a16:creationId xmlns:a16="http://schemas.microsoft.com/office/drawing/2014/main" id="{74804E20-5194-4462-9CC4-D908AD187CDD}"/>
              </a:ext>
            </a:extLst>
          </p:cNvPr>
          <p:cNvSpPr/>
          <p:nvPr/>
        </p:nvSpPr>
        <p:spPr>
          <a:xfrm>
            <a:off x="6956636" y="5630989"/>
            <a:ext cx="1659989"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2" action="ppaction://hlinksldjump">
                  <a:extLst>
                    <a:ext uri="{A12FA001-AC4F-418D-AE19-62706E023703}">
                      <ahyp:hlinkClr xmlns:ahyp="http://schemas.microsoft.com/office/drawing/2018/hyperlinkcolor" val="tx"/>
                    </a:ext>
                  </a:extLst>
                </a:hlinkClick>
              </a:rPr>
              <a:t>Personal Productivity</a:t>
            </a:r>
            <a:endParaRPr lang="en-US" sz="1100" dirty="0">
              <a:solidFill>
                <a:srgbClr val="FFFFFF"/>
              </a:solidFill>
            </a:endParaRPr>
          </a:p>
        </p:txBody>
      </p:sp>
      <p:sp>
        <p:nvSpPr>
          <p:cNvPr id="107" name="Rectangle 106">
            <a:extLst>
              <a:ext uri="{FF2B5EF4-FFF2-40B4-BE49-F238E27FC236}">
                <a16:creationId xmlns:a16="http://schemas.microsoft.com/office/drawing/2014/main" id="{447E318D-F307-4FD1-82FE-07F2E0257279}"/>
              </a:ext>
            </a:extLst>
          </p:cNvPr>
          <p:cNvSpPr/>
          <p:nvPr/>
        </p:nvSpPr>
        <p:spPr>
          <a:xfrm>
            <a:off x="8657170" y="5621452"/>
            <a:ext cx="1659989"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3" action="ppaction://hlinksldjump">
                  <a:extLst>
                    <a:ext uri="{A12FA001-AC4F-418D-AE19-62706E023703}">
                      <ahyp:hlinkClr xmlns:ahyp="http://schemas.microsoft.com/office/drawing/2018/hyperlinkcolor" val="tx"/>
                    </a:ext>
                  </a:extLst>
                </a:hlinkClick>
              </a:rPr>
              <a:t>Digital Collaboration</a:t>
            </a:r>
            <a:endParaRPr lang="en-US" sz="1100" dirty="0">
              <a:solidFill>
                <a:srgbClr val="FFFFFF"/>
              </a:solidFill>
            </a:endParaRPr>
          </a:p>
        </p:txBody>
      </p:sp>
      <p:sp>
        <p:nvSpPr>
          <p:cNvPr id="108" name="Rectangle 107">
            <a:extLst>
              <a:ext uri="{FF2B5EF4-FFF2-40B4-BE49-F238E27FC236}">
                <a16:creationId xmlns:a16="http://schemas.microsoft.com/office/drawing/2014/main" id="{DCDCBF7B-4D53-48A5-BBE4-15524203EB00}"/>
              </a:ext>
            </a:extLst>
          </p:cNvPr>
          <p:cNvSpPr/>
          <p:nvPr/>
        </p:nvSpPr>
        <p:spPr>
          <a:xfrm>
            <a:off x="5438204" y="6046494"/>
            <a:ext cx="1724025"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4" action="ppaction://hlinksldjump">
                  <a:extLst>
                    <a:ext uri="{A12FA001-AC4F-418D-AE19-62706E023703}">
                      <ahyp:hlinkClr xmlns:ahyp="http://schemas.microsoft.com/office/drawing/2018/hyperlinkcolor" val="tx"/>
                    </a:ext>
                  </a:extLst>
                </a:hlinkClick>
              </a:rPr>
              <a:t>Knowledge &amp; Design</a:t>
            </a:r>
            <a:endParaRPr lang="en-US" sz="1100" dirty="0">
              <a:solidFill>
                <a:srgbClr val="FFFFFF"/>
              </a:solidFill>
            </a:endParaRPr>
          </a:p>
        </p:txBody>
      </p:sp>
      <p:sp>
        <p:nvSpPr>
          <p:cNvPr id="109" name="Rectangle 108">
            <a:extLst>
              <a:ext uri="{FF2B5EF4-FFF2-40B4-BE49-F238E27FC236}">
                <a16:creationId xmlns:a16="http://schemas.microsoft.com/office/drawing/2014/main" id="{382BE8E5-838F-4FE0-B43B-6EA22E708A36}"/>
              </a:ext>
            </a:extLst>
          </p:cNvPr>
          <p:cNvSpPr/>
          <p:nvPr/>
        </p:nvSpPr>
        <p:spPr>
          <a:xfrm>
            <a:off x="7947007" y="6443132"/>
            <a:ext cx="2050692"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5" action="ppaction://hlinksldjump">
                  <a:extLst>
                    <a:ext uri="{A12FA001-AC4F-418D-AE19-62706E023703}">
                      <ahyp:hlinkClr xmlns:ahyp="http://schemas.microsoft.com/office/drawing/2018/hyperlinkcolor" val="tx"/>
                    </a:ext>
                  </a:extLst>
                </a:hlinkClick>
              </a:rPr>
              <a:t>Change &amp; Communications</a:t>
            </a:r>
            <a:endParaRPr lang="en-US" sz="1100" dirty="0">
              <a:solidFill>
                <a:srgbClr val="FFFFFF"/>
              </a:solidFill>
            </a:endParaRPr>
          </a:p>
        </p:txBody>
      </p:sp>
      <p:sp>
        <p:nvSpPr>
          <p:cNvPr id="110" name="Rectangle 109">
            <a:extLst>
              <a:ext uri="{FF2B5EF4-FFF2-40B4-BE49-F238E27FC236}">
                <a16:creationId xmlns:a16="http://schemas.microsoft.com/office/drawing/2014/main" id="{AC407532-536E-4B50-81BB-8A413BB941FF}"/>
              </a:ext>
            </a:extLst>
          </p:cNvPr>
          <p:cNvSpPr/>
          <p:nvPr/>
        </p:nvSpPr>
        <p:spPr>
          <a:xfrm>
            <a:off x="7005750" y="6456153"/>
            <a:ext cx="864143"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6" action="ppaction://hlinksldjump">
                  <a:extLst>
                    <a:ext uri="{A12FA001-AC4F-418D-AE19-62706E023703}">
                      <ahyp:hlinkClr xmlns:ahyp="http://schemas.microsoft.com/office/drawing/2018/hyperlinkcolor" val="tx"/>
                    </a:ext>
                  </a:extLst>
                </a:hlinkClick>
              </a:rPr>
              <a:t>Finance</a:t>
            </a:r>
            <a:endParaRPr lang="en-US" sz="1100" dirty="0">
              <a:solidFill>
                <a:srgbClr val="FFFFFF"/>
              </a:solidFill>
            </a:endParaRPr>
          </a:p>
        </p:txBody>
      </p:sp>
      <p:sp>
        <p:nvSpPr>
          <p:cNvPr id="111" name="Rectangle 110">
            <a:extLst>
              <a:ext uri="{FF2B5EF4-FFF2-40B4-BE49-F238E27FC236}">
                <a16:creationId xmlns:a16="http://schemas.microsoft.com/office/drawing/2014/main" id="{7A8FE760-0114-4CA6-8789-A4DB7CCBF7B1}"/>
              </a:ext>
            </a:extLst>
          </p:cNvPr>
          <p:cNvSpPr/>
          <p:nvPr/>
        </p:nvSpPr>
        <p:spPr>
          <a:xfrm>
            <a:off x="7005750" y="6079231"/>
            <a:ext cx="1976179" cy="2965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7" action="ppaction://hlinksldjump">
                  <a:extLst>
                    <a:ext uri="{A12FA001-AC4F-418D-AE19-62706E023703}">
                      <ahyp:hlinkClr xmlns:ahyp="http://schemas.microsoft.com/office/drawing/2018/hyperlinkcolor" val="tx"/>
                    </a:ext>
                  </a:extLst>
                </a:hlinkClick>
              </a:rPr>
              <a:t>IT</a:t>
            </a:r>
            <a:r>
              <a:rPr lang="en-US" sz="1100" dirty="0">
                <a:solidFill>
                  <a:srgbClr val="2E3558"/>
                </a:solidFill>
                <a:hlinkClick r:id="rId27" action="ppaction://hlinksldjump">
                  <a:extLst>
                    <a:ext uri="{A12FA001-AC4F-418D-AE19-62706E023703}">
                      <ahyp:hlinkClr xmlns:ahyp="http://schemas.microsoft.com/office/drawing/2018/hyperlinkcolor" val="tx"/>
                    </a:ext>
                  </a:extLst>
                </a:hlinkClick>
              </a:rPr>
              <a:t> </a:t>
            </a:r>
            <a:r>
              <a:rPr lang="en-US" sz="1100" dirty="0">
                <a:solidFill>
                  <a:srgbClr val="FFFFFF"/>
                </a:solidFill>
                <a:hlinkClick r:id="rId27" action="ppaction://hlinksldjump">
                  <a:extLst>
                    <a:ext uri="{A12FA001-AC4F-418D-AE19-62706E023703}">
                      <ahyp:hlinkClr xmlns:ahyp="http://schemas.microsoft.com/office/drawing/2018/hyperlinkcolor" val="tx"/>
                    </a:ext>
                  </a:extLst>
                </a:hlinkClick>
              </a:rPr>
              <a:t>Service &amp; Business Mgmt.</a:t>
            </a:r>
            <a:endParaRPr lang="en-US" sz="1100" dirty="0">
              <a:solidFill>
                <a:srgbClr val="FFFFFF"/>
              </a:solidFill>
            </a:endParaRPr>
          </a:p>
        </p:txBody>
      </p:sp>
      <p:sp>
        <p:nvSpPr>
          <p:cNvPr id="112" name="Rectangle 111">
            <a:extLst>
              <a:ext uri="{FF2B5EF4-FFF2-40B4-BE49-F238E27FC236}">
                <a16:creationId xmlns:a16="http://schemas.microsoft.com/office/drawing/2014/main" id="{7FFDE483-DE8A-47C2-BC5B-0CED08A1F0E1}"/>
              </a:ext>
            </a:extLst>
          </p:cNvPr>
          <p:cNvSpPr/>
          <p:nvPr/>
        </p:nvSpPr>
        <p:spPr>
          <a:xfrm>
            <a:off x="9997699" y="6456152"/>
            <a:ext cx="1724025"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8" action="ppaction://hlinksldjump">
                  <a:extLst>
                    <a:ext uri="{A12FA001-AC4F-418D-AE19-62706E023703}">
                      <ahyp:hlinkClr xmlns:ahyp="http://schemas.microsoft.com/office/drawing/2018/hyperlinkcolor" val="tx"/>
                    </a:ext>
                  </a:extLst>
                </a:hlinkClick>
              </a:rPr>
              <a:t>Consulting Experience</a:t>
            </a:r>
            <a:endParaRPr lang="en-US" sz="1100" dirty="0">
              <a:solidFill>
                <a:srgbClr val="FFFFFF"/>
              </a:solidFill>
            </a:endParaRPr>
          </a:p>
        </p:txBody>
      </p:sp>
      <p:sp>
        <p:nvSpPr>
          <p:cNvPr id="114" name="Rectangle 113">
            <a:extLst>
              <a:ext uri="{FF2B5EF4-FFF2-40B4-BE49-F238E27FC236}">
                <a16:creationId xmlns:a16="http://schemas.microsoft.com/office/drawing/2014/main" id="{F0000196-BCEC-4024-A12D-2BB0075E8557}"/>
              </a:ext>
            </a:extLst>
          </p:cNvPr>
          <p:cNvSpPr/>
          <p:nvPr/>
        </p:nvSpPr>
        <p:spPr>
          <a:xfrm>
            <a:off x="8962749" y="6067542"/>
            <a:ext cx="2163852" cy="3200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29" action="ppaction://hlinksldjump">
                  <a:extLst>
                    <a:ext uri="{A12FA001-AC4F-418D-AE19-62706E023703}">
                      <ahyp:hlinkClr xmlns:ahyp="http://schemas.microsoft.com/office/drawing/2018/hyperlinkcolor" val="tx"/>
                    </a:ext>
                  </a:extLst>
                </a:hlinkClick>
              </a:rPr>
              <a:t>Service &amp; Technical Portfolios</a:t>
            </a:r>
            <a:endParaRPr lang="en-US" sz="1100" dirty="0">
              <a:solidFill>
                <a:srgbClr val="FFFFFF"/>
              </a:solidFill>
            </a:endParaRPr>
          </a:p>
        </p:txBody>
      </p:sp>
      <p:sp>
        <p:nvSpPr>
          <p:cNvPr id="115" name="Rectangle 114">
            <a:extLst>
              <a:ext uri="{FF2B5EF4-FFF2-40B4-BE49-F238E27FC236}">
                <a16:creationId xmlns:a16="http://schemas.microsoft.com/office/drawing/2014/main" id="{2E867D9C-4549-468C-8600-7A186F4DC775}"/>
              </a:ext>
            </a:extLst>
          </p:cNvPr>
          <p:cNvSpPr/>
          <p:nvPr/>
        </p:nvSpPr>
        <p:spPr>
          <a:xfrm>
            <a:off x="5334902" y="6440298"/>
            <a:ext cx="1410977"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30" action="ppaction://hlinksldjump">
                  <a:extLst>
                    <a:ext uri="{A12FA001-AC4F-418D-AE19-62706E023703}">
                      <ahyp:hlinkClr xmlns:ahyp="http://schemas.microsoft.com/office/drawing/2018/hyperlinkcolor" val="tx"/>
                    </a:ext>
                  </a:extLst>
                </a:hlinkClick>
              </a:rPr>
              <a:t>HR (Incl. Learning)</a:t>
            </a:r>
            <a:endParaRPr lang="en-US" sz="1100" dirty="0">
              <a:solidFill>
                <a:srgbClr val="FFFFFF"/>
              </a:solidFill>
            </a:endParaRPr>
          </a:p>
        </p:txBody>
      </p:sp>
      <p:sp>
        <p:nvSpPr>
          <p:cNvPr id="52" name="Rectangle 51">
            <a:extLst>
              <a:ext uri="{FF2B5EF4-FFF2-40B4-BE49-F238E27FC236}">
                <a16:creationId xmlns:a16="http://schemas.microsoft.com/office/drawing/2014/main" id="{0F6BC7B5-99A4-4F5F-A12A-DDCF141AD54E}"/>
              </a:ext>
            </a:extLst>
          </p:cNvPr>
          <p:cNvSpPr/>
          <p:nvPr/>
        </p:nvSpPr>
        <p:spPr>
          <a:xfrm>
            <a:off x="10328526" y="5630988"/>
            <a:ext cx="1724025"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hlinkClick r:id="rId31" action="ppaction://hlinksldjump">
                  <a:extLst>
                    <a:ext uri="{A12FA001-AC4F-418D-AE19-62706E023703}">
                      <ahyp:hlinkClr xmlns:ahyp="http://schemas.microsoft.com/office/drawing/2018/hyperlinkcolor" val="tx"/>
                    </a:ext>
                  </a:extLst>
                </a:hlinkClick>
              </a:rPr>
              <a:t>Mobile Apps Desired</a:t>
            </a:r>
            <a:endParaRPr lang="en-US" sz="1100" dirty="0">
              <a:solidFill>
                <a:srgbClr val="FFFFFF"/>
              </a:solidFill>
            </a:endParaRPr>
          </a:p>
        </p:txBody>
      </p:sp>
      <p:sp>
        <p:nvSpPr>
          <p:cNvPr id="58" name="Rectangle 57">
            <a:extLst>
              <a:ext uri="{FF2B5EF4-FFF2-40B4-BE49-F238E27FC236}">
                <a16:creationId xmlns:a16="http://schemas.microsoft.com/office/drawing/2014/main" id="{F827D77D-733B-4987-ABDE-66DB52EF8E24}"/>
              </a:ext>
            </a:extLst>
          </p:cNvPr>
          <p:cNvSpPr/>
          <p:nvPr/>
        </p:nvSpPr>
        <p:spPr>
          <a:xfrm>
            <a:off x="11126601" y="6067541"/>
            <a:ext cx="864143" cy="325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u="sng" dirty="0">
                <a:solidFill>
                  <a:srgbClr val="FFFFFF"/>
                </a:solidFill>
                <a:hlinkClick r:id="rId32" action="ppaction://hlinksldjump">
                  <a:extLst>
                    <a:ext uri="{A12FA001-AC4F-418D-AE19-62706E023703}">
                      <ahyp:hlinkClr xmlns:ahyp="http://schemas.microsoft.com/office/drawing/2018/hyperlinkcolor" val="tx"/>
                    </a:ext>
                  </a:extLst>
                </a:hlinkClick>
              </a:rPr>
              <a:t>Risk</a:t>
            </a:r>
            <a:endParaRPr lang="en-US" sz="1100" u="sng" dirty="0">
              <a:solidFill>
                <a:srgbClr val="FFFFFF"/>
              </a:solidFill>
            </a:endParaRPr>
          </a:p>
        </p:txBody>
      </p:sp>
    </p:spTree>
    <p:extLst>
      <p:ext uri="{BB962C8B-B14F-4D97-AF65-F5344CB8AC3E}">
        <p14:creationId xmlns:p14="http://schemas.microsoft.com/office/powerpoint/2010/main" val="3465701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90660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788"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5" name="AutoShape 105"/>
          <p:cNvSpPr>
            <a:spLocks noChangeAspect="1" noChangeArrowheads="1" noTextEdit="1"/>
          </p:cNvSpPr>
          <p:nvPr/>
        </p:nvSpPr>
        <p:spPr bwMode="auto">
          <a:xfrm>
            <a:off x="12916673" y="2803824"/>
            <a:ext cx="1064740" cy="1065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88" name="Rectangle 87"/>
          <p:cNvSpPr/>
          <p:nvPr/>
        </p:nvSpPr>
        <p:spPr>
          <a:xfrm>
            <a:off x="8834814" y="2145995"/>
            <a:ext cx="2372771" cy="1203492"/>
          </a:xfrm>
          <a:prstGeom prst="rect">
            <a:avLst/>
          </a:prstGeom>
          <a:ln w="9525" cap="flat" cmpd="sng" algn="ctr">
            <a:noFill/>
            <a:prstDash val="solid"/>
            <a:round/>
            <a:headEnd type="none" w="med" len="med"/>
            <a:tailEnd type="none" w="med" len="med"/>
          </a:ln>
        </p:spPr>
        <p:txBody>
          <a:bodyPr wrap="square" lIns="93269" tIns="46634" rIns="93269" bIns="46634">
            <a:noAutofit/>
          </a:bodyPr>
          <a:lstStyle/>
          <a:p>
            <a:pPr algn="ctr"/>
            <a:r>
              <a:rPr lang="en-US" sz="2600" dirty="0">
                <a:solidFill>
                  <a:srgbClr val="30C1D7"/>
                </a:solidFill>
                <a:latin typeface="Trebuchet MS" panose="020B0603020202020204" pitchFamily="34" charset="0"/>
                <a:sym typeface="Trebuchet MS" panose="020B0603020202020204" pitchFamily="34" charset="0"/>
              </a:rPr>
              <a:t>Products improved vs 2020</a:t>
            </a:r>
          </a:p>
        </p:txBody>
      </p:sp>
      <p:sp>
        <p:nvSpPr>
          <p:cNvPr id="29" name="Rounded Rectangle 10">
            <a:extLst>
              <a:ext uri="{FF2B5EF4-FFF2-40B4-BE49-F238E27FC236}">
                <a16:creationId xmlns:a16="http://schemas.microsoft.com/office/drawing/2014/main" id="{C8B897A7-8140-4417-A5D3-4CDAAC6A8C4D}"/>
              </a:ext>
            </a:extLst>
          </p:cNvPr>
          <p:cNvSpPr/>
          <p:nvPr/>
        </p:nvSpPr>
        <p:spPr>
          <a:xfrm>
            <a:off x="595330" y="330268"/>
            <a:ext cx="10941704" cy="1800000"/>
          </a:xfrm>
          <a:prstGeom prst="roundRect">
            <a:avLst>
              <a:gd name="adj" fmla="val 50000"/>
            </a:avLst>
          </a:prstGeom>
          <a:solidFill>
            <a:srgbClr val="C8C8C8"/>
          </a:solidFill>
          <a:ln w="15875" cap="rnd" cmpd="sng" algn="ctr">
            <a:noFill/>
            <a:prstDash val="solid"/>
            <a:round/>
            <a:headEnd type="none" w="med" len="med"/>
            <a:tailEnd type="none" w="med" len="med"/>
          </a:ln>
          <a:effectLst>
            <a:outerShdw blurRad="101600" dist="50800" dir="2400000" algn="l" rotWithShape="0">
              <a:prstClr val="black">
                <a:alpha val="20000"/>
              </a:prstClr>
            </a:outerShdw>
          </a:effectLst>
          <a:extLst>
            <a:ext uri="{91240B29-F687-4F45-9708-019B960494DF}">
              <a14:hiddenLine xmlns:a14="http://schemas.microsoft.com/office/drawing/2010/main" w="158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ounded Rectangle 8">
            <a:extLst>
              <a:ext uri="{FF2B5EF4-FFF2-40B4-BE49-F238E27FC236}">
                <a16:creationId xmlns:a16="http://schemas.microsoft.com/office/drawing/2014/main" id="{6A318ADF-9AA0-444B-B81A-4831896009AE}"/>
              </a:ext>
            </a:extLst>
          </p:cNvPr>
          <p:cNvSpPr/>
          <p:nvPr/>
        </p:nvSpPr>
        <p:spPr>
          <a:xfrm>
            <a:off x="3695115" y="541968"/>
            <a:ext cx="7426566" cy="1376599"/>
          </a:xfrm>
          <a:prstGeom prst="roundRect">
            <a:avLst>
              <a:gd name="adj" fmla="val 347383"/>
            </a:avLst>
          </a:prstGeom>
          <a:solidFill>
            <a:srgbClr val="FFFFFF"/>
          </a:solidFill>
          <a:ln w="15875" cap="rnd" cmpd="sng" algn="ctr">
            <a:noFill/>
            <a:prstDash val="solid"/>
            <a:round/>
            <a:headEnd type="none" w="med" len="med"/>
            <a:tailEnd type="none" w="med" len="med"/>
          </a:ln>
          <a:effectLst>
            <a:outerShdw blurRad="101600" dist="50800" dir="24000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35" name="Straight Connector 34">
            <a:extLst>
              <a:ext uri="{FF2B5EF4-FFF2-40B4-BE49-F238E27FC236}">
                <a16:creationId xmlns:a16="http://schemas.microsoft.com/office/drawing/2014/main" id="{C6D9FDCB-0614-4F85-871A-6A1D17FCFA36}"/>
              </a:ext>
            </a:extLst>
          </p:cNvPr>
          <p:cNvCxnSpPr>
            <a:cxnSpLocks/>
          </p:cNvCxnSpPr>
          <p:nvPr/>
        </p:nvCxnSpPr>
        <p:spPr>
          <a:xfrm>
            <a:off x="6264965" y="541968"/>
            <a:ext cx="0" cy="2807519"/>
          </a:xfrm>
          <a:prstGeom prst="line">
            <a:avLst/>
          </a:prstGeom>
          <a:ln w="19050"/>
        </p:spPr>
        <p:style>
          <a:lnRef idx="1">
            <a:schemeClr val="accent6"/>
          </a:lnRef>
          <a:fillRef idx="0">
            <a:schemeClr val="accent6"/>
          </a:fillRef>
          <a:effectRef idx="0">
            <a:schemeClr val="accent6"/>
          </a:effectRef>
          <a:fontRef idx="minor">
            <a:schemeClr val="tx1"/>
          </a:fontRef>
        </p:style>
      </p:cxnSp>
      <p:sp>
        <p:nvSpPr>
          <p:cNvPr id="43" name="Title 2"/>
          <p:cNvSpPr txBox="1">
            <a:spLocks/>
          </p:cNvSpPr>
          <p:nvPr/>
        </p:nvSpPr>
        <p:spPr>
          <a:xfrm>
            <a:off x="8880368" y="738811"/>
            <a:ext cx="2155328"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gn="ctr">
              <a:buSzPct val="100000"/>
            </a:pPr>
            <a:r>
              <a:rPr lang="en-US" sz="7000" dirty="0">
                <a:solidFill>
                  <a:srgbClr val="30C1D7"/>
                </a:solidFill>
                <a:latin typeface="Trebuchet MS" panose="020B0603020202020204" pitchFamily="34" charset="0"/>
              </a:rPr>
              <a:t>76%</a:t>
            </a:r>
          </a:p>
        </p:txBody>
      </p:sp>
      <p:sp>
        <p:nvSpPr>
          <p:cNvPr id="36" name="Title 2">
            <a:extLst>
              <a:ext uri="{FF2B5EF4-FFF2-40B4-BE49-F238E27FC236}">
                <a16:creationId xmlns:a16="http://schemas.microsoft.com/office/drawing/2014/main" id="{E14F60B2-0EDA-4C85-A54D-27CF185B8185}"/>
              </a:ext>
            </a:extLst>
          </p:cNvPr>
          <p:cNvSpPr txBox="1">
            <a:spLocks/>
          </p:cNvSpPr>
          <p:nvPr/>
        </p:nvSpPr>
        <p:spPr>
          <a:xfrm>
            <a:off x="3783305" y="745519"/>
            <a:ext cx="2155328"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gn="ctr">
              <a:buSzPct val="100000"/>
            </a:pPr>
            <a:r>
              <a:rPr lang="en-US" sz="7000" dirty="0">
                <a:solidFill>
                  <a:srgbClr val="30C1D7"/>
                </a:solidFill>
                <a:latin typeface="Trebuchet MS" panose="020B0603020202020204" pitchFamily="34" charset="0"/>
              </a:rPr>
              <a:t>85%</a:t>
            </a:r>
          </a:p>
        </p:txBody>
      </p:sp>
      <p:sp>
        <p:nvSpPr>
          <p:cNvPr id="37" name="Rectangle 36">
            <a:extLst>
              <a:ext uri="{FF2B5EF4-FFF2-40B4-BE49-F238E27FC236}">
                <a16:creationId xmlns:a16="http://schemas.microsoft.com/office/drawing/2014/main" id="{80EDFE15-B473-47BA-98D3-B5B04CF1C0A9}"/>
              </a:ext>
            </a:extLst>
          </p:cNvPr>
          <p:cNvSpPr/>
          <p:nvPr/>
        </p:nvSpPr>
        <p:spPr>
          <a:xfrm>
            <a:off x="3695115" y="2134567"/>
            <a:ext cx="2569850" cy="1214920"/>
          </a:xfrm>
          <a:prstGeom prst="rect">
            <a:avLst/>
          </a:prstGeom>
          <a:ln w="9525" cap="flat" cmpd="sng" algn="ctr">
            <a:noFill/>
            <a:prstDash val="solid"/>
            <a:round/>
            <a:headEnd type="none" w="med" len="med"/>
            <a:tailEnd type="none" w="med" len="med"/>
          </a:ln>
        </p:spPr>
        <p:txBody>
          <a:bodyPr wrap="square" lIns="93269" tIns="46634" rIns="93269" bIns="46634">
            <a:noAutofit/>
          </a:bodyPr>
          <a:lstStyle/>
          <a:p>
            <a:pPr algn="ctr"/>
            <a:r>
              <a:rPr lang="en-US" sz="2600" dirty="0">
                <a:solidFill>
                  <a:srgbClr val="30C1D7"/>
                </a:solidFill>
                <a:latin typeface="Trebuchet MS" panose="020B0603020202020204" pitchFamily="34" charset="0"/>
                <a:sym typeface="Trebuchet MS" panose="020B0603020202020204" pitchFamily="34" charset="0"/>
              </a:rPr>
              <a:t>Overall IT </a:t>
            </a:r>
          </a:p>
          <a:p>
            <a:pPr algn="ctr"/>
            <a:r>
              <a:rPr lang="en-US" sz="2600" dirty="0">
                <a:solidFill>
                  <a:srgbClr val="30C1D7"/>
                </a:solidFill>
                <a:latin typeface="Trebuchet MS" panose="020B0603020202020204" pitchFamily="34" charset="0"/>
                <a:sym typeface="Trebuchet MS" panose="020B0603020202020204" pitchFamily="34" charset="0"/>
              </a:rPr>
              <a:t>E-SAT, +2% vs Target</a:t>
            </a:r>
          </a:p>
        </p:txBody>
      </p:sp>
      <p:sp>
        <p:nvSpPr>
          <p:cNvPr id="39" name="Title 2">
            <a:extLst>
              <a:ext uri="{FF2B5EF4-FFF2-40B4-BE49-F238E27FC236}">
                <a16:creationId xmlns:a16="http://schemas.microsoft.com/office/drawing/2014/main" id="{05CBFF06-727E-4DBE-B35C-80BB5E365F49}"/>
              </a:ext>
            </a:extLst>
          </p:cNvPr>
          <p:cNvSpPr txBox="1">
            <a:spLocks/>
          </p:cNvSpPr>
          <p:nvPr/>
        </p:nvSpPr>
        <p:spPr>
          <a:xfrm>
            <a:off x="6330734" y="745519"/>
            <a:ext cx="2155328"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gn="ctr">
              <a:buSzPct val="100000"/>
            </a:pPr>
            <a:r>
              <a:rPr lang="en-US" sz="7000" dirty="0">
                <a:solidFill>
                  <a:srgbClr val="30C1D7"/>
                </a:solidFill>
                <a:latin typeface="Trebuchet MS" panose="020B0603020202020204" pitchFamily="34" charset="0"/>
              </a:rPr>
              <a:t>79%</a:t>
            </a:r>
          </a:p>
        </p:txBody>
      </p:sp>
      <p:sp>
        <p:nvSpPr>
          <p:cNvPr id="40" name="Rectangle 39">
            <a:extLst>
              <a:ext uri="{FF2B5EF4-FFF2-40B4-BE49-F238E27FC236}">
                <a16:creationId xmlns:a16="http://schemas.microsoft.com/office/drawing/2014/main" id="{B1B4193E-CC53-4BC5-A6A9-1B068BD05724}"/>
              </a:ext>
            </a:extLst>
          </p:cNvPr>
          <p:cNvSpPr/>
          <p:nvPr/>
        </p:nvSpPr>
        <p:spPr>
          <a:xfrm>
            <a:off x="6264965" y="2138866"/>
            <a:ext cx="2569850" cy="1210621"/>
          </a:xfrm>
          <a:prstGeom prst="rect">
            <a:avLst/>
          </a:prstGeom>
          <a:ln w="9525" cap="flat" cmpd="sng" algn="ctr">
            <a:noFill/>
            <a:prstDash val="solid"/>
            <a:round/>
            <a:headEnd type="none" w="med" len="med"/>
            <a:tailEnd type="none" w="med" len="med"/>
          </a:ln>
        </p:spPr>
        <p:txBody>
          <a:bodyPr wrap="square" lIns="93269" tIns="46634" rIns="93269" bIns="46634">
            <a:noAutofit/>
          </a:bodyPr>
          <a:lstStyle/>
          <a:p>
            <a:pPr algn="ctr"/>
            <a:r>
              <a:rPr lang="en-US" sz="2600" dirty="0">
                <a:solidFill>
                  <a:srgbClr val="30C1D7"/>
                </a:solidFill>
                <a:latin typeface="Trebuchet MS" panose="020B0603020202020204" pitchFamily="34" charset="0"/>
                <a:sym typeface="Trebuchet MS" panose="020B0603020202020204" pitchFamily="34" charset="0"/>
              </a:rPr>
              <a:t>Overall IT </a:t>
            </a:r>
          </a:p>
          <a:p>
            <a:pPr algn="ctr"/>
            <a:r>
              <a:rPr lang="en-US" sz="2600" dirty="0">
                <a:solidFill>
                  <a:srgbClr val="30C1D7"/>
                </a:solidFill>
                <a:latin typeface="Trebuchet MS" panose="020B0603020202020204" pitchFamily="34" charset="0"/>
                <a:sym typeface="Trebuchet MS" panose="020B0603020202020204" pitchFamily="34" charset="0"/>
              </a:rPr>
              <a:t>E-SAT for CT, +3% vs 2020</a:t>
            </a:r>
          </a:p>
        </p:txBody>
      </p:sp>
      <p:grpSp>
        <p:nvGrpSpPr>
          <p:cNvPr id="51" name="Group 50">
            <a:extLst>
              <a:ext uri="{FF2B5EF4-FFF2-40B4-BE49-F238E27FC236}">
                <a16:creationId xmlns:a16="http://schemas.microsoft.com/office/drawing/2014/main" id="{BA20D440-5F97-4ED2-B9A5-5DFCF6F4AC26}"/>
              </a:ext>
            </a:extLst>
          </p:cNvPr>
          <p:cNvGrpSpPr>
            <a:grpSpLocks noChangeAspect="1"/>
          </p:cNvGrpSpPr>
          <p:nvPr/>
        </p:nvGrpSpPr>
        <p:grpSpPr>
          <a:xfrm>
            <a:off x="1228140" y="401234"/>
            <a:ext cx="1644650" cy="1644650"/>
            <a:chOff x="5273675" y="2606675"/>
            <a:chExt cx="1644650" cy="1644650"/>
          </a:xfrm>
        </p:grpSpPr>
        <p:sp>
          <p:nvSpPr>
            <p:cNvPr id="52" name="AutoShape 3">
              <a:extLst>
                <a:ext uri="{FF2B5EF4-FFF2-40B4-BE49-F238E27FC236}">
                  <a16:creationId xmlns:a16="http://schemas.microsoft.com/office/drawing/2014/main" id="{E04C3F27-61B7-48C6-92F9-0BA7C6C9A8F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7">
              <a:extLst>
                <a:ext uri="{FF2B5EF4-FFF2-40B4-BE49-F238E27FC236}">
                  <a16:creationId xmlns:a16="http://schemas.microsoft.com/office/drawing/2014/main" id="{F5886BEF-33A5-4F99-8683-624E2B69A69F}"/>
                </a:ext>
              </a:extLst>
            </p:cNvPr>
            <p:cNvSpPr>
              <a:spLocks/>
            </p:cNvSpPr>
            <p:nvPr/>
          </p:nvSpPr>
          <p:spPr bwMode="auto">
            <a:xfrm>
              <a:off x="5512453" y="2876550"/>
              <a:ext cx="1165515" cy="1206499"/>
            </a:xfrm>
            <a:custGeom>
              <a:avLst/>
              <a:gdLst>
                <a:gd name="connsiteX0" fmla="*/ 348554 w 1165515"/>
                <a:gd name="connsiteY0" fmla="*/ 1060449 h 1206499"/>
                <a:gd name="connsiteX1" fmla="*/ 816952 w 1165515"/>
                <a:gd name="connsiteY1" fmla="*/ 1060449 h 1206499"/>
                <a:gd name="connsiteX2" fmla="*/ 832661 w 1165515"/>
                <a:gd name="connsiteY2" fmla="*/ 1076277 h 1206499"/>
                <a:gd name="connsiteX3" fmla="*/ 832661 w 1165515"/>
                <a:gd name="connsiteY3" fmla="*/ 1102897 h 1206499"/>
                <a:gd name="connsiteX4" fmla="*/ 886926 w 1165515"/>
                <a:gd name="connsiteY4" fmla="*/ 1102897 h 1206499"/>
                <a:gd name="connsiteX5" fmla="*/ 902635 w 1165515"/>
                <a:gd name="connsiteY5" fmla="*/ 1118725 h 1206499"/>
                <a:gd name="connsiteX6" fmla="*/ 902635 w 1165515"/>
                <a:gd name="connsiteY6" fmla="*/ 1190671 h 1206499"/>
                <a:gd name="connsiteX7" fmla="*/ 886926 w 1165515"/>
                <a:gd name="connsiteY7" fmla="*/ 1206499 h 1206499"/>
                <a:gd name="connsiteX8" fmla="*/ 278580 w 1165515"/>
                <a:gd name="connsiteY8" fmla="*/ 1206499 h 1206499"/>
                <a:gd name="connsiteX9" fmla="*/ 262872 w 1165515"/>
                <a:gd name="connsiteY9" fmla="*/ 1190671 h 1206499"/>
                <a:gd name="connsiteX10" fmla="*/ 262872 w 1165515"/>
                <a:gd name="connsiteY10" fmla="*/ 1118725 h 1206499"/>
                <a:gd name="connsiteX11" fmla="*/ 278580 w 1165515"/>
                <a:gd name="connsiteY11" fmla="*/ 1102897 h 1206499"/>
                <a:gd name="connsiteX12" fmla="*/ 332846 w 1165515"/>
                <a:gd name="connsiteY12" fmla="*/ 1102897 h 1206499"/>
                <a:gd name="connsiteX13" fmla="*/ 332846 w 1165515"/>
                <a:gd name="connsiteY13" fmla="*/ 1076277 h 1206499"/>
                <a:gd name="connsiteX14" fmla="*/ 348554 w 1165515"/>
                <a:gd name="connsiteY14" fmla="*/ 1060449 h 1206499"/>
                <a:gd name="connsiteX15" fmla="*/ 1048352 w 1165515"/>
                <a:gd name="connsiteY15" fmla="*/ 82549 h 1206499"/>
                <a:gd name="connsiteX16" fmla="*/ 1073937 w 1165515"/>
                <a:gd name="connsiteY16" fmla="*/ 82549 h 1206499"/>
                <a:gd name="connsiteX17" fmla="*/ 1074648 w 1165515"/>
                <a:gd name="connsiteY17" fmla="*/ 82549 h 1206499"/>
                <a:gd name="connsiteX18" fmla="*/ 1144295 w 1165515"/>
                <a:gd name="connsiteY18" fmla="*/ 115405 h 1206499"/>
                <a:gd name="connsiteX19" fmla="*/ 1164905 w 1165515"/>
                <a:gd name="connsiteY19" fmla="*/ 188974 h 1206499"/>
                <a:gd name="connsiteX20" fmla="*/ 991498 w 1165515"/>
                <a:gd name="connsiteY20" fmla="*/ 525390 h 1206499"/>
                <a:gd name="connsiteX21" fmla="*/ 923272 w 1165515"/>
                <a:gd name="connsiteY21" fmla="*/ 574674 h 1206499"/>
                <a:gd name="connsiteX22" fmla="*/ 948857 w 1165515"/>
                <a:gd name="connsiteY22" fmla="*/ 517533 h 1206499"/>
                <a:gd name="connsiteX23" fmla="*/ 973731 w 1165515"/>
                <a:gd name="connsiteY23" fmla="*/ 499677 h 1206499"/>
                <a:gd name="connsiteX24" fmla="*/ 1133634 w 1165515"/>
                <a:gd name="connsiteY24" fmla="*/ 186117 h 1206499"/>
                <a:gd name="connsiteX25" fmla="*/ 1120842 w 1165515"/>
                <a:gd name="connsiteY25" fmla="*/ 136119 h 1206499"/>
                <a:gd name="connsiteX26" fmla="*/ 1073226 w 1165515"/>
                <a:gd name="connsiteY26" fmla="*/ 113977 h 1206499"/>
                <a:gd name="connsiteX27" fmla="*/ 1041246 w 1165515"/>
                <a:gd name="connsiteY27" fmla="*/ 113977 h 1206499"/>
                <a:gd name="connsiteX28" fmla="*/ 1043378 w 1165515"/>
                <a:gd name="connsiteY28" fmla="*/ 104691 h 1206499"/>
                <a:gd name="connsiteX29" fmla="*/ 1048352 w 1165515"/>
                <a:gd name="connsiteY29" fmla="*/ 82549 h 1206499"/>
                <a:gd name="connsiteX30" fmla="*/ 91192 w 1165515"/>
                <a:gd name="connsiteY30" fmla="*/ 82549 h 1206499"/>
                <a:gd name="connsiteX31" fmla="*/ 91906 w 1165515"/>
                <a:gd name="connsiteY31" fmla="*/ 82549 h 1206499"/>
                <a:gd name="connsiteX32" fmla="*/ 117582 w 1165515"/>
                <a:gd name="connsiteY32" fmla="*/ 82549 h 1206499"/>
                <a:gd name="connsiteX33" fmla="*/ 121861 w 1165515"/>
                <a:gd name="connsiteY33" fmla="*/ 101806 h 1206499"/>
                <a:gd name="connsiteX34" fmla="*/ 124714 w 1165515"/>
                <a:gd name="connsiteY34" fmla="*/ 113931 h 1206499"/>
                <a:gd name="connsiteX35" fmla="*/ 92619 w 1165515"/>
                <a:gd name="connsiteY35" fmla="*/ 113931 h 1206499"/>
                <a:gd name="connsiteX36" fmla="*/ 44833 w 1165515"/>
                <a:gd name="connsiteY36" fmla="*/ 136041 h 1206499"/>
                <a:gd name="connsiteX37" fmla="*/ 31995 w 1165515"/>
                <a:gd name="connsiteY37" fmla="*/ 185967 h 1206499"/>
                <a:gd name="connsiteX38" fmla="*/ 192470 w 1165515"/>
                <a:gd name="connsiteY38" fmla="*/ 499072 h 1206499"/>
                <a:gd name="connsiteX39" fmla="*/ 217433 w 1165515"/>
                <a:gd name="connsiteY39" fmla="*/ 516903 h 1206499"/>
                <a:gd name="connsiteX40" fmla="*/ 243823 w 1165515"/>
                <a:gd name="connsiteY40" fmla="*/ 574674 h 1206499"/>
                <a:gd name="connsiteX41" fmla="*/ 174640 w 1165515"/>
                <a:gd name="connsiteY41" fmla="*/ 524748 h 1206499"/>
                <a:gd name="connsiteX42" fmla="*/ 613 w 1165515"/>
                <a:gd name="connsiteY42" fmla="*/ 188820 h 1206499"/>
                <a:gd name="connsiteX43" fmla="*/ 21296 w 1165515"/>
                <a:gd name="connsiteY43" fmla="*/ 115357 h 1206499"/>
                <a:gd name="connsiteX44" fmla="*/ 91192 w 1165515"/>
                <a:gd name="connsiteY44" fmla="*/ 82549 h 1206499"/>
                <a:gd name="connsiteX45" fmla="*/ 174919 w 1165515"/>
                <a:gd name="connsiteY45" fmla="*/ 0 h 1206499"/>
                <a:gd name="connsiteX46" fmla="*/ 989875 w 1165515"/>
                <a:gd name="connsiteY46" fmla="*/ 0 h 1206499"/>
                <a:gd name="connsiteX47" fmla="*/ 1016302 w 1165515"/>
                <a:gd name="connsiteY47" fmla="*/ 23542 h 1206499"/>
                <a:gd name="connsiteX48" fmla="*/ 1014874 w 1165515"/>
                <a:gd name="connsiteY48" fmla="*/ 90600 h 1206499"/>
                <a:gd name="connsiteX49" fmla="*/ 1012731 w 1165515"/>
                <a:gd name="connsiteY49" fmla="*/ 98447 h 1206499"/>
                <a:gd name="connsiteX50" fmla="*/ 1009160 w 1165515"/>
                <a:gd name="connsiteY50" fmla="*/ 112001 h 1206499"/>
                <a:gd name="connsiteX51" fmla="*/ 941306 w 1165515"/>
                <a:gd name="connsiteY51" fmla="*/ 440158 h 1206499"/>
                <a:gd name="connsiteX52" fmla="*/ 897737 w 1165515"/>
                <a:gd name="connsiteY52" fmla="*/ 553586 h 1206499"/>
                <a:gd name="connsiteX53" fmla="*/ 879167 w 1165515"/>
                <a:gd name="connsiteY53" fmla="*/ 588542 h 1206499"/>
                <a:gd name="connsiteX54" fmla="*/ 794886 w 1165515"/>
                <a:gd name="connsiteY54" fmla="*/ 703397 h 1206499"/>
                <a:gd name="connsiteX55" fmla="*/ 660607 w 1165515"/>
                <a:gd name="connsiteY55" fmla="*/ 804698 h 1206499"/>
                <a:gd name="connsiteX56" fmla="*/ 657036 w 1165515"/>
                <a:gd name="connsiteY56" fmla="*/ 818965 h 1206499"/>
                <a:gd name="connsiteX57" fmla="*/ 709176 w 1165515"/>
                <a:gd name="connsiteY57" fmla="*/ 925973 h 1206499"/>
                <a:gd name="connsiteX58" fmla="*/ 774887 w 1165515"/>
                <a:gd name="connsiteY58" fmla="*/ 1011579 h 1206499"/>
                <a:gd name="connsiteX59" fmla="*/ 767030 w 1165515"/>
                <a:gd name="connsiteY59" fmla="*/ 1028700 h 1206499"/>
                <a:gd name="connsiteX60" fmla="*/ 398478 w 1165515"/>
                <a:gd name="connsiteY60" fmla="*/ 1028700 h 1206499"/>
                <a:gd name="connsiteX61" fmla="*/ 390622 w 1165515"/>
                <a:gd name="connsiteY61" fmla="*/ 1011579 h 1206499"/>
                <a:gd name="connsiteX62" fmla="*/ 456332 w 1165515"/>
                <a:gd name="connsiteY62" fmla="*/ 925973 h 1206499"/>
                <a:gd name="connsiteX63" fmla="*/ 509187 w 1165515"/>
                <a:gd name="connsiteY63" fmla="*/ 818965 h 1206499"/>
                <a:gd name="connsiteX64" fmla="*/ 504901 w 1165515"/>
                <a:gd name="connsiteY64" fmla="*/ 804698 h 1206499"/>
                <a:gd name="connsiteX65" fmla="*/ 370623 w 1165515"/>
                <a:gd name="connsiteY65" fmla="*/ 703397 h 1206499"/>
                <a:gd name="connsiteX66" fmla="*/ 286342 w 1165515"/>
                <a:gd name="connsiteY66" fmla="*/ 587829 h 1206499"/>
                <a:gd name="connsiteX67" fmla="*/ 268485 w 1165515"/>
                <a:gd name="connsiteY67" fmla="*/ 553586 h 1206499"/>
                <a:gd name="connsiteX68" fmla="*/ 224202 w 1165515"/>
                <a:gd name="connsiteY68" fmla="*/ 440158 h 1206499"/>
                <a:gd name="connsiteX69" fmla="*/ 155634 w 1165515"/>
                <a:gd name="connsiteY69" fmla="*/ 112001 h 1206499"/>
                <a:gd name="connsiteX70" fmla="*/ 152777 w 1165515"/>
                <a:gd name="connsiteY70" fmla="*/ 98447 h 1206499"/>
                <a:gd name="connsiteX71" fmla="*/ 151349 w 1165515"/>
                <a:gd name="connsiteY71" fmla="*/ 91313 h 1206499"/>
                <a:gd name="connsiteX72" fmla="*/ 148492 w 1165515"/>
                <a:gd name="connsiteY72" fmla="*/ 23542 h 1206499"/>
                <a:gd name="connsiteX73" fmla="*/ 171348 w 1165515"/>
                <a:gd name="connsiteY73" fmla="*/ 714 h 1206499"/>
                <a:gd name="connsiteX74" fmla="*/ 174919 w 1165515"/>
                <a:gd name="connsiteY74" fmla="*/ 0 h 120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165515" h="1206499">
                  <a:moveTo>
                    <a:pt x="348554" y="1060449"/>
                  </a:moveTo>
                  <a:cubicBezTo>
                    <a:pt x="348554" y="1060449"/>
                    <a:pt x="348554" y="1060449"/>
                    <a:pt x="816952" y="1060449"/>
                  </a:cubicBezTo>
                  <a:cubicBezTo>
                    <a:pt x="825520" y="1060449"/>
                    <a:pt x="832661" y="1067644"/>
                    <a:pt x="832661" y="1076277"/>
                  </a:cubicBezTo>
                  <a:cubicBezTo>
                    <a:pt x="832661" y="1076277"/>
                    <a:pt x="832661" y="1076277"/>
                    <a:pt x="832661" y="1102897"/>
                  </a:cubicBezTo>
                  <a:cubicBezTo>
                    <a:pt x="832661" y="1102897"/>
                    <a:pt x="832661" y="1102897"/>
                    <a:pt x="886926" y="1102897"/>
                  </a:cubicBezTo>
                  <a:cubicBezTo>
                    <a:pt x="895495" y="1102897"/>
                    <a:pt x="902635" y="1110092"/>
                    <a:pt x="902635" y="1118725"/>
                  </a:cubicBezTo>
                  <a:cubicBezTo>
                    <a:pt x="902635" y="1118725"/>
                    <a:pt x="902635" y="1118725"/>
                    <a:pt x="902635" y="1190671"/>
                  </a:cubicBezTo>
                  <a:cubicBezTo>
                    <a:pt x="902635" y="1199305"/>
                    <a:pt x="895495" y="1206499"/>
                    <a:pt x="886926" y="1206499"/>
                  </a:cubicBezTo>
                  <a:cubicBezTo>
                    <a:pt x="886926" y="1206499"/>
                    <a:pt x="886926" y="1206499"/>
                    <a:pt x="278580" y="1206499"/>
                  </a:cubicBezTo>
                  <a:cubicBezTo>
                    <a:pt x="270012" y="1206499"/>
                    <a:pt x="262872" y="1199305"/>
                    <a:pt x="262872" y="1190671"/>
                  </a:cubicBezTo>
                  <a:cubicBezTo>
                    <a:pt x="262872" y="1190671"/>
                    <a:pt x="262872" y="1190671"/>
                    <a:pt x="262872" y="1118725"/>
                  </a:cubicBezTo>
                  <a:cubicBezTo>
                    <a:pt x="262872" y="1110092"/>
                    <a:pt x="270012" y="1102897"/>
                    <a:pt x="278580" y="1102897"/>
                  </a:cubicBezTo>
                  <a:cubicBezTo>
                    <a:pt x="278580" y="1102897"/>
                    <a:pt x="278580" y="1102897"/>
                    <a:pt x="332846" y="1102897"/>
                  </a:cubicBezTo>
                  <a:cubicBezTo>
                    <a:pt x="332846" y="1102897"/>
                    <a:pt x="332846" y="1102897"/>
                    <a:pt x="332846" y="1076277"/>
                  </a:cubicBezTo>
                  <a:cubicBezTo>
                    <a:pt x="332846" y="1067644"/>
                    <a:pt x="339986" y="1060449"/>
                    <a:pt x="348554" y="1060449"/>
                  </a:cubicBezTo>
                  <a:close/>
                  <a:moveTo>
                    <a:pt x="1048352" y="82549"/>
                  </a:moveTo>
                  <a:cubicBezTo>
                    <a:pt x="1048352" y="82549"/>
                    <a:pt x="1048352" y="82549"/>
                    <a:pt x="1073937" y="82549"/>
                  </a:cubicBezTo>
                  <a:cubicBezTo>
                    <a:pt x="1073937" y="82549"/>
                    <a:pt x="1074648" y="82549"/>
                    <a:pt x="1074648" y="82549"/>
                  </a:cubicBezTo>
                  <a:cubicBezTo>
                    <a:pt x="1076780" y="82549"/>
                    <a:pt x="1117999" y="84692"/>
                    <a:pt x="1144295" y="115405"/>
                  </a:cubicBezTo>
                  <a:cubicBezTo>
                    <a:pt x="1160640" y="133976"/>
                    <a:pt x="1167747" y="158975"/>
                    <a:pt x="1164905" y="188974"/>
                  </a:cubicBezTo>
                  <a:cubicBezTo>
                    <a:pt x="1154955" y="296827"/>
                    <a:pt x="1103786" y="448964"/>
                    <a:pt x="991498" y="525390"/>
                  </a:cubicBezTo>
                  <a:cubicBezTo>
                    <a:pt x="991498" y="525390"/>
                    <a:pt x="991498" y="525390"/>
                    <a:pt x="923272" y="574674"/>
                  </a:cubicBezTo>
                  <a:cubicBezTo>
                    <a:pt x="932511" y="556103"/>
                    <a:pt x="941039" y="536818"/>
                    <a:pt x="948857" y="517533"/>
                  </a:cubicBezTo>
                  <a:cubicBezTo>
                    <a:pt x="948857" y="517533"/>
                    <a:pt x="948857" y="517533"/>
                    <a:pt x="973731" y="499677"/>
                  </a:cubicBezTo>
                  <a:cubicBezTo>
                    <a:pt x="1076780" y="428965"/>
                    <a:pt x="1124396" y="286827"/>
                    <a:pt x="1133634" y="186117"/>
                  </a:cubicBezTo>
                  <a:cubicBezTo>
                    <a:pt x="1135767" y="164689"/>
                    <a:pt x="1131502" y="148261"/>
                    <a:pt x="1120842" y="136119"/>
                  </a:cubicBezTo>
                  <a:cubicBezTo>
                    <a:pt x="1104496" y="116834"/>
                    <a:pt x="1076780" y="113977"/>
                    <a:pt x="1073226" y="113977"/>
                  </a:cubicBezTo>
                  <a:cubicBezTo>
                    <a:pt x="1073226" y="113977"/>
                    <a:pt x="1073226" y="113977"/>
                    <a:pt x="1041246" y="113977"/>
                  </a:cubicBezTo>
                  <a:cubicBezTo>
                    <a:pt x="1041956" y="111120"/>
                    <a:pt x="1042667" y="107548"/>
                    <a:pt x="1043378" y="104691"/>
                  </a:cubicBezTo>
                  <a:cubicBezTo>
                    <a:pt x="1044799" y="97549"/>
                    <a:pt x="1046931" y="90406"/>
                    <a:pt x="1048352" y="82549"/>
                  </a:cubicBezTo>
                  <a:close/>
                  <a:moveTo>
                    <a:pt x="91192" y="82549"/>
                  </a:moveTo>
                  <a:cubicBezTo>
                    <a:pt x="91192" y="82549"/>
                    <a:pt x="91906" y="82549"/>
                    <a:pt x="91906" y="82549"/>
                  </a:cubicBezTo>
                  <a:cubicBezTo>
                    <a:pt x="91906" y="82549"/>
                    <a:pt x="91906" y="82549"/>
                    <a:pt x="117582" y="82549"/>
                  </a:cubicBezTo>
                  <a:cubicBezTo>
                    <a:pt x="119008" y="88968"/>
                    <a:pt x="120435" y="95387"/>
                    <a:pt x="121861" y="101806"/>
                  </a:cubicBezTo>
                  <a:cubicBezTo>
                    <a:pt x="122574" y="106086"/>
                    <a:pt x="124001" y="109652"/>
                    <a:pt x="124714" y="113931"/>
                  </a:cubicBezTo>
                  <a:cubicBezTo>
                    <a:pt x="124714" y="113931"/>
                    <a:pt x="124714" y="113931"/>
                    <a:pt x="92619" y="113931"/>
                  </a:cubicBezTo>
                  <a:cubicBezTo>
                    <a:pt x="89766" y="113931"/>
                    <a:pt x="61237" y="116784"/>
                    <a:pt x="44833" y="136041"/>
                  </a:cubicBezTo>
                  <a:cubicBezTo>
                    <a:pt x="34134" y="148166"/>
                    <a:pt x="29855" y="165283"/>
                    <a:pt x="31995" y="185967"/>
                  </a:cubicBezTo>
                  <a:cubicBezTo>
                    <a:pt x="41267" y="286531"/>
                    <a:pt x="89053" y="428463"/>
                    <a:pt x="192470" y="499072"/>
                  </a:cubicBezTo>
                  <a:lnTo>
                    <a:pt x="217433" y="516903"/>
                  </a:lnTo>
                  <a:cubicBezTo>
                    <a:pt x="225279" y="536873"/>
                    <a:pt x="234551" y="556130"/>
                    <a:pt x="243823" y="574674"/>
                  </a:cubicBezTo>
                  <a:cubicBezTo>
                    <a:pt x="243823" y="574674"/>
                    <a:pt x="243823" y="574674"/>
                    <a:pt x="174640" y="524748"/>
                  </a:cubicBezTo>
                  <a:cubicBezTo>
                    <a:pt x="61950" y="448433"/>
                    <a:pt x="10598" y="296517"/>
                    <a:pt x="613" y="188820"/>
                  </a:cubicBezTo>
                  <a:cubicBezTo>
                    <a:pt x="-2240" y="158864"/>
                    <a:pt x="4892" y="133901"/>
                    <a:pt x="21296" y="115357"/>
                  </a:cubicBezTo>
                  <a:cubicBezTo>
                    <a:pt x="47686" y="84689"/>
                    <a:pt x="89053" y="82549"/>
                    <a:pt x="91192" y="82549"/>
                  </a:cubicBezTo>
                  <a:close/>
                  <a:moveTo>
                    <a:pt x="174919" y="0"/>
                  </a:moveTo>
                  <a:cubicBezTo>
                    <a:pt x="206346" y="0"/>
                    <a:pt x="958448" y="0"/>
                    <a:pt x="989875" y="0"/>
                  </a:cubicBezTo>
                  <a:cubicBezTo>
                    <a:pt x="992018" y="0"/>
                    <a:pt x="1012017" y="11414"/>
                    <a:pt x="1016302" y="23542"/>
                  </a:cubicBezTo>
                  <a:cubicBezTo>
                    <a:pt x="1024873" y="44943"/>
                    <a:pt x="1019873" y="68485"/>
                    <a:pt x="1014874" y="90600"/>
                  </a:cubicBezTo>
                  <a:cubicBezTo>
                    <a:pt x="1014160" y="93453"/>
                    <a:pt x="1013445" y="95594"/>
                    <a:pt x="1012731" y="98447"/>
                  </a:cubicBezTo>
                  <a:cubicBezTo>
                    <a:pt x="1011303" y="103441"/>
                    <a:pt x="1010588" y="107721"/>
                    <a:pt x="1009160" y="112001"/>
                  </a:cubicBezTo>
                  <a:cubicBezTo>
                    <a:pt x="987018" y="221863"/>
                    <a:pt x="970590" y="332437"/>
                    <a:pt x="941306" y="440158"/>
                  </a:cubicBezTo>
                  <a:cubicBezTo>
                    <a:pt x="930593" y="479394"/>
                    <a:pt x="915593" y="517204"/>
                    <a:pt x="897737" y="553586"/>
                  </a:cubicBezTo>
                  <a:cubicBezTo>
                    <a:pt x="892023" y="565000"/>
                    <a:pt x="885595" y="577128"/>
                    <a:pt x="879167" y="588542"/>
                  </a:cubicBezTo>
                  <a:cubicBezTo>
                    <a:pt x="855597" y="629918"/>
                    <a:pt x="827027" y="668441"/>
                    <a:pt x="794886" y="703397"/>
                  </a:cubicBezTo>
                  <a:cubicBezTo>
                    <a:pt x="785600" y="714098"/>
                    <a:pt x="689891" y="786863"/>
                    <a:pt x="660607" y="804698"/>
                  </a:cubicBezTo>
                  <a:cubicBezTo>
                    <a:pt x="656322" y="808264"/>
                    <a:pt x="654893" y="813972"/>
                    <a:pt x="657036" y="818965"/>
                  </a:cubicBezTo>
                  <a:cubicBezTo>
                    <a:pt x="673464" y="854634"/>
                    <a:pt x="688463" y="892444"/>
                    <a:pt x="709176" y="925973"/>
                  </a:cubicBezTo>
                  <a:cubicBezTo>
                    <a:pt x="728461" y="955935"/>
                    <a:pt x="752031" y="983757"/>
                    <a:pt x="774887" y="1011579"/>
                  </a:cubicBezTo>
                  <a:cubicBezTo>
                    <a:pt x="781315" y="1018713"/>
                    <a:pt x="776315" y="1028700"/>
                    <a:pt x="767030" y="1028700"/>
                  </a:cubicBezTo>
                  <a:cubicBezTo>
                    <a:pt x="767030" y="1028700"/>
                    <a:pt x="767030" y="1028700"/>
                    <a:pt x="398478" y="1028700"/>
                  </a:cubicBezTo>
                  <a:cubicBezTo>
                    <a:pt x="389908" y="1028700"/>
                    <a:pt x="384908" y="1018713"/>
                    <a:pt x="390622" y="1011579"/>
                  </a:cubicBezTo>
                  <a:cubicBezTo>
                    <a:pt x="413478" y="983757"/>
                    <a:pt x="437048" y="955935"/>
                    <a:pt x="456332" y="925973"/>
                  </a:cubicBezTo>
                  <a:cubicBezTo>
                    <a:pt x="477046" y="892444"/>
                    <a:pt x="492759" y="854634"/>
                    <a:pt x="509187" y="818965"/>
                  </a:cubicBezTo>
                  <a:cubicBezTo>
                    <a:pt x="510615" y="813972"/>
                    <a:pt x="509187" y="808264"/>
                    <a:pt x="504901" y="804698"/>
                  </a:cubicBezTo>
                  <a:cubicBezTo>
                    <a:pt x="475617" y="786863"/>
                    <a:pt x="379908" y="714098"/>
                    <a:pt x="370623" y="703397"/>
                  </a:cubicBezTo>
                  <a:cubicBezTo>
                    <a:pt x="338482" y="668441"/>
                    <a:pt x="310626" y="629205"/>
                    <a:pt x="286342" y="587829"/>
                  </a:cubicBezTo>
                  <a:cubicBezTo>
                    <a:pt x="279913" y="577128"/>
                    <a:pt x="274199" y="565714"/>
                    <a:pt x="268485" y="553586"/>
                  </a:cubicBezTo>
                  <a:cubicBezTo>
                    <a:pt x="249915" y="517204"/>
                    <a:pt x="234916" y="479394"/>
                    <a:pt x="224202" y="440158"/>
                  </a:cubicBezTo>
                  <a:cubicBezTo>
                    <a:pt x="194918" y="332437"/>
                    <a:pt x="178490" y="221863"/>
                    <a:pt x="155634" y="112001"/>
                  </a:cubicBezTo>
                  <a:cubicBezTo>
                    <a:pt x="154920" y="107721"/>
                    <a:pt x="154206" y="102727"/>
                    <a:pt x="152777" y="98447"/>
                  </a:cubicBezTo>
                  <a:cubicBezTo>
                    <a:pt x="152063" y="95594"/>
                    <a:pt x="152063" y="93453"/>
                    <a:pt x="151349" y="91313"/>
                  </a:cubicBezTo>
                  <a:cubicBezTo>
                    <a:pt x="145635" y="68485"/>
                    <a:pt x="140635" y="44943"/>
                    <a:pt x="148492" y="23542"/>
                  </a:cubicBezTo>
                  <a:cubicBezTo>
                    <a:pt x="153492" y="11414"/>
                    <a:pt x="161348" y="4280"/>
                    <a:pt x="171348" y="714"/>
                  </a:cubicBezTo>
                  <a:cubicBezTo>
                    <a:pt x="172776" y="714"/>
                    <a:pt x="174205" y="0"/>
                    <a:pt x="1749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cxnSp>
        <p:nvCxnSpPr>
          <p:cNvPr id="54" name="Straight Connector 53">
            <a:extLst>
              <a:ext uri="{FF2B5EF4-FFF2-40B4-BE49-F238E27FC236}">
                <a16:creationId xmlns:a16="http://schemas.microsoft.com/office/drawing/2014/main" id="{4F28A230-2C14-4B0D-9625-542F5A3DC3ED}"/>
              </a:ext>
            </a:extLst>
          </p:cNvPr>
          <p:cNvCxnSpPr>
            <a:cxnSpLocks/>
          </p:cNvCxnSpPr>
          <p:nvPr/>
        </p:nvCxnSpPr>
        <p:spPr>
          <a:xfrm flipH="1">
            <a:off x="8834814" y="541967"/>
            <a:ext cx="2" cy="2807520"/>
          </a:xfrm>
          <a:prstGeom prst="line">
            <a:avLst/>
          </a:prstGeom>
          <a:ln w="19050"/>
        </p:spPr>
        <p:style>
          <a:lnRef idx="1">
            <a:schemeClr val="accent6"/>
          </a:lnRef>
          <a:fillRef idx="0">
            <a:schemeClr val="accent6"/>
          </a:fillRef>
          <a:effectRef idx="0">
            <a:schemeClr val="accent6"/>
          </a:effectRef>
          <a:fontRef idx="minor">
            <a:schemeClr val="tx1"/>
          </a:fontRef>
        </p:style>
      </p:cxnSp>
      <p:sp>
        <p:nvSpPr>
          <p:cNvPr id="67" name="Rectangle 66">
            <a:extLst>
              <a:ext uri="{FF2B5EF4-FFF2-40B4-BE49-F238E27FC236}">
                <a16:creationId xmlns:a16="http://schemas.microsoft.com/office/drawing/2014/main" id="{C23479DB-EC76-4650-A96D-9A7FA8752D8C}"/>
              </a:ext>
            </a:extLst>
          </p:cNvPr>
          <p:cNvSpPr/>
          <p:nvPr/>
        </p:nvSpPr>
        <p:spPr>
          <a:xfrm>
            <a:off x="8834814" y="5408521"/>
            <a:ext cx="2372771" cy="1203492"/>
          </a:xfrm>
          <a:prstGeom prst="rect">
            <a:avLst/>
          </a:prstGeom>
          <a:ln w="9525" cap="flat" cmpd="sng" algn="ctr">
            <a:noFill/>
            <a:prstDash val="solid"/>
            <a:round/>
            <a:headEnd type="none" w="med" len="med"/>
            <a:tailEnd type="none" w="med" len="med"/>
          </a:ln>
        </p:spPr>
        <p:txBody>
          <a:bodyPr wrap="square" lIns="93269" tIns="46634" rIns="93269" bIns="46634">
            <a:noAutofit/>
          </a:bodyPr>
          <a:lstStyle/>
          <a:p>
            <a:pPr algn="ctr"/>
            <a:r>
              <a:rPr lang="en-US" dirty="0">
                <a:solidFill>
                  <a:srgbClr val="295E7E"/>
                </a:solidFill>
                <a:latin typeface="Trebuchet MS" panose="020B0603020202020204" pitchFamily="34" charset="0"/>
                <a:sym typeface="Trebuchet MS" panose="020B0603020202020204" pitchFamily="34" charset="0"/>
              </a:rPr>
              <a:t>Employees continue to indicate inability to find what they need</a:t>
            </a:r>
          </a:p>
        </p:txBody>
      </p:sp>
      <p:sp>
        <p:nvSpPr>
          <p:cNvPr id="68" name="Rounded Rectangle 10">
            <a:extLst>
              <a:ext uri="{FF2B5EF4-FFF2-40B4-BE49-F238E27FC236}">
                <a16:creationId xmlns:a16="http://schemas.microsoft.com/office/drawing/2014/main" id="{7DEB058B-AC2B-49DF-A0F1-9DFE77AA6196}"/>
              </a:ext>
            </a:extLst>
          </p:cNvPr>
          <p:cNvSpPr/>
          <p:nvPr/>
        </p:nvSpPr>
        <p:spPr>
          <a:xfrm>
            <a:off x="595330" y="3592794"/>
            <a:ext cx="10941704" cy="1800000"/>
          </a:xfrm>
          <a:prstGeom prst="roundRect">
            <a:avLst>
              <a:gd name="adj" fmla="val 50000"/>
            </a:avLst>
          </a:prstGeom>
          <a:solidFill>
            <a:srgbClr val="C8C8C8"/>
          </a:solidFill>
          <a:ln w="15875" cap="rnd" cmpd="sng" algn="ctr">
            <a:noFill/>
            <a:prstDash val="solid"/>
            <a:round/>
            <a:headEnd type="none" w="med" len="med"/>
            <a:tailEnd type="none" w="med" len="med"/>
          </a:ln>
          <a:effectLst>
            <a:outerShdw blurRad="101600" dist="50800" dir="2400000" algn="l" rotWithShape="0">
              <a:prstClr val="black">
                <a:alpha val="20000"/>
              </a:prstClr>
            </a:outerShdw>
          </a:effectLst>
          <a:extLst>
            <a:ext uri="{91240B29-F687-4F45-9708-019B960494DF}">
              <a14:hiddenLine xmlns:a14="http://schemas.microsoft.com/office/drawing/2010/main" w="158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Rounded Rectangle 8">
            <a:extLst>
              <a:ext uri="{FF2B5EF4-FFF2-40B4-BE49-F238E27FC236}">
                <a16:creationId xmlns:a16="http://schemas.microsoft.com/office/drawing/2014/main" id="{584F25F7-F074-4638-AACF-454B3E0B5A57}"/>
              </a:ext>
            </a:extLst>
          </p:cNvPr>
          <p:cNvSpPr/>
          <p:nvPr/>
        </p:nvSpPr>
        <p:spPr>
          <a:xfrm>
            <a:off x="3695115" y="3804494"/>
            <a:ext cx="7426566" cy="1376599"/>
          </a:xfrm>
          <a:prstGeom prst="roundRect">
            <a:avLst>
              <a:gd name="adj" fmla="val 347383"/>
            </a:avLst>
          </a:prstGeom>
          <a:solidFill>
            <a:srgbClr val="FFFFFF"/>
          </a:solidFill>
          <a:ln w="15875" cap="rnd" cmpd="sng" algn="ctr">
            <a:noFill/>
            <a:prstDash val="solid"/>
            <a:round/>
            <a:headEnd type="none" w="med" len="med"/>
            <a:tailEnd type="none" w="med" len="med"/>
          </a:ln>
          <a:effectLst>
            <a:outerShdw blurRad="101600" dist="50800" dir="24000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70" name="Straight Connector 69">
            <a:extLst>
              <a:ext uri="{FF2B5EF4-FFF2-40B4-BE49-F238E27FC236}">
                <a16:creationId xmlns:a16="http://schemas.microsoft.com/office/drawing/2014/main" id="{269EAEFF-5DAA-4752-96AB-0C9935A23E3F}"/>
              </a:ext>
            </a:extLst>
          </p:cNvPr>
          <p:cNvCxnSpPr>
            <a:cxnSpLocks/>
          </p:cNvCxnSpPr>
          <p:nvPr/>
        </p:nvCxnSpPr>
        <p:spPr>
          <a:xfrm>
            <a:off x="6264965" y="3804494"/>
            <a:ext cx="0" cy="2807519"/>
          </a:xfrm>
          <a:prstGeom prst="line">
            <a:avLst/>
          </a:prstGeom>
          <a:ln w="19050"/>
        </p:spPr>
        <p:style>
          <a:lnRef idx="1">
            <a:schemeClr val="accent6"/>
          </a:lnRef>
          <a:fillRef idx="0">
            <a:schemeClr val="accent6"/>
          </a:fillRef>
          <a:effectRef idx="0">
            <a:schemeClr val="accent6"/>
          </a:effectRef>
          <a:fontRef idx="minor">
            <a:schemeClr val="tx1"/>
          </a:fontRef>
        </p:style>
      </p:cxnSp>
      <p:sp>
        <p:nvSpPr>
          <p:cNvPr id="72" name="Title 2">
            <a:extLst>
              <a:ext uri="{FF2B5EF4-FFF2-40B4-BE49-F238E27FC236}">
                <a16:creationId xmlns:a16="http://schemas.microsoft.com/office/drawing/2014/main" id="{C8B7C8C9-E1A4-4B35-BDD8-A326EA1E1105}"/>
              </a:ext>
            </a:extLst>
          </p:cNvPr>
          <p:cNvSpPr txBox="1">
            <a:spLocks/>
          </p:cNvSpPr>
          <p:nvPr/>
        </p:nvSpPr>
        <p:spPr>
          <a:xfrm>
            <a:off x="3803182" y="4312743"/>
            <a:ext cx="2436103" cy="3600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gn="ctr">
              <a:buSzPct val="100000"/>
            </a:pPr>
            <a:r>
              <a:rPr lang="en-US" sz="2600" dirty="0">
                <a:solidFill>
                  <a:srgbClr val="295E7E"/>
                </a:solidFill>
                <a:latin typeface="Trebuchet MS" panose="020B0603020202020204" pitchFamily="34" charset="0"/>
              </a:rPr>
              <a:t>Client Work</a:t>
            </a:r>
          </a:p>
        </p:txBody>
      </p:sp>
      <p:sp>
        <p:nvSpPr>
          <p:cNvPr id="73" name="Rectangle 72">
            <a:extLst>
              <a:ext uri="{FF2B5EF4-FFF2-40B4-BE49-F238E27FC236}">
                <a16:creationId xmlns:a16="http://schemas.microsoft.com/office/drawing/2014/main" id="{BC21E0CB-9C11-45B1-9330-4875D17B2274}"/>
              </a:ext>
            </a:extLst>
          </p:cNvPr>
          <p:cNvSpPr/>
          <p:nvPr/>
        </p:nvSpPr>
        <p:spPr>
          <a:xfrm>
            <a:off x="3695115" y="5397093"/>
            <a:ext cx="2569850" cy="1214920"/>
          </a:xfrm>
          <a:prstGeom prst="rect">
            <a:avLst/>
          </a:prstGeom>
          <a:ln w="9525" cap="flat" cmpd="sng" algn="ctr">
            <a:noFill/>
            <a:prstDash val="solid"/>
            <a:round/>
            <a:headEnd type="none" w="med" len="med"/>
            <a:tailEnd type="none" w="med" len="med"/>
          </a:ln>
        </p:spPr>
        <p:txBody>
          <a:bodyPr wrap="square" lIns="93269" tIns="46634" rIns="93269" bIns="46634">
            <a:noAutofit/>
          </a:bodyPr>
          <a:lstStyle/>
          <a:p>
            <a:pPr algn="ctr"/>
            <a:r>
              <a:rPr lang="en-US" dirty="0">
                <a:solidFill>
                  <a:srgbClr val="295E7E"/>
                </a:solidFill>
                <a:latin typeface="Trebuchet MS" panose="020B0603020202020204" pitchFamily="34" charset="0"/>
                <a:sym typeface="Trebuchet MS" panose="020B0603020202020204" pitchFamily="34" charset="0"/>
              </a:rPr>
              <a:t>CT report challenges working at client sites &amp; using BCG tools with clients </a:t>
            </a:r>
          </a:p>
        </p:txBody>
      </p:sp>
      <p:sp>
        <p:nvSpPr>
          <p:cNvPr id="75" name="Rectangle 74">
            <a:extLst>
              <a:ext uri="{FF2B5EF4-FFF2-40B4-BE49-F238E27FC236}">
                <a16:creationId xmlns:a16="http://schemas.microsoft.com/office/drawing/2014/main" id="{F9557BF5-6E6D-4512-8879-0BFC9B6E644C}"/>
              </a:ext>
            </a:extLst>
          </p:cNvPr>
          <p:cNvSpPr/>
          <p:nvPr/>
        </p:nvSpPr>
        <p:spPr>
          <a:xfrm>
            <a:off x="6264965" y="5401392"/>
            <a:ext cx="2569850" cy="1210621"/>
          </a:xfrm>
          <a:prstGeom prst="rect">
            <a:avLst/>
          </a:prstGeom>
          <a:ln w="9525" cap="flat" cmpd="sng" algn="ctr">
            <a:noFill/>
            <a:prstDash val="solid"/>
            <a:round/>
            <a:headEnd type="none" w="med" len="med"/>
            <a:tailEnd type="none" w="med" len="med"/>
          </a:ln>
        </p:spPr>
        <p:txBody>
          <a:bodyPr wrap="square" lIns="93269" tIns="46634" rIns="93269" bIns="46634">
            <a:noAutofit/>
          </a:bodyPr>
          <a:lstStyle/>
          <a:p>
            <a:pPr algn="ctr">
              <a:buClr>
                <a:srgbClr val="FF0000"/>
              </a:buClr>
              <a:buSzPct val="120000"/>
            </a:pPr>
            <a:r>
              <a:rPr lang="en-GB" dirty="0">
                <a:solidFill>
                  <a:srgbClr val="295E7E"/>
                </a:solidFill>
              </a:rPr>
              <a:t>Digital learning has not improved vs 2020. The mode of learning is of particular focus</a:t>
            </a:r>
            <a:endParaRPr lang="en-US" dirty="0">
              <a:solidFill>
                <a:srgbClr val="295E7E"/>
              </a:solidFill>
              <a:latin typeface="Trebuchet MS" panose="020B0603020202020204" pitchFamily="34" charset="0"/>
              <a:sym typeface="Trebuchet MS" panose="020B0603020202020204" pitchFamily="34" charset="0"/>
            </a:endParaRPr>
          </a:p>
        </p:txBody>
      </p:sp>
      <p:cxnSp>
        <p:nvCxnSpPr>
          <p:cNvPr id="76" name="Straight Connector 75">
            <a:extLst>
              <a:ext uri="{FF2B5EF4-FFF2-40B4-BE49-F238E27FC236}">
                <a16:creationId xmlns:a16="http://schemas.microsoft.com/office/drawing/2014/main" id="{0871B04A-9078-45C2-9BCD-2C4D32262A67}"/>
              </a:ext>
            </a:extLst>
          </p:cNvPr>
          <p:cNvCxnSpPr>
            <a:cxnSpLocks/>
          </p:cNvCxnSpPr>
          <p:nvPr/>
        </p:nvCxnSpPr>
        <p:spPr>
          <a:xfrm flipH="1">
            <a:off x="8834814" y="3804493"/>
            <a:ext cx="2" cy="2807520"/>
          </a:xfrm>
          <a:prstGeom prst="line">
            <a:avLst/>
          </a:prstGeom>
          <a:ln w="19050"/>
        </p:spPr>
        <p:style>
          <a:lnRef idx="1">
            <a:schemeClr val="accent6"/>
          </a:lnRef>
          <a:fillRef idx="0">
            <a:schemeClr val="accent6"/>
          </a:fillRef>
          <a:effectRef idx="0">
            <a:schemeClr val="accent6"/>
          </a:effectRef>
          <a:fontRef idx="minor">
            <a:schemeClr val="tx1"/>
          </a:fontRef>
        </p:style>
      </p:cxnSp>
      <p:grpSp>
        <p:nvGrpSpPr>
          <p:cNvPr id="77" name="Group 76">
            <a:extLst>
              <a:ext uri="{FF2B5EF4-FFF2-40B4-BE49-F238E27FC236}">
                <a16:creationId xmlns:a16="http://schemas.microsoft.com/office/drawing/2014/main" id="{0351CFFD-D270-4923-974D-6912FEFF45EE}"/>
              </a:ext>
            </a:extLst>
          </p:cNvPr>
          <p:cNvGrpSpPr>
            <a:grpSpLocks noChangeAspect="1"/>
          </p:cNvGrpSpPr>
          <p:nvPr/>
        </p:nvGrpSpPr>
        <p:grpSpPr>
          <a:xfrm>
            <a:off x="1156304" y="3663760"/>
            <a:ext cx="1644650" cy="1644650"/>
            <a:chOff x="5273675" y="2606675"/>
            <a:chExt cx="1644650" cy="1644650"/>
          </a:xfrm>
        </p:grpSpPr>
        <p:sp>
          <p:nvSpPr>
            <p:cNvPr id="78" name="AutoShape 3">
              <a:extLst>
                <a:ext uri="{FF2B5EF4-FFF2-40B4-BE49-F238E27FC236}">
                  <a16:creationId xmlns:a16="http://schemas.microsoft.com/office/drawing/2014/main" id="{AABC0D8C-4EF5-4C76-BA21-D437BF272FE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8">
              <a:extLst>
                <a:ext uri="{FF2B5EF4-FFF2-40B4-BE49-F238E27FC236}">
                  <a16:creationId xmlns:a16="http://schemas.microsoft.com/office/drawing/2014/main" id="{F3CB4E38-A61C-4539-8765-17C6B7E3CA96}"/>
                </a:ext>
              </a:extLst>
            </p:cNvPr>
            <p:cNvSpPr>
              <a:spLocks/>
            </p:cNvSpPr>
            <p:nvPr/>
          </p:nvSpPr>
          <p:spPr bwMode="auto">
            <a:xfrm>
              <a:off x="5567650" y="2832877"/>
              <a:ext cx="1045370" cy="1210486"/>
            </a:xfrm>
            <a:custGeom>
              <a:avLst/>
              <a:gdLst>
                <a:gd name="connsiteX0" fmla="*/ 265245 w 1045370"/>
                <a:gd name="connsiteY0" fmla="*/ 794561 h 1210486"/>
                <a:gd name="connsiteX1" fmla="*/ 32414 w 1045370"/>
                <a:gd name="connsiteY1" fmla="*/ 1100478 h 1210486"/>
                <a:gd name="connsiteX2" fmla="*/ 65982 w 1045370"/>
                <a:gd name="connsiteY2" fmla="*/ 1156682 h 1210486"/>
                <a:gd name="connsiteX3" fmla="*/ 109548 w 1045370"/>
                <a:gd name="connsiteY3" fmla="*/ 1177313 h 1210486"/>
                <a:gd name="connsiteX4" fmla="*/ 129546 w 1045370"/>
                <a:gd name="connsiteY4" fmla="*/ 1174468 h 1210486"/>
                <a:gd name="connsiteX5" fmla="*/ 361663 w 1045370"/>
                <a:gd name="connsiteY5" fmla="*/ 867839 h 1210486"/>
                <a:gd name="connsiteX6" fmla="*/ 265245 w 1045370"/>
                <a:gd name="connsiteY6" fmla="*/ 794561 h 1210486"/>
                <a:gd name="connsiteX7" fmla="*/ 260672 w 1045370"/>
                <a:gd name="connsiteY7" fmla="*/ 755588 h 1210486"/>
                <a:gd name="connsiteX8" fmla="*/ 272098 w 1045370"/>
                <a:gd name="connsiteY8" fmla="*/ 758449 h 1210486"/>
                <a:gd name="connsiteX9" fmla="*/ 393495 w 1045370"/>
                <a:gd name="connsiteY9" fmla="*/ 852147 h 1210486"/>
                <a:gd name="connsiteX10" fmla="*/ 396352 w 1045370"/>
                <a:gd name="connsiteY10" fmla="*/ 874320 h 1210486"/>
                <a:gd name="connsiteX11" fmla="*/ 154986 w 1045370"/>
                <a:gd name="connsiteY11" fmla="*/ 1194035 h 1210486"/>
                <a:gd name="connsiteX12" fmla="*/ 117852 w 1045370"/>
                <a:gd name="connsiteY12" fmla="*/ 1210486 h 1210486"/>
                <a:gd name="connsiteX13" fmla="*/ 104285 w 1045370"/>
                <a:gd name="connsiteY13" fmla="*/ 1209056 h 1210486"/>
                <a:gd name="connsiteX14" fmla="*/ 47871 w 1045370"/>
                <a:gd name="connsiteY14" fmla="*/ 1182591 h 1210486"/>
                <a:gd name="connsiteX15" fmla="*/ 7881 w 1045370"/>
                <a:gd name="connsiteY15" fmla="*/ 1082457 h 1210486"/>
                <a:gd name="connsiteX16" fmla="*/ 249961 w 1045370"/>
                <a:gd name="connsiteY16" fmla="*/ 761310 h 1210486"/>
                <a:gd name="connsiteX17" fmla="*/ 260672 w 1045370"/>
                <a:gd name="connsiteY17" fmla="*/ 755588 h 1210486"/>
                <a:gd name="connsiteX18" fmla="*/ 774993 w 1045370"/>
                <a:gd name="connsiteY18" fmla="*/ 154566 h 1210486"/>
                <a:gd name="connsiteX19" fmla="*/ 765991 w 1045370"/>
                <a:gd name="connsiteY19" fmla="*/ 162325 h 1210486"/>
                <a:gd name="connsiteX20" fmla="*/ 772409 w 1045370"/>
                <a:gd name="connsiteY20" fmla="*/ 183730 h 1210486"/>
                <a:gd name="connsiteX21" fmla="*/ 802356 w 1045370"/>
                <a:gd name="connsiteY21" fmla="*/ 202994 h 1210486"/>
                <a:gd name="connsiteX22" fmla="*/ 890059 w 1045370"/>
                <a:gd name="connsiteY22" fmla="*/ 353539 h 1210486"/>
                <a:gd name="connsiteX23" fmla="*/ 844425 w 1045370"/>
                <a:gd name="connsiteY23" fmla="*/ 521207 h 1210486"/>
                <a:gd name="connsiteX24" fmla="*/ 796652 w 1045370"/>
                <a:gd name="connsiteY24" fmla="*/ 567584 h 1210486"/>
                <a:gd name="connsiteX25" fmla="*/ 793087 w 1045370"/>
                <a:gd name="connsiteY25" fmla="*/ 589702 h 1210486"/>
                <a:gd name="connsiteX26" fmla="*/ 805921 w 1045370"/>
                <a:gd name="connsiteY26" fmla="*/ 596123 h 1210486"/>
                <a:gd name="connsiteX27" fmla="*/ 815190 w 1045370"/>
                <a:gd name="connsiteY27" fmla="*/ 593269 h 1210486"/>
                <a:gd name="connsiteX28" fmla="*/ 869381 w 1045370"/>
                <a:gd name="connsiteY28" fmla="*/ 540471 h 1210486"/>
                <a:gd name="connsiteX29" fmla="*/ 921432 w 1045370"/>
                <a:gd name="connsiteY29" fmla="*/ 349258 h 1210486"/>
                <a:gd name="connsiteX30" fmla="*/ 820895 w 1045370"/>
                <a:gd name="connsiteY30" fmla="*/ 178022 h 1210486"/>
                <a:gd name="connsiteX31" fmla="*/ 786669 w 1045370"/>
                <a:gd name="connsiteY31" fmla="*/ 155904 h 1210486"/>
                <a:gd name="connsiteX32" fmla="*/ 774993 w 1045370"/>
                <a:gd name="connsiteY32" fmla="*/ 154566 h 1210486"/>
                <a:gd name="connsiteX33" fmla="*/ 679939 w 1045370"/>
                <a:gd name="connsiteY33" fmla="*/ 81941 h 1210486"/>
                <a:gd name="connsiteX34" fmla="*/ 847738 w 1045370"/>
                <a:gd name="connsiteY34" fmla="*/ 143293 h 1210486"/>
                <a:gd name="connsiteX35" fmla="*/ 904180 w 1045370"/>
                <a:gd name="connsiteY35" fmla="*/ 568075 h 1210486"/>
                <a:gd name="connsiteX36" fmla="*/ 474791 w 1045370"/>
                <a:gd name="connsiteY36" fmla="*/ 625093 h 1210486"/>
                <a:gd name="connsiteX37" fmla="*/ 417635 w 1045370"/>
                <a:gd name="connsiteY37" fmla="*/ 201023 h 1210486"/>
                <a:gd name="connsiteX38" fmla="*/ 679939 w 1045370"/>
                <a:gd name="connsiteY38" fmla="*/ 81941 h 1210486"/>
                <a:gd name="connsiteX39" fmla="*/ 682264 w 1045370"/>
                <a:gd name="connsiteY39" fmla="*/ 48100 h 1210486"/>
                <a:gd name="connsiteX40" fmla="*/ 395387 w 1045370"/>
                <a:gd name="connsiteY40" fmla="*/ 178934 h 1210486"/>
                <a:gd name="connsiteX41" fmla="*/ 426816 w 1045370"/>
                <a:gd name="connsiteY41" fmla="*/ 622375 h 1210486"/>
                <a:gd name="connsiteX42" fmla="*/ 458245 w 1045370"/>
                <a:gd name="connsiteY42" fmla="*/ 650224 h 1210486"/>
                <a:gd name="connsiteX43" fmla="*/ 488960 w 1045370"/>
                <a:gd name="connsiteY43" fmla="*/ 670932 h 1210486"/>
                <a:gd name="connsiteX44" fmla="*/ 928968 w 1045370"/>
                <a:gd name="connsiteY44" fmla="*/ 587385 h 1210486"/>
                <a:gd name="connsiteX45" fmla="*/ 866110 w 1045370"/>
                <a:gd name="connsiteY45" fmla="*/ 116810 h 1210486"/>
                <a:gd name="connsiteX46" fmla="*/ 682264 w 1045370"/>
                <a:gd name="connsiteY46" fmla="*/ 48100 h 1210486"/>
                <a:gd name="connsiteX47" fmla="*/ 684983 w 1045370"/>
                <a:gd name="connsiteY47" fmla="*/ 623 h 1210486"/>
                <a:gd name="connsiteX48" fmla="*/ 895212 w 1045370"/>
                <a:gd name="connsiteY48" fmla="*/ 78517 h 1210486"/>
                <a:gd name="connsiteX49" fmla="*/ 966597 w 1045370"/>
                <a:gd name="connsiteY49" fmla="*/ 616813 h 1210486"/>
                <a:gd name="connsiteX50" fmla="*/ 484039 w 1045370"/>
                <a:gd name="connsiteY50" fmla="*/ 723187 h 1210486"/>
                <a:gd name="connsiteX51" fmla="*/ 407658 w 1045370"/>
                <a:gd name="connsiteY51" fmla="*/ 823136 h 1210486"/>
                <a:gd name="connsiteX52" fmla="*/ 300582 w 1045370"/>
                <a:gd name="connsiteY52" fmla="*/ 741035 h 1210486"/>
                <a:gd name="connsiteX53" fmla="*/ 377677 w 1045370"/>
                <a:gd name="connsiteY53" fmla="*/ 639659 h 1210486"/>
                <a:gd name="connsiteX54" fmla="*/ 357689 w 1045370"/>
                <a:gd name="connsiteY54" fmla="*/ 150623 h 1210486"/>
                <a:gd name="connsiteX55" fmla="*/ 684983 w 1045370"/>
                <a:gd name="connsiteY55" fmla="*/ 623 h 1210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45370" h="1210486">
                  <a:moveTo>
                    <a:pt x="265245" y="794561"/>
                  </a:moveTo>
                  <a:cubicBezTo>
                    <a:pt x="32414" y="1100478"/>
                    <a:pt x="32414" y="1100478"/>
                    <a:pt x="32414" y="1100478"/>
                  </a:cubicBezTo>
                  <a:cubicBezTo>
                    <a:pt x="26700" y="1108304"/>
                    <a:pt x="37413" y="1134627"/>
                    <a:pt x="65982" y="1156682"/>
                  </a:cubicBezTo>
                  <a:cubicBezTo>
                    <a:pt x="80266" y="1167353"/>
                    <a:pt x="95978" y="1174468"/>
                    <a:pt x="109548" y="1177313"/>
                  </a:cubicBezTo>
                  <a:cubicBezTo>
                    <a:pt x="118833" y="1178736"/>
                    <a:pt x="126689" y="1177313"/>
                    <a:pt x="129546" y="1174468"/>
                  </a:cubicBezTo>
                  <a:cubicBezTo>
                    <a:pt x="361663" y="867839"/>
                    <a:pt x="361663" y="867839"/>
                    <a:pt x="361663" y="867839"/>
                  </a:cubicBezTo>
                  <a:cubicBezTo>
                    <a:pt x="265245" y="794561"/>
                    <a:pt x="265245" y="794561"/>
                    <a:pt x="265245" y="794561"/>
                  </a:cubicBezTo>
                  <a:close/>
                  <a:moveTo>
                    <a:pt x="260672" y="755588"/>
                  </a:moveTo>
                  <a:cubicBezTo>
                    <a:pt x="264243" y="754873"/>
                    <a:pt x="268528" y="756304"/>
                    <a:pt x="272098" y="758449"/>
                  </a:cubicBezTo>
                  <a:cubicBezTo>
                    <a:pt x="393495" y="852147"/>
                    <a:pt x="393495" y="852147"/>
                    <a:pt x="393495" y="852147"/>
                  </a:cubicBezTo>
                  <a:cubicBezTo>
                    <a:pt x="400636" y="857154"/>
                    <a:pt x="401350" y="867167"/>
                    <a:pt x="396352" y="874320"/>
                  </a:cubicBezTo>
                  <a:cubicBezTo>
                    <a:pt x="154986" y="1194035"/>
                    <a:pt x="154986" y="1194035"/>
                    <a:pt x="154986" y="1194035"/>
                  </a:cubicBezTo>
                  <a:cubicBezTo>
                    <a:pt x="146416" y="1204764"/>
                    <a:pt x="133563" y="1210486"/>
                    <a:pt x="117852" y="1210486"/>
                  </a:cubicBezTo>
                  <a:cubicBezTo>
                    <a:pt x="113568" y="1210486"/>
                    <a:pt x="109283" y="1209771"/>
                    <a:pt x="104285" y="1209056"/>
                  </a:cubicBezTo>
                  <a:cubicBezTo>
                    <a:pt x="86432" y="1206195"/>
                    <a:pt x="65723" y="1196181"/>
                    <a:pt x="47871" y="1182591"/>
                  </a:cubicBezTo>
                  <a:cubicBezTo>
                    <a:pt x="5739" y="1150405"/>
                    <a:pt x="-11400" y="1107490"/>
                    <a:pt x="7881" y="1082457"/>
                  </a:cubicBezTo>
                  <a:cubicBezTo>
                    <a:pt x="249961" y="761310"/>
                    <a:pt x="249961" y="761310"/>
                    <a:pt x="249961" y="761310"/>
                  </a:cubicBezTo>
                  <a:cubicBezTo>
                    <a:pt x="252817" y="758449"/>
                    <a:pt x="256388" y="756304"/>
                    <a:pt x="260672" y="755588"/>
                  </a:cubicBezTo>
                  <a:close/>
                  <a:moveTo>
                    <a:pt x="774993" y="154566"/>
                  </a:moveTo>
                  <a:cubicBezTo>
                    <a:pt x="771161" y="155726"/>
                    <a:pt x="767774" y="158401"/>
                    <a:pt x="765991" y="162325"/>
                  </a:cubicBezTo>
                  <a:cubicBezTo>
                    <a:pt x="761713" y="170174"/>
                    <a:pt x="764565" y="179449"/>
                    <a:pt x="772409" y="183730"/>
                  </a:cubicBezTo>
                  <a:cubicBezTo>
                    <a:pt x="782391" y="189438"/>
                    <a:pt x="792374" y="195859"/>
                    <a:pt x="802356" y="202994"/>
                  </a:cubicBezTo>
                  <a:cubicBezTo>
                    <a:pt x="850842" y="240095"/>
                    <a:pt x="882215" y="292893"/>
                    <a:pt x="890059" y="353539"/>
                  </a:cubicBezTo>
                  <a:cubicBezTo>
                    <a:pt x="897902" y="413471"/>
                    <a:pt x="882215" y="473404"/>
                    <a:pt x="844425" y="521207"/>
                  </a:cubicBezTo>
                  <a:cubicBezTo>
                    <a:pt x="830877" y="539044"/>
                    <a:pt x="814477" y="554741"/>
                    <a:pt x="796652" y="567584"/>
                  </a:cubicBezTo>
                  <a:cubicBezTo>
                    <a:pt x="789521" y="573292"/>
                    <a:pt x="788095" y="582567"/>
                    <a:pt x="793087" y="589702"/>
                  </a:cubicBezTo>
                  <a:cubicBezTo>
                    <a:pt x="795939" y="593983"/>
                    <a:pt x="800930" y="596123"/>
                    <a:pt x="805921" y="596123"/>
                  </a:cubicBezTo>
                  <a:cubicBezTo>
                    <a:pt x="808773" y="596123"/>
                    <a:pt x="812338" y="595410"/>
                    <a:pt x="815190" y="593269"/>
                  </a:cubicBezTo>
                  <a:cubicBezTo>
                    <a:pt x="835868" y="578286"/>
                    <a:pt x="853694" y="561162"/>
                    <a:pt x="869381" y="540471"/>
                  </a:cubicBezTo>
                  <a:cubicBezTo>
                    <a:pt x="912163" y="485533"/>
                    <a:pt x="929988" y="417752"/>
                    <a:pt x="921432" y="349258"/>
                  </a:cubicBezTo>
                  <a:cubicBezTo>
                    <a:pt x="912163" y="280764"/>
                    <a:pt x="876511" y="220118"/>
                    <a:pt x="820895" y="178022"/>
                  </a:cubicBezTo>
                  <a:cubicBezTo>
                    <a:pt x="810199" y="169460"/>
                    <a:pt x="798791" y="162325"/>
                    <a:pt x="786669" y="155904"/>
                  </a:cubicBezTo>
                  <a:cubicBezTo>
                    <a:pt x="783104" y="153764"/>
                    <a:pt x="778826" y="153407"/>
                    <a:pt x="774993" y="154566"/>
                  </a:cubicBezTo>
                  <a:close/>
                  <a:moveTo>
                    <a:pt x="679939" y="81941"/>
                  </a:moveTo>
                  <a:cubicBezTo>
                    <a:pt x="738861" y="85228"/>
                    <a:pt x="797369" y="105340"/>
                    <a:pt x="847738" y="143293"/>
                  </a:cubicBezTo>
                  <a:cubicBezTo>
                    <a:pt x="982056" y="245212"/>
                    <a:pt x="1007776" y="434796"/>
                    <a:pt x="904180" y="568075"/>
                  </a:cubicBezTo>
                  <a:cubicBezTo>
                    <a:pt x="801298" y="701354"/>
                    <a:pt x="609109" y="726299"/>
                    <a:pt x="474791" y="625093"/>
                  </a:cubicBezTo>
                  <a:cubicBezTo>
                    <a:pt x="339044" y="523886"/>
                    <a:pt x="314038" y="333589"/>
                    <a:pt x="417635" y="201023"/>
                  </a:cubicBezTo>
                  <a:cubicBezTo>
                    <a:pt x="482382" y="117724"/>
                    <a:pt x="581736" y="76464"/>
                    <a:pt x="679939" y="81941"/>
                  </a:cubicBezTo>
                  <a:close/>
                  <a:moveTo>
                    <a:pt x="682264" y="48100"/>
                  </a:moveTo>
                  <a:cubicBezTo>
                    <a:pt x="574687" y="41642"/>
                    <a:pt x="465924" y="86997"/>
                    <a:pt x="395387" y="178934"/>
                  </a:cubicBezTo>
                  <a:cubicBezTo>
                    <a:pt x="291813" y="315323"/>
                    <a:pt x="307528" y="505981"/>
                    <a:pt x="426816" y="622375"/>
                  </a:cubicBezTo>
                  <a:cubicBezTo>
                    <a:pt x="436816" y="632372"/>
                    <a:pt x="447530" y="641655"/>
                    <a:pt x="458245" y="650224"/>
                  </a:cubicBezTo>
                  <a:cubicBezTo>
                    <a:pt x="468245" y="657365"/>
                    <a:pt x="478245" y="664505"/>
                    <a:pt x="488960" y="670932"/>
                  </a:cubicBezTo>
                  <a:cubicBezTo>
                    <a:pt x="633248" y="758049"/>
                    <a:pt x="823966" y="724488"/>
                    <a:pt x="928968" y="587385"/>
                  </a:cubicBezTo>
                  <a:cubicBezTo>
                    <a:pt x="1041113" y="440286"/>
                    <a:pt x="1013256" y="228920"/>
                    <a:pt x="866110" y="116810"/>
                  </a:cubicBezTo>
                  <a:cubicBezTo>
                    <a:pt x="810930" y="74501"/>
                    <a:pt x="746811" y="51974"/>
                    <a:pt x="682264" y="48100"/>
                  </a:cubicBezTo>
                  <a:close/>
                  <a:moveTo>
                    <a:pt x="684983" y="623"/>
                  </a:moveTo>
                  <a:cubicBezTo>
                    <a:pt x="758724" y="4827"/>
                    <a:pt x="832037" y="30327"/>
                    <a:pt x="895212" y="78517"/>
                  </a:cubicBezTo>
                  <a:cubicBezTo>
                    <a:pt x="1062965" y="207737"/>
                    <a:pt x="1095088" y="448328"/>
                    <a:pt x="966597" y="616813"/>
                  </a:cubicBezTo>
                  <a:cubicBezTo>
                    <a:pt x="851668" y="766736"/>
                    <a:pt x="646081" y="808144"/>
                    <a:pt x="484039" y="723187"/>
                  </a:cubicBezTo>
                  <a:cubicBezTo>
                    <a:pt x="484039" y="723187"/>
                    <a:pt x="484039" y="723187"/>
                    <a:pt x="407658" y="823136"/>
                  </a:cubicBezTo>
                  <a:cubicBezTo>
                    <a:pt x="407658" y="823136"/>
                    <a:pt x="407658" y="823136"/>
                    <a:pt x="300582" y="741035"/>
                  </a:cubicBezTo>
                  <a:cubicBezTo>
                    <a:pt x="305579" y="734610"/>
                    <a:pt x="321283" y="713192"/>
                    <a:pt x="377677" y="639659"/>
                  </a:cubicBezTo>
                  <a:cubicBezTo>
                    <a:pt x="256324" y="505441"/>
                    <a:pt x="244188" y="299118"/>
                    <a:pt x="357689" y="150623"/>
                  </a:cubicBezTo>
                  <a:cubicBezTo>
                    <a:pt x="437996" y="45766"/>
                    <a:pt x="562082" y="-6384"/>
                    <a:pt x="684983" y="623"/>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80" name="Title 2">
            <a:extLst>
              <a:ext uri="{FF2B5EF4-FFF2-40B4-BE49-F238E27FC236}">
                <a16:creationId xmlns:a16="http://schemas.microsoft.com/office/drawing/2014/main" id="{0255FD9A-9CB0-4CFC-B487-4F3F4C53C728}"/>
              </a:ext>
            </a:extLst>
          </p:cNvPr>
          <p:cNvSpPr txBox="1">
            <a:spLocks/>
          </p:cNvSpPr>
          <p:nvPr/>
        </p:nvSpPr>
        <p:spPr>
          <a:xfrm>
            <a:off x="6353911" y="4312928"/>
            <a:ext cx="2436103" cy="3600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gn="ctr">
              <a:buSzPct val="100000"/>
            </a:pPr>
            <a:r>
              <a:rPr lang="en-US" sz="2600" dirty="0">
                <a:solidFill>
                  <a:srgbClr val="295E7E"/>
                </a:solidFill>
                <a:latin typeface="Trebuchet MS" panose="020B0603020202020204" pitchFamily="34" charset="0"/>
              </a:rPr>
              <a:t>Digital Learning</a:t>
            </a:r>
          </a:p>
        </p:txBody>
      </p:sp>
      <p:sp>
        <p:nvSpPr>
          <p:cNvPr id="81" name="Title 2">
            <a:extLst>
              <a:ext uri="{FF2B5EF4-FFF2-40B4-BE49-F238E27FC236}">
                <a16:creationId xmlns:a16="http://schemas.microsoft.com/office/drawing/2014/main" id="{75C5F4DD-1AA9-4003-8D2D-65C184B041BB}"/>
              </a:ext>
            </a:extLst>
          </p:cNvPr>
          <p:cNvSpPr txBox="1">
            <a:spLocks/>
          </p:cNvSpPr>
          <p:nvPr/>
        </p:nvSpPr>
        <p:spPr>
          <a:xfrm>
            <a:off x="8880368" y="4312928"/>
            <a:ext cx="2155317" cy="3600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gn="ctr">
              <a:buSzPct val="100000"/>
            </a:pPr>
            <a:r>
              <a:rPr lang="en-US" sz="2600" dirty="0">
                <a:solidFill>
                  <a:srgbClr val="295E7E"/>
                </a:solidFill>
                <a:latin typeface="Trebuchet MS" panose="020B0603020202020204" pitchFamily="34" charset="0"/>
              </a:rPr>
              <a:t>Search</a:t>
            </a:r>
          </a:p>
        </p:txBody>
      </p:sp>
    </p:spTree>
    <p:extLst>
      <p:ext uri="{BB962C8B-B14F-4D97-AF65-F5344CB8AC3E}">
        <p14:creationId xmlns:p14="http://schemas.microsoft.com/office/powerpoint/2010/main" val="2009980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2"/>
            </p:custDataLst>
            <p:extLst>
              <p:ext uri="{D42A27DB-BD31-4B8C-83A1-F6EECF244321}">
                <p14:modId xmlns:p14="http://schemas.microsoft.com/office/powerpoint/2010/main" val="914896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893"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0876" name="Picture 460" descr="Confetti Corner Transparent Image | PNG Arts">
            <a:extLst>
              <a:ext uri="{FF2B5EF4-FFF2-40B4-BE49-F238E27FC236}">
                <a16:creationId xmlns:a16="http://schemas.microsoft.com/office/drawing/2014/main" id="{B3281C87-CA6A-4AF6-B755-4D5C5D2873D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551" r="2178"/>
          <a:stretch/>
        </p:blipFill>
        <p:spPr bwMode="auto">
          <a:xfrm>
            <a:off x="3944471" y="0"/>
            <a:ext cx="8247530" cy="223415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BDE62E8-4EF8-4204-8642-6475F1E414BB}"/>
              </a:ext>
            </a:extLst>
          </p:cNvPr>
          <p:cNvSpPr/>
          <p:nvPr/>
        </p:nvSpPr>
        <p:spPr>
          <a:xfrm>
            <a:off x="4232635" y="782423"/>
            <a:ext cx="7673419" cy="599073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Clr>
                <a:srgbClr val="30C1D7"/>
              </a:buClr>
              <a:buSzPct val="120000"/>
              <a:buFont typeface="Wingdings" panose="05000000000000000000" pitchFamily="2" charset="2"/>
              <a:buChar char="ü"/>
            </a:pPr>
            <a:r>
              <a:rPr lang="en-GB" sz="1800" dirty="0">
                <a:solidFill>
                  <a:srgbClr val="30C1D7"/>
                </a:solidFill>
                <a:effectLst/>
                <a:latin typeface="+mj-lt"/>
                <a:ea typeface="Times New Roman" panose="02020603050405020304" pitchFamily="18" charset="0"/>
              </a:rPr>
              <a:t>Of the 88 products, services or experiences we measure that have 2020 averages (67), </a:t>
            </a:r>
            <a:r>
              <a:rPr lang="en-GB" sz="1800" b="1" u="sng" dirty="0">
                <a:solidFill>
                  <a:srgbClr val="30C1D7"/>
                </a:solidFill>
                <a:effectLst/>
                <a:latin typeface="+mj-lt"/>
                <a:ea typeface="Times New Roman" panose="02020603050405020304" pitchFamily="18" charset="0"/>
              </a:rPr>
              <a:t>76% (51) have improved vs 2020</a:t>
            </a:r>
            <a:r>
              <a:rPr lang="en-GB" sz="1800" u="sng" dirty="0">
                <a:solidFill>
                  <a:srgbClr val="30C1D7"/>
                </a:solidFill>
                <a:effectLst/>
                <a:latin typeface="+mj-lt"/>
                <a:ea typeface="Times New Roman" panose="02020603050405020304" pitchFamily="18" charset="0"/>
              </a:rPr>
              <a:t>. </a:t>
            </a:r>
            <a:r>
              <a:rPr lang="en-GB" sz="1800" dirty="0">
                <a:solidFill>
                  <a:srgbClr val="30C1D7"/>
                </a:solidFill>
                <a:effectLst/>
                <a:latin typeface="+mj-lt"/>
                <a:ea typeface="Times New Roman" panose="02020603050405020304" pitchFamily="18" charset="0"/>
              </a:rPr>
              <a:t>This rises to 81% if we include the 3 that are trending flat.</a:t>
            </a:r>
            <a:endParaRPr lang="en-GB" dirty="0">
              <a:solidFill>
                <a:srgbClr val="30C1D7"/>
              </a:solidFill>
              <a:latin typeface="+mj-lt"/>
              <a:ea typeface="Times New Roman" panose="02020603050405020304" pitchFamily="18" charset="0"/>
            </a:endParaRPr>
          </a:p>
          <a:p>
            <a:pPr marL="742950" lvl="1" indent="-285750">
              <a:buClr>
                <a:srgbClr val="30C1D7"/>
              </a:buClr>
              <a:buSzPct val="120000"/>
              <a:buFont typeface="Wingdings" panose="05000000000000000000" pitchFamily="2" charset="2"/>
              <a:buChar char="ü"/>
            </a:pPr>
            <a:r>
              <a:rPr lang="en-GB" dirty="0">
                <a:solidFill>
                  <a:srgbClr val="30C1D7"/>
                </a:solidFill>
                <a:effectLst/>
                <a:latin typeface="+mj-lt"/>
                <a:ea typeface="Times New Roman" panose="02020603050405020304" pitchFamily="18" charset="0"/>
              </a:rPr>
              <a:t>75% of critical products (24) have improved</a:t>
            </a:r>
            <a:endParaRPr lang="en-GB" dirty="0">
              <a:solidFill>
                <a:srgbClr val="30C1D7"/>
              </a:solidFill>
              <a:latin typeface="+mj-lt"/>
              <a:ea typeface="Times New Roman" panose="02020603050405020304" pitchFamily="18" charset="0"/>
            </a:endParaRPr>
          </a:p>
          <a:p>
            <a:pPr marL="742950" lvl="1" indent="-285750">
              <a:buClr>
                <a:srgbClr val="30C1D7"/>
              </a:buClr>
              <a:buSzPct val="120000"/>
              <a:buFont typeface="Wingdings" panose="05000000000000000000" pitchFamily="2" charset="2"/>
              <a:buChar char="ü"/>
            </a:pPr>
            <a:r>
              <a:rPr lang="en-GB" sz="1800" dirty="0">
                <a:solidFill>
                  <a:srgbClr val="30C1D7"/>
                </a:solidFill>
                <a:effectLst/>
                <a:latin typeface="+mj-lt"/>
                <a:ea typeface="Times New Roman" panose="02020603050405020304" pitchFamily="18" charset="0"/>
              </a:rPr>
              <a:t>64% of business supporting products (11) have improved</a:t>
            </a:r>
            <a:endParaRPr lang="en-GB" sz="1800" dirty="0">
              <a:solidFill>
                <a:srgbClr val="30C1D7"/>
              </a:solidFill>
              <a:effectLst/>
              <a:latin typeface="+mj-lt"/>
              <a:ea typeface="Calibri" panose="020F0502020204030204" pitchFamily="34" charset="0"/>
            </a:endParaRPr>
          </a:p>
          <a:p>
            <a:pPr>
              <a:buClr>
                <a:srgbClr val="30C1D7"/>
              </a:buClr>
              <a:buSzPct val="120000"/>
            </a:pPr>
            <a:endParaRPr lang="en-GB"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The 2021 annual average for Overall IT is 85%. This is +2% better than target (83%) &amp; +2% better than the 2020 average. This is a continued 3-year improvement, +11% better than 2019</a:t>
            </a:r>
            <a:endParaRPr lang="en-GB" dirty="0">
              <a:solidFill>
                <a:srgbClr val="575757"/>
              </a:solidFill>
            </a:endParaRPr>
          </a:p>
          <a:p>
            <a:pPr>
              <a:buClr>
                <a:srgbClr val="30C1D7"/>
              </a:buClr>
              <a:buSzPct val="120000"/>
            </a:pPr>
            <a:endParaRPr lang="en-US" sz="1200" dirty="0">
              <a:solidFill>
                <a:srgbClr val="29BA74"/>
              </a:solidFill>
              <a:cs typeface="Arial" pitchFamily="34" charset="0"/>
            </a:endParaRPr>
          </a:p>
          <a:p>
            <a:pPr marL="285750" indent="-285750">
              <a:buClr>
                <a:srgbClr val="30C1D7"/>
              </a:buClr>
              <a:buSzPct val="120000"/>
              <a:buFont typeface="Wingdings" panose="05000000000000000000" pitchFamily="2" charset="2"/>
              <a:buChar char="ü"/>
            </a:pPr>
            <a:r>
              <a:rPr lang="en-GB" dirty="0">
                <a:solidFill>
                  <a:srgbClr val="30C1D7"/>
                </a:solidFill>
                <a:cs typeface="Arial" pitchFamily="34" charset="0"/>
              </a:rPr>
              <a:t>The 2021 Overall IT annual average for CT is 79%, this is +3% better vs  2020. This is a continued 3-year improvement, +11% better vs 2019</a:t>
            </a:r>
          </a:p>
          <a:p>
            <a:pPr>
              <a:buClr>
                <a:srgbClr val="30C1D7"/>
              </a:buClr>
              <a:buSzPct val="120000"/>
            </a:pPr>
            <a:endParaRPr lang="en-GB" dirty="0">
              <a:solidFill>
                <a:srgbClr val="30C1D7"/>
              </a:solidFill>
              <a:cs typeface="Arial" pitchFamily="34" charset="0"/>
            </a:endParaRPr>
          </a:p>
          <a:p>
            <a:pPr marL="285750" indent="-285750">
              <a:buClr>
                <a:srgbClr val="30C1D7"/>
              </a:buClr>
              <a:buSzPct val="120000"/>
              <a:buFont typeface="Wingdings" panose="05000000000000000000" pitchFamily="2" charset="2"/>
              <a:buChar char="ü"/>
            </a:pPr>
            <a:r>
              <a:rPr lang="en-GB" dirty="0">
                <a:solidFill>
                  <a:srgbClr val="30C1D7"/>
                </a:solidFill>
                <a:cs typeface="Arial" pitchFamily="34" charset="0"/>
              </a:rPr>
              <a:t>The 2021 Overall IT annual average for Senior CT is 69%, this is +7% improved vs 2020, &amp; +17% better than 2019</a:t>
            </a:r>
          </a:p>
          <a:p>
            <a:pPr marL="742950" lvl="1" indent="-285750">
              <a:buClr>
                <a:srgbClr val="30C1D7"/>
              </a:buClr>
              <a:buSzPct val="120000"/>
              <a:buFont typeface="Wingdings" panose="05000000000000000000" pitchFamily="2" charset="2"/>
              <a:buChar char="ü"/>
            </a:pPr>
            <a:r>
              <a:rPr lang="en-GB" dirty="0">
                <a:solidFill>
                  <a:srgbClr val="30C1D7"/>
                </a:solidFill>
                <a:cs typeface="Arial" pitchFamily="34" charset="0"/>
              </a:rPr>
              <a:t>79% critical products improved for Senior CT vs 2020</a:t>
            </a:r>
          </a:p>
          <a:p>
            <a:pPr>
              <a:buClr>
                <a:srgbClr val="30C1D7"/>
              </a:buClr>
              <a:buSzPct val="120000"/>
            </a:pPr>
            <a:endParaRPr lang="en-GB" dirty="0">
              <a:solidFill>
                <a:srgbClr val="30C1D7"/>
              </a:solidFill>
              <a:cs typeface="Arial" pitchFamily="34" charset="0"/>
            </a:endParaRPr>
          </a:p>
          <a:p>
            <a:pPr marL="285750" indent="-285750">
              <a:buClr>
                <a:srgbClr val="30C1D7"/>
              </a:buClr>
              <a:buSzPct val="120000"/>
              <a:buFont typeface="Wingdings" panose="05000000000000000000" pitchFamily="2" charset="2"/>
              <a:buChar char="ü"/>
            </a:pPr>
            <a:r>
              <a:rPr lang="en-GB" dirty="0">
                <a:solidFill>
                  <a:srgbClr val="30C1D7"/>
                </a:solidFill>
                <a:cs typeface="Arial" pitchFamily="34" charset="0"/>
              </a:rPr>
              <a:t>For Overall IT, all CT roles improved vs 2020. Of note MDP's are +14% more satisfied than 2020, &amp; +22% more satisfied vs 2019</a:t>
            </a:r>
          </a:p>
          <a:p>
            <a:pPr>
              <a:buClr>
                <a:srgbClr val="30C1D7"/>
              </a:buClr>
              <a:buSzPct val="120000"/>
            </a:pPr>
            <a:endParaRPr lang="en-GB" dirty="0">
              <a:solidFill>
                <a:srgbClr val="30C1D7"/>
              </a:solidFill>
              <a:cs typeface="Arial" pitchFamily="34" charset="0"/>
            </a:endParaRPr>
          </a:p>
          <a:p>
            <a:pPr marL="285750" indent="-285750">
              <a:buClr>
                <a:srgbClr val="30C1D7"/>
              </a:buClr>
              <a:buSzPct val="120000"/>
              <a:buFont typeface="Wingdings" panose="05000000000000000000" pitchFamily="2" charset="2"/>
              <a:buChar char="ü"/>
            </a:pPr>
            <a:r>
              <a:rPr lang="en-GB" dirty="0">
                <a:solidFill>
                  <a:srgbClr val="30C1D7"/>
                </a:solidFill>
                <a:cs typeface="Arial" pitchFamily="34" charset="0"/>
              </a:rPr>
              <a:t>43% of products or services met or exceeded their BIC</a:t>
            </a:r>
            <a:r>
              <a:rPr lang="en-GB" baseline="30000" dirty="0">
                <a:solidFill>
                  <a:srgbClr val="30C1D7"/>
                </a:solidFill>
                <a:cs typeface="Arial" pitchFamily="34" charset="0"/>
              </a:rPr>
              <a:t>1</a:t>
            </a:r>
            <a:r>
              <a:rPr lang="en-GB" dirty="0">
                <a:solidFill>
                  <a:srgbClr val="30C1D7"/>
                </a:solidFill>
                <a:cs typeface="Arial" pitchFamily="34" charset="0"/>
              </a:rPr>
              <a:t> target for 2021. This is +4% more than 2020</a:t>
            </a:r>
          </a:p>
        </p:txBody>
      </p:sp>
      <p:pic>
        <p:nvPicPr>
          <p:cNvPr id="24" name="Picture 23">
            <a:extLst>
              <a:ext uri="{FF2B5EF4-FFF2-40B4-BE49-F238E27FC236}">
                <a16:creationId xmlns:a16="http://schemas.microsoft.com/office/drawing/2014/main" id="{80B9B202-23E7-4F99-B67C-152345A7592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25" name="Rectangle 24">
            <a:extLst>
              <a:ext uri="{FF2B5EF4-FFF2-40B4-BE49-F238E27FC236}">
                <a16:creationId xmlns:a16="http://schemas.microsoft.com/office/drawing/2014/main" id="{FFDFCA6D-382E-4A82-9710-FA5A1DA7CB51}"/>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spTree>
    <p:extLst>
      <p:ext uri="{BB962C8B-B14F-4D97-AF65-F5344CB8AC3E}">
        <p14:creationId xmlns:p14="http://schemas.microsoft.com/office/powerpoint/2010/main" val="3331295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934"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9BE7311-892B-4CBC-8832-7DA78D09019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8" name="Rectangle 7">
            <a:extLst>
              <a:ext uri="{FF2B5EF4-FFF2-40B4-BE49-F238E27FC236}">
                <a16:creationId xmlns:a16="http://schemas.microsoft.com/office/drawing/2014/main" id="{DBDE62E8-4EF8-4204-8642-6475F1E414BB}"/>
              </a:ext>
            </a:extLst>
          </p:cNvPr>
          <p:cNvSpPr/>
          <p:nvPr/>
        </p:nvSpPr>
        <p:spPr>
          <a:xfrm>
            <a:off x="4202349" y="0"/>
            <a:ext cx="7684851"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57% of products or services have not yet met their BIC E-SAT target</a:t>
            </a:r>
          </a:p>
          <a:p>
            <a:pPr marL="285750" indent="-285750">
              <a:buClr>
                <a:srgbClr val="30C1D7"/>
              </a:buClr>
              <a:buSzPct val="120000"/>
              <a:buFont typeface="Wingdings" panose="05000000000000000000" pitchFamily="2" charset="2"/>
              <a:buChar char="ü"/>
            </a:pPr>
            <a:endParaRPr lang="en-GB"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Local IT maintains its 'all time high' E-SAT score of 93%. The 2021 annual average is also 93%, +2% improved vs 2020. The 2021 annual average for CT is also 93% - joint highest in Pulse (with Zoom)</a:t>
            </a:r>
          </a:p>
          <a:p>
            <a:pPr>
              <a:buClr>
                <a:srgbClr val="30C1D7"/>
              </a:buClr>
              <a:buSzPct val="120000"/>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The 2021 annual average for Overall IT Support is 86%, +1% improved vs 2020. Whilst CT decreased -1% to 86%, this is still a very high score for this cohort</a:t>
            </a:r>
          </a:p>
          <a:p>
            <a:pPr marL="285750" indent="-285750">
              <a:buClr>
                <a:srgbClr val="30C1D7"/>
              </a:buClr>
              <a:buSzPct val="120000"/>
              <a:buFont typeface="Wingdings" panose="05000000000000000000" pitchFamily="2" charset="2"/>
              <a:buChar char="ü"/>
            </a:pPr>
            <a:endParaRPr lang="en-GB"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Satisfaction with the IT Service Center overall trended flat vs 2020 at 73%, remaining +4% better than 2019</a:t>
            </a:r>
          </a:p>
          <a:p>
            <a:pPr marL="285750" indent="-285750">
              <a:buClr>
                <a:srgbClr val="30C1D7"/>
              </a:buClr>
              <a:buSzPct val="120000"/>
              <a:buFont typeface="Wingdings" panose="05000000000000000000" pitchFamily="2" charset="2"/>
              <a:buChar char="ü"/>
            </a:pPr>
            <a:endParaRPr lang="en-GB"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Despite a flat overall trend for the IT Service Center, most IT Support channels</a:t>
            </a:r>
            <a:r>
              <a:rPr lang="en-GB" baseline="30000" dirty="0">
                <a:solidFill>
                  <a:srgbClr val="30C1D7"/>
                </a:solidFill>
              </a:rPr>
              <a:t>1</a:t>
            </a:r>
            <a:r>
              <a:rPr lang="en-GB" dirty="0">
                <a:solidFill>
                  <a:srgbClr val="30C1D7"/>
                </a:solidFill>
              </a:rPr>
              <a:t> improved vs 2020, of note -  </a:t>
            </a:r>
          </a:p>
          <a:p>
            <a:pPr marL="742950" lvl="1" indent="-285750">
              <a:buClr>
                <a:srgbClr val="30C1D7"/>
              </a:buClr>
              <a:buSzPct val="120000"/>
              <a:buFont typeface="Wingdings" panose="05000000000000000000" pitchFamily="2" charset="2"/>
              <a:buChar char="ü"/>
            </a:pPr>
            <a:r>
              <a:rPr lang="en-GB" dirty="0">
                <a:solidFill>
                  <a:srgbClr val="30C1D7"/>
                </a:solidFill>
              </a:rPr>
              <a:t>Chat - +4% improved to 79%</a:t>
            </a:r>
          </a:p>
          <a:p>
            <a:pPr marL="742950" lvl="1" indent="-285750">
              <a:buClr>
                <a:srgbClr val="30C1D7"/>
              </a:buClr>
              <a:buSzPct val="120000"/>
              <a:buFont typeface="Wingdings" panose="05000000000000000000" pitchFamily="2" charset="2"/>
              <a:buChar char="ü"/>
            </a:pPr>
            <a:r>
              <a:rPr lang="en-GB" dirty="0">
                <a:solidFill>
                  <a:srgbClr val="30C1D7"/>
                </a:solidFill>
              </a:rPr>
              <a:t>IT Connect - +3% improved to 82%, moving to 'Very Good' grade</a:t>
            </a:r>
            <a:endParaRPr lang="en-US" sz="1200" dirty="0">
              <a:solidFill>
                <a:srgbClr val="30C1D7"/>
              </a:solidFill>
              <a:cs typeface="Arial" pitchFamily="34" charset="0"/>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endParaRPr lang="en-GB" dirty="0">
              <a:solidFill>
                <a:srgbClr val="575757"/>
              </a:solidFill>
            </a:endParaRPr>
          </a:p>
          <a:p>
            <a:pPr marL="285750" indent="-285750">
              <a:buClr>
                <a:srgbClr val="30C1D7"/>
              </a:buClr>
              <a:buSzPct val="120000"/>
              <a:buFont typeface="Wingdings" panose="05000000000000000000" pitchFamily="2" charset="2"/>
              <a:buChar char="ü"/>
            </a:pPr>
            <a:r>
              <a:rPr lang="en-GB" dirty="0">
                <a:solidFill>
                  <a:srgbClr val="30C1D7"/>
                </a:solidFill>
              </a:rPr>
              <a:t>Lower numbers of employees are reporting they do not use or are unaware of IT Connect suggesting adoption is increasing</a:t>
            </a:r>
          </a:p>
          <a:p>
            <a:pPr marL="285750" indent="-285750">
              <a:buClr>
                <a:srgbClr val="30C1D7"/>
              </a:buClr>
              <a:buSzPct val="120000"/>
              <a:buFont typeface="Wingdings" panose="05000000000000000000" pitchFamily="2" charset="2"/>
              <a:buChar char="ü"/>
            </a:pPr>
            <a:endParaRPr lang="en-GB" dirty="0">
              <a:solidFill>
                <a:srgbClr val="57575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74% E-SAT (Q4</a:t>
            </a:r>
            <a:r>
              <a:rPr lang="en-GB" baseline="30000" dirty="0">
                <a:solidFill>
                  <a:srgbClr val="575757"/>
                </a:solidFill>
              </a:rPr>
              <a:t>2</a:t>
            </a:r>
            <a:r>
              <a:rPr lang="en-GB" dirty="0">
                <a:solidFill>
                  <a:srgbClr val="575757"/>
                </a:solidFill>
              </a:rPr>
              <a:t>) is reasonable for help available for the home set-up, however CT are -11% less satisfied than BST (68% vs 74%)</a:t>
            </a:r>
          </a:p>
        </p:txBody>
      </p:sp>
      <p:sp>
        <p:nvSpPr>
          <p:cNvPr id="10" name="Rectangle 9">
            <a:extLst>
              <a:ext uri="{FF2B5EF4-FFF2-40B4-BE49-F238E27FC236}">
                <a16:creationId xmlns:a16="http://schemas.microsoft.com/office/drawing/2014/main" id="{A97FDC60-BCCA-4CFF-A214-60C2C3F47A22}"/>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graphicFrame>
        <p:nvGraphicFramePr>
          <p:cNvPr id="59" name="Object 58" hidden="1">
            <a:extLst>
              <a:ext uri="{FF2B5EF4-FFF2-40B4-BE49-F238E27FC236}">
                <a16:creationId xmlns:a16="http://schemas.microsoft.com/office/drawing/2014/main" id="{F2A594CD-45AE-4843-90B9-411624AE2999}"/>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935" name="think-cell Slide" r:id="rId11" imgW="360" imgH="360" progId="TCLayout.ActiveDocument.1">
                  <p:embed/>
                </p:oleObj>
              </mc:Choice>
              <mc:Fallback>
                <p:oleObj name="think-cell Slide" r:id="rId11" imgW="360" imgH="360" progId="TCLayout.ActiveDocument.1">
                  <p:embed/>
                  <p:pic>
                    <p:nvPicPr>
                      <p:cNvPr id="59" name="Object 58" hidden="1">
                        <a:extLst>
                          <a:ext uri="{FF2B5EF4-FFF2-40B4-BE49-F238E27FC236}">
                            <a16:creationId xmlns:a16="http://schemas.microsoft.com/office/drawing/2014/main" id="{F2A594CD-45AE-4843-90B9-411624AE299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82950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86"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9BE7311-892B-4CBC-8832-7DA78D09019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8" name="Rectangle 7">
            <a:extLst>
              <a:ext uri="{FF2B5EF4-FFF2-40B4-BE49-F238E27FC236}">
                <a16:creationId xmlns:a16="http://schemas.microsoft.com/office/drawing/2014/main" id="{DBDE62E8-4EF8-4204-8642-6475F1E414BB}"/>
              </a:ext>
            </a:extLst>
          </p:cNvPr>
          <p:cNvSpPr/>
          <p:nvPr/>
        </p:nvSpPr>
        <p:spPr>
          <a:xfrm>
            <a:off x="4202349" y="0"/>
            <a:ext cx="7684851"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Clr>
                <a:srgbClr val="30C1D7"/>
              </a:buClr>
              <a:buSzPct val="120000"/>
              <a:buFont typeface="Wingdings" panose="05000000000000000000" pitchFamily="2" charset="2"/>
              <a:buChar char="ü"/>
            </a:pPr>
            <a:r>
              <a:rPr lang="en-GB" dirty="0">
                <a:solidFill>
                  <a:srgbClr val="30C1D7"/>
                </a:solidFill>
              </a:rPr>
              <a:t>The 2021 annual average for laptops is 69%, +2% improved vs 2020 &amp; +14% better than 2019</a:t>
            </a:r>
          </a:p>
          <a:p>
            <a:pPr marL="742950" lvl="1" indent="-285750">
              <a:buClr>
                <a:srgbClr val="FF0000"/>
              </a:buClr>
              <a:buSzPct val="120000"/>
              <a:buBlip>
                <a:blip r:embed="rId9">
                  <a:extLst>
                    <a:ext uri="{96DAC541-7B7A-43D3-8B79-37D633B846F1}">
                      <asvg:svgBlip xmlns:asvg="http://schemas.microsoft.com/office/drawing/2016/SVG/main" r:embed="rId10"/>
                    </a:ext>
                  </a:extLst>
                </a:blip>
              </a:buBlip>
            </a:pPr>
            <a:r>
              <a:rPr lang="en-GB" sz="1600" dirty="0">
                <a:solidFill>
                  <a:srgbClr val="575757"/>
                </a:solidFill>
              </a:rPr>
              <a:t>Despite this, E-SAT for CT is 57%, -2% vs 2020</a:t>
            </a:r>
            <a:endParaRPr lang="en-GB" dirty="0">
              <a:solidFill>
                <a:srgbClr val="30C1D7"/>
              </a:solidFill>
            </a:endParaRPr>
          </a:p>
          <a:p>
            <a:pPr>
              <a:buClr>
                <a:srgbClr val="30C1D7"/>
              </a:buClr>
              <a:buSzPct val="120000"/>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With a 2021 average of 86%, employees are most satisfied with the tools &amp; services provided to work from the BCG office. Tools &amp; services provided to work from home also scored high at 81%</a:t>
            </a:r>
          </a:p>
          <a:p>
            <a:pPr>
              <a:buClr>
                <a:srgbClr val="30C1D7"/>
              </a:buClr>
              <a:buSzPct val="120000"/>
            </a:pPr>
            <a:endParaRPr lang="en-GB" sz="1200" dirty="0">
              <a:solidFill>
                <a:srgbClr val="57575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With a 2021 average of 59% E-SAT, employees are least satisfied with the tools &amp; services provided to work from client sites</a:t>
            </a:r>
          </a:p>
          <a:p>
            <a:pPr>
              <a:buClr>
                <a:srgbClr val="FF0000"/>
              </a:buClr>
              <a:buSzPct val="120000"/>
            </a:pPr>
            <a:endParaRPr lang="en-GB" sz="1200" dirty="0">
              <a:solidFill>
                <a:srgbClr val="57575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Despite great overall improvements for CT E-SAT in 2021, the main challenge remains with their ability to use BCG tools &amp; services with clients. Except videoconferencing, which scored very highly at 88% (2021 average), all other capabilities</a:t>
            </a:r>
            <a:r>
              <a:rPr lang="en-GB" baseline="30000" dirty="0">
                <a:solidFill>
                  <a:srgbClr val="575757"/>
                </a:solidFill>
              </a:rPr>
              <a:t>1</a:t>
            </a:r>
            <a:r>
              <a:rPr lang="en-GB" dirty="0">
                <a:solidFill>
                  <a:srgbClr val="575757"/>
                </a:solidFill>
              </a:rPr>
              <a:t> were low scores, of note – </a:t>
            </a:r>
          </a:p>
          <a:p>
            <a:pPr marL="742950" lvl="1" indent="-285750">
              <a:buClr>
                <a:srgbClr val="FF0000"/>
              </a:buClr>
              <a:buSzPct val="120000"/>
              <a:buBlip>
                <a:blip r:embed="rId9">
                  <a:extLst>
                    <a:ext uri="{96DAC541-7B7A-43D3-8B79-37D633B846F1}">
                      <asvg:svgBlip xmlns:asvg="http://schemas.microsoft.com/office/drawing/2016/SVG/main" r:embed="rId10"/>
                    </a:ext>
                  </a:extLst>
                </a:blip>
              </a:buBlip>
            </a:pPr>
            <a:r>
              <a:rPr lang="en-GB" sz="1600" dirty="0">
                <a:solidFill>
                  <a:srgbClr val="575757"/>
                </a:solidFill>
              </a:rPr>
              <a:t>Collaborate on files at 35% </a:t>
            </a:r>
          </a:p>
          <a:p>
            <a:pPr marL="742950" lvl="1" indent="-285750">
              <a:buClr>
                <a:srgbClr val="FF0000"/>
              </a:buClr>
              <a:buSzPct val="120000"/>
              <a:buBlip>
                <a:blip r:embed="rId9">
                  <a:extLst>
                    <a:ext uri="{96DAC541-7B7A-43D3-8B79-37D633B846F1}">
                      <asvg:svgBlip xmlns:asvg="http://schemas.microsoft.com/office/drawing/2016/SVG/main" r:embed="rId10"/>
                    </a:ext>
                  </a:extLst>
                </a:blip>
              </a:buBlip>
            </a:pPr>
            <a:r>
              <a:rPr lang="en-GB" sz="1600" dirty="0">
                <a:solidFill>
                  <a:srgbClr val="575757"/>
                </a:solidFill>
              </a:rPr>
              <a:t>Whiteboard at 48%</a:t>
            </a:r>
          </a:p>
          <a:p>
            <a:pPr>
              <a:buClr>
                <a:srgbClr val="30C1D7"/>
              </a:buClr>
              <a:buSzPct val="120000"/>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The 2021 annual average for VPN is 87%, +4% better vs 2020 which is impressive considering continued &amp; evolving reliance on the product</a:t>
            </a:r>
          </a:p>
          <a:p>
            <a:pPr>
              <a:buClr>
                <a:srgbClr val="30C1D7"/>
              </a:buClr>
              <a:buSzPct val="120000"/>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Chrome River continues to improve with a 2021 average +3% better than 2020 of 70%, moving from 'Average' to 'Good' grade</a:t>
            </a:r>
            <a:endParaRPr lang="en-GB" sz="1200" dirty="0">
              <a:solidFill>
                <a:srgbClr val="30C1D7"/>
              </a:solidFill>
            </a:endParaRPr>
          </a:p>
          <a:p>
            <a:pPr marL="285750" indent="-285750">
              <a:buClr>
                <a:srgbClr val="30C1D7"/>
              </a:buClr>
              <a:buSzPct val="120000"/>
              <a:buFont typeface="Wingdings" panose="05000000000000000000" pitchFamily="2" charset="2"/>
              <a:buChar char="ü"/>
            </a:pPr>
            <a:endParaRPr lang="en-GB" sz="1200" dirty="0">
              <a:solidFill>
                <a:srgbClr val="30C1D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Whilst Timesheets improved +7% vs 2020, at 54% E-SAT is low. Timesheets is also furthest off BIC target at -26% </a:t>
            </a:r>
          </a:p>
        </p:txBody>
      </p:sp>
      <p:sp>
        <p:nvSpPr>
          <p:cNvPr id="10" name="Rectangle 9">
            <a:extLst>
              <a:ext uri="{FF2B5EF4-FFF2-40B4-BE49-F238E27FC236}">
                <a16:creationId xmlns:a16="http://schemas.microsoft.com/office/drawing/2014/main" id="{A97FDC60-BCCA-4CFF-A214-60C2C3F47A22}"/>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graphicFrame>
        <p:nvGraphicFramePr>
          <p:cNvPr id="59" name="Object 58" hidden="1">
            <a:extLst>
              <a:ext uri="{FF2B5EF4-FFF2-40B4-BE49-F238E27FC236}">
                <a16:creationId xmlns:a16="http://schemas.microsoft.com/office/drawing/2014/main" id="{F2A594CD-45AE-4843-90B9-411624AE2999}"/>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87" name="think-cell Slide" r:id="rId11" imgW="360" imgH="360" progId="TCLayout.ActiveDocument.1">
                  <p:embed/>
                </p:oleObj>
              </mc:Choice>
              <mc:Fallback>
                <p:oleObj name="think-cell Slide" r:id="rId11" imgW="360" imgH="360" progId="TCLayout.ActiveDocument.1">
                  <p:embed/>
                  <p:pic>
                    <p:nvPicPr>
                      <p:cNvPr id="59" name="Object 58" hidden="1">
                        <a:extLst>
                          <a:ext uri="{FF2B5EF4-FFF2-40B4-BE49-F238E27FC236}">
                            <a16:creationId xmlns:a16="http://schemas.microsoft.com/office/drawing/2014/main" id="{F2A594CD-45AE-4843-90B9-411624AE299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1473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914"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9BE7311-892B-4CBC-8832-7DA78D09019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8" name="Rectangle 7">
            <a:extLst>
              <a:ext uri="{FF2B5EF4-FFF2-40B4-BE49-F238E27FC236}">
                <a16:creationId xmlns:a16="http://schemas.microsoft.com/office/drawing/2014/main" id="{DBDE62E8-4EF8-4204-8642-6475F1E414BB}"/>
              </a:ext>
            </a:extLst>
          </p:cNvPr>
          <p:cNvSpPr/>
          <p:nvPr/>
        </p:nvSpPr>
        <p:spPr>
          <a:xfrm>
            <a:off x="4176075" y="0"/>
            <a:ext cx="7711126"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Clr>
                <a:srgbClr val="30C1D7"/>
              </a:buClr>
              <a:buSzPct val="120000"/>
              <a:buFont typeface="Wingdings" panose="05000000000000000000" pitchFamily="2" charset="2"/>
              <a:buChar char="ü"/>
            </a:pPr>
            <a:r>
              <a:rPr lang="en-GB" dirty="0">
                <a:solidFill>
                  <a:srgbClr val="30C1D7"/>
                </a:solidFill>
              </a:rPr>
              <a:t>With a 2021 average of 79%, Browsers are +8% improved vs 2020</a:t>
            </a:r>
          </a:p>
          <a:p>
            <a:pPr marL="285750" indent="-285750">
              <a:buClr>
                <a:srgbClr val="30C1D7"/>
              </a:buClr>
              <a:buSzPct val="120000"/>
              <a:buFont typeface="Wingdings" panose="05000000000000000000" pitchFamily="2" charset="2"/>
              <a:buChar char="ü"/>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Zoom achieves an all-time high score in Q4 of 94%, with CT rating it at 92%, the joint highest rated product in Pulse (with Local IT)</a:t>
            </a:r>
          </a:p>
          <a:p>
            <a:pPr marL="285750" indent="-285750">
              <a:buClr>
                <a:srgbClr val="30C1D7"/>
              </a:buClr>
              <a:buSzPct val="120000"/>
              <a:buFont typeface="Wingdings" panose="05000000000000000000" pitchFamily="2" charset="2"/>
              <a:buChar char="ü"/>
            </a:pPr>
            <a:endParaRPr lang="en-GB" sz="1200" dirty="0">
              <a:solidFill>
                <a:srgbClr val="30C1D7"/>
              </a:solidFill>
            </a:endParaRPr>
          </a:p>
          <a:p>
            <a:pPr marL="285750" indent="-285750">
              <a:buClr>
                <a:srgbClr val="30C1D7"/>
              </a:buClr>
              <a:buSzPct val="120000"/>
              <a:buFont typeface="Wingdings" panose="05000000000000000000" pitchFamily="2" charset="2"/>
              <a:buChar char="ü"/>
            </a:pPr>
            <a:r>
              <a:rPr lang="en-GB" dirty="0">
                <a:solidFill>
                  <a:srgbClr val="30C1D7"/>
                </a:solidFill>
              </a:rPr>
              <a:t>With a 2021 average of 77%, Outlook is +9% improved vs 2020, &amp; +23% better than 2019</a:t>
            </a:r>
          </a:p>
          <a:p>
            <a:pPr marL="285750" indent="-285750">
              <a:buClr>
                <a:srgbClr val="30C1D7"/>
              </a:buClr>
              <a:buSzPct val="120000"/>
              <a:buFont typeface="Wingdings" panose="05000000000000000000" pitchFamily="2" charset="2"/>
              <a:buChar char="ü"/>
            </a:pPr>
            <a:endParaRPr lang="en-GB" sz="1200" dirty="0">
              <a:solidFill>
                <a:srgbClr val="30C1D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The 2021 average for Egnyte decreased -3% to 67%. The ability to collaborate on files also decreased -4% to 58%, moving to 'Poor' grade</a:t>
            </a:r>
          </a:p>
          <a:p>
            <a:pPr>
              <a:buClr>
                <a:srgbClr val="FF0000"/>
              </a:buClr>
              <a:buSzPct val="120000"/>
            </a:pPr>
            <a:endParaRPr lang="en-GB" sz="1200" dirty="0">
              <a:solidFill>
                <a:srgbClr val="57575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Wider availability of OneDrive &amp; SharePoint coincides with increased demand for training. Trello remains the tool employees most want training on, which may link with decreasing annual average E-SAT</a:t>
            </a:r>
            <a:r>
              <a:rPr lang="en-GB" baseline="30000" dirty="0">
                <a:solidFill>
                  <a:srgbClr val="575757"/>
                </a:solidFill>
              </a:rPr>
              <a:t>1</a:t>
            </a:r>
            <a:endParaRPr lang="en-GB" dirty="0">
              <a:solidFill>
                <a:srgbClr val="57575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endParaRPr lang="en-GB" sz="1200" dirty="0">
              <a:solidFill>
                <a:srgbClr val="57575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Despite OneDrive achieving 'Good' overall E-SAT of 75%, co-authoring achieves only 57% E-SAT, a 'Poor' grade</a:t>
            </a:r>
          </a:p>
          <a:p>
            <a:pPr marL="285750" indent="-285750">
              <a:buClr>
                <a:srgbClr val="FF0000"/>
              </a:buClr>
              <a:buSzPct val="120000"/>
              <a:buBlip>
                <a:blip r:embed="rId9">
                  <a:extLst>
                    <a:ext uri="{96DAC541-7B7A-43D3-8B79-37D633B846F1}">
                      <asvg:svgBlip xmlns:asvg="http://schemas.microsoft.com/office/drawing/2016/SVG/main" r:embed="rId10"/>
                    </a:ext>
                  </a:extLst>
                </a:blip>
              </a:buBlip>
            </a:pPr>
            <a:endParaRPr lang="en-GB" sz="1200" dirty="0">
              <a:solidFill>
                <a:srgbClr val="57575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Overall digital learning has not improved compared to 2020. The annual average for 2021 is 65%, -1% vs 2020. Of note, CT E-SAT for 2021 is 58%, -2% lower than 2020</a:t>
            </a:r>
          </a:p>
          <a:p>
            <a:pPr marL="742950" lvl="1" indent="-285750">
              <a:buClr>
                <a:srgbClr val="FF0000"/>
              </a:buClr>
              <a:buSzPct val="120000"/>
              <a:buBlip>
                <a:blip r:embed="rId9">
                  <a:extLst>
                    <a:ext uri="{96DAC541-7B7A-43D3-8B79-37D633B846F1}">
                      <asvg:svgBlip xmlns:asvg="http://schemas.microsoft.com/office/drawing/2016/SVG/main" r:embed="rId10"/>
                    </a:ext>
                  </a:extLst>
                </a:blip>
              </a:buBlip>
            </a:pPr>
            <a:r>
              <a:rPr lang="en-GB" sz="1600" dirty="0">
                <a:solidFill>
                  <a:srgbClr val="575757"/>
                </a:solidFill>
              </a:rPr>
              <a:t>Employees are least satisfied with the mode of learning, with 'Poor' E-SAT for live in-person learning (56%) &amp; on-demand learning (54%)</a:t>
            </a:r>
          </a:p>
          <a:p>
            <a:pPr marL="742950" lvl="1" indent="-285750">
              <a:buClr>
                <a:srgbClr val="FF0000"/>
              </a:buClr>
              <a:buSzPct val="120000"/>
              <a:buBlip>
                <a:blip r:embed="rId9">
                  <a:extLst>
                    <a:ext uri="{96DAC541-7B7A-43D3-8B79-37D633B846F1}">
                      <asvg:svgBlip xmlns:asvg="http://schemas.microsoft.com/office/drawing/2016/SVG/main" r:embed="rId10"/>
                    </a:ext>
                  </a:extLst>
                </a:blip>
              </a:buBlip>
            </a:pPr>
            <a:r>
              <a:rPr lang="en-GB" sz="1600" dirty="0">
                <a:solidFill>
                  <a:srgbClr val="575757"/>
                </a:solidFill>
              </a:rPr>
              <a:t>Whist ease of finding learning improved +2% vs 2020, at 52%, E-SAT is low</a:t>
            </a:r>
          </a:p>
          <a:p>
            <a:pPr lvl="1">
              <a:buClr>
                <a:srgbClr val="FF0000"/>
              </a:buClr>
              <a:buSzPct val="120000"/>
            </a:pPr>
            <a:endParaRPr lang="en-GB" sz="1200" dirty="0">
              <a:solidFill>
                <a:srgbClr val="575757"/>
              </a:solidFill>
            </a:endParaRPr>
          </a:p>
          <a:p>
            <a:pPr marL="285750" indent="-285750">
              <a:buClr>
                <a:srgbClr val="FF0000"/>
              </a:buClr>
              <a:buSzPct val="120000"/>
              <a:buBlip>
                <a:blip r:embed="rId9">
                  <a:extLst>
                    <a:ext uri="{96DAC541-7B7A-43D3-8B79-37D633B846F1}">
                      <asvg:svgBlip xmlns:asvg="http://schemas.microsoft.com/office/drawing/2016/SVG/main" r:embed="rId10"/>
                    </a:ext>
                  </a:extLst>
                </a:blip>
              </a:buBlip>
            </a:pPr>
            <a:r>
              <a:rPr lang="en-GB" dirty="0">
                <a:solidFill>
                  <a:srgbClr val="575757"/>
                </a:solidFill>
              </a:rPr>
              <a:t>Although +4% better than 2019, the 2021 annual average for search trended down -2% to 57%, also -13% off BIC target</a:t>
            </a:r>
            <a:r>
              <a:rPr lang="en-GB" baseline="30000" dirty="0">
                <a:solidFill>
                  <a:srgbClr val="575757"/>
                </a:solidFill>
              </a:rPr>
              <a:t>2</a:t>
            </a:r>
          </a:p>
        </p:txBody>
      </p:sp>
      <p:sp>
        <p:nvSpPr>
          <p:cNvPr id="10" name="Rectangle 9">
            <a:extLst>
              <a:ext uri="{FF2B5EF4-FFF2-40B4-BE49-F238E27FC236}">
                <a16:creationId xmlns:a16="http://schemas.microsoft.com/office/drawing/2014/main" id="{A97FDC60-BCCA-4CFF-A214-60C2C3F47A22}"/>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graphicFrame>
        <p:nvGraphicFramePr>
          <p:cNvPr id="59" name="Object 58" hidden="1">
            <a:extLst>
              <a:ext uri="{FF2B5EF4-FFF2-40B4-BE49-F238E27FC236}">
                <a16:creationId xmlns:a16="http://schemas.microsoft.com/office/drawing/2014/main" id="{F2A594CD-45AE-4843-90B9-411624AE2999}"/>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915" name="think-cell Slide" r:id="rId11" imgW="360" imgH="360" progId="TCLayout.ActiveDocument.1">
                  <p:embed/>
                </p:oleObj>
              </mc:Choice>
              <mc:Fallback>
                <p:oleObj name="think-cell Slide" r:id="rId11" imgW="360" imgH="360" progId="TCLayout.ActiveDocument.1">
                  <p:embed/>
                  <p:pic>
                    <p:nvPicPr>
                      <p:cNvPr id="59" name="Object 58" hidden="1">
                        <a:extLst>
                          <a:ext uri="{FF2B5EF4-FFF2-40B4-BE49-F238E27FC236}">
                            <a16:creationId xmlns:a16="http://schemas.microsoft.com/office/drawing/2014/main" id="{F2A594CD-45AE-4843-90B9-411624AE299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81626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83469EA-AC1B-4AB2-A01B-048EDE551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53" name="think-cell Slide" r:id="rId32" imgW="395" imgH="394" progId="TCLayout.ActiveDocument.1">
                  <p:embed/>
                </p:oleObj>
              </mc:Choice>
              <mc:Fallback>
                <p:oleObj name="think-cell Slide" r:id="rId32" imgW="395" imgH="394" progId="TCLayout.ActiveDocument.1">
                  <p:embed/>
                  <p:pic>
                    <p:nvPicPr>
                      <p:cNvPr id="12" name="Object 11" hidden="1">
                        <a:extLst>
                          <a:ext uri="{FF2B5EF4-FFF2-40B4-BE49-F238E27FC236}">
                            <a16:creationId xmlns:a16="http://schemas.microsoft.com/office/drawing/2014/main" id="{583469EA-AC1B-4AB2-A01B-048EDE551E6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F7F1DB-773F-4662-ADE9-708D0CE2E2CE}"/>
              </a:ext>
            </a:extLst>
          </p:cNvPr>
          <p:cNvSpPr>
            <a:spLocks noGrp="1"/>
          </p:cNvSpPr>
          <p:nvPr>
            <p:ph type="title"/>
          </p:nvPr>
        </p:nvSpPr>
        <p:spPr>
          <a:xfrm>
            <a:off x="649050" y="350660"/>
            <a:ext cx="10933350" cy="276999"/>
          </a:xfrm>
        </p:spPr>
        <p:txBody>
          <a:bodyPr vert="horz"/>
          <a:lstStyle/>
          <a:p>
            <a:r>
              <a:rPr lang="en-US" sz="2000" dirty="0">
                <a:solidFill>
                  <a:srgbClr val="295E7E"/>
                </a:solidFill>
              </a:rPr>
              <a:t>Yearly E-SAT Trends for Repeat Responders from 2019 to 2021 – </a:t>
            </a:r>
            <a:r>
              <a:rPr lang="en-US" sz="2000" dirty="0">
                <a:solidFill>
                  <a:srgbClr val="30C1D7"/>
                </a:solidFill>
              </a:rPr>
              <a:t>Critical Products</a:t>
            </a:r>
          </a:p>
        </p:txBody>
      </p:sp>
      <p:graphicFrame>
        <p:nvGraphicFramePr>
          <p:cNvPr id="183" name="Chart 182">
            <a:extLst>
              <a:ext uri="{FF2B5EF4-FFF2-40B4-BE49-F238E27FC236}">
                <a16:creationId xmlns:a16="http://schemas.microsoft.com/office/drawing/2014/main" id="{9D18E622-8316-4D0E-B789-5C2221B37510}"/>
              </a:ext>
            </a:extLst>
          </p:cNvPr>
          <p:cNvGraphicFramePr/>
          <p:nvPr>
            <p:custDataLst>
              <p:tags r:id="rId3"/>
            </p:custDataLst>
          </p:nvPr>
        </p:nvGraphicFramePr>
        <p:xfrm>
          <a:off x="287338" y="1195388"/>
          <a:ext cx="11571287" cy="3287712"/>
        </p:xfrm>
        <a:graphic>
          <a:graphicData uri="http://schemas.openxmlformats.org/drawingml/2006/chart">
            <c:chart xmlns:c="http://schemas.openxmlformats.org/drawingml/2006/chart" xmlns:r="http://schemas.openxmlformats.org/officeDocument/2006/relationships" r:id="rId34"/>
          </a:graphicData>
        </a:graphic>
      </p:graphicFrame>
      <p:sp>
        <p:nvSpPr>
          <p:cNvPr id="62" name="Text Placeholder 3">
            <a:extLst>
              <a:ext uri="{FF2B5EF4-FFF2-40B4-BE49-F238E27FC236}">
                <a16:creationId xmlns:a16="http://schemas.microsoft.com/office/drawing/2014/main" id="{1FCCC020-F828-42BB-85E6-672F6A443C64}"/>
              </a:ext>
            </a:extLst>
          </p:cNvPr>
          <p:cNvSpPr>
            <a:spLocks noGrp="1"/>
          </p:cNvSpPr>
          <p:nvPr>
            <p:custDataLst>
              <p:tags r:id="rId4"/>
            </p:custDataLst>
          </p:nvPr>
        </p:nvSpPr>
        <p:spPr bwMode="gray">
          <a:xfrm>
            <a:off x="3113088" y="4427538"/>
            <a:ext cx="168275" cy="981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8358771-B20F-4BE9-A98E-BFDDC69E8334}" type="datetime'''''I''''''''T ''''S''e''''''''rvice'''''' ''Ce''''n''t''er'">
              <a:rPr lang="en-US" altLang="en-US" sz="1000" smtClean="0"/>
              <a:pPr/>
              <a:t>IT Service Center</a:t>
            </a:fld>
            <a:endParaRPr lang="en-US" sz="1000" dirty="0"/>
          </a:p>
        </p:txBody>
      </p:sp>
      <p:sp>
        <p:nvSpPr>
          <p:cNvPr id="59" name="Text Placeholder 3">
            <a:extLst>
              <a:ext uri="{FF2B5EF4-FFF2-40B4-BE49-F238E27FC236}">
                <a16:creationId xmlns:a16="http://schemas.microsoft.com/office/drawing/2014/main" id="{4A5BA737-AD0A-4DF1-8E1B-2BEDB6EE69FC}"/>
              </a:ext>
            </a:extLst>
          </p:cNvPr>
          <p:cNvSpPr>
            <a:spLocks noGrp="1"/>
          </p:cNvSpPr>
          <p:nvPr>
            <p:custDataLst>
              <p:tags r:id="rId5"/>
            </p:custDataLst>
          </p:nvPr>
        </p:nvSpPr>
        <p:spPr bwMode="gray">
          <a:xfrm>
            <a:off x="1454150" y="4427538"/>
            <a:ext cx="168275" cy="3032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18D0E4E-4A70-4D51-90BC-A830DF749E6B}" type="datetime'E''''''''''''x''''''''''''''''''''ce''l'''''''''''''''''''''''">
              <a:rPr lang="en-US" altLang="en-US" sz="1000" smtClean="0">
                <a:effectLst/>
              </a:rPr>
              <a:pPr algn="r">
                <a:spcBef>
                  <a:spcPct val="0"/>
                </a:spcBef>
                <a:spcAft>
                  <a:spcPct val="0"/>
                </a:spcAft>
              </a:pPr>
              <a:t>Excel</a:t>
            </a:fld>
            <a:endParaRPr lang="en-US" sz="1000" dirty="0"/>
          </a:p>
        </p:txBody>
      </p:sp>
      <p:sp>
        <p:nvSpPr>
          <p:cNvPr id="63" name="Text Placeholder 3">
            <a:extLst>
              <a:ext uri="{FF2B5EF4-FFF2-40B4-BE49-F238E27FC236}">
                <a16:creationId xmlns:a16="http://schemas.microsoft.com/office/drawing/2014/main" id="{03FB467F-F898-4C90-A8E0-8970E00B4516}"/>
              </a:ext>
            </a:extLst>
          </p:cNvPr>
          <p:cNvSpPr>
            <a:spLocks noGrp="1"/>
          </p:cNvSpPr>
          <p:nvPr>
            <p:custDataLst>
              <p:tags r:id="rId6"/>
            </p:custDataLst>
          </p:nvPr>
        </p:nvSpPr>
        <p:spPr bwMode="gray">
          <a:xfrm>
            <a:off x="3667125" y="4427538"/>
            <a:ext cx="168275" cy="5873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A4A02CF-D402-49AA-A493-451B7AFEC394}" type="datetime'''''I''''T'' ''''''''S''''''''''''u''p''''p''o''''rt'''''">
              <a:rPr lang="en-US" altLang="en-US" sz="1000" smtClean="0"/>
              <a:pPr/>
              <a:t>IT Support</a:t>
            </a:fld>
            <a:endParaRPr lang="en-US" sz="1000" dirty="0"/>
          </a:p>
        </p:txBody>
      </p:sp>
      <p:sp>
        <p:nvSpPr>
          <p:cNvPr id="58" name="Text Placeholder 3">
            <a:extLst>
              <a:ext uri="{FF2B5EF4-FFF2-40B4-BE49-F238E27FC236}">
                <a16:creationId xmlns:a16="http://schemas.microsoft.com/office/drawing/2014/main" id="{03A00C85-7AE5-4D4C-99C9-A86A850BD2EA}"/>
              </a:ext>
            </a:extLst>
          </p:cNvPr>
          <p:cNvSpPr>
            <a:spLocks noGrp="1"/>
          </p:cNvSpPr>
          <p:nvPr>
            <p:custDataLst>
              <p:tags r:id="rId7"/>
            </p:custDataLst>
          </p:nvPr>
        </p:nvSpPr>
        <p:spPr bwMode="gray">
          <a:xfrm>
            <a:off x="900113" y="4427538"/>
            <a:ext cx="168275"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62290A3-9490-4EC5-9233-A914E6E8BCF2}" type="datetime'E''''g''n''''''''''''''''yt''''''''''''''''''''e'">
              <a:rPr lang="en-US" altLang="en-US" sz="1000" smtClean="0">
                <a:effectLst/>
              </a:rPr>
              <a:pPr algn="r">
                <a:spcBef>
                  <a:spcPct val="0"/>
                </a:spcBef>
                <a:spcAft>
                  <a:spcPct val="0"/>
                </a:spcAft>
              </a:pPr>
              <a:t>Egnyte</a:t>
            </a:fld>
            <a:endParaRPr lang="en-US" sz="1000" dirty="0"/>
          </a:p>
        </p:txBody>
      </p:sp>
      <p:sp>
        <p:nvSpPr>
          <p:cNvPr id="60" name="Text Placeholder 3">
            <a:extLst>
              <a:ext uri="{FF2B5EF4-FFF2-40B4-BE49-F238E27FC236}">
                <a16:creationId xmlns:a16="http://schemas.microsoft.com/office/drawing/2014/main" id="{0F9D32DA-AB30-461E-A85C-8E947B25741D}"/>
              </a:ext>
            </a:extLst>
          </p:cNvPr>
          <p:cNvSpPr>
            <a:spLocks noGrp="1"/>
          </p:cNvSpPr>
          <p:nvPr>
            <p:custDataLst>
              <p:tags r:id="rId8"/>
            </p:custDataLst>
          </p:nvPr>
        </p:nvSpPr>
        <p:spPr bwMode="gray">
          <a:xfrm>
            <a:off x="2006600" y="4427537"/>
            <a:ext cx="168275" cy="711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EA3CFBC-A667-4956-8A11-8A953967C4B2}" type="datetime'''''''''''E''xp''''''e''''''''''ns''e''''''''''''s''-C''''''R'">
              <a:rPr lang="en-US" altLang="en-US" sz="1000" smtClean="0"/>
              <a:pPr/>
              <a:t>Expenses-CR</a:t>
            </a:fld>
            <a:endParaRPr lang="en-US" sz="1000" dirty="0"/>
          </a:p>
        </p:txBody>
      </p:sp>
      <p:sp>
        <p:nvSpPr>
          <p:cNvPr id="61" name="Text Placeholder 3">
            <a:extLst>
              <a:ext uri="{FF2B5EF4-FFF2-40B4-BE49-F238E27FC236}">
                <a16:creationId xmlns:a16="http://schemas.microsoft.com/office/drawing/2014/main" id="{82A37C1A-D6A7-44F3-B79C-913C6612F344}"/>
              </a:ext>
            </a:extLst>
          </p:cNvPr>
          <p:cNvSpPr>
            <a:spLocks noGrp="1"/>
          </p:cNvSpPr>
          <p:nvPr>
            <p:custDataLst>
              <p:tags r:id="rId9"/>
            </p:custDataLst>
          </p:nvPr>
        </p:nvSpPr>
        <p:spPr bwMode="gray">
          <a:xfrm>
            <a:off x="2560638" y="4427538"/>
            <a:ext cx="168275" cy="608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433AF0B-A578-40AB-BC9E-95590B0B89FC}" type="datetime'''''''''''I''''''''''T'' S''''ecu''''''''r''i''''''ty'">
              <a:rPr lang="en-US" altLang="en-US" sz="1000" smtClean="0"/>
              <a:pPr/>
              <a:t>IT Security</a:t>
            </a:fld>
            <a:endParaRPr lang="en-US" sz="1000" dirty="0"/>
          </a:p>
        </p:txBody>
      </p:sp>
      <p:sp>
        <p:nvSpPr>
          <p:cNvPr id="64" name="Text Placeholder 3">
            <a:extLst>
              <a:ext uri="{FF2B5EF4-FFF2-40B4-BE49-F238E27FC236}">
                <a16:creationId xmlns:a16="http://schemas.microsoft.com/office/drawing/2014/main" id="{458499BB-F3D4-4346-B708-43C0FC066D76}"/>
              </a:ext>
            </a:extLst>
          </p:cNvPr>
          <p:cNvSpPr>
            <a:spLocks noGrp="1"/>
          </p:cNvSpPr>
          <p:nvPr>
            <p:custDataLst>
              <p:tags r:id="rId10"/>
            </p:custDataLst>
          </p:nvPr>
        </p:nvSpPr>
        <p:spPr bwMode="gray">
          <a:xfrm>
            <a:off x="4221163" y="4427537"/>
            <a:ext cx="168275" cy="4445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F6C3144-9E4D-4AA5-9FBB-4ABC023C9A91}" type="datetime'''''La''''pt''''o''''''''''''ps'''''''">
              <a:rPr lang="en-US" altLang="en-US" sz="1000" smtClean="0">
                <a:effectLst/>
              </a:rPr>
              <a:pPr algn="r">
                <a:spcBef>
                  <a:spcPct val="0"/>
                </a:spcBef>
                <a:spcAft>
                  <a:spcPct val="0"/>
                </a:spcAft>
              </a:pPr>
              <a:t>Laptops</a:t>
            </a:fld>
            <a:endParaRPr lang="en-US" sz="1000" dirty="0"/>
          </a:p>
        </p:txBody>
      </p:sp>
      <p:sp>
        <p:nvSpPr>
          <p:cNvPr id="65" name="Text Placeholder 3">
            <a:extLst>
              <a:ext uri="{FF2B5EF4-FFF2-40B4-BE49-F238E27FC236}">
                <a16:creationId xmlns:a16="http://schemas.microsoft.com/office/drawing/2014/main" id="{80479217-5F3C-4A1A-B122-9AD0939CD912}"/>
              </a:ext>
            </a:extLst>
          </p:cNvPr>
          <p:cNvSpPr>
            <a:spLocks noGrp="1"/>
          </p:cNvSpPr>
          <p:nvPr>
            <p:custDataLst>
              <p:tags r:id="rId11"/>
            </p:custDataLst>
          </p:nvPr>
        </p:nvSpPr>
        <p:spPr bwMode="gray">
          <a:xfrm>
            <a:off x="4773613" y="4427538"/>
            <a:ext cx="168275" cy="447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0561844-51FD-4EC1-A985-8D97FD42E06D}" type="datetime'L''o''''''c''''a''''''''''''''l'' ''''''''I''''''''''''''T'''">
              <a:rPr lang="en-US" altLang="en-US" sz="1000" smtClean="0">
                <a:effectLst/>
              </a:rPr>
              <a:pPr algn="r">
                <a:spcBef>
                  <a:spcPct val="0"/>
                </a:spcBef>
                <a:spcAft>
                  <a:spcPct val="0"/>
                </a:spcAft>
              </a:pPr>
              <a:t>Local IT</a:t>
            </a:fld>
            <a:endParaRPr lang="en-US" sz="1000" dirty="0"/>
          </a:p>
        </p:txBody>
      </p:sp>
      <p:sp>
        <p:nvSpPr>
          <p:cNvPr id="68" name="Text Placeholder 3">
            <a:extLst>
              <a:ext uri="{FF2B5EF4-FFF2-40B4-BE49-F238E27FC236}">
                <a16:creationId xmlns:a16="http://schemas.microsoft.com/office/drawing/2014/main" id="{0E279665-9207-4A22-A113-08C25D42007D}"/>
              </a:ext>
            </a:extLst>
          </p:cNvPr>
          <p:cNvSpPr>
            <a:spLocks noGrp="1"/>
          </p:cNvSpPr>
          <p:nvPr>
            <p:custDataLst>
              <p:tags r:id="rId12"/>
            </p:custDataLst>
          </p:nvPr>
        </p:nvSpPr>
        <p:spPr bwMode="gray">
          <a:xfrm>
            <a:off x="6434138" y="4427537"/>
            <a:ext cx="168275" cy="4445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CC11B14-0287-46FD-85F6-0979247440FB}" type="datetime'''''O''''''''''''''''u''''''''t''''l''o''''''o''''''''''k'">
              <a:rPr lang="en-US" altLang="en-US" sz="1000" smtClean="0">
                <a:effectLst/>
              </a:rPr>
              <a:pPr algn="r">
                <a:spcBef>
                  <a:spcPct val="0"/>
                </a:spcBef>
                <a:spcAft>
                  <a:spcPct val="0"/>
                </a:spcAft>
              </a:pPr>
              <a:t>Outlook</a:t>
            </a:fld>
            <a:endParaRPr lang="en-US" sz="1000" dirty="0"/>
          </a:p>
        </p:txBody>
      </p:sp>
      <p:sp>
        <p:nvSpPr>
          <p:cNvPr id="66" name="Text Placeholder 3">
            <a:extLst>
              <a:ext uri="{FF2B5EF4-FFF2-40B4-BE49-F238E27FC236}">
                <a16:creationId xmlns:a16="http://schemas.microsoft.com/office/drawing/2014/main" id="{3107AB62-3713-4C40-86B0-83579CE24ADD}"/>
              </a:ext>
            </a:extLst>
          </p:cNvPr>
          <p:cNvSpPr>
            <a:spLocks noGrp="1"/>
          </p:cNvSpPr>
          <p:nvPr>
            <p:custDataLst>
              <p:tags r:id="rId13"/>
            </p:custDataLst>
          </p:nvPr>
        </p:nvSpPr>
        <p:spPr bwMode="gray">
          <a:xfrm>
            <a:off x="5327650" y="4427537"/>
            <a:ext cx="168275" cy="2667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3057835-3CDE-4B2E-86B7-3025FCA07AE1}" type="datetime'''O''''''''''k''''''''''''t''a'''''''">
              <a:rPr lang="en-US" altLang="en-US" sz="1000" smtClean="0"/>
              <a:pPr/>
              <a:t>Okta</a:t>
            </a:fld>
            <a:endParaRPr lang="en-US" sz="1000" dirty="0"/>
          </a:p>
        </p:txBody>
      </p:sp>
      <p:sp>
        <p:nvSpPr>
          <p:cNvPr id="67" name="Text Placeholder 3">
            <a:extLst>
              <a:ext uri="{FF2B5EF4-FFF2-40B4-BE49-F238E27FC236}">
                <a16:creationId xmlns:a16="http://schemas.microsoft.com/office/drawing/2014/main" id="{A5A833F4-807C-4716-BA66-830612774D9C}"/>
              </a:ext>
            </a:extLst>
          </p:cNvPr>
          <p:cNvSpPr>
            <a:spLocks noGrp="1"/>
          </p:cNvSpPr>
          <p:nvPr>
            <p:custDataLst>
              <p:tags r:id="rId14"/>
            </p:custDataLst>
          </p:nvPr>
        </p:nvSpPr>
        <p:spPr bwMode="gray">
          <a:xfrm>
            <a:off x="5880100" y="4427538"/>
            <a:ext cx="168275" cy="495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C52C748-4BC4-4C54-853A-74570951FC32}" type="datetime'''''''O''''ne''''''''''''N''ot''''''''''''''''''''''''''e'">
              <a:rPr lang="en-US" altLang="en-US" sz="1000" smtClean="0">
                <a:effectLst/>
              </a:rPr>
              <a:pPr algn="r">
                <a:spcBef>
                  <a:spcPct val="0"/>
                </a:spcBef>
                <a:spcAft>
                  <a:spcPct val="0"/>
                </a:spcAft>
              </a:pPr>
              <a:t>OneNote</a:t>
            </a:fld>
            <a:endParaRPr lang="en-US" sz="1000" dirty="0"/>
          </a:p>
        </p:txBody>
      </p:sp>
      <p:sp>
        <p:nvSpPr>
          <p:cNvPr id="69" name="Text Placeholder 3">
            <a:extLst>
              <a:ext uri="{FF2B5EF4-FFF2-40B4-BE49-F238E27FC236}">
                <a16:creationId xmlns:a16="http://schemas.microsoft.com/office/drawing/2014/main" id="{541BFEA3-0668-4003-9B3B-E56E94A280E7}"/>
              </a:ext>
            </a:extLst>
          </p:cNvPr>
          <p:cNvSpPr>
            <a:spLocks noGrp="1"/>
          </p:cNvSpPr>
          <p:nvPr>
            <p:custDataLst>
              <p:tags r:id="rId15"/>
            </p:custDataLst>
          </p:nvPr>
        </p:nvSpPr>
        <p:spPr bwMode="gray">
          <a:xfrm>
            <a:off x="6904038" y="4427537"/>
            <a:ext cx="336550" cy="685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F817E53-3744-4A2A-8D26-0E6B143D3B89}" type="datetime'''''O''''utlo''''o''''''k'''''' ''''''f''o''''r &#10;Mo''bil''e'''">
              <a:rPr lang="en-US" altLang="en-US" sz="1000" smtClean="0"/>
              <a:pPr/>
              <a:t>Outlook for 
Mobile</a:t>
            </a:fld>
            <a:endParaRPr lang="en-US" sz="1000" dirty="0"/>
          </a:p>
        </p:txBody>
      </p:sp>
      <p:sp>
        <p:nvSpPr>
          <p:cNvPr id="70" name="Text Placeholder 3">
            <a:extLst>
              <a:ext uri="{FF2B5EF4-FFF2-40B4-BE49-F238E27FC236}">
                <a16:creationId xmlns:a16="http://schemas.microsoft.com/office/drawing/2014/main" id="{2442EEB1-F618-41D9-9952-4C764F5FD8A6}"/>
              </a:ext>
            </a:extLst>
          </p:cNvPr>
          <p:cNvSpPr>
            <a:spLocks noGrp="1"/>
          </p:cNvSpPr>
          <p:nvPr>
            <p:custDataLst>
              <p:tags r:id="rId16"/>
            </p:custDataLst>
          </p:nvPr>
        </p:nvSpPr>
        <p:spPr bwMode="gray">
          <a:xfrm>
            <a:off x="7540625" y="4427538"/>
            <a:ext cx="168275" cy="6508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30C3CAA-63FA-4223-91B3-B3D55F7A7FDC}" type="datetime'''''P''''o''''w''''e''''''r''''''''''''P''o''i''n''''t'''">
              <a:rPr lang="en-US" altLang="en-US" sz="1000" smtClean="0">
                <a:effectLst/>
              </a:rPr>
              <a:pPr algn="r">
                <a:spcBef>
                  <a:spcPct val="0"/>
                </a:spcBef>
                <a:spcAft>
                  <a:spcPct val="0"/>
                </a:spcAft>
              </a:pPr>
              <a:t>PowerPoint</a:t>
            </a:fld>
            <a:endParaRPr lang="en-US" sz="1000" dirty="0"/>
          </a:p>
        </p:txBody>
      </p:sp>
      <p:sp>
        <p:nvSpPr>
          <p:cNvPr id="71" name="Text Placeholder 3">
            <a:extLst>
              <a:ext uri="{FF2B5EF4-FFF2-40B4-BE49-F238E27FC236}">
                <a16:creationId xmlns:a16="http://schemas.microsoft.com/office/drawing/2014/main" id="{A2A80A40-8D34-43F7-94D8-2C541F6B79B9}"/>
              </a:ext>
            </a:extLst>
          </p:cNvPr>
          <p:cNvSpPr>
            <a:spLocks noGrp="1"/>
          </p:cNvSpPr>
          <p:nvPr>
            <p:custDataLst>
              <p:tags r:id="rId17"/>
            </p:custDataLst>
          </p:nvPr>
        </p:nvSpPr>
        <p:spPr bwMode="gray">
          <a:xfrm>
            <a:off x="8094663" y="4427538"/>
            <a:ext cx="168275" cy="379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690DBC7-4201-4C7E-9279-0932DFDABE50}" type="datetime'''''S''''''''''earc''''''''''''''''''''''''''''h'''">
              <a:rPr lang="en-US" altLang="en-US" sz="1000" smtClean="0">
                <a:effectLst/>
              </a:rPr>
              <a:pPr algn="r">
                <a:spcBef>
                  <a:spcPct val="0"/>
                </a:spcBef>
                <a:spcAft>
                  <a:spcPct val="0"/>
                </a:spcAft>
              </a:pPr>
              <a:t>Search</a:t>
            </a:fld>
            <a:endParaRPr lang="en-US" sz="1000" dirty="0"/>
          </a:p>
        </p:txBody>
      </p:sp>
      <p:sp>
        <p:nvSpPr>
          <p:cNvPr id="72" name="Text Placeholder 3">
            <a:extLst>
              <a:ext uri="{FF2B5EF4-FFF2-40B4-BE49-F238E27FC236}">
                <a16:creationId xmlns:a16="http://schemas.microsoft.com/office/drawing/2014/main" id="{F6B9CFEC-6ACF-4844-A0F3-33B52D5A1710}"/>
              </a:ext>
            </a:extLst>
          </p:cNvPr>
          <p:cNvSpPr>
            <a:spLocks noGrp="1"/>
          </p:cNvSpPr>
          <p:nvPr>
            <p:custDataLst>
              <p:tags r:id="rId18"/>
            </p:custDataLst>
          </p:nvPr>
        </p:nvSpPr>
        <p:spPr bwMode="gray">
          <a:xfrm>
            <a:off x="8647113" y="4427538"/>
            <a:ext cx="168275" cy="292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1B09C4E-E4C7-44B7-BEF7-B39C06E5B41D}" type="datetime'''''''''Sl''''''''''''''''''''''a''''''''''c''''''''k'''''">
              <a:rPr lang="en-US" altLang="en-US" sz="1000" smtClean="0">
                <a:effectLst/>
              </a:rPr>
              <a:pPr algn="r">
                <a:spcBef>
                  <a:spcPct val="0"/>
                </a:spcBef>
                <a:spcAft>
                  <a:spcPct val="0"/>
                </a:spcAft>
              </a:pPr>
              <a:t>Slack</a:t>
            </a:fld>
            <a:endParaRPr lang="en-US" sz="1000" dirty="0"/>
          </a:p>
        </p:txBody>
      </p:sp>
      <p:sp>
        <p:nvSpPr>
          <p:cNvPr id="73" name="Text Placeholder 3">
            <a:extLst>
              <a:ext uri="{FF2B5EF4-FFF2-40B4-BE49-F238E27FC236}">
                <a16:creationId xmlns:a16="http://schemas.microsoft.com/office/drawing/2014/main" id="{309A30B4-6933-406C-B58D-D5BA1640F7CD}"/>
              </a:ext>
            </a:extLst>
          </p:cNvPr>
          <p:cNvSpPr>
            <a:spLocks noGrp="1"/>
          </p:cNvSpPr>
          <p:nvPr>
            <p:custDataLst>
              <p:tags r:id="rId19"/>
            </p:custDataLst>
          </p:nvPr>
        </p:nvSpPr>
        <p:spPr bwMode="gray">
          <a:xfrm>
            <a:off x="9201150" y="4427538"/>
            <a:ext cx="168275" cy="6461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B6311A4-ED49-480F-9A2A-65012B1F419A}" type="datetime'''''T''''''im''''''''''''''''e''''''s''''h''''''''eets'''''''">
              <a:rPr lang="en-US" altLang="en-US" sz="1000" smtClean="0"/>
              <a:pPr/>
              <a:t>Timesheets</a:t>
            </a:fld>
            <a:endParaRPr lang="en-US" sz="1000" dirty="0"/>
          </a:p>
        </p:txBody>
      </p:sp>
      <p:sp>
        <p:nvSpPr>
          <p:cNvPr id="74" name="Text Placeholder 3">
            <a:extLst>
              <a:ext uri="{FF2B5EF4-FFF2-40B4-BE49-F238E27FC236}">
                <a16:creationId xmlns:a16="http://schemas.microsoft.com/office/drawing/2014/main" id="{F3F88941-6B8D-4C11-8F6B-40BC73BAD8B1}"/>
              </a:ext>
            </a:extLst>
          </p:cNvPr>
          <p:cNvSpPr>
            <a:spLocks noGrp="1"/>
          </p:cNvSpPr>
          <p:nvPr>
            <p:custDataLst>
              <p:tags r:id="rId20"/>
            </p:custDataLst>
          </p:nvPr>
        </p:nvSpPr>
        <p:spPr bwMode="gray">
          <a:xfrm>
            <a:off x="9755188" y="4427538"/>
            <a:ext cx="168275"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E1D5730-4742-4E8C-AF66-A6FE52AFFC95}" type="datetime'''''''''T''''''r''''e''''''l''''''lo'''''">
              <a:rPr lang="en-US" altLang="en-US" sz="1000" smtClean="0">
                <a:effectLst/>
              </a:rPr>
              <a:pPr algn="r">
                <a:spcBef>
                  <a:spcPct val="0"/>
                </a:spcBef>
                <a:spcAft>
                  <a:spcPct val="0"/>
                </a:spcAft>
              </a:pPr>
              <a:t>Trello</a:t>
            </a:fld>
            <a:endParaRPr lang="en-US" sz="1000" dirty="0"/>
          </a:p>
        </p:txBody>
      </p:sp>
      <p:sp>
        <p:nvSpPr>
          <p:cNvPr id="75" name="Text Placeholder 3">
            <a:extLst>
              <a:ext uri="{FF2B5EF4-FFF2-40B4-BE49-F238E27FC236}">
                <a16:creationId xmlns:a16="http://schemas.microsoft.com/office/drawing/2014/main" id="{D41986C0-0865-4651-BA38-6590B2BA144E}"/>
              </a:ext>
            </a:extLst>
          </p:cNvPr>
          <p:cNvSpPr>
            <a:spLocks noGrp="1"/>
          </p:cNvSpPr>
          <p:nvPr>
            <p:custDataLst>
              <p:tags r:id="rId21"/>
            </p:custDataLst>
          </p:nvPr>
        </p:nvSpPr>
        <p:spPr bwMode="gray">
          <a:xfrm>
            <a:off x="10307638" y="4427538"/>
            <a:ext cx="168275" cy="227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EAB40F4-4713-416B-9311-CBBD269A6735}" type="datetime'''''''''V''''''''''P''N'''''''''''''''''''''''''''''''''''''''">
              <a:rPr lang="en-US" altLang="en-US" sz="1000" smtClean="0">
                <a:effectLst/>
              </a:rPr>
              <a:pPr algn="r">
                <a:spcBef>
                  <a:spcPct val="0"/>
                </a:spcBef>
                <a:spcAft>
                  <a:spcPct val="0"/>
                </a:spcAft>
              </a:pPr>
              <a:t>VPN</a:t>
            </a:fld>
            <a:endParaRPr lang="en-US" sz="1000" dirty="0"/>
          </a:p>
        </p:txBody>
      </p:sp>
      <p:sp>
        <p:nvSpPr>
          <p:cNvPr id="76" name="Text Placeholder 3">
            <a:extLst>
              <a:ext uri="{FF2B5EF4-FFF2-40B4-BE49-F238E27FC236}">
                <a16:creationId xmlns:a16="http://schemas.microsoft.com/office/drawing/2014/main" id="{AE84FFEF-69F1-41E5-A2DD-0CB750AE05CC}"/>
              </a:ext>
            </a:extLst>
          </p:cNvPr>
          <p:cNvSpPr>
            <a:spLocks noGrp="1"/>
          </p:cNvSpPr>
          <p:nvPr>
            <p:custDataLst>
              <p:tags r:id="rId22"/>
            </p:custDataLst>
          </p:nvPr>
        </p:nvSpPr>
        <p:spPr bwMode="gray">
          <a:xfrm>
            <a:off x="10861675" y="4427538"/>
            <a:ext cx="168275" cy="2968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CE18E9B-8D15-41A9-A679-F08408DA6F4D}" type="datetime'''''W''''''''''''''''''''''''''''o''r''''d'">
              <a:rPr lang="en-US" altLang="en-US" sz="1000" smtClean="0">
                <a:effectLst/>
              </a:rPr>
              <a:pPr algn="r">
                <a:spcBef>
                  <a:spcPct val="0"/>
                </a:spcBef>
                <a:spcAft>
                  <a:spcPct val="0"/>
                </a:spcAft>
              </a:pPr>
              <a:t>Word</a:t>
            </a:fld>
            <a:endParaRPr lang="en-US" sz="1000" dirty="0"/>
          </a:p>
        </p:txBody>
      </p:sp>
      <p:sp>
        <p:nvSpPr>
          <p:cNvPr id="77" name="Text Placeholder 3">
            <a:extLst>
              <a:ext uri="{FF2B5EF4-FFF2-40B4-BE49-F238E27FC236}">
                <a16:creationId xmlns:a16="http://schemas.microsoft.com/office/drawing/2014/main" id="{9B4A7456-90C8-42B8-8686-4877FB386AF5}"/>
              </a:ext>
            </a:extLst>
          </p:cNvPr>
          <p:cNvSpPr>
            <a:spLocks noGrp="1"/>
          </p:cNvSpPr>
          <p:nvPr>
            <p:custDataLst>
              <p:tags r:id="rId23"/>
            </p:custDataLst>
          </p:nvPr>
        </p:nvSpPr>
        <p:spPr bwMode="gray">
          <a:xfrm>
            <a:off x="11414125" y="4427538"/>
            <a:ext cx="168275" cy="311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8D3F757-D402-4958-8129-2204F734626F}" type="datetime'Z''''''''''''''''''''''''''''''''''''''''oo''''''''m'''">
              <a:rPr lang="en-US" altLang="en-US" sz="1000" smtClean="0">
                <a:effectLst/>
              </a:rPr>
              <a:pPr algn="r">
                <a:spcBef>
                  <a:spcPct val="0"/>
                </a:spcBef>
                <a:spcAft>
                  <a:spcPct val="0"/>
                </a:spcAft>
              </a:pPr>
              <a:t>Zoom</a:t>
            </a:fld>
            <a:endParaRPr lang="en-US" sz="1000" dirty="0"/>
          </a:p>
        </p:txBody>
      </p:sp>
      <p:sp>
        <p:nvSpPr>
          <p:cNvPr id="272" name="Rectangle 271">
            <a:extLst>
              <a:ext uri="{FF2B5EF4-FFF2-40B4-BE49-F238E27FC236}">
                <a16:creationId xmlns:a16="http://schemas.microsoft.com/office/drawing/2014/main" id="{0619B1B0-B869-4838-B7FA-6F5F30192653}"/>
              </a:ext>
            </a:extLst>
          </p:cNvPr>
          <p:cNvSpPr/>
          <p:nvPr>
            <p:custDataLst>
              <p:tags r:id="rId24"/>
            </p:custDataLst>
          </p:nvPr>
        </p:nvSpPr>
        <p:spPr bwMode="gray">
          <a:xfrm>
            <a:off x="5094288" y="5275263"/>
            <a:ext cx="250825" cy="187325"/>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4" name="Rectangle 273">
            <a:extLst>
              <a:ext uri="{FF2B5EF4-FFF2-40B4-BE49-F238E27FC236}">
                <a16:creationId xmlns:a16="http://schemas.microsoft.com/office/drawing/2014/main" id="{F8B066C3-AFF7-40D1-B0E5-BFCA5F8426CB}"/>
              </a:ext>
            </a:extLst>
          </p:cNvPr>
          <p:cNvSpPr/>
          <p:nvPr>
            <p:custDataLst>
              <p:tags r:id="rId25"/>
            </p:custDataLst>
          </p:nvPr>
        </p:nvSpPr>
        <p:spPr bwMode="gray">
          <a:xfrm>
            <a:off x="6650038" y="5275263"/>
            <a:ext cx="250825" cy="187325"/>
          </a:xfrm>
          <a:prstGeom prst="rect">
            <a:avLst/>
          </a:prstGeom>
          <a:solidFill>
            <a:srgbClr val="837F7F"/>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3" name="Rectangle 272">
            <a:extLst>
              <a:ext uri="{FF2B5EF4-FFF2-40B4-BE49-F238E27FC236}">
                <a16:creationId xmlns:a16="http://schemas.microsoft.com/office/drawing/2014/main" id="{8C13310B-9324-4B46-BD17-620A6EAD6920}"/>
              </a:ext>
            </a:extLst>
          </p:cNvPr>
          <p:cNvSpPr/>
          <p:nvPr>
            <p:custDataLst>
              <p:tags r:id="rId26"/>
            </p:custDataLst>
          </p:nvPr>
        </p:nvSpPr>
        <p:spPr bwMode="gray">
          <a:xfrm>
            <a:off x="5872163" y="5275263"/>
            <a:ext cx="250825" cy="187325"/>
          </a:xfrm>
          <a:prstGeom prst="rect">
            <a:avLst/>
          </a:prstGeom>
          <a:solidFill>
            <a:srgbClr val="C8C8C8"/>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Text Placeholder 3">
            <a:extLst>
              <a:ext uri="{FF2B5EF4-FFF2-40B4-BE49-F238E27FC236}">
                <a16:creationId xmlns:a16="http://schemas.microsoft.com/office/drawing/2014/main" id="{04DB29D6-14E9-43A6-9540-5733D5D0F0E4}"/>
              </a:ext>
            </a:extLst>
          </p:cNvPr>
          <p:cNvSpPr>
            <a:spLocks noGrp="1"/>
          </p:cNvSpPr>
          <p:nvPr>
            <p:custDataLst>
              <p:tags r:id="rId27"/>
            </p:custDataLst>
          </p:nvPr>
        </p:nvSpPr>
        <p:spPr bwMode="gray">
          <a:xfrm>
            <a:off x="5395913" y="5254625"/>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B8CCE59-A1BE-4037-8A50-35E0C5216D54}" type="datetime'''''2''''''''0''''''''''''''''''''''''''''''''1''''''''9'''''">
              <a:rPr lang="en-US" altLang="en-US" sz="1400" smtClean="0"/>
              <a:pPr/>
              <a:t>2019</a:t>
            </a:fld>
            <a:endParaRPr lang="en-US" sz="1400" dirty="0"/>
          </a:p>
        </p:txBody>
      </p:sp>
      <p:sp>
        <p:nvSpPr>
          <p:cNvPr id="84" name="Text Placeholder 3">
            <a:extLst>
              <a:ext uri="{FF2B5EF4-FFF2-40B4-BE49-F238E27FC236}">
                <a16:creationId xmlns:a16="http://schemas.microsoft.com/office/drawing/2014/main" id="{F2EEC83F-4481-41A6-95D0-320988E5A577}"/>
              </a:ext>
            </a:extLst>
          </p:cNvPr>
          <p:cNvSpPr>
            <a:spLocks noGrp="1"/>
          </p:cNvSpPr>
          <p:nvPr>
            <p:custDataLst>
              <p:tags r:id="rId28"/>
            </p:custDataLst>
          </p:nvPr>
        </p:nvSpPr>
        <p:spPr bwMode="gray">
          <a:xfrm>
            <a:off x="6173788" y="5254625"/>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9862A11-DEE3-4E8D-8E28-EC30DF72448C}" type="datetime'''''''''2''0''''''''''''''2''''0'''''">
              <a:rPr lang="en-US" altLang="en-US" sz="1400" smtClean="0"/>
              <a:pPr/>
              <a:t>2020</a:t>
            </a:fld>
            <a:endParaRPr lang="en-US" sz="1400" dirty="0"/>
          </a:p>
        </p:txBody>
      </p:sp>
      <p:sp>
        <p:nvSpPr>
          <p:cNvPr id="87" name="Text Placeholder 3">
            <a:extLst>
              <a:ext uri="{FF2B5EF4-FFF2-40B4-BE49-F238E27FC236}">
                <a16:creationId xmlns:a16="http://schemas.microsoft.com/office/drawing/2014/main" id="{CB77D1AA-0BEB-4214-9931-3215A16B5441}"/>
              </a:ext>
            </a:extLst>
          </p:cNvPr>
          <p:cNvSpPr>
            <a:spLocks noGrp="1"/>
          </p:cNvSpPr>
          <p:nvPr>
            <p:custDataLst>
              <p:tags r:id="rId29"/>
            </p:custDataLst>
          </p:nvPr>
        </p:nvSpPr>
        <p:spPr bwMode="gray">
          <a:xfrm>
            <a:off x="6951663" y="5254625"/>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7E3AA59-72E1-42F5-A260-99706CD4BF5E}" type="datetime'''''''''''''''''2''''''''''''0''''''''2''1'''''''">
              <a:rPr lang="en-US" altLang="en-US" sz="1400" smtClean="0"/>
              <a:pPr/>
              <a:t>2021</a:t>
            </a:fld>
            <a:endParaRPr lang="en-US" sz="1400" dirty="0"/>
          </a:p>
        </p:txBody>
      </p:sp>
      <p:cxnSp>
        <p:nvCxnSpPr>
          <p:cNvPr id="316" name="Straight Connector 315">
            <a:extLst>
              <a:ext uri="{FF2B5EF4-FFF2-40B4-BE49-F238E27FC236}">
                <a16:creationId xmlns:a16="http://schemas.microsoft.com/office/drawing/2014/main" id="{D3B3F537-2A8C-44CD-ACA8-1A08C7D01070}"/>
              </a:ext>
            </a:extLst>
          </p:cNvPr>
          <p:cNvCxnSpPr>
            <a:cxnSpLocks/>
          </p:cNvCxnSpPr>
          <p:nvPr/>
        </p:nvCxnSpPr>
        <p:spPr>
          <a:xfrm>
            <a:off x="1022627" y="1857829"/>
            <a:ext cx="155933" cy="120485"/>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A4A4B176-AF5E-493D-964E-EDD6AA879200}"/>
              </a:ext>
            </a:extLst>
          </p:cNvPr>
          <p:cNvCxnSpPr>
            <a:cxnSpLocks/>
          </p:cNvCxnSpPr>
          <p:nvPr/>
        </p:nvCxnSpPr>
        <p:spPr>
          <a:xfrm flipH="1">
            <a:off x="1380782" y="2106447"/>
            <a:ext cx="155810" cy="461557"/>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C71892FC-2BB7-491D-90C7-E3554696905F}"/>
              </a:ext>
            </a:extLst>
          </p:cNvPr>
          <p:cNvCxnSpPr>
            <a:cxnSpLocks/>
          </p:cNvCxnSpPr>
          <p:nvPr/>
        </p:nvCxnSpPr>
        <p:spPr>
          <a:xfrm flipV="1">
            <a:off x="2076256" y="2180757"/>
            <a:ext cx="166645" cy="11133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FBB69313-231C-420F-B602-58FFC1F9B2B3}"/>
              </a:ext>
            </a:extLst>
          </p:cNvPr>
          <p:cNvCxnSpPr>
            <a:cxnSpLocks/>
          </p:cNvCxnSpPr>
          <p:nvPr/>
        </p:nvCxnSpPr>
        <p:spPr>
          <a:xfrm flipV="1">
            <a:off x="3044190" y="2203290"/>
            <a:ext cx="135572" cy="8879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ACF4FD9B-AF2B-4C8B-BD51-8F1E2AE01968}"/>
              </a:ext>
            </a:extLst>
          </p:cNvPr>
          <p:cNvCxnSpPr>
            <a:cxnSpLocks/>
          </p:cNvCxnSpPr>
          <p:nvPr/>
        </p:nvCxnSpPr>
        <p:spPr>
          <a:xfrm flipV="1">
            <a:off x="4165010" y="2339690"/>
            <a:ext cx="134043" cy="30873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895BC3DF-A5C3-489C-A52F-BCCBAF0A6B6E}"/>
              </a:ext>
            </a:extLst>
          </p:cNvPr>
          <p:cNvCxnSpPr>
            <a:cxnSpLocks/>
          </p:cNvCxnSpPr>
          <p:nvPr/>
        </p:nvCxnSpPr>
        <p:spPr>
          <a:xfrm flipH="1">
            <a:off x="4673246" y="1586218"/>
            <a:ext cx="197839" cy="2113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76B3E57B-1B74-4301-B546-89132B36ACE4}"/>
              </a:ext>
            </a:extLst>
          </p:cNvPr>
          <p:cNvCxnSpPr>
            <a:cxnSpLocks/>
          </p:cNvCxnSpPr>
          <p:nvPr/>
        </p:nvCxnSpPr>
        <p:spPr>
          <a:xfrm flipV="1">
            <a:off x="6349867" y="2292088"/>
            <a:ext cx="198571" cy="45554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28D3607F-C5E1-424B-82B0-FFD877D64F6B}"/>
              </a:ext>
            </a:extLst>
          </p:cNvPr>
          <p:cNvCxnSpPr>
            <a:cxnSpLocks/>
          </p:cNvCxnSpPr>
          <p:nvPr/>
        </p:nvCxnSpPr>
        <p:spPr>
          <a:xfrm>
            <a:off x="7072313" y="1748379"/>
            <a:ext cx="161970" cy="72484"/>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421B88E9-91C4-407E-B74E-B43A90592B5D}"/>
              </a:ext>
            </a:extLst>
          </p:cNvPr>
          <p:cNvCxnSpPr>
            <a:cxnSpLocks/>
          </p:cNvCxnSpPr>
          <p:nvPr/>
        </p:nvCxnSpPr>
        <p:spPr>
          <a:xfrm flipV="1">
            <a:off x="7445829" y="2229418"/>
            <a:ext cx="178933" cy="41900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CFDAF6C7-0B5D-48D4-B663-63EF735B96DC}"/>
              </a:ext>
            </a:extLst>
          </p:cNvPr>
          <p:cNvCxnSpPr>
            <a:cxnSpLocks/>
          </p:cNvCxnSpPr>
          <p:nvPr/>
        </p:nvCxnSpPr>
        <p:spPr>
          <a:xfrm flipV="1">
            <a:off x="8036164" y="2648421"/>
            <a:ext cx="140561" cy="11043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FE8DA557-E32B-4433-BEC2-493406C773D0}"/>
              </a:ext>
            </a:extLst>
          </p:cNvPr>
          <p:cNvCxnSpPr>
            <a:cxnSpLocks/>
          </p:cNvCxnSpPr>
          <p:nvPr/>
        </p:nvCxnSpPr>
        <p:spPr>
          <a:xfrm flipV="1">
            <a:off x="8580120" y="1801659"/>
            <a:ext cx="151130" cy="175749"/>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525AF5D0-7639-4B4F-8308-C90243F69ACF}"/>
              </a:ext>
            </a:extLst>
          </p:cNvPr>
          <p:cNvCxnSpPr>
            <a:cxnSpLocks/>
          </p:cNvCxnSpPr>
          <p:nvPr/>
        </p:nvCxnSpPr>
        <p:spPr>
          <a:xfrm>
            <a:off x="9679305" y="2010348"/>
            <a:ext cx="148447" cy="6012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8A7FEC2D-A22D-4A47-9A94-8F7498414793}"/>
              </a:ext>
            </a:extLst>
          </p:cNvPr>
          <p:cNvCxnSpPr>
            <a:cxnSpLocks/>
          </p:cNvCxnSpPr>
          <p:nvPr/>
        </p:nvCxnSpPr>
        <p:spPr>
          <a:xfrm flipV="1">
            <a:off x="9839325" y="2052567"/>
            <a:ext cx="160020" cy="26126"/>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7A9487EE-8082-4F25-B92E-D5EAF8234C23}"/>
              </a:ext>
            </a:extLst>
          </p:cNvPr>
          <p:cNvCxnSpPr>
            <a:cxnSpLocks/>
          </p:cNvCxnSpPr>
          <p:nvPr/>
        </p:nvCxnSpPr>
        <p:spPr>
          <a:xfrm flipV="1">
            <a:off x="10791825" y="2061497"/>
            <a:ext cx="153987" cy="16792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DF8D880F-5C2F-4CD4-814F-2BAE5371AC8E}"/>
              </a:ext>
            </a:extLst>
          </p:cNvPr>
          <p:cNvCxnSpPr>
            <a:cxnSpLocks/>
          </p:cNvCxnSpPr>
          <p:nvPr/>
        </p:nvCxnSpPr>
        <p:spPr>
          <a:xfrm flipV="1">
            <a:off x="11498262" y="1504950"/>
            <a:ext cx="150813" cy="40006"/>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1" name="Rectangle 370">
            <a:extLst>
              <a:ext uri="{FF2B5EF4-FFF2-40B4-BE49-F238E27FC236}">
                <a16:creationId xmlns:a16="http://schemas.microsoft.com/office/drawing/2014/main" id="{C8701625-888E-48CC-B58D-3A51C34A707A}"/>
              </a:ext>
            </a:extLst>
          </p:cNvPr>
          <p:cNvSpPr/>
          <p:nvPr/>
        </p:nvSpPr>
        <p:spPr>
          <a:xfrm>
            <a:off x="0" y="5705316"/>
            <a:ext cx="12192000" cy="115835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0" name="TextBox 379">
            <a:extLst>
              <a:ext uri="{FF2B5EF4-FFF2-40B4-BE49-F238E27FC236}">
                <a16:creationId xmlns:a16="http://schemas.microsoft.com/office/drawing/2014/main" id="{726B21D5-B232-45A5-8636-89EBA9DE4AEC}"/>
              </a:ext>
            </a:extLst>
          </p:cNvPr>
          <p:cNvSpPr txBox="1"/>
          <p:nvPr/>
        </p:nvSpPr>
        <p:spPr>
          <a:xfrm>
            <a:off x="11107738" y="3086100"/>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3" name="TextBox 382">
            <a:extLst>
              <a:ext uri="{FF2B5EF4-FFF2-40B4-BE49-F238E27FC236}">
                <a16:creationId xmlns:a16="http://schemas.microsoft.com/office/drawing/2014/main" id="{DD7E4562-331C-40C4-A319-C6E6BA395DC1}"/>
              </a:ext>
            </a:extLst>
          </p:cNvPr>
          <p:cNvSpPr txBox="1"/>
          <p:nvPr/>
        </p:nvSpPr>
        <p:spPr>
          <a:xfrm>
            <a:off x="5034756" y="3051175"/>
            <a:ext cx="414337" cy="1384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4" name="TextBox 383">
            <a:extLst>
              <a:ext uri="{FF2B5EF4-FFF2-40B4-BE49-F238E27FC236}">
                <a16:creationId xmlns:a16="http://schemas.microsoft.com/office/drawing/2014/main" id="{9947FFC3-34D9-4C14-88D8-595DAE4C6281}"/>
              </a:ext>
            </a:extLst>
          </p:cNvPr>
          <p:cNvSpPr txBox="1"/>
          <p:nvPr/>
        </p:nvSpPr>
        <p:spPr>
          <a:xfrm>
            <a:off x="6694680" y="3044825"/>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5" name="TextBox 384">
            <a:extLst>
              <a:ext uri="{FF2B5EF4-FFF2-40B4-BE49-F238E27FC236}">
                <a16:creationId xmlns:a16="http://schemas.microsoft.com/office/drawing/2014/main" id="{FCBD84A1-C737-4C47-B23D-EF95239E7EB4}"/>
              </a:ext>
            </a:extLst>
          </p:cNvPr>
          <p:cNvSpPr txBox="1"/>
          <p:nvPr/>
        </p:nvSpPr>
        <p:spPr>
          <a:xfrm>
            <a:off x="2245520" y="3082925"/>
            <a:ext cx="414337" cy="1384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6" name="TextBox 385">
            <a:extLst>
              <a:ext uri="{FF2B5EF4-FFF2-40B4-BE49-F238E27FC236}">
                <a16:creationId xmlns:a16="http://schemas.microsoft.com/office/drawing/2014/main" id="{B565C7C7-43C5-410A-8CDA-7005520565D1}"/>
              </a:ext>
            </a:extLst>
          </p:cNvPr>
          <p:cNvSpPr txBox="1"/>
          <p:nvPr/>
        </p:nvSpPr>
        <p:spPr>
          <a:xfrm>
            <a:off x="1674982" y="3095625"/>
            <a:ext cx="414337" cy="1384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New in 2020</a:t>
            </a:r>
          </a:p>
        </p:txBody>
      </p:sp>
      <p:sp>
        <p:nvSpPr>
          <p:cNvPr id="389" name="Rectangle 388">
            <a:extLst>
              <a:ext uri="{FF2B5EF4-FFF2-40B4-BE49-F238E27FC236}">
                <a16:creationId xmlns:a16="http://schemas.microsoft.com/office/drawing/2014/main" id="{67F714DE-3683-45B1-9ED0-D64A831671AA}"/>
              </a:ext>
            </a:extLst>
          </p:cNvPr>
          <p:cNvSpPr/>
          <p:nvPr/>
        </p:nvSpPr>
        <p:spPr>
          <a:xfrm>
            <a:off x="1035690" y="683059"/>
            <a:ext cx="7248982"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Repeat Responders in 2019, 2020 &amp; 2021</a:t>
            </a:r>
            <a:r>
              <a:rPr lang="en-US" sz="1600" i="1" baseline="30000" dirty="0">
                <a:solidFill>
                  <a:srgbClr val="E71C57"/>
                </a:solidFill>
              </a:rPr>
              <a:t>1</a:t>
            </a:r>
            <a:r>
              <a:rPr lang="en-US" sz="1600" i="1" dirty="0">
                <a:solidFill>
                  <a:srgbClr val="575757"/>
                </a:solidFill>
              </a:rPr>
              <a:t> (978 Respondents)</a:t>
            </a:r>
          </a:p>
        </p:txBody>
      </p:sp>
      <p:grpSp>
        <p:nvGrpSpPr>
          <p:cNvPr id="390" name="Group 389">
            <a:extLst>
              <a:ext uri="{FF2B5EF4-FFF2-40B4-BE49-F238E27FC236}">
                <a16:creationId xmlns:a16="http://schemas.microsoft.com/office/drawing/2014/main" id="{C56BAAEB-3631-47B9-B428-D03B121B2E80}"/>
              </a:ext>
            </a:extLst>
          </p:cNvPr>
          <p:cNvGrpSpPr>
            <a:grpSpLocks noChangeAspect="1"/>
          </p:cNvGrpSpPr>
          <p:nvPr/>
        </p:nvGrpSpPr>
        <p:grpSpPr>
          <a:xfrm>
            <a:off x="612091" y="629775"/>
            <a:ext cx="457200" cy="457200"/>
            <a:chOff x="5867400" y="3200400"/>
            <a:chExt cx="457200" cy="457200"/>
          </a:xfrm>
        </p:grpSpPr>
        <p:sp>
          <p:nvSpPr>
            <p:cNvPr id="391" name="AutoShape 43">
              <a:extLst>
                <a:ext uri="{FF2B5EF4-FFF2-40B4-BE49-F238E27FC236}">
                  <a16:creationId xmlns:a16="http://schemas.microsoft.com/office/drawing/2014/main" id="{8DDF4B3E-7368-44E9-B40E-E0A27A9A9F2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2" name="Freeform 17">
              <a:extLst>
                <a:ext uri="{FF2B5EF4-FFF2-40B4-BE49-F238E27FC236}">
                  <a16:creationId xmlns:a16="http://schemas.microsoft.com/office/drawing/2014/main" id="{E84C8142-6CCF-46F6-AF74-3DF781ABEFE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9" name="Rectangle 8">
            <a:extLst>
              <a:ext uri="{FF2B5EF4-FFF2-40B4-BE49-F238E27FC236}">
                <a16:creationId xmlns:a16="http://schemas.microsoft.com/office/drawing/2014/main" id="{327FB9E9-2C55-4EDB-8677-69C6321D6382}"/>
              </a:ext>
            </a:extLst>
          </p:cNvPr>
          <p:cNvSpPr/>
          <p:nvPr/>
        </p:nvSpPr>
        <p:spPr>
          <a:xfrm>
            <a:off x="612091" y="1059891"/>
            <a:ext cx="227841" cy="2263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t>
            </a:r>
          </a:p>
        </p:txBody>
      </p:sp>
      <p:sp>
        <p:nvSpPr>
          <p:cNvPr id="10" name="Rectangle 9">
            <a:extLst>
              <a:ext uri="{FF2B5EF4-FFF2-40B4-BE49-F238E27FC236}">
                <a16:creationId xmlns:a16="http://schemas.microsoft.com/office/drawing/2014/main" id="{62345EE1-9488-4CC8-B1FB-F7E3A575E5C4}"/>
              </a:ext>
            </a:extLst>
          </p:cNvPr>
          <p:cNvSpPr/>
          <p:nvPr/>
        </p:nvSpPr>
        <p:spPr>
          <a:xfrm>
            <a:off x="238991" y="5718017"/>
            <a:ext cx="11752118" cy="115411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295E7E"/>
                </a:solidFill>
              </a:rPr>
              <a:t>Versus 2020, 80% of products improved for repeat responders. Egnyte, Outlook for Mobile, PowerPoint &amp; Search trended down.  Outlook saw the most increase in E-SAT for repeat responders from 2019 to 2021 by +22%. Search E-SAT declined the most from 2020 to 2021 by -5%.</a:t>
            </a:r>
          </a:p>
        </p:txBody>
      </p:sp>
      <p:cxnSp>
        <p:nvCxnSpPr>
          <p:cNvPr id="221" name="Straight Connector 220">
            <a:extLst>
              <a:ext uri="{FF2B5EF4-FFF2-40B4-BE49-F238E27FC236}">
                <a16:creationId xmlns:a16="http://schemas.microsoft.com/office/drawing/2014/main" id="{4C4D501B-3E86-48D3-B2D6-8199CCA0B3A5}"/>
              </a:ext>
            </a:extLst>
          </p:cNvPr>
          <p:cNvCxnSpPr>
            <a:cxnSpLocks/>
          </p:cNvCxnSpPr>
          <p:nvPr/>
        </p:nvCxnSpPr>
        <p:spPr>
          <a:xfrm>
            <a:off x="7640955" y="2229418"/>
            <a:ext cx="183696" cy="30457"/>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C4A4E22E-3833-4736-AE39-3027F3162204}"/>
              </a:ext>
            </a:extLst>
          </p:cNvPr>
          <p:cNvCxnSpPr>
            <a:cxnSpLocks/>
          </p:cNvCxnSpPr>
          <p:nvPr/>
        </p:nvCxnSpPr>
        <p:spPr>
          <a:xfrm>
            <a:off x="8191500" y="2648421"/>
            <a:ext cx="145459" cy="127847"/>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736BA50B-0587-4C35-A051-002DCFF4873E}"/>
              </a:ext>
            </a:extLst>
          </p:cNvPr>
          <p:cNvCxnSpPr>
            <a:cxnSpLocks/>
          </p:cNvCxnSpPr>
          <p:nvPr/>
        </p:nvCxnSpPr>
        <p:spPr>
          <a:xfrm>
            <a:off x="10228217" y="1781572"/>
            <a:ext cx="163558" cy="39291"/>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0869175-8CA0-4855-A18F-0C64FD8D1CDA}"/>
              </a:ext>
            </a:extLst>
          </p:cNvPr>
          <p:cNvCxnSpPr>
            <a:cxnSpLocks/>
          </p:cNvCxnSpPr>
          <p:nvPr/>
        </p:nvCxnSpPr>
        <p:spPr>
          <a:xfrm flipV="1">
            <a:off x="10391775" y="1684018"/>
            <a:ext cx="151590" cy="13684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5601F51F-C279-46BE-8B1F-69C0E2BFC940}"/>
              </a:ext>
            </a:extLst>
          </p:cNvPr>
          <p:cNvCxnSpPr>
            <a:cxnSpLocks/>
          </p:cNvCxnSpPr>
          <p:nvPr/>
        </p:nvCxnSpPr>
        <p:spPr>
          <a:xfrm flipV="1">
            <a:off x="5964237" y="1777344"/>
            <a:ext cx="157798" cy="56582"/>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A00700C4-F5F0-4510-9AAA-77625B43D405}"/>
              </a:ext>
            </a:extLst>
          </p:cNvPr>
          <p:cNvCxnSpPr>
            <a:cxnSpLocks/>
          </p:cNvCxnSpPr>
          <p:nvPr/>
        </p:nvCxnSpPr>
        <p:spPr>
          <a:xfrm flipH="1">
            <a:off x="1532479" y="2093912"/>
            <a:ext cx="130424" cy="2507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C37D149-B0C9-4A64-8BC6-305897AB489D}"/>
              </a:ext>
            </a:extLst>
          </p:cNvPr>
          <p:cNvCxnSpPr>
            <a:cxnSpLocks/>
          </p:cNvCxnSpPr>
          <p:nvPr/>
        </p:nvCxnSpPr>
        <p:spPr>
          <a:xfrm flipV="1">
            <a:off x="2659857" y="1870767"/>
            <a:ext cx="148113" cy="7614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612AF2E7-BC89-44F1-AE98-745C07DBD56B}"/>
              </a:ext>
            </a:extLst>
          </p:cNvPr>
          <p:cNvCxnSpPr>
            <a:cxnSpLocks/>
          </p:cNvCxnSpPr>
          <p:nvPr/>
        </p:nvCxnSpPr>
        <p:spPr>
          <a:xfrm flipV="1">
            <a:off x="3195955" y="2145457"/>
            <a:ext cx="160655" cy="5783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D7482DE1-8057-4BEA-8BFC-C23E5406CFB6}"/>
              </a:ext>
            </a:extLst>
          </p:cNvPr>
          <p:cNvCxnSpPr>
            <a:cxnSpLocks/>
          </p:cNvCxnSpPr>
          <p:nvPr/>
        </p:nvCxnSpPr>
        <p:spPr>
          <a:xfrm flipV="1">
            <a:off x="4299053" y="2301613"/>
            <a:ext cx="162457" cy="38077"/>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EE7A4E0F-E336-4EAD-9B0E-864770CD9871}"/>
              </a:ext>
            </a:extLst>
          </p:cNvPr>
          <p:cNvCxnSpPr>
            <a:cxnSpLocks/>
          </p:cNvCxnSpPr>
          <p:nvPr/>
        </p:nvCxnSpPr>
        <p:spPr>
          <a:xfrm>
            <a:off x="3535680" y="1733824"/>
            <a:ext cx="435428"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93C597FB-E65B-46DA-AB98-723234CD0524}"/>
              </a:ext>
            </a:extLst>
          </p:cNvPr>
          <p:cNvCxnSpPr>
            <a:cxnSpLocks/>
          </p:cNvCxnSpPr>
          <p:nvPr/>
        </p:nvCxnSpPr>
        <p:spPr>
          <a:xfrm>
            <a:off x="5345113" y="2052567"/>
            <a:ext cx="271916"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CCECBE7E-0DE6-433D-850F-33377663A4DD}"/>
              </a:ext>
            </a:extLst>
          </p:cNvPr>
          <p:cNvCxnSpPr>
            <a:cxnSpLocks/>
          </p:cNvCxnSpPr>
          <p:nvPr/>
        </p:nvCxnSpPr>
        <p:spPr>
          <a:xfrm>
            <a:off x="5757500" y="1833926"/>
            <a:ext cx="206737"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7A4BDB1-73A5-497F-ACF2-352119DACF14}"/>
              </a:ext>
            </a:extLst>
          </p:cNvPr>
          <p:cNvCxnSpPr>
            <a:cxnSpLocks/>
          </p:cNvCxnSpPr>
          <p:nvPr/>
        </p:nvCxnSpPr>
        <p:spPr>
          <a:xfrm flipV="1">
            <a:off x="8731250" y="1748379"/>
            <a:ext cx="144145" cy="5328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D2315150-F5F7-4BCB-B964-15ABEA21C5B3}"/>
              </a:ext>
            </a:extLst>
          </p:cNvPr>
          <p:cNvCxnSpPr>
            <a:cxnSpLocks/>
          </p:cNvCxnSpPr>
          <p:nvPr/>
        </p:nvCxnSpPr>
        <p:spPr>
          <a:xfrm flipV="1">
            <a:off x="10948541" y="1965452"/>
            <a:ext cx="144274" cy="8979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5B298325-EF32-4937-B0E9-35DC90A7E12D}"/>
              </a:ext>
            </a:extLst>
          </p:cNvPr>
          <p:cNvCxnSpPr>
            <a:cxnSpLocks/>
          </p:cNvCxnSpPr>
          <p:nvPr/>
        </p:nvCxnSpPr>
        <p:spPr>
          <a:xfrm>
            <a:off x="768812" y="1858076"/>
            <a:ext cx="253815"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7261246F-813B-4EF1-BB3B-D4ED352C7C76}"/>
              </a:ext>
            </a:extLst>
          </p:cNvPr>
          <p:cNvCxnSpPr>
            <a:cxnSpLocks/>
          </p:cNvCxnSpPr>
          <p:nvPr/>
        </p:nvCxnSpPr>
        <p:spPr>
          <a:xfrm flipV="1">
            <a:off x="6553066" y="2084005"/>
            <a:ext cx="134835" cy="19350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FDC287D4-0CD5-4CA2-9BA5-71CE9CEC7485}"/>
              </a:ext>
            </a:extLst>
          </p:cNvPr>
          <p:cNvCxnSpPr>
            <a:cxnSpLocks/>
          </p:cNvCxnSpPr>
          <p:nvPr/>
        </p:nvCxnSpPr>
        <p:spPr>
          <a:xfrm flipV="1">
            <a:off x="9285287" y="2803961"/>
            <a:ext cx="150178" cy="16956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19C807A0-7D80-429E-8319-48240E0841DB}"/>
              </a:ext>
            </a:extLst>
          </p:cNvPr>
          <p:cNvCxnSpPr>
            <a:cxnSpLocks/>
          </p:cNvCxnSpPr>
          <p:nvPr/>
        </p:nvCxnSpPr>
        <p:spPr>
          <a:xfrm>
            <a:off x="9130665" y="2819400"/>
            <a:ext cx="154622" cy="154124"/>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EAEE4301-0368-4CF3-9583-C694A7C88CD3}"/>
              </a:ext>
            </a:extLst>
          </p:cNvPr>
          <p:cNvCxnSpPr>
            <a:cxnSpLocks/>
          </p:cNvCxnSpPr>
          <p:nvPr/>
        </p:nvCxnSpPr>
        <p:spPr>
          <a:xfrm flipH="1">
            <a:off x="4886326" y="1521262"/>
            <a:ext cx="120014" cy="56499"/>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6" name="Picture 85" descr="A picture containing shape&#10;&#10;Description automatically generated">
            <a:extLst>
              <a:ext uri="{FF2B5EF4-FFF2-40B4-BE49-F238E27FC236}">
                <a16:creationId xmlns:a16="http://schemas.microsoft.com/office/drawing/2014/main" id="{67085D99-9242-4E7B-813E-3BF1D2DB99EA}"/>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spTree>
    <p:extLst>
      <p:ext uri="{BB962C8B-B14F-4D97-AF65-F5344CB8AC3E}">
        <p14:creationId xmlns:p14="http://schemas.microsoft.com/office/powerpoint/2010/main" val="1590081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83469EA-AC1B-4AB2-A01B-048EDE551E67}"/>
              </a:ext>
            </a:extLst>
          </p:cNvPr>
          <p:cNvGraphicFramePr>
            <a:graphicFrameLocks noChangeAspect="1"/>
          </p:cNvGraphicFramePr>
          <p:nvPr>
            <p:custDataLst>
              <p:tags r:id="rId2"/>
            </p:custDataLst>
            <p:extLst>
              <p:ext uri="{D42A27DB-BD31-4B8C-83A1-F6EECF244321}">
                <p14:modId xmlns:p14="http://schemas.microsoft.com/office/powerpoint/2010/main" val="2768886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76" name="think-cell Slide" r:id="rId19" imgW="395" imgH="394" progId="TCLayout.ActiveDocument.1">
                  <p:embed/>
                </p:oleObj>
              </mc:Choice>
              <mc:Fallback>
                <p:oleObj name="think-cell Slide" r:id="rId19" imgW="395" imgH="394" progId="TCLayout.ActiveDocument.1">
                  <p:embed/>
                  <p:pic>
                    <p:nvPicPr>
                      <p:cNvPr id="12" name="Object 11" hidden="1">
                        <a:extLst>
                          <a:ext uri="{FF2B5EF4-FFF2-40B4-BE49-F238E27FC236}">
                            <a16:creationId xmlns:a16="http://schemas.microsoft.com/office/drawing/2014/main" id="{583469EA-AC1B-4AB2-A01B-048EDE551E6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aphicFrame>
        <p:nvGraphicFramePr>
          <p:cNvPr id="45" name="Chart 44">
            <a:extLst>
              <a:ext uri="{FF2B5EF4-FFF2-40B4-BE49-F238E27FC236}">
                <a16:creationId xmlns:a16="http://schemas.microsoft.com/office/drawing/2014/main" id="{8A2AC437-0AF0-4AE9-9F7E-809E472D58DD}"/>
              </a:ext>
            </a:extLst>
          </p:cNvPr>
          <p:cNvGraphicFramePr/>
          <p:nvPr>
            <p:custDataLst>
              <p:tags r:id="rId3"/>
            </p:custDataLst>
            <p:extLst>
              <p:ext uri="{D42A27DB-BD31-4B8C-83A1-F6EECF244321}">
                <p14:modId xmlns:p14="http://schemas.microsoft.com/office/powerpoint/2010/main" val="3123446429"/>
              </p:ext>
            </p:extLst>
          </p:nvPr>
        </p:nvGraphicFramePr>
        <p:xfrm>
          <a:off x="287338" y="1195388"/>
          <a:ext cx="11571287" cy="3287712"/>
        </p:xfrm>
        <a:graphic>
          <a:graphicData uri="http://schemas.openxmlformats.org/drawingml/2006/chart">
            <c:chart xmlns:c="http://schemas.openxmlformats.org/drawingml/2006/chart" xmlns:r="http://schemas.openxmlformats.org/officeDocument/2006/relationships" r:id="rId21"/>
          </a:graphicData>
        </a:graphic>
      </p:graphicFrame>
      <p:sp>
        <p:nvSpPr>
          <p:cNvPr id="60" name="Text Placeholder 3">
            <a:extLst>
              <a:ext uri="{FF2B5EF4-FFF2-40B4-BE49-F238E27FC236}">
                <a16:creationId xmlns:a16="http://schemas.microsoft.com/office/drawing/2014/main" id="{0F9D32DA-AB30-461E-A85C-8E947B25741D}"/>
              </a:ext>
            </a:extLst>
          </p:cNvPr>
          <p:cNvSpPr>
            <a:spLocks noGrp="1"/>
          </p:cNvSpPr>
          <p:nvPr>
            <p:custDataLst>
              <p:tags r:id="rId4"/>
            </p:custDataLst>
          </p:nvPr>
        </p:nvSpPr>
        <p:spPr bwMode="gray">
          <a:xfrm>
            <a:off x="2911475" y="4427539"/>
            <a:ext cx="336550" cy="758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ADB0F2F-D971-4457-8B57-70399C73B1F0}" type="datetime'''IT'' Learn''''ing'''''' -'''' ''&#10;''''''Ov''er''''''a''''ll'">
              <a:rPr lang="en-US" altLang="en-US" sz="1000" smtClean="0"/>
              <a:pPr/>
              <a:t>IT Learning - 
Overall</a:t>
            </a:fld>
            <a:endParaRPr lang="en-US" sz="1000" dirty="0"/>
          </a:p>
        </p:txBody>
      </p:sp>
      <p:sp>
        <p:nvSpPr>
          <p:cNvPr id="63" name="Text Placeholder 3">
            <a:extLst>
              <a:ext uri="{FF2B5EF4-FFF2-40B4-BE49-F238E27FC236}">
                <a16:creationId xmlns:a16="http://schemas.microsoft.com/office/drawing/2014/main" id="{03FB467F-F898-4C90-A8E0-8970E00B4516}"/>
              </a:ext>
            </a:extLst>
          </p:cNvPr>
          <p:cNvSpPr>
            <a:spLocks noGrp="1"/>
          </p:cNvSpPr>
          <p:nvPr>
            <p:custDataLst>
              <p:tags r:id="rId5"/>
            </p:custDataLst>
          </p:nvPr>
        </p:nvSpPr>
        <p:spPr bwMode="gray">
          <a:xfrm>
            <a:off x="7739063" y="4427538"/>
            <a:ext cx="168275" cy="6143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E82A6D0-36F6-445C-9BC9-D6CBB8554128}" type="datetime'I''T C''''''onnec''''''''''''''''''t'''''''''''''''''''''''''">
              <a:rPr lang="en-US" altLang="en-US" sz="1000" smtClean="0"/>
              <a:pPr/>
              <a:t>IT Connect</a:t>
            </a:fld>
            <a:endParaRPr lang="en-US" sz="1000" dirty="0"/>
          </a:p>
        </p:txBody>
      </p:sp>
      <p:sp>
        <p:nvSpPr>
          <p:cNvPr id="59" name="Text Placeholder 3">
            <a:extLst>
              <a:ext uri="{FF2B5EF4-FFF2-40B4-BE49-F238E27FC236}">
                <a16:creationId xmlns:a16="http://schemas.microsoft.com/office/drawing/2014/main" id="{4A5BA737-AD0A-4DF1-8E1B-2BEDB6EE69FC}"/>
              </a:ext>
            </a:extLst>
          </p:cNvPr>
          <p:cNvSpPr>
            <a:spLocks noGrp="1"/>
          </p:cNvSpPr>
          <p:nvPr>
            <p:custDataLst>
              <p:tags r:id="rId6"/>
            </p:custDataLst>
          </p:nvPr>
        </p:nvSpPr>
        <p:spPr bwMode="gray">
          <a:xfrm>
            <a:off x="1414463" y="4427538"/>
            <a:ext cx="168275" cy="6048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D47AAE8-96DE-43C9-924B-A5A85FF3C35D}" type="datetime'''''''''Insid''''''''''e'''''''' ''''''''''B''''''''CG'''''">
              <a:rPr lang="en-US" altLang="en-US" sz="1000" smtClean="0"/>
              <a:pPr/>
              <a:t>Inside BCG</a:t>
            </a:fld>
            <a:endParaRPr lang="en-US" sz="1000" dirty="0"/>
          </a:p>
        </p:txBody>
      </p:sp>
      <p:sp>
        <p:nvSpPr>
          <p:cNvPr id="64" name="Text Placeholder 3">
            <a:extLst>
              <a:ext uri="{FF2B5EF4-FFF2-40B4-BE49-F238E27FC236}">
                <a16:creationId xmlns:a16="http://schemas.microsoft.com/office/drawing/2014/main" id="{458499BB-F3D4-4346-B708-43C0FC066D76}"/>
              </a:ext>
            </a:extLst>
          </p:cNvPr>
          <p:cNvSpPr>
            <a:spLocks noGrp="1"/>
          </p:cNvSpPr>
          <p:nvPr>
            <p:custDataLst>
              <p:tags r:id="rId7"/>
            </p:custDataLst>
          </p:nvPr>
        </p:nvSpPr>
        <p:spPr bwMode="gray">
          <a:xfrm>
            <a:off x="9236075" y="4427538"/>
            <a:ext cx="336550" cy="673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B045463-F0C8-4C69-B00C-13E7C69B615C}" type="datetime'''I''T'''' C''''om''m''s ''-'' &#10;''Ov''e''ra''l''l'">
              <a:rPr lang="en-US" altLang="en-US" sz="1000" smtClean="0"/>
              <a:pPr/>
              <a:t>IT Comms - 
Overall</a:t>
            </a:fld>
            <a:endParaRPr lang="en-US" sz="1000" dirty="0"/>
          </a:p>
        </p:txBody>
      </p:sp>
      <p:sp>
        <p:nvSpPr>
          <p:cNvPr id="61" name="Text Placeholder 3">
            <a:extLst>
              <a:ext uri="{FF2B5EF4-FFF2-40B4-BE49-F238E27FC236}">
                <a16:creationId xmlns:a16="http://schemas.microsoft.com/office/drawing/2014/main" id="{82A37C1A-D6A7-44F3-B79C-913C6612F344}"/>
              </a:ext>
            </a:extLst>
          </p:cNvPr>
          <p:cNvSpPr>
            <a:spLocks noGrp="1"/>
          </p:cNvSpPr>
          <p:nvPr>
            <p:custDataLst>
              <p:tags r:id="rId8"/>
            </p:custDataLst>
          </p:nvPr>
        </p:nvSpPr>
        <p:spPr bwMode="gray">
          <a:xfrm>
            <a:off x="4492625" y="4427538"/>
            <a:ext cx="336550" cy="496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FC3A8A8-7B95-49DD-9F93-78E2FD1E670C}" type="datetime'''''''''''L''''AB'''''' ''&#10;''P''l''''a''''t''''''''fo''rm'">
              <a:rPr lang="en-US" altLang="en-US" sz="1000" smtClean="0"/>
              <a:pPr/>
              <a:t>LAB 
Platform</a:t>
            </a:fld>
            <a:endParaRPr lang="en-US" sz="1000" dirty="0"/>
          </a:p>
        </p:txBody>
      </p:sp>
      <p:sp>
        <p:nvSpPr>
          <p:cNvPr id="62" name="Text Placeholder 3">
            <a:extLst>
              <a:ext uri="{FF2B5EF4-FFF2-40B4-BE49-F238E27FC236}">
                <a16:creationId xmlns:a16="http://schemas.microsoft.com/office/drawing/2014/main" id="{1FCCC020-F828-42BB-85E6-672F6A443C64}"/>
              </a:ext>
            </a:extLst>
          </p:cNvPr>
          <p:cNvSpPr>
            <a:spLocks noGrp="1"/>
          </p:cNvSpPr>
          <p:nvPr>
            <p:custDataLst>
              <p:tags r:id="rId9"/>
            </p:custDataLst>
          </p:nvPr>
        </p:nvSpPr>
        <p:spPr bwMode="gray">
          <a:xfrm>
            <a:off x="6073775" y="4427539"/>
            <a:ext cx="336550" cy="5127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FB4A8A8-714D-4E9D-9D9B-689D08673B0D}" type="datetime'''''T''o''''''''''o''''ls on ''''''''''''&#10;V''P''''''''N'''''">
              <a:rPr lang="en-US" altLang="en-US" sz="1000" smtClean="0"/>
              <a:pPr/>
              <a:t>Tools on 
VPN</a:t>
            </a:fld>
            <a:endParaRPr lang="en-US" sz="1000" dirty="0"/>
          </a:p>
        </p:txBody>
      </p:sp>
      <p:sp>
        <p:nvSpPr>
          <p:cNvPr id="65" name="Text Placeholder 3">
            <a:extLst>
              <a:ext uri="{FF2B5EF4-FFF2-40B4-BE49-F238E27FC236}">
                <a16:creationId xmlns:a16="http://schemas.microsoft.com/office/drawing/2014/main" id="{80479217-5F3C-4A1A-B122-9AD0939CD912}"/>
              </a:ext>
            </a:extLst>
          </p:cNvPr>
          <p:cNvSpPr>
            <a:spLocks noGrp="1"/>
          </p:cNvSpPr>
          <p:nvPr>
            <p:custDataLst>
              <p:tags r:id="rId10"/>
            </p:custDataLst>
          </p:nvPr>
        </p:nvSpPr>
        <p:spPr bwMode="gray">
          <a:xfrm>
            <a:off x="10901363" y="4427538"/>
            <a:ext cx="168275" cy="504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5564881-DF16-4E69-8132-C23846577187}" type="datetime'''''''''''''''''''''''Br''''o''''ws''e''''''''''''r''s'''''''">
              <a:rPr lang="en-US" altLang="en-US" sz="1000" smtClean="0"/>
              <a:pPr/>
              <a:t>Browsers</a:t>
            </a:fld>
            <a:endParaRPr lang="en-US" sz="1000" dirty="0"/>
          </a:p>
        </p:txBody>
      </p:sp>
      <p:sp>
        <p:nvSpPr>
          <p:cNvPr id="274" name="Rectangle 273">
            <a:extLst>
              <a:ext uri="{FF2B5EF4-FFF2-40B4-BE49-F238E27FC236}">
                <a16:creationId xmlns:a16="http://schemas.microsoft.com/office/drawing/2014/main" id="{F8B066C3-AFF7-40D1-B0E5-BFCA5F8426CB}"/>
              </a:ext>
            </a:extLst>
          </p:cNvPr>
          <p:cNvSpPr/>
          <p:nvPr>
            <p:custDataLst>
              <p:tags r:id="rId11"/>
            </p:custDataLst>
          </p:nvPr>
        </p:nvSpPr>
        <p:spPr bwMode="gray">
          <a:xfrm>
            <a:off x="6737350" y="5151438"/>
            <a:ext cx="250825" cy="187325"/>
          </a:xfrm>
          <a:prstGeom prst="rect">
            <a:avLst/>
          </a:prstGeom>
          <a:solidFill>
            <a:srgbClr val="837F7F"/>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2" name="Rectangle 271">
            <a:extLst>
              <a:ext uri="{FF2B5EF4-FFF2-40B4-BE49-F238E27FC236}">
                <a16:creationId xmlns:a16="http://schemas.microsoft.com/office/drawing/2014/main" id="{0619B1B0-B869-4838-B7FA-6F5F30192653}"/>
              </a:ext>
            </a:extLst>
          </p:cNvPr>
          <p:cNvSpPr/>
          <p:nvPr>
            <p:custDataLst>
              <p:tags r:id="rId12"/>
            </p:custDataLst>
          </p:nvPr>
        </p:nvSpPr>
        <p:spPr bwMode="gray">
          <a:xfrm>
            <a:off x="5181601" y="5151438"/>
            <a:ext cx="250825" cy="187325"/>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3" name="Rectangle 272">
            <a:extLst>
              <a:ext uri="{FF2B5EF4-FFF2-40B4-BE49-F238E27FC236}">
                <a16:creationId xmlns:a16="http://schemas.microsoft.com/office/drawing/2014/main" id="{8C13310B-9324-4B46-BD17-620A6EAD6920}"/>
              </a:ext>
            </a:extLst>
          </p:cNvPr>
          <p:cNvSpPr/>
          <p:nvPr>
            <p:custDataLst>
              <p:tags r:id="rId13"/>
            </p:custDataLst>
          </p:nvPr>
        </p:nvSpPr>
        <p:spPr bwMode="gray">
          <a:xfrm>
            <a:off x="5959475" y="5151438"/>
            <a:ext cx="250825" cy="187325"/>
          </a:xfrm>
          <a:prstGeom prst="rect">
            <a:avLst/>
          </a:prstGeom>
          <a:solidFill>
            <a:srgbClr val="C8C8C8"/>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Text Placeholder 3">
            <a:extLst>
              <a:ext uri="{FF2B5EF4-FFF2-40B4-BE49-F238E27FC236}">
                <a16:creationId xmlns:a16="http://schemas.microsoft.com/office/drawing/2014/main" id="{04DB29D6-14E9-43A6-9540-5733D5D0F0E4}"/>
              </a:ext>
            </a:extLst>
          </p:cNvPr>
          <p:cNvSpPr>
            <a:spLocks noGrp="1"/>
          </p:cNvSpPr>
          <p:nvPr>
            <p:custDataLst>
              <p:tags r:id="rId14"/>
            </p:custDataLst>
          </p:nvPr>
        </p:nvSpPr>
        <p:spPr bwMode="gray">
          <a:xfrm>
            <a:off x="5483225" y="5130800"/>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391B222-EEFA-4545-BA22-B850EA4FA78E}" type="datetime'2''''''''''0''''''1''''9'''''''''''''''''''''''''">
              <a:rPr lang="en-US" altLang="en-US" sz="1400" smtClean="0"/>
              <a:pPr/>
              <a:t>2019</a:t>
            </a:fld>
            <a:endParaRPr lang="en-US" sz="1400" dirty="0"/>
          </a:p>
        </p:txBody>
      </p:sp>
      <p:sp>
        <p:nvSpPr>
          <p:cNvPr id="84" name="Text Placeholder 3">
            <a:extLst>
              <a:ext uri="{FF2B5EF4-FFF2-40B4-BE49-F238E27FC236}">
                <a16:creationId xmlns:a16="http://schemas.microsoft.com/office/drawing/2014/main" id="{F2EEC83F-4481-41A6-95D0-320988E5A577}"/>
              </a:ext>
            </a:extLst>
          </p:cNvPr>
          <p:cNvSpPr>
            <a:spLocks noGrp="1"/>
          </p:cNvSpPr>
          <p:nvPr>
            <p:custDataLst>
              <p:tags r:id="rId15"/>
            </p:custDataLst>
          </p:nvPr>
        </p:nvSpPr>
        <p:spPr bwMode="gray">
          <a:xfrm>
            <a:off x="6261100" y="5130800"/>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0634546-5D9F-4AAD-B2D8-2F614E3DD120}" type="datetime'2''''''''''''''''''0''''''''''''''''''''''''2''''0'''">
              <a:rPr lang="en-US" altLang="en-US" sz="1400" smtClean="0"/>
              <a:pPr/>
              <a:t>2020</a:t>
            </a:fld>
            <a:endParaRPr lang="en-US" sz="1400" dirty="0"/>
          </a:p>
        </p:txBody>
      </p:sp>
      <p:sp>
        <p:nvSpPr>
          <p:cNvPr id="87" name="Text Placeholder 3">
            <a:extLst>
              <a:ext uri="{FF2B5EF4-FFF2-40B4-BE49-F238E27FC236}">
                <a16:creationId xmlns:a16="http://schemas.microsoft.com/office/drawing/2014/main" id="{CB77D1AA-0BEB-4214-9931-3215A16B5441}"/>
              </a:ext>
            </a:extLst>
          </p:cNvPr>
          <p:cNvSpPr>
            <a:spLocks noGrp="1"/>
          </p:cNvSpPr>
          <p:nvPr>
            <p:custDataLst>
              <p:tags r:id="rId16"/>
            </p:custDataLst>
          </p:nvPr>
        </p:nvSpPr>
        <p:spPr bwMode="gray">
          <a:xfrm>
            <a:off x="7038975" y="5130800"/>
            <a:ext cx="3746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6D033D1-F2D4-429A-B580-E3F7000E6C7F}" type="datetime'''''''2''0''''''2''''1'''''''''''">
              <a:rPr lang="en-US" altLang="en-US" sz="1400" smtClean="0"/>
              <a:pPr/>
              <a:t>2021</a:t>
            </a:fld>
            <a:endParaRPr lang="en-US" sz="1400" dirty="0"/>
          </a:p>
        </p:txBody>
      </p:sp>
      <p:cxnSp>
        <p:nvCxnSpPr>
          <p:cNvPr id="316" name="Straight Connector 315">
            <a:extLst>
              <a:ext uri="{FF2B5EF4-FFF2-40B4-BE49-F238E27FC236}">
                <a16:creationId xmlns:a16="http://schemas.microsoft.com/office/drawing/2014/main" id="{D3B3F537-2A8C-44CD-ACA8-1A08C7D01070}"/>
              </a:ext>
            </a:extLst>
          </p:cNvPr>
          <p:cNvCxnSpPr>
            <a:cxnSpLocks/>
          </p:cNvCxnSpPr>
          <p:nvPr/>
        </p:nvCxnSpPr>
        <p:spPr>
          <a:xfrm>
            <a:off x="1498600" y="2093951"/>
            <a:ext cx="421912" cy="278394"/>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7A9487EE-8082-4F25-B92E-D5EAF8234C23}"/>
              </a:ext>
            </a:extLst>
          </p:cNvPr>
          <p:cNvCxnSpPr>
            <a:cxnSpLocks/>
          </p:cNvCxnSpPr>
          <p:nvPr/>
        </p:nvCxnSpPr>
        <p:spPr>
          <a:xfrm flipV="1">
            <a:off x="10999788" y="2073644"/>
            <a:ext cx="391023" cy="17049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D8E7936-1D38-4F6F-AC50-80B5EE352146}"/>
              </a:ext>
            </a:extLst>
          </p:cNvPr>
          <p:cNvCxnSpPr>
            <a:cxnSpLocks/>
          </p:cNvCxnSpPr>
          <p:nvPr/>
        </p:nvCxnSpPr>
        <p:spPr>
          <a:xfrm>
            <a:off x="3035632" y="2326224"/>
            <a:ext cx="451847" cy="91842"/>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C6439FD-5F8F-456B-9E11-E874A4D65213}"/>
              </a:ext>
            </a:extLst>
          </p:cNvPr>
          <p:cNvSpPr txBox="1"/>
          <p:nvPr/>
        </p:nvSpPr>
        <p:spPr>
          <a:xfrm>
            <a:off x="2453482" y="2914650"/>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92" name="TextBox 91">
            <a:extLst>
              <a:ext uri="{FF2B5EF4-FFF2-40B4-BE49-F238E27FC236}">
                <a16:creationId xmlns:a16="http://schemas.microsoft.com/office/drawing/2014/main" id="{30D3728F-7C32-4134-B28B-681E99D91A06}"/>
              </a:ext>
            </a:extLst>
          </p:cNvPr>
          <p:cNvSpPr txBox="1"/>
          <p:nvPr/>
        </p:nvSpPr>
        <p:spPr>
          <a:xfrm>
            <a:off x="4078288" y="2928136"/>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93" name="TextBox 92">
            <a:extLst>
              <a:ext uri="{FF2B5EF4-FFF2-40B4-BE49-F238E27FC236}">
                <a16:creationId xmlns:a16="http://schemas.microsoft.com/office/drawing/2014/main" id="{1F5E01CB-5083-42AA-8370-6BE9FC8A350A}"/>
              </a:ext>
            </a:extLst>
          </p:cNvPr>
          <p:cNvSpPr txBox="1"/>
          <p:nvPr/>
        </p:nvSpPr>
        <p:spPr>
          <a:xfrm>
            <a:off x="5545138" y="2914650"/>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94" name="TextBox 93">
            <a:extLst>
              <a:ext uri="{FF2B5EF4-FFF2-40B4-BE49-F238E27FC236}">
                <a16:creationId xmlns:a16="http://schemas.microsoft.com/office/drawing/2014/main" id="{F2C4D6D6-3926-4868-883E-9D081BCB2F29}"/>
              </a:ext>
            </a:extLst>
          </p:cNvPr>
          <p:cNvSpPr txBox="1"/>
          <p:nvPr/>
        </p:nvSpPr>
        <p:spPr>
          <a:xfrm>
            <a:off x="8813799" y="2839244"/>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95" name="TextBox 94">
            <a:extLst>
              <a:ext uri="{FF2B5EF4-FFF2-40B4-BE49-F238E27FC236}">
                <a16:creationId xmlns:a16="http://schemas.microsoft.com/office/drawing/2014/main" id="{9BA1AA39-68C5-43CB-A411-C54F2795BF8D}"/>
              </a:ext>
            </a:extLst>
          </p:cNvPr>
          <p:cNvSpPr txBox="1"/>
          <p:nvPr/>
        </p:nvSpPr>
        <p:spPr>
          <a:xfrm>
            <a:off x="10336212" y="2738437"/>
            <a:ext cx="414337" cy="1385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2020</a:t>
            </a:r>
          </a:p>
        </p:txBody>
      </p:sp>
      <p:sp>
        <p:nvSpPr>
          <p:cNvPr id="46" name="Title 1">
            <a:extLst>
              <a:ext uri="{FF2B5EF4-FFF2-40B4-BE49-F238E27FC236}">
                <a16:creationId xmlns:a16="http://schemas.microsoft.com/office/drawing/2014/main" id="{A18582CC-ADC1-482D-A699-53149E1FD7E9}"/>
              </a:ext>
            </a:extLst>
          </p:cNvPr>
          <p:cNvSpPr>
            <a:spLocks noGrp="1"/>
          </p:cNvSpPr>
          <p:nvPr>
            <p:ph type="title"/>
          </p:nvPr>
        </p:nvSpPr>
        <p:spPr>
          <a:xfrm>
            <a:off x="649050" y="350660"/>
            <a:ext cx="10933350" cy="276999"/>
          </a:xfrm>
        </p:spPr>
        <p:txBody>
          <a:bodyPr vert="horz"/>
          <a:lstStyle/>
          <a:p>
            <a:r>
              <a:rPr lang="en-US" sz="2000" dirty="0">
                <a:solidFill>
                  <a:srgbClr val="295E7E"/>
                </a:solidFill>
              </a:rPr>
              <a:t>Yearly E-SAT Trends for Repeat Responders from 2019 to 2021 – </a:t>
            </a:r>
            <a:r>
              <a:rPr lang="en-US" sz="2000" dirty="0">
                <a:solidFill>
                  <a:srgbClr val="30C1D7"/>
                </a:solidFill>
              </a:rPr>
              <a:t>Business Supporting</a:t>
            </a:r>
          </a:p>
        </p:txBody>
      </p:sp>
      <p:sp>
        <p:nvSpPr>
          <p:cNvPr id="47" name="Rectangle 46">
            <a:extLst>
              <a:ext uri="{FF2B5EF4-FFF2-40B4-BE49-F238E27FC236}">
                <a16:creationId xmlns:a16="http://schemas.microsoft.com/office/drawing/2014/main" id="{0DC4C084-F53A-4997-BCDF-99C89DAD1693}"/>
              </a:ext>
            </a:extLst>
          </p:cNvPr>
          <p:cNvSpPr/>
          <p:nvPr/>
        </p:nvSpPr>
        <p:spPr>
          <a:xfrm>
            <a:off x="1033006" y="679204"/>
            <a:ext cx="7248982"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Repeat Responders in 2019, 2020 &amp; 2021</a:t>
            </a:r>
            <a:r>
              <a:rPr lang="en-US" sz="1600" i="1" baseline="30000" dirty="0">
                <a:solidFill>
                  <a:srgbClr val="E71C57"/>
                </a:solidFill>
              </a:rPr>
              <a:t>1</a:t>
            </a:r>
            <a:r>
              <a:rPr lang="en-US" sz="1600" i="1" dirty="0">
                <a:solidFill>
                  <a:srgbClr val="575757"/>
                </a:solidFill>
              </a:rPr>
              <a:t> (978 Respondents)</a:t>
            </a:r>
          </a:p>
        </p:txBody>
      </p:sp>
      <p:sp>
        <p:nvSpPr>
          <p:cNvPr id="57" name="Rectangle 56">
            <a:extLst>
              <a:ext uri="{FF2B5EF4-FFF2-40B4-BE49-F238E27FC236}">
                <a16:creationId xmlns:a16="http://schemas.microsoft.com/office/drawing/2014/main" id="{0D101797-9C75-449E-A74B-FDA0D7296D56}"/>
              </a:ext>
            </a:extLst>
          </p:cNvPr>
          <p:cNvSpPr/>
          <p:nvPr/>
        </p:nvSpPr>
        <p:spPr>
          <a:xfrm>
            <a:off x="612091" y="1059891"/>
            <a:ext cx="227841" cy="2263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t>
            </a:r>
          </a:p>
        </p:txBody>
      </p:sp>
      <p:sp>
        <p:nvSpPr>
          <p:cNvPr id="67" name="Rectangle 66">
            <a:extLst>
              <a:ext uri="{FF2B5EF4-FFF2-40B4-BE49-F238E27FC236}">
                <a16:creationId xmlns:a16="http://schemas.microsoft.com/office/drawing/2014/main" id="{27185E88-D4AE-4B72-BCCC-B2CD875E0375}"/>
              </a:ext>
            </a:extLst>
          </p:cNvPr>
          <p:cNvSpPr/>
          <p:nvPr/>
        </p:nvSpPr>
        <p:spPr>
          <a:xfrm>
            <a:off x="238991" y="5718177"/>
            <a:ext cx="11752118" cy="115411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295E7E"/>
                </a:solidFill>
              </a:rPr>
              <a:t>Versus 2020, for repeat responders, 57% business supporting products increased E-SAT, notably Browsers at +5% to 75%. Mimicking broader trends seen in Pulse, Inside BCG &amp; Learning trended down, with LAB trending flat. </a:t>
            </a:r>
          </a:p>
        </p:txBody>
      </p:sp>
      <p:grpSp>
        <p:nvGrpSpPr>
          <p:cNvPr id="38" name="Group 37">
            <a:extLst>
              <a:ext uri="{FF2B5EF4-FFF2-40B4-BE49-F238E27FC236}">
                <a16:creationId xmlns:a16="http://schemas.microsoft.com/office/drawing/2014/main" id="{55010C78-4CC9-456A-BC1D-C902309462C5}"/>
              </a:ext>
            </a:extLst>
          </p:cNvPr>
          <p:cNvGrpSpPr>
            <a:grpSpLocks noChangeAspect="1"/>
          </p:cNvGrpSpPr>
          <p:nvPr/>
        </p:nvGrpSpPr>
        <p:grpSpPr>
          <a:xfrm>
            <a:off x="612091" y="629775"/>
            <a:ext cx="457200" cy="457200"/>
            <a:chOff x="5867400" y="3200400"/>
            <a:chExt cx="457200" cy="457200"/>
          </a:xfrm>
        </p:grpSpPr>
        <p:sp>
          <p:nvSpPr>
            <p:cNvPr id="39" name="AutoShape 43">
              <a:extLst>
                <a:ext uri="{FF2B5EF4-FFF2-40B4-BE49-F238E27FC236}">
                  <a16:creationId xmlns:a16="http://schemas.microsoft.com/office/drawing/2014/main" id="{441217FB-5B4F-4F0D-851D-ECE1E72E089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7">
              <a:extLst>
                <a:ext uri="{FF2B5EF4-FFF2-40B4-BE49-F238E27FC236}">
                  <a16:creationId xmlns:a16="http://schemas.microsoft.com/office/drawing/2014/main" id="{D3CE5D6B-15CA-4C09-8AEC-AEDAEC4E9B9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cxnSp>
        <p:nvCxnSpPr>
          <p:cNvPr id="115" name="Straight Connector 114">
            <a:extLst>
              <a:ext uri="{FF2B5EF4-FFF2-40B4-BE49-F238E27FC236}">
                <a16:creationId xmlns:a16="http://schemas.microsoft.com/office/drawing/2014/main" id="{3A45678B-6949-45CE-852E-021220798F6F}"/>
              </a:ext>
            </a:extLst>
          </p:cNvPr>
          <p:cNvCxnSpPr>
            <a:cxnSpLocks/>
          </p:cNvCxnSpPr>
          <p:nvPr/>
        </p:nvCxnSpPr>
        <p:spPr>
          <a:xfrm flipV="1">
            <a:off x="6261100" y="1740031"/>
            <a:ext cx="374650" cy="3106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732FDBA-E5B5-4737-BF75-D4895ACFB4F2}"/>
              </a:ext>
            </a:extLst>
          </p:cNvPr>
          <p:cNvCxnSpPr>
            <a:cxnSpLocks/>
          </p:cNvCxnSpPr>
          <p:nvPr/>
        </p:nvCxnSpPr>
        <p:spPr>
          <a:xfrm>
            <a:off x="4592637" y="2506185"/>
            <a:ext cx="499480"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6258FCEA-D3FA-459B-8BCB-E7EE3DDC59A1}"/>
              </a:ext>
            </a:extLst>
          </p:cNvPr>
          <p:cNvCxnSpPr>
            <a:cxnSpLocks/>
          </p:cNvCxnSpPr>
          <p:nvPr/>
        </p:nvCxnSpPr>
        <p:spPr>
          <a:xfrm flipV="1">
            <a:off x="7353047" y="1862736"/>
            <a:ext cx="928941" cy="182496"/>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5202BB9-E62E-45C7-9CA5-468AA53432BB}"/>
              </a:ext>
            </a:extLst>
          </p:cNvPr>
          <p:cNvCxnSpPr>
            <a:cxnSpLocks/>
          </p:cNvCxnSpPr>
          <p:nvPr/>
        </p:nvCxnSpPr>
        <p:spPr>
          <a:xfrm flipV="1">
            <a:off x="9654863" y="1931570"/>
            <a:ext cx="423084" cy="36252"/>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62EAEF6-BAAC-409B-80F0-7D253C60682A}"/>
              </a:ext>
            </a:extLst>
          </p:cNvPr>
          <p:cNvCxnSpPr>
            <a:cxnSpLocks/>
          </p:cNvCxnSpPr>
          <p:nvPr/>
        </p:nvCxnSpPr>
        <p:spPr>
          <a:xfrm flipV="1">
            <a:off x="1041961" y="2094944"/>
            <a:ext cx="456639" cy="20203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8" name="Picture 47" descr="A picture containing shape&#10;&#10;Description automatically generated">
            <a:extLst>
              <a:ext uri="{FF2B5EF4-FFF2-40B4-BE49-F238E27FC236}">
                <a16:creationId xmlns:a16="http://schemas.microsoft.com/office/drawing/2014/main" id="{4300E80D-02F3-4340-B948-F41BA8A93375}"/>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spTree>
    <p:extLst>
      <p:ext uri="{BB962C8B-B14F-4D97-AF65-F5344CB8AC3E}">
        <p14:creationId xmlns:p14="http://schemas.microsoft.com/office/powerpoint/2010/main" val="2614660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2"/>
            </p:custDataLst>
            <p:extLst>
              <p:ext uri="{D42A27DB-BD31-4B8C-83A1-F6EECF244321}">
                <p14:modId xmlns:p14="http://schemas.microsoft.com/office/powerpoint/2010/main" val="3129361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80" name="think-cell Slide" r:id="rId6" imgW="360" imgH="360" progId="TCLayout.ActiveDocument.1">
                  <p:embed/>
                </p:oleObj>
              </mc:Choice>
              <mc:Fallback>
                <p:oleObj name="think-cell Slide" r:id="rId6" imgW="360" imgH="360" progId="TCLayout.ActiveDocument.1">
                  <p:embed/>
                  <p:pic>
                    <p:nvPicPr>
                      <p:cNvPr id="57" name="Object 5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5" name="Rectangle 54"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800" dirty="0">
              <a:solidFill>
                <a:srgbClr val="FFFFFF"/>
              </a:solidFill>
              <a:latin typeface="Trebuchet MS" panose="020B0603020202020204" pitchFamily="34" charset="0"/>
              <a:ea typeface="+mj-ea"/>
              <a:cs typeface="+mj-cs"/>
              <a:sym typeface="Trebuchet MS" panose="020B0603020202020204" pitchFamily="34" charset="0"/>
            </a:endParaRPr>
          </a:p>
        </p:txBody>
      </p:sp>
      <p:cxnSp>
        <p:nvCxnSpPr>
          <p:cNvPr id="94" name="Straight Connector 93">
            <a:extLst>
              <a:ext uri="{FF2B5EF4-FFF2-40B4-BE49-F238E27FC236}">
                <a16:creationId xmlns:a16="http://schemas.microsoft.com/office/drawing/2014/main" id="{CEC92178-C0EB-4EC5-A7FF-C12E729BB9BC}"/>
              </a:ext>
            </a:extLst>
          </p:cNvPr>
          <p:cNvCxnSpPr>
            <a:cxnSpLocks/>
          </p:cNvCxnSpPr>
          <p:nvPr/>
        </p:nvCxnSpPr>
        <p:spPr>
          <a:xfrm>
            <a:off x="1077136" y="3681776"/>
            <a:ext cx="9701116" cy="0"/>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58EB459A-0499-45F3-A0AD-46E840BC6FFD}"/>
              </a:ext>
            </a:extLst>
          </p:cNvPr>
          <p:cNvSpPr/>
          <p:nvPr/>
        </p:nvSpPr>
        <p:spPr>
          <a:xfrm>
            <a:off x="9008" y="2605949"/>
            <a:ext cx="1068128"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80 – 89%</a:t>
            </a:r>
          </a:p>
        </p:txBody>
      </p:sp>
      <p:sp>
        <p:nvSpPr>
          <p:cNvPr id="106" name="Rectangle 105">
            <a:extLst>
              <a:ext uri="{FF2B5EF4-FFF2-40B4-BE49-F238E27FC236}">
                <a16:creationId xmlns:a16="http://schemas.microsoft.com/office/drawing/2014/main" id="{F69F9DC7-EF52-4869-AEC8-97BF77BB1082}"/>
              </a:ext>
            </a:extLst>
          </p:cNvPr>
          <p:cNvSpPr/>
          <p:nvPr/>
        </p:nvSpPr>
        <p:spPr>
          <a:xfrm>
            <a:off x="9008" y="335843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70 - 79% </a:t>
            </a:r>
          </a:p>
        </p:txBody>
      </p:sp>
      <p:sp>
        <p:nvSpPr>
          <p:cNvPr id="116" name="Rectangle 115">
            <a:extLst>
              <a:ext uri="{FF2B5EF4-FFF2-40B4-BE49-F238E27FC236}">
                <a16:creationId xmlns:a16="http://schemas.microsoft.com/office/drawing/2014/main" id="{17C58E84-5A3A-4EC5-AE04-24DB351F6187}"/>
              </a:ext>
            </a:extLst>
          </p:cNvPr>
          <p:cNvSpPr/>
          <p:nvPr/>
        </p:nvSpPr>
        <p:spPr>
          <a:xfrm>
            <a:off x="126510" y="1345615"/>
            <a:ext cx="970723"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E-SAT % </a:t>
            </a:r>
            <a:endParaRPr lang="en-US" baseline="30000" dirty="0">
              <a:solidFill>
                <a:srgbClr val="575757"/>
              </a:solidFill>
            </a:endParaRPr>
          </a:p>
        </p:txBody>
      </p:sp>
      <p:sp>
        <p:nvSpPr>
          <p:cNvPr id="117" name="Rectangle 116">
            <a:extLst>
              <a:ext uri="{FF2B5EF4-FFF2-40B4-BE49-F238E27FC236}">
                <a16:creationId xmlns:a16="http://schemas.microsoft.com/office/drawing/2014/main" id="{7892696F-07DD-440B-A1BA-115FBA7CDCAC}"/>
              </a:ext>
            </a:extLst>
          </p:cNvPr>
          <p:cNvSpPr/>
          <p:nvPr/>
        </p:nvSpPr>
        <p:spPr>
          <a:xfrm>
            <a:off x="9008" y="412390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60 - 69% </a:t>
            </a:r>
          </a:p>
        </p:txBody>
      </p:sp>
      <p:sp>
        <p:nvSpPr>
          <p:cNvPr id="118" name="Rectangle 117">
            <a:extLst>
              <a:ext uri="{FF2B5EF4-FFF2-40B4-BE49-F238E27FC236}">
                <a16:creationId xmlns:a16="http://schemas.microsoft.com/office/drawing/2014/main" id="{9F07853C-3B38-4898-A32E-C84FD895D420}"/>
              </a:ext>
            </a:extLst>
          </p:cNvPr>
          <p:cNvSpPr/>
          <p:nvPr/>
        </p:nvSpPr>
        <p:spPr>
          <a:xfrm>
            <a:off x="9005" y="4864134"/>
            <a:ext cx="1068114"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50 - 59% </a:t>
            </a:r>
          </a:p>
        </p:txBody>
      </p:sp>
      <p:sp>
        <p:nvSpPr>
          <p:cNvPr id="134" name="Rectangle 133">
            <a:extLst>
              <a:ext uri="{FF2B5EF4-FFF2-40B4-BE49-F238E27FC236}">
                <a16:creationId xmlns:a16="http://schemas.microsoft.com/office/drawing/2014/main" id="{FBC33489-68FE-44DD-9097-C02374D8E38B}"/>
              </a:ext>
            </a:extLst>
          </p:cNvPr>
          <p:cNvSpPr/>
          <p:nvPr/>
        </p:nvSpPr>
        <p:spPr>
          <a:xfrm>
            <a:off x="10800" y="5604363"/>
            <a:ext cx="1074717"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0 - 49% </a:t>
            </a:r>
          </a:p>
        </p:txBody>
      </p:sp>
      <p:sp>
        <p:nvSpPr>
          <p:cNvPr id="135" name="Rectangle 134">
            <a:extLst>
              <a:ext uri="{FF2B5EF4-FFF2-40B4-BE49-F238E27FC236}">
                <a16:creationId xmlns:a16="http://schemas.microsoft.com/office/drawing/2014/main" id="{407193D8-D1D2-49EE-9EFE-0A421AAEA993}"/>
              </a:ext>
            </a:extLst>
          </p:cNvPr>
          <p:cNvSpPr/>
          <p:nvPr/>
        </p:nvSpPr>
        <p:spPr>
          <a:xfrm>
            <a:off x="11668" y="1877979"/>
            <a:ext cx="1077912"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90 – 100%</a:t>
            </a:r>
          </a:p>
        </p:txBody>
      </p:sp>
      <p:cxnSp>
        <p:nvCxnSpPr>
          <p:cNvPr id="136" name="Straight Connector 135">
            <a:extLst>
              <a:ext uri="{FF2B5EF4-FFF2-40B4-BE49-F238E27FC236}">
                <a16:creationId xmlns:a16="http://schemas.microsoft.com/office/drawing/2014/main" id="{89015387-0D84-4AF7-B4C1-9CC5B127063D}"/>
              </a:ext>
            </a:extLst>
          </p:cNvPr>
          <p:cNvCxnSpPr>
            <a:cxnSpLocks/>
          </p:cNvCxnSpPr>
          <p:nvPr/>
        </p:nvCxnSpPr>
        <p:spPr>
          <a:xfrm flipV="1">
            <a:off x="186224" y="2559306"/>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191F39E-1493-48E3-88B8-0A29CEC61D97}"/>
              </a:ext>
            </a:extLst>
          </p:cNvPr>
          <p:cNvCxnSpPr>
            <a:cxnSpLocks/>
          </p:cNvCxnSpPr>
          <p:nvPr/>
        </p:nvCxnSpPr>
        <p:spPr>
          <a:xfrm flipV="1">
            <a:off x="125024" y="6291364"/>
            <a:ext cx="11786560" cy="8796"/>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30A0E6F-7247-48BD-AC12-81FC1785F2B8}"/>
              </a:ext>
            </a:extLst>
          </p:cNvPr>
          <p:cNvCxnSpPr>
            <a:cxnSpLocks/>
          </p:cNvCxnSpPr>
          <p:nvPr/>
        </p:nvCxnSpPr>
        <p:spPr>
          <a:xfrm flipV="1">
            <a:off x="140679" y="3294353"/>
            <a:ext cx="11890855" cy="11730"/>
          </a:xfrm>
          <a:prstGeom prst="line">
            <a:avLst/>
          </a:prstGeom>
          <a:ln w="19050" cap="rnd" cmpd="sng" algn="ctr">
            <a:solidFill>
              <a:srgbClr val="E71C57"/>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E8D0D240-FC6E-412F-A6C1-2EAA545CC0D0}"/>
              </a:ext>
            </a:extLst>
          </p:cNvPr>
          <p:cNvCxnSpPr>
            <a:cxnSpLocks/>
          </p:cNvCxnSpPr>
          <p:nvPr/>
        </p:nvCxnSpPr>
        <p:spPr>
          <a:xfrm flipV="1">
            <a:off x="125024" y="4772569"/>
            <a:ext cx="11890689" cy="2940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B74ED0E-1F42-4915-AEB8-9BB2BBC43E38}"/>
              </a:ext>
            </a:extLst>
          </p:cNvPr>
          <p:cNvCxnSpPr>
            <a:cxnSpLocks/>
          </p:cNvCxnSpPr>
          <p:nvPr/>
        </p:nvCxnSpPr>
        <p:spPr>
          <a:xfrm flipV="1">
            <a:off x="153090" y="5518134"/>
            <a:ext cx="11862623" cy="555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2F25478F-EF91-46F2-B352-9A81936E17E1}"/>
              </a:ext>
            </a:extLst>
          </p:cNvPr>
          <p:cNvCxnSpPr>
            <a:cxnSpLocks/>
          </p:cNvCxnSpPr>
          <p:nvPr/>
        </p:nvCxnSpPr>
        <p:spPr>
          <a:xfrm>
            <a:off x="154849" y="1787023"/>
            <a:ext cx="11860864" cy="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700E2EBD-77BB-4EA5-9A82-F1568DFC6009}"/>
              </a:ext>
            </a:extLst>
          </p:cNvPr>
          <p:cNvCxnSpPr>
            <a:cxnSpLocks/>
            <a:stCxn id="135" idx="3"/>
            <a:endCxn id="161" idx="1"/>
          </p:cNvCxnSpPr>
          <p:nvPr/>
        </p:nvCxnSpPr>
        <p:spPr>
          <a:xfrm flipV="1">
            <a:off x="1089580" y="2181224"/>
            <a:ext cx="9688653"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AC3AD226-3221-4330-A895-BAF27B5CAD2E}"/>
              </a:ext>
            </a:extLst>
          </p:cNvPr>
          <p:cNvCxnSpPr>
            <a:cxnSpLocks/>
          </p:cNvCxnSpPr>
          <p:nvPr/>
        </p:nvCxnSpPr>
        <p:spPr>
          <a:xfrm>
            <a:off x="1077136" y="2936465"/>
            <a:ext cx="9701117"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6920203-A6F8-4CD2-99D6-987E7B1DA8B9}"/>
              </a:ext>
            </a:extLst>
          </p:cNvPr>
          <p:cNvCxnSpPr>
            <a:cxnSpLocks/>
            <a:stCxn id="117" idx="3"/>
            <a:endCxn id="157" idx="1"/>
          </p:cNvCxnSpPr>
          <p:nvPr/>
        </p:nvCxnSpPr>
        <p:spPr>
          <a:xfrm flipV="1">
            <a:off x="1077136" y="4410873"/>
            <a:ext cx="9701116" cy="16277"/>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041AA3ED-77C0-4D51-9A53-466FE65CFD74}"/>
              </a:ext>
            </a:extLst>
          </p:cNvPr>
          <p:cNvCxnSpPr>
            <a:cxnSpLocks/>
            <a:stCxn id="118" idx="3"/>
            <a:endCxn id="156" idx="1"/>
          </p:cNvCxnSpPr>
          <p:nvPr/>
        </p:nvCxnSpPr>
        <p:spPr>
          <a:xfrm flipV="1">
            <a:off x="1077119" y="5151101"/>
            <a:ext cx="9701133" cy="16278"/>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708437B5-B449-4C9D-A4C1-7D74B790810A}"/>
              </a:ext>
            </a:extLst>
          </p:cNvPr>
          <p:cNvCxnSpPr>
            <a:cxnSpLocks/>
          </p:cNvCxnSpPr>
          <p:nvPr/>
        </p:nvCxnSpPr>
        <p:spPr>
          <a:xfrm flipV="1">
            <a:off x="125024" y="4041230"/>
            <a:ext cx="11890689" cy="17214"/>
          </a:xfrm>
          <a:prstGeom prst="line">
            <a:avLst/>
          </a:prstGeom>
          <a:ln w="19050" cap="rnd" cmpd="sng" algn="ctr">
            <a:solidFill>
              <a:srgbClr val="295E7E"/>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B69FE434-D9F6-478A-923C-547CDE42C09E}"/>
              </a:ext>
            </a:extLst>
          </p:cNvPr>
          <p:cNvSpPr/>
          <p:nvPr/>
        </p:nvSpPr>
        <p:spPr>
          <a:xfrm>
            <a:off x="10778252" y="4847856"/>
            <a:ext cx="1253301" cy="60649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Poor</a:t>
            </a:r>
          </a:p>
        </p:txBody>
      </p:sp>
      <p:sp>
        <p:nvSpPr>
          <p:cNvPr id="157" name="Rectangle 156">
            <a:extLst>
              <a:ext uri="{FF2B5EF4-FFF2-40B4-BE49-F238E27FC236}">
                <a16:creationId xmlns:a16="http://schemas.microsoft.com/office/drawing/2014/main" id="{2F313AF6-CE7C-44C6-9164-E2058805FC16}"/>
              </a:ext>
            </a:extLst>
          </p:cNvPr>
          <p:cNvSpPr/>
          <p:nvPr/>
        </p:nvSpPr>
        <p:spPr>
          <a:xfrm>
            <a:off x="10778252" y="4107628"/>
            <a:ext cx="1253301" cy="606490"/>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Average</a:t>
            </a:r>
          </a:p>
        </p:txBody>
      </p:sp>
      <p:sp>
        <p:nvSpPr>
          <p:cNvPr id="158" name="Rectangle 157">
            <a:extLst>
              <a:ext uri="{FF2B5EF4-FFF2-40B4-BE49-F238E27FC236}">
                <a16:creationId xmlns:a16="http://schemas.microsoft.com/office/drawing/2014/main" id="{961B104E-1334-41AE-B3F4-BE3A5260486F}"/>
              </a:ext>
            </a:extLst>
          </p:cNvPr>
          <p:cNvSpPr/>
          <p:nvPr/>
        </p:nvSpPr>
        <p:spPr>
          <a:xfrm>
            <a:off x="10778252" y="3358435"/>
            <a:ext cx="1253301" cy="60649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Good</a:t>
            </a:r>
          </a:p>
        </p:txBody>
      </p:sp>
      <p:sp>
        <p:nvSpPr>
          <p:cNvPr id="159" name="Rectangle 158">
            <a:extLst>
              <a:ext uri="{FF2B5EF4-FFF2-40B4-BE49-F238E27FC236}">
                <a16:creationId xmlns:a16="http://schemas.microsoft.com/office/drawing/2014/main" id="{C5A18F96-7059-491E-B811-9ED3647A6EE2}"/>
              </a:ext>
            </a:extLst>
          </p:cNvPr>
          <p:cNvSpPr/>
          <p:nvPr/>
        </p:nvSpPr>
        <p:spPr>
          <a:xfrm>
            <a:off x="10778253" y="2618207"/>
            <a:ext cx="1253301" cy="606490"/>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Very Good</a:t>
            </a:r>
          </a:p>
        </p:txBody>
      </p:sp>
      <p:sp>
        <p:nvSpPr>
          <p:cNvPr id="160" name="Rectangle 159">
            <a:extLst>
              <a:ext uri="{FF2B5EF4-FFF2-40B4-BE49-F238E27FC236}">
                <a16:creationId xmlns:a16="http://schemas.microsoft.com/office/drawing/2014/main" id="{6DA7843E-2301-4C40-8051-712139362D51}"/>
              </a:ext>
            </a:extLst>
          </p:cNvPr>
          <p:cNvSpPr/>
          <p:nvPr/>
        </p:nvSpPr>
        <p:spPr>
          <a:xfrm>
            <a:off x="10738981" y="1273675"/>
            <a:ext cx="1276732"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rade</a:t>
            </a:r>
          </a:p>
        </p:txBody>
      </p:sp>
      <p:sp>
        <p:nvSpPr>
          <p:cNvPr id="161" name="Rectangle 160">
            <a:extLst>
              <a:ext uri="{FF2B5EF4-FFF2-40B4-BE49-F238E27FC236}">
                <a16:creationId xmlns:a16="http://schemas.microsoft.com/office/drawing/2014/main" id="{C27A5FC3-4306-4405-A1F3-607EF7140568}"/>
              </a:ext>
            </a:extLst>
          </p:cNvPr>
          <p:cNvSpPr/>
          <p:nvPr/>
        </p:nvSpPr>
        <p:spPr>
          <a:xfrm>
            <a:off x="10778233" y="1877979"/>
            <a:ext cx="1253301" cy="606490"/>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Excellent</a:t>
            </a:r>
          </a:p>
        </p:txBody>
      </p:sp>
      <p:sp>
        <p:nvSpPr>
          <p:cNvPr id="162" name="Rectangle 161">
            <a:extLst>
              <a:ext uri="{FF2B5EF4-FFF2-40B4-BE49-F238E27FC236}">
                <a16:creationId xmlns:a16="http://schemas.microsoft.com/office/drawing/2014/main" id="{E8C94B8D-8018-43A5-9332-60A028F387E2}"/>
              </a:ext>
            </a:extLst>
          </p:cNvPr>
          <p:cNvSpPr/>
          <p:nvPr/>
        </p:nvSpPr>
        <p:spPr>
          <a:xfrm>
            <a:off x="10778252" y="5588084"/>
            <a:ext cx="1253301" cy="606490"/>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50" dirty="0">
                <a:solidFill>
                  <a:srgbClr val="FFFFFF"/>
                </a:solidFill>
              </a:rPr>
              <a:t>Unacceptable</a:t>
            </a:r>
          </a:p>
        </p:txBody>
      </p:sp>
      <p:sp>
        <p:nvSpPr>
          <p:cNvPr id="99" name="Title 8"/>
          <p:cNvSpPr>
            <a:spLocks noGrp="1"/>
          </p:cNvSpPr>
          <p:nvPr>
            <p:ph type="title"/>
          </p:nvPr>
        </p:nvSpPr>
        <p:spPr>
          <a:xfrm>
            <a:off x="629325" y="575670"/>
            <a:ext cx="10933350" cy="387798"/>
          </a:xfrm>
        </p:spPr>
        <p:txBody>
          <a:bodyPr vert="horz"/>
          <a:lstStyle/>
          <a:p>
            <a:r>
              <a:rPr lang="en-GB" sz="2800" dirty="0">
                <a:solidFill>
                  <a:srgbClr val="295E7E"/>
                </a:solidFill>
              </a:rPr>
              <a:t>E-SAT</a:t>
            </a:r>
            <a:r>
              <a:rPr lang="en-GB" sz="2800" dirty="0">
                <a:solidFill>
                  <a:srgbClr val="2E3558"/>
                </a:solidFill>
              </a:rPr>
              <a:t> – </a:t>
            </a:r>
            <a:r>
              <a:rPr lang="en-GB" sz="2800" dirty="0">
                <a:solidFill>
                  <a:srgbClr val="30C1D7"/>
                </a:solidFill>
              </a:rPr>
              <a:t>Q4 2021 </a:t>
            </a:r>
            <a:r>
              <a:rPr lang="en-GB" sz="2800" dirty="0">
                <a:solidFill>
                  <a:srgbClr val="2E3558"/>
                </a:solidFill>
              </a:rPr>
              <a:t>- </a:t>
            </a:r>
            <a:r>
              <a:rPr lang="en-GB" sz="2800" dirty="0">
                <a:solidFill>
                  <a:srgbClr val="295E7E"/>
                </a:solidFill>
              </a:rPr>
              <a:t>for</a:t>
            </a:r>
            <a:r>
              <a:rPr lang="en-GB" sz="2800" dirty="0">
                <a:solidFill>
                  <a:srgbClr val="2E3558"/>
                </a:solidFill>
              </a:rPr>
              <a:t> </a:t>
            </a:r>
            <a:r>
              <a:rPr lang="en-GB" sz="2800" dirty="0">
                <a:solidFill>
                  <a:srgbClr val="30C1D7"/>
                </a:solidFill>
              </a:rPr>
              <a:t>Critical</a:t>
            </a:r>
            <a:r>
              <a:rPr lang="en-GB" sz="2800" dirty="0">
                <a:solidFill>
                  <a:srgbClr val="2E3558"/>
                </a:solidFill>
              </a:rPr>
              <a:t> </a:t>
            </a:r>
            <a:r>
              <a:rPr lang="en-GB" sz="2800" dirty="0">
                <a:solidFill>
                  <a:srgbClr val="295E7E"/>
                </a:solidFill>
              </a:rPr>
              <a:t>Products or Services</a:t>
            </a:r>
          </a:p>
        </p:txBody>
      </p:sp>
      <p:grpSp>
        <p:nvGrpSpPr>
          <p:cNvPr id="177" name="Group 176">
            <a:extLst>
              <a:ext uri="{FF2B5EF4-FFF2-40B4-BE49-F238E27FC236}">
                <a16:creationId xmlns:a16="http://schemas.microsoft.com/office/drawing/2014/main" id="{39869928-C576-419F-A855-7C30390E838A}"/>
              </a:ext>
            </a:extLst>
          </p:cNvPr>
          <p:cNvGrpSpPr/>
          <p:nvPr/>
        </p:nvGrpSpPr>
        <p:grpSpPr>
          <a:xfrm>
            <a:off x="1337562" y="4991268"/>
            <a:ext cx="344342" cy="201168"/>
            <a:chOff x="2073976" y="5623391"/>
            <a:chExt cx="344342" cy="201168"/>
          </a:xfrm>
        </p:grpSpPr>
        <p:sp>
          <p:nvSpPr>
            <p:cNvPr id="178" name="Oval 177">
              <a:extLst>
                <a:ext uri="{FF2B5EF4-FFF2-40B4-BE49-F238E27FC236}">
                  <a16:creationId xmlns:a16="http://schemas.microsoft.com/office/drawing/2014/main" id="{08C100AB-B378-4D70-A72A-17CB4D6A29B4}"/>
                </a:ext>
              </a:extLst>
            </p:cNvPr>
            <p:cNvSpPr/>
            <p:nvPr/>
          </p:nvSpPr>
          <p:spPr>
            <a:xfrm>
              <a:off x="2131576" y="5623391"/>
              <a:ext cx="228600" cy="201168"/>
            </a:xfrm>
            <a:prstGeom prst="ellipse">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575757"/>
                </a:solidFill>
              </a:endParaRPr>
            </a:p>
          </p:txBody>
        </p:sp>
        <p:sp>
          <p:nvSpPr>
            <p:cNvPr id="179" name="Rectangle 178">
              <a:extLst>
                <a:ext uri="{FF2B5EF4-FFF2-40B4-BE49-F238E27FC236}">
                  <a16:creationId xmlns:a16="http://schemas.microsoft.com/office/drawing/2014/main" id="{622AA876-8BFA-46C7-BF71-77D8C214347E}"/>
                </a:ext>
              </a:extLst>
            </p:cNvPr>
            <p:cNvSpPr/>
            <p:nvPr/>
          </p:nvSpPr>
          <p:spPr>
            <a:xfrm>
              <a:off x="2073976" y="5637579"/>
              <a:ext cx="344342" cy="1692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6</a:t>
              </a:r>
            </a:p>
          </p:txBody>
        </p:sp>
      </p:grpSp>
      <p:sp>
        <p:nvSpPr>
          <p:cNvPr id="293" name="TextBox 292">
            <a:extLst>
              <a:ext uri="{FF2B5EF4-FFF2-40B4-BE49-F238E27FC236}">
                <a16:creationId xmlns:a16="http://schemas.microsoft.com/office/drawing/2014/main" id="{8D004C62-5002-4008-86A9-A6717E71A49D}"/>
              </a:ext>
            </a:extLst>
          </p:cNvPr>
          <p:cNvSpPr txBox="1"/>
          <p:nvPr/>
        </p:nvSpPr>
        <p:spPr>
          <a:xfrm>
            <a:off x="1152545" y="5155953"/>
            <a:ext cx="871450" cy="3098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Timesheets</a:t>
            </a:r>
          </a:p>
        </p:txBody>
      </p:sp>
      <p:sp>
        <p:nvSpPr>
          <p:cNvPr id="296" name="TextBox 295">
            <a:extLst>
              <a:ext uri="{FF2B5EF4-FFF2-40B4-BE49-F238E27FC236}">
                <a16:creationId xmlns:a16="http://schemas.microsoft.com/office/drawing/2014/main" id="{7140C9ED-2E62-48F6-B1CC-1ABEC7362106}"/>
              </a:ext>
            </a:extLst>
          </p:cNvPr>
          <p:cNvSpPr txBox="1"/>
          <p:nvPr/>
        </p:nvSpPr>
        <p:spPr>
          <a:xfrm>
            <a:off x="7070005" y="3351974"/>
            <a:ext cx="777797" cy="2868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Okta - Laptop</a:t>
            </a:r>
          </a:p>
        </p:txBody>
      </p:sp>
      <p:grpSp>
        <p:nvGrpSpPr>
          <p:cNvPr id="125" name="Group 124">
            <a:extLst>
              <a:ext uri="{FF2B5EF4-FFF2-40B4-BE49-F238E27FC236}">
                <a16:creationId xmlns:a16="http://schemas.microsoft.com/office/drawing/2014/main" id="{4D8045FA-ACD8-4532-B8B2-7505E7221A67}"/>
              </a:ext>
            </a:extLst>
          </p:cNvPr>
          <p:cNvGrpSpPr/>
          <p:nvPr/>
        </p:nvGrpSpPr>
        <p:grpSpPr>
          <a:xfrm>
            <a:off x="4198104" y="3738876"/>
            <a:ext cx="351158" cy="217580"/>
            <a:chOff x="6233417" y="3715315"/>
            <a:chExt cx="351158" cy="217580"/>
          </a:xfrm>
        </p:grpSpPr>
        <p:sp>
          <p:nvSpPr>
            <p:cNvPr id="126" name="Oval 125">
              <a:extLst>
                <a:ext uri="{FF2B5EF4-FFF2-40B4-BE49-F238E27FC236}">
                  <a16:creationId xmlns:a16="http://schemas.microsoft.com/office/drawing/2014/main" id="{6E3E5C2C-95D6-452B-B7EF-C8E52054FC6B}"/>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7" name="Rectangle 126">
              <a:extLst>
                <a:ext uri="{FF2B5EF4-FFF2-40B4-BE49-F238E27FC236}">
                  <a16:creationId xmlns:a16="http://schemas.microsoft.com/office/drawing/2014/main" id="{9A7E9D78-FEE8-4585-B428-AF04919925A8}"/>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2</a:t>
              </a:r>
            </a:p>
          </p:txBody>
        </p:sp>
      </p:grpSp>
      <p:sp>
        <p:nvSpPr>
          <p:cNvPr id="142" name="TextBox 141">
            <a:extLst>
              <a:ext uri="{FF2B5EF4-FFF2-40B4-BE49-F238E27FC236}">
                <a16:creationId xmlns:a16="http://schemas.microsoft.com/office/drawing/2014/main" id="{B0A17699-2A9F-4A64-B0A6-D84E31DF1D5D}"/>
              </a:ext>
            </a:extLst>
          </p:cNvPr>
          <p:cNvSpPr txBox="1"/>
          <p:nvPr/>
        </p:nvSpPr>
        <p:spPr>
          <a:xfrm>
            <a:off x="3967091" y="3423669"/>
            <a:ext cx="808558" cy="2808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Email (Outlook)</a:t>
            </a:r>
          </a:p>
        </p:txBody>
      </p:sp>
      <p:sp>
        <p:nvSpPr>
          <p:cNvPr id="6" name="Rectangle 5">
            <a:extLst>
              <a:ext uri="{FF2B5EF4-FFF2-40B4-BE49-F238E27FC236}">
                <a16:creationId xmlns:a16="http://schemas.microsoft.com/office/drawing/2014/main" id="{B7FA97A6-09A9-4095-BD27-C6C533439AC6}"/>
              </a:ext>
            </a:extLst>
          </p:cNvPr>
          <p:cNvSpPr/>
          <p:nvPr/>
        </p:nvSpPr>
        <p:spPr>
          <a:xfrm>
            <a:off x="-15008" y="6637972"/>
            <a:ext cx="3144948" cy="227752"/>
          </a:xfrm>
          <a:prstGeom prst="rect">
            <a:avLst/>
          </a:prstGeom>
          <a:noFill/>
          <a:ln w="19050" cap="rnd" cmpd="sng" algn="ctr">
            <a:solidFill>
              <a:srgbClr val="E71C57"/>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E71C57"/>
                </a:solidFill>
              </a:rPr>
              <a:t>Critical Best-in-Class E-SAT is 80%</a:t>
            </a:r>
          </a:p>
        </p:txBody>
      </p:sp>
      <p:sp>
        <p:nvSpPr>
          <p:cNvPr id="96" name="TextBox 95">
            <a:extLst>
              <a:ext uri="{FF2B5EF4-FFF2-40B4-BE49-F238E27FC236}">
                <a16:creationId xmlns:a16="http://schemas.microsoft.com/office/drawing/2014/main" id="{A63A17F7-24A9-4F62-97AA-7F122A043780}"/>
              </a:ext>
            </a:extLst>
          </p:cNvPr>
          <p:cNvSpPr txBox="1"/>
          <p:nvPr/>
        </p:nvSpPr>
        <p:spPr>
          <a:xfrm>
            <a:off x="3327653" y="4166847"/>
            <a:ext cx="975055" cy="3154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Excel</a:t>
            </a:r>
          </a:p>
          <a:p>
            <a:pPr algn="ctr"/>
            <a:r>
              <a:rPr lang="en-US" sz="1000" dirty="0">
                <a:solidFill>
                  <a:srgbClr val="575757"/>
                </a:solidFill>
              </a:rPr>
              <a:t>Expenses - CR</a:t>
            </a:r>
          </a:p>
        </p:txBody>
      </p:sp>
      <p:sp>
        <p:nvSpPr>
          <p:cNvPr id="101" name="TextBox 100">
            <a:extLst>
              <a:ext uri="{FF2B5EF4-FFF2-40B4-BE49-F238E27FC236}">
                <a16:creationId xmlns:a16="http://schemas.microsoft.com/office/drawing/2014/main" id="{45DFDC8A-344A-4376-91F7-8154CA27E1AD}"/>
              </a:ext>
            </a:extLst>
          </p:cNvPr>
          <p:cNvSpPr txBox="1"/>
          <p:nvPr/>
        </p:nvSpPr>
        <p:spPr>
          <a:xfrm>
            <a:off x="8315578" y="2489800"/>
            <a:ext cx="906239" cy="2750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OneNote</a:t>
            </a:r>
          </a:p>
          <a:p>
            <a:pPr algn="ctr"/>
            <a:r>
              <a:rPr lang="en-US" sz="1000" dirty="0">
                <a:solidFill>
                  <a:srgbClr val="575757"/>
                </a:solidFill>
              </a:rPr>
              <a:t>Outlook for Mobile</a:t>
            </a:r>
          </a:p>
        </p:txBody>
      </p:sp>
      <p:grpSp>
        <p:nvGrpSpPr>
          <p:cNvPr id="102" name="Group 101">
            <a:extLst>
              <a:ext uri="{FF2B5EF4-FFF2-40B4-BE49-F238E27FC236}">
                <a16:creationId xmlns:a16="http://schemas.microsoft.com/office/drawing/2014/main" id="{6391FBD6-48A7-474E-84A3-7209C07FFABE}"/>
              </a:ext>
            </a:extLst>
          </p:cNvPr>
          <p:cNvGrpSpPr/>
          <p:nvPr/>
        </p:nvGrpSpPr>
        <p:grpSpPr>
          <a:xfrm>
            <a:off x="5907521" y="3342926"/>
            <a:ext cx="351158" cy="217580"/>
            <a:chOff x="7270085" y="3515638"/>
            <a:chExt cx="351158" cy="217580"/>
          </a:xfrm>
        </p:grpSpPr>
        <p:sp>
          <p:nvSpPr>
            <p:cNvPr id="103" name="Oval 102">
              <a:extLst>
                <a:ext uri="{FF2B5EF4-FFF2-40B4-BE49-F238E27FC236}">
                  <a16:creationId xmlns:a16="http://schemas.microsoft.com/office/drawing/2014/main" id="{E4E22C6F-251F-484A-8BE0-7177CA0BDD50}"/>
                </a:ext>
              </a:extLst>
            </p:cNvPr>
            <p:cNvSpPr/>
            <p:nvPr/>
          </p:nvSpPr>
          <p:spPr>
            <a:xfrm>
              <a:off x="7336033" y="3529341"/>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5" name="Rectangle 104">
              <a:extLst>
                <a:ext uri="{FF2B5EF4-FFF2-40B4-BE49-F238E27FC236}">
                  <a16:creationId xmlns:a16="http://schemas.microsoft.com/office/drawing/2014/main" id="{3F3FA75A-A07B-4020-A54E-889844B3C9BB}"/>
                </a:ext>
              </a:extLst>
            </p:cNvPr>
            <p:cNvSpPr/>
            <p:nvPr/>
          </p:nvSpPr>
          <p:spPr>
            <a:xfrm>
              <a:off x="7270085" y="351563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8</a:t>
              </a:r>
            </a:p>
          </p:txBody>
        </p:sp>
      </p:grpSp>
      <p:sp>
        <p:nvSpPr>
          <p:cNvPr id="110" name="TextBox 109">
            <a:extLst>
              <a:ext uri="{FF2B5EF4-FFF2-40B4-BE49-F238E27FC236}">
                <a16:creationId xmlns:a16="http://schemas.microsoft.com/office/drawing/2014/main" id="{2AD5B8C3-5AA7-4BAF-8ED6-C9F2CAAFF2AC}"/>
              </a:ext>
            </a:extLst>
          </p:cNvPr>
          <p:cNvSpPr txBox="1"/>
          <p:nvPr/>
        </p:nvSpPr>
        <p:spPr>
          <a:xfrm>
            <a:off x="9183231" y="2734991"/>
            <a:ext cx="719995" cy="2851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Slack</a:t>
            </a:r>
          </a:p>
        </p:txBody>
      </p:sp>
      <p:sp>
        <p:nvSpPr>
          <p:cNvPr id="113" name="TextBox 112">
            <a:extLst>
              <a:ext uri="{FF2B5EF4-FFF2-40B4-BE49-F238E27FC236}">
                <a16:creationId xmlns:a16="http://schemas.microsoft.com/office/drawing/2014/main" id="{DD76DF67-F15C-4B1C-B3A9-9DADF7D126C9}"/>
              </a:ext>
            </a:extLst>
          </p:cNvPr>
          <p:cNvSpPr txBox="1"/>
          <p:nvPr/>
        </p:nvSpPr>
        <p:spPr>
          <a:xfrm>
            <a:off x="6285923" y="2995425"/>
            <a:ext cx="864390" cy="2432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Information Security</a:t>
            </a:r>
          </a:p>
        </p:txBody>
      </p:sp>
      <p:grpSp>
        <p:nvGrpSpPr>
          <p:cNvPr id="2" name="Group 1">
            <a:extLst>
              <a:ext uri="{FF2B5EF4-FFF2-40B4-BE49-F238E27FC236}">
                <a16:creationId xmlns:a16="http://schemas.microsoft.com/office/drawing/2014/main" id="{DB892951-7E1B-4E97-A215-3E2B6D7F610F}"/>
              </a:ext>
            </a:extLst>
          </p:cNvPr>
          <p:cNvGrpSpPr/>
          <p:nvPr/>
        </p:nvGrpSpPr>
        <p:grpSpPr>
          <a:xfrm>
            <a:off x="9854006" y="2264229"/>
            <a:ext cx="351158" cy="217580"/>
            <a:chOff x="10339755" y="2247012"/>
            <a:chExt cx="351158" cy="217580"/>
          </a:xfrm>
        </p:grpSpPr>
        <p:sp>
          <p:nvSpPr>
            <p:cNvPr id="121" name="Oval 120">
              <a:extLst>
                <a:ext uri="{FF2B5EF4-FFF2-40B4-BE49-F238E27FC236}">
                  <a16:creationId xmlns:a16="http://schemas.microsoft.com/office/drawing/2014/main" id="{5C298734-0DD0-4B35-AB5E-764D3C8D6621}"/>
                </a:ext>
              </a:extLst>
            </p:cNvPr>
            <p:cNvSpPr/>
            <p:nvPr/>
          </p:nvSpPr>
          <p:spPr>
            <a:xfrm>
              <a:off x="10401034" y="2254450"/>
              <a:ext cx="228600" cy="201168"/>
            </a:xfrm>
            <a:prstGeom prst="ellipse">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4" name="Rectangle 123">
              <a:extLst>
                <a:ext uri="{FF2B5EF4-FFF2-40B4-BE49-F238E27FC236}">
                  <a16:creationId xmlns:a16="http://schemas.microsoft.com/office/drawing/2014/main" id="{5CD83E7E-6B8F-4E85-8E3B-A8A950126912}"/>
                </a:ext>
              </a:extLst>
            </p:cNvPr>
            <p:cNvSpPr/>
            <p:nvPr/>
          </p:nvSpPr>
          <p:spPr>
            <a:xfrm>
              <a:off x="10339755" y="2247012"/>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93</a:t>
              </a:r>
            </a:p>
          </p:txBody>
        </p:sp>
      </p:grpSp>
      <p:sp>
        <p:nvSpPr>
          <p:cNvPr id="131" name="TextBox 130">
            <a:extLst>
              <a:ext uri="{FF2B5EF4-FFF2-40B4-BE49-F238E27FC236}">
                <a16:creationId xmlns:a16="http://schemas.microsoft.com/office/drawing/2014/main" id="{CE041438-2E7D-43D3-B7C8-479FB2861561}"/>
              </a:ext>
            </a:extLst>
          </p:cNvPr>
          <p:cNvSpPr txBox="1"/>
          <p:nvPr/>
        </p:nvSpPr>
        <p:spPr>
          <a:xfrm>
            <a:off x="9686737" y="2035084"/>
            <a:ext cx="709450" cy="3045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Local IT</a:t>
            </a:r>
          </a:p>
        </p:txBody>
      </p:sp>
      <p:grpSp>
        <p:nvGrpSpPr>
          <p:cNvPr id="90" name="Group 89">
            <a:extLst>
              <a:ext uri="{FF2B5EF4-FFF2-40B4-BE49-F238E27FC236}">
                <a16:creationId xmlns:a16="http://schemas.microsoft.com/office/drawing/2014/main" id="{D87B8B7E-4DE5-45EE-911F-824A2E8C5E34}"/>
              </a:ext>
            </a:extLst>
          </p:cNvPr>
          <p:cNvGrpSpPr/>
          <p:nvPr/>
        </p:nvGrpSpPr>
        <p:grpSpPr>
          <a:xfrm>
            <a:off x="8596775" y="2829257"/>
            <a:ext cx="351158" cy="217580"/>
            <a:chOff x="9178110" y="2929050"/>
            <a:chExt cx="351158" cy="217580"/>
          </a:xfrm>
        </p:grpSpPr>
        <p:sp>
          <p:nvSpPr>
            <p:cNvPr id="91" name="Oval 90">
              <a:extLst>
                <a:ext uri="{FF2B5EF4-FFF2-40B4-BE49-F238E27FC236}">
                  <a16:creationId xmlns:a16="http://schemas.microsoft.com/office/drawing/2014/main" id="{7505EC90-0D56-467D-B40A-7F9CF41450B4}"/>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2" name="Rectangle 91">
              <a:extLst>
                <a:ext uri="{FF2B5EF4-FFF2-40B4-BE49-F238E27FC236}">
                  <a16:creationId xmlns:a16="http://schemas.microsoft.com/office/drawing/2014/main" id="{FB5D842F-B713-43EA-A1DD-6A014B355066}"/>
                </a:ext>
              </a:extLst>
            </p:cNvPr>
            <p:cNvSpPr/>
            <p:nvPr/>
          </p:nvSpPr>
          <p:spPr>
            <a:xfrm>
              <a:off x="9178110" y="2929050"/>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5</a:t>
              </a:r>
            </a:p>
          </p:txBody>
        </p:sp>
      </p:grpSp>
      <p:sp>
        <p:nvSpPr>
          <p:cNvPr id="93" name="TextBox 92">
            <a:extLst>
              <a:ext uri="{FF2B5EF4-FFF2-40B4-BE49-F238E27FC236}">
                <a16:creationId xmlns:a16="http://schemas.microsoft.com/office/drawing/2014/main" id="{1138C03E-29F1-45B0-9649-2DB782C76CF2}"/>
              </a:ext>
            </a:extLst>
          </p:cNvPr>
          <p:cNvSpPr txBox="1"/>
          <p:nvPr/>
        </p:nvSpPr>
        <p:spPr>
          <a:xfrm>
            <a:off x="7652529" y="2770562"/>
            <a:ext cx="773640" cy="1430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IT Support</a:t>
            </a:r>
          </a:p>
        </p:txBody>
      </p:sp>
      <p:grpSp>
        <p:nvGrpSpPr>
          <p:cNvPr id="104" name="Group 103">
            <a:extLst>
              <a:ext uri="{FF2B5EF4-FFF2-40B4-BE49-F238E27FC236}">
                <a16:creationId xmlns:a16="http://schemas.microsoft.com/office/drawing/2014/main" id="{EDEB48D1-CF1C-4D79-A261-4A2163B5B425}"/>
              </a:ext>
            </a:extLst>
          </p:cNvPr>
          <p:cNvGrpSpPr/>
          <p:nvPr/>
        </p:nvGrpSpPr>
        <p:grpSpPr>
          <a:xfrm>
            <a:off x="7847802" y="2930176"/>
            <a:ext cx="351158" cy="217580"/>
            <a:chOff x="9178110" y="2929050"/>
            <a:chExt cx="351158" cy="217580"/>
          </a:xfrm>
        </p:grpSpPr>
        <p:sp>
          <p:nvSpPr>
            <p:cNvPr id="111" name="Oval 110">
              <a:extLst>
                <a:ext uri="{FF2B5EF4-FFF2-40B4-BE49-F238E27FC236}">
                  <a16:creationId xmlns:a16="http://schemas.microsoft.com/office/drawing/2014/main" id="{D68256C0-BDB4-47AB-BBC1-5E00FD60CE35}"/>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2" name="Rectangle 111">
              <a:extLst>
                <a:ext uri="{FF2B5EF4-FFF2-40B4-BE49-F238E27FC236}">
                  <a16:creationId xmlns:a16="http://schemas.microsoft.com/office/drawing/2014/main" id="{A8133704-0430-4EB5-9042-4A47881BDA88}"/>
                </a:ext>
              </a:extLst>
            </p:cNvPr>
            <p:cNvSpPr/>
            <p:nvPr/>
          </p:nvSpPr>
          <p:spPr>
            <a:xfrm>
              <a:off x="9178110" y="2929050"/>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4</a:t>
              </a:r>
            </a:p>
          </p:txBody>
        </p:sp>
      </p:grpSp>
      <p:grpSp>
        <p:nvGrpSpPr>
          <p:cNvPr id="122" name="Group 121">
            <a:extLst>
              <a:ext uri="{FF2B5EF4-FFF2-40B4-BE49-F238E27FC236}">
                <a16:creationId xmlns:a16="http://schemas.microsoft.com/office/drawing/2014/main" id="{7EE753F4-2996-4D6D-A4B7-D7DADF9F5CA6}"/>
              </a:ext>
            </a:extLst>
          </p:cNvPr>
          <p:cNvGrpSpPr/>
          <p:nvPr/>
        </p:nvGrpSpPr>
        <p:grpSpPr>
          <a:xfrm>
            <a:off x="7247300" y="3083861"/>
            <a:ext cx="351158" cy="217580"/>
            <a:chOff x="9178110" y="2929050"/>
            <a:chExt cx="351158" cy="217580"/>
          </a:xfrm>
        </p:grpSpPr>
        <p:sp>
          <p:nvSpPr>
            <p:cNvPr id="123" name="Oval 122">
              <a:extLst>
                <a:ext uri="{FF2B5EF4-FFF2-40B4-BE49-F238E27FC236}">
                  <a16:creationId xmlns:a16="http://schemas.microsoft.com/office/drawing/2014/main" id="{5FFC120D-ECE1-45E6-A598-D19713C9E48A}"/>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Rectangle 131">
              <a:extLst>
                <a:ext uri="{FF2B5EF4-FFF2-40B4-BE49-F238E27FC236}">
                  <a16:creationId xmlns:a16="http://schemas.microsoft.com/office/drawing/2014/main" id="{C7ABE516-6C0F-4BD4-8A53-6F639CA161D6}"/>
                </a:ext>
              </a:extLst>
            </p:cNvPr>
            <p:cNvSpPr/>
            <p:nvPr/>
          </p:nvSpPr>
          <p:spPr>
            <a:xfrm>
              <a:off x="9178110" y="2929050"/>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1</a:t>
              </a:r>
            </a:p>
          </p:txBody>
        </p:sp>
      </p:grpSp>
      <p:sp>
        <p:nvSpPr>
          <p:cNvPr id="133" name="TextBox 132">
            <a:extLst>
              <a:ext uri="{FF2B5EF4-FFF2-40B4-BE49-F238E27FC236}">
                <a16:creationId xmlns:a16="http://schemas.microsoft.com/office/drawing/2014/main" id="{B8EDF88A-0865-4A42-9DF3-DD4217CB1425}"/>
              </a:ext>
            </a:extLst>
          </p:cNvPr>
          <p:cNvSpPr txBox="1"/>
          <p:nvPr/>
        </p:nvSpPr>
        <p:spPr>
          <a:xfrm>
            <a:off x="4432188" y="3836983"/>
            <a:ext cx="1131304" cy="2782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Trello</a:t>
            </a:r>
          </a:p>
        </p:txBody>
      </p:sp>
      <p:sp>
        <p:nvSpPr>
          <p:cNvPr id="147" name="Rectangle 146">
            <a:extLst>
              <a:ext uri="{FF2B5EF4-FFF2-40B4-BE49-F238E27FC236}">
                <a16:creationId xmlns:a16="http://schemas.microsoft.com/office/drawing/2014/main" id="{B0A58AE4-BBDE-4AD0-A447-6F55495BB9F4}"/>
              </a:ext>
            </a:extLst>
          </p:cNvPr>
          <p:cNvSpPr/>
          <p:nvPr/>
        </p:nvSpPr>
        <p:spPr>
          <a:xfrm>
            <a:off x="1013956" y="951344"/>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Q4 Respondents = 1,327</a:t>
            </a:r>
          </a:p>
        </p:txBody>
      </p:sp>
      <p:cxnSp>
        <p:nvCxnSpPr>
          <p:cNvPr id="163" name="Straight Connector 162">
            <a:extLst>
              <a:ext uri="{FF2B5EF4-FFF2-40B4-BE49-F238E27FC236}">
                <a16:creationId xmlns:a16="http://schemas.microsoft.com/office/drawing/2014/main" id="{BFFF402B-7A8F-417E-8166-3828E7C35D54}"/>
              </a:ext>
            </a:extLst>
          </p:cNvPr>
          <p:cNvCxnSpPr>
            <a:cxnSpLocks/>
          </p:cNvCxnSpPr>
          <p:nvPr/>
        </p:nvCxnSpPr>
        <p:spPr>
          <a:xfrm flipH="1" flipV="1">
            <a:off x="1097233" y="1804482"/>
            <a:ext cx="12442" cy="4495678"/>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F98F1D51-DA33-42B2-B0CC-72096E185E65}"/>
              </a:ext>
            </a:extLst>
          </p:cNvPr>
          <p:cNvGrpSpPr/>
          <p:nvPr/>
        </p:nvGrpSpPr>
        <p:grpSpPr>
          <a:xfrm>
            <a:off x="3621697" y="3932440"/>
            <a:ext cx="351158" cy="217580"/>
            <a:chOff x="6233417" y="3715315"/>
            <a:chExt cx="351158" cy="217580"/>
          </a:xfrm>
        </p:grpSpPr>
        <p:sp>
          <p:nvSpPr>
            <p:cNvPr id="166" name="Oval 165">
              <a:extLst>
                <a:ext uri="{FF2B5EF4-FFF2-40B4-BE49-F238E27FC236}">
                  <a16:creationId xmlns:a16="http://schemas.microsoft.com/office/drawing/2014/main" id="{2B112333-B611-4528-ACB2-B7F26E6FB268}"/>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7" name="Rectangle 166">
              <a:extLst>
                <a:ext uri="{FF2B5EF4-FFF2-40B4-BE49-F238E27FC236}">
                  <a16:creationId xmlns:a16="http://schemas.microsoft.com/office/drawing/2014/main" id="{4D4AD7E5-8CFB-4BDB-BACB-207A3CD9DFF8}"/>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a:t>
              </a:r>
            </a:p>
          </p:txBody>
        </p:sp>
      </p:grpSp>
      <p:grpSp>
        <p:nvGrpSpPr>
          <p:cNvPr id="171" name="Group 170">
            <a:extLst>
              <a:ext uri="{FF2B5EF4-FFF2-40B4-BE49-F238E27FC236}">
                <a16:creationId xmlns:a16="http://schemas.microsoft.com/office/drawing/2014/main" id="{715E283A-3EAC-4EBB-9935-56A31A093A16}"/>
              </a:ext>
            </a:extLst>
          </p:cNvPr>
          <p:cNvGrpSpPr/>
          <p:nvPr/>
        </p:nvGrpSpPr>
        <p:grpSpPr>
          <a:xfrm>
            <a:off x="4822261" y="3664168"/>
            <a:ext cx="351158" cy="217580"/>
            <a:chOff x="6233417" y="3715315"/>
            <a:chExt cx="351158" cy="217580"/>
          </a:xfrm>
        </p:grpSpPr>
        <p:sp>
          <p:nvSpPr>
            <p:cNvPr id="172" name="Oval 171">
              <a:extLst>
                <a:ext uri="{FF2B5EF4-FFF2-40B4-BE49-F238E27FC236}">
                  <a16:creationId xmlns:a16="http://schemas.microsoft.com/office/drawing/2014/main" id="{F0004E53-543F-44FC-8504-1890D84AD6E1}"/>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3" name="Rectangle 172">
              <a:extLst>
                <a:ext uri="{FF2B5EF4-FFF2-40B4-BE49-F238E27FC236}">
                  <a16:creationId xmlns:a16="http://schemas.microsoft.com/office/drawing/2014/main" id="{0926A3B7-1A43-4009-9BFC-37FABB4287EE}"/>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4</a:t>
              </a:r>
            </a:p>
          </p:txBody>
        </p:sp>
      </p:grpSp>
      <p:grpSp>
        <p:nvGrpSpPr>
          <p:cNvPr id="174" name="Group 173">
            <a:extLst>
              <a:ext uri="{FF2B5EF4-FFF2-40B4-BE49-F238E27FC236}">
                <a16:creationId xmlns:a16="http://schemas.microsoft.com/office/drawing/2014/main" id="{0A9101C7-98B8-4CFC-B0D1-925CDF26DD72}"/>
              </a:ext>
            </a:extLst>
          </p:cNvPr>
          <p:cNvGrpSpPr/>
          <p:nvPr/>
        </p:nvGrpSpPr>
        <p:grpSpPr>
          <a:xfrm>
            <a:off x="9370160" y="2562561"/>
            <a:ext cx="351158" cy="240602"/>
            <a:chOff x="9185131" y="2910002"/>
            <a:chExt cx="351158" cy="240602"/>
          </a:xfrm>
        </p:grpSpPr>
        <p:sp>
          <p:nvSpPr>
            <p:cNvPr id="175" name="Oval 174">
              <a:extLst>
                <a:ext uri="{FF2B5EF4-FFF2-40B4-BE49-F238E27FC236}">
                  <a16:creationId xmlns:a16="http://schemas.microsoft.com/office/drawing/2014/main" id="{67FF4D44-F815-4049-8452-FE9E8EDCE5A4}"/>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6" name="Rectangle 175">
              <a:extLst>
                <a:ext uri="{FF2B5EF4-FFF2-40B4-BE49-F238E27FC236}">
                  <a16:creationId xmlns:a16="http://schemas.microsoft.com/office/drawing/2014/main" id="{1CE5EB77-780B-4E8C-8DE0-D4137EEE113C}"/>
                </a:ext>
              </a:extLst>
            </p:cNvPr>
            <p:cNvSpPr/>
            <p:nvPr/>
          </p:nvSpPr>
          <p:spPr>
            <a:xfrm>
              <a:off x="9185131" y="2910002"/>
              <a:ext cx="351158" cy="24060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8</a:t>
              </a:r>
            </a:p>
          </p:txBody>
        </p:sp>
      </p:grpSp>
      <p:grpSp>
        <p:nvGrpSpPr>
          <p:cNvPr id="164" name="Group 163">
            <a:extLst>
              <a:ext uri="{FF2B5EF4-FFF2-40B4-BE49-F238E27FC236}">
                <a16:creationId xmlns:a16="http://schemas.microsoft.com/office/drawing/2014/main" id="{36E0E491-DBF6-4B4A-86EE-FC7B6AA11A08}"/>
              </a:ext>
            </a:extLst>
          </p:cNvPr>
          <p:cNvGrpSpPr>
            <a:grpSpLocks noChangeAspect="1"/>
          </p:cNvGrpSpPr>
          <p:nvPr/>
        </p:nvGrpSpPr>
        <p:grpSpPr>
          <a:xfrm>
            <a:off x="593041" y="901915"/>
            <a:ext cx="457200" cy="457200"/>
            <a:chOff x="5867400" y="3200400"/>
            <a:chExt cx="457200" cy="457200"/>
          </a:xfrm>
        </p:grpSpPr>
        <p:sp>
          <p:nvSpPr>
            <p:cNvPr id="169" name="AutoShape 43">
              <a:extLst>
                <a:ext uri="{FF2B5EF4-FFF2-40B4-BE49-F238E27FC236}">
                  <a16:creationId xmlns:a16="http://schemas.microsoft.com/office/drawing/2014/main" id="{1D906B9B-6EE4-47C7-8DDD-580F0149B84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
              <a:extLst>
                <a:ext uri="{FF2B5EF4-FFF2-40B4-BE49-F238E27FC236}">
                  <a16:creationId xmlns:a16="http://schemas.microsoft.com/office/drawing/2014/main" id="{ED540A73-7D20-41EA-B6BD-F325ED4DE2A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07" name="Group 106">
            <a:extLst>
              <a:ext uri="{FF2B5EF4-FFF2-40B4-BE49-F238E27FC236}">
                <a16:creationId xmlns:a16="http://schemas.microsoft.com/office/drawing/2014/main" id="{8E577992-DD21-49D0-8165-906268244E7A}"/>
              </a:ext>
            </a:extLst>
          </p:cNvPr>
          <p:cNvGrpSpPr/>
          <p:nvPr/>
        </p:nvGrpSpPr>
        <p:grpSpPr>
          <a:xfrm>
            <a:off x="1681149" y="4663779"/>
            <a:ext cx="351158" cy="217580"/>
            <a:chOff x="5163505" y="4447018"/>
            <a:chExt cx="351158" cy="217580"/>
          </a:xfrm>
        </p:grpSpPr>
        <p:sp>
          <p:nvSpPr>
            <p:cNvPr id="109" name="Oval 108">
              <a:extLst>
                <a:ext uri="{FF2B5EF4-FFF2-40B4-BE49-F238E27FC236}">
                  <a16:creationId xmlns:a16="http://schemas.microsoft.com/office/drawing/2014/main" id="{2839F900-8B25-4A0E-971E-3ACEB91DAB5F}"/>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4" name="Rectangle 113">
              <a:extLst>
                <a:ext uri="{FF2B5EF4-FFF2-40B4-BE49-F238E27FC236}">
                  <a16:creationId xmlns:a16="http://schemas.microsoft.com/office/drawing/2014/main" id="{4284C810-DD68-4E7A-B7F1-9B659C5CFC9E}"/>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a:t>
              </a:r>
            </a:p>
          </p:txBody>
        </p:sp>
      </p:grpSp>
      <p:grpSp>
        <p:nvGrpSpPr>
          <p:cNvPr id="119" name="Group 118">
            <a:extLst>
              <a:ext uri="{FF2B5EF4-FFF2-40B4-BE49-F238E27FC236}">
                <a16:creationId xmlns:a16="http://schemas.microsoft.com/office/drawing/2014/main" id="{ED148D96-1603-4540-83D1-01F44AEAEAC8}"/>
              </a:ext>
            </a:extLst>
          </p:cNvPr>
          <p:cNvGrpSpPr/>
          <p:nvPr/>
        </p:nvGrpSpPr>
        <p:grpSpPr>
          <a:xfrm>
            <a:off x="2411159" y="4519743"/>
            <a:ext cx="351158" cy="217580"/>
            <a:chOff x="5163505" y="4447018"/>
            <a:chExt cx="351158" cy="217580"/>
          </a:xfrm>
        </p:grpSpPr>
        <p:sp>
          <p:nvSpPr>
            <p:cNvPr id="120" name="Oval 119">
              <a:extLst>
                <a:ext uri="{FF2B5EF4-FFF2-40B4-BE49-F238E27FC236}">
                  <a16:creationId xmlns:a16="http://schemas.microsoft.com/office/drawing/2014/main" id="{11D035C9-75A7-4E64-BC0B-2776EEC3FFE0}"/>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8" name="Rectangle 127">
              <a:extLst>
                <a:ext uri="{FF2B5EF4-FFF2-40B4-BE49-F238E27FC236}">
                  <a16:creationId xmlns:a16="http://schemas.microsoft.com/office/drawing/2014/main" id="{09A378AC-65E0-49DF-B8D1-C72EDB038485}"/>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2</a:t>
              </a:r>
            </a:p>
          </p:txBody>
        </p:sp>
      </p:grpSp>
      <p:grpSp>
        <p:nvGrpSpPr>
          <p:cNvPr id="182" name="Group 181">
            <a:extLst>
              <a:ext uri="{FF2B5EF4-FFF2-40B4-BE49-F238E27FC236}">
                <a16:creationId xmlns:a16="http://schemas.microsoft.com/office/drawing/2014/main" id="{330B1DAB-D918-48BE-B8F9-AC42FB5A46C7}"/>
              </a:ext>
            </a:extLst>
          </p:cNvPr>
          <p:cNvGrpSpPr/>
          <p:nvPr/>
        </p:nvGrpSpPr>
        <p:grpSpPr>
          <a:xfrm>
            <a:off x="3000048" y="4215784"/>
            <a:ext cx="351158" cy="217580"/>
            <a:chOff x="5163505" y="4447018"/>
            <a:chExt cx="351158" cy="217580"/>
          </a:xfrm>
        </p:grpSpPr>
        <p:sp>
          <p:nvSpPr>
            <p:cNvPr id="183" name="Oval 182">
              <a:extLst>
                <a:ext uri="{FF2B5EF4-FFF2-40B4-BE49-F238E27FC236}">
                  <a16:creationId xmlns:a16="http://schemas.microsoft.com/office/drawing/2014/main" id="{9EF0518B-3CDB-443F-A9F6-CE3F81C8F77E}"/>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4" name="Rectangle 183">
              <a:extLst>
                <a:ext uri="{FF2B5EF4-FFF2-40B4-BE49-F238E27FC236}">
                  <a16:creationId xmlns:a16="http://schemas.microsoft.com/office/drawing/2014/main" id="{AB67D1D1-8EA0-4019-872A-1464B8A04121}"/>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6</a:t>
              </a:r>
            </a:p>
          </p:txBody>
        </p:sp>
      </p:grpSp>
      <p:grpSp>
        <p:nvGrpSpPr>
          <p:cNvPr id="185" name="Group 184">
            <a:extLst>
              <a:ext uri="{FF2B5EF4-FFF2-40B4-BE49-F238E27FC236}">
                <a16:creationId xmlns:a16="http://schemas.microsoft.com/office/drawing/2014/main" id="{5A75F304-B2AF-4FB6-98EB-FB75C9766FD0}"/>
              </a:ext>
            </a:extLst>
          </p:cNvPr>
          <p:cNvGrpSpPr/>
          <p:nvPr/>
        </p:nvGrpSpPr>
        <p:grpSpPr>
          <a:xfrm>
            <a:off x="6539367" y="3278573"/>
            <a:ext cx="351158" cy="217580"/>
            <a:chOff x="7270085" y="3515638"/>
            <a:chExt cx="351158" cy="217580"/>
          </a:xfrm>
        </p:grpSpPr>
        <p:sp>
          <p:nvSpPr>
            <p:cNvPr id="186" name="Oval 185">
              <a:extLst>
                <a:ext uri="{FF2B5EF4-FFF2-40B4-BE49-F238E27FC236}">
                  <a16:creationId xmlns:a16="http://schemas.microsoft.com/office/drawing/2014/main" id="{82EE8358-1E93-4943-ABD0-4C6177ED594C}"/>
                </a:ext>
              </a:extLst>
            </p:cNvPr>
            <p:cNvSpPr/>
            <p:nvPr/>
          </p:nvSpPr>
          <p:spPr>
            <a:xfrm>
              <a:off x="7336033" y="3529341"/>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7" name="Rectangle 186">
              <a:extLst>
                <a:ext uri="{FF2B5EF4-FFF2-40B4-BE49-F238E27FC236}">
                  <a16:creationId xmlns:a16="http://schemas.microsoft.com/office/drawing/2014/main" id="{5AFC7019-037B-43B2-AB67-3C7E66D0C58F}"/>
                </a:ext>
              </a:extLst>
            </p:cNvPr>
            <p:cNvSpPr/>
            <p:nvPr/>
          </p:nvSpPr>
          <p:spPr>
            <a:xfrm>
              <a:off x="7270085" y="351563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9</a:t>
              </a:r>
            </a:p>
          </p:txBody>
        </p:sp>
      </p:grpSp>
      <p:grpSp>
        <p:nvGrpSpPr>
          <p:cNvPr id="188" name="Group 187">
            <a:extLst>
              <a:ext uri="{FF2B5EF4-FFF2-40B4-BE49-F238E27FC236}">
                <a16:creationId xmlns:a16="http://schemas.microsoft.com/office/drawing/2014/main" id="{8D26A315-470B-48F0-A66A-E34CB06BEBC9}"/>
              </a:ext>
            </a:extLst>
          </p:cNvPr>
          <p:cNvGrpSpPr/>
          <p:nvPr/>
        </p:nvGrpSpPr>
        <p:grpSpPr>
          <a:xfrm>
            <a:off x="10396187" y="2197961"/>
            <a:ext cx="351158" cy="217580"/>
            <a:chOff x="10339755" y="2247012"/>
            <a:chExt cx="351158" cy="217580"/>
          </a:xfrm>
        </p:grpSpPr>
        <p:sp>
          <p:nvSpPr>
            <p:cNvPr id="189" name="Oval 188">
              <a:extLst>
                <a:ext uri="{FF2B5EF4-FFF2-40B4-BE49-F238E27FC236}">
                  <a16:creationId xmlns:a16="http://schemas.microsoft.com/office/drawing/2014/main" id="{DE253F41-B4D7-4542-A0B9-2AD3BEA704F1}"/>
                </a:ext>
              </a:extLst>
            </p:cNvPr>
            <p:cNvSpPr/>
            <p:nvPr/>
          </p:nvSpPr>
          <p:spPr>
            <a:xfrm>
              <a:off x="10401034" y="2254450"/>
              <a:ext cx="228600" cy="201168"/>
            </a:xfrm>
            <a:prstGeom prst="ellipse">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0" name="Rectangle 189">
              <a:extLst>
                <a:ext uri="{FF2B5EF4-FFF2-40B4-BE49-F238E27FC236}">
                  <a16:creationId xmlns:a16="http://schemas.microsoft.com/office/drawing/2014/main" id="{464C8F42-9F02-4857-B3EE-810AC2648A5D}"/>
                </a:ext>
              </a:extLst>
            </p:cNvPr>
            <p:cNvSpPr/>
            <p:nvPr/>
          </p:nvSpPr>
          <p:spPr>
            <a:xfrm>
              <a:off x="10339755" y="2247012"/>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94</a:t>
              </a:r>
            </a:p>
          </p:txBody>
        </p:sp>
      </p:grpSp>
      <p:sp>
        <p:nvSpPr>
          <p:cNvPr id="191" name="TextBox 190">
            <a:extLst>
              <a:ext uri="{FF2B5EF4-FFF2-40B4-BE49-F238E27FC236}">
                <a16:creationId xmlns:a16="http://schemas.microsoft.com/office/drawing/2014/main" id="{EB4A4AC4-ADE5-4854-8B58-E02EBEB5818E}"/>
              </a:ext>
            </a:extLst>
          </p:cNvPr>
          <p:cNvSpPr txBox="1"/>
          <p:nvPr/>
        </p:nvSpPr>
        <p:spPr>
          <a:xfrm>
            <a:off x="1309355" y="4459886"/>
            <a:ext cx="1114518" cy="2377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Egnyte - Overall</a:t>
            </a:r>
          </a:p>
        </p:txBody>
      </p:sp>
      <p:sp>
        <p:nvSpPr>
          <p:cNvPr id="192" name="TextBox 191">
            <a:extLst>
              <a:ext uri="{FF2B5EF4-FFF2-40B4-BE49-F238E27FC236}">
                <a16:creationId xmlns:a16="http://schemas.microsoft.com/office/drawing/2014/main" id="{25DB579C-C9F6-4936-A3EC-0CE60D728BC6}"/>
              </a:ext>
            </a:extLst>
          </p:cNvPr>
          <p:cNvSpPr txBox="1"/>
          <p:nvPr/>
        </p:nvSpPr>
        <p:spPr>
          <a:xfrm>
            <a:off x="2274099" y="4320466"/>
            <a:ext cx="668815" cy="2121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Laptops</a:t>
            </a:r>
          </a:p>
        </p:txBody>
      </p:sp>
      <p:sp>
        <p:nvSpPr>
          <p:cNvPr id="193" name="TextBox 192">
            <a:extLst>
              <a:ext uri="{FF2B5EF4-FFF2-40B4-BE49-F238E27FC236}">
                <a16:creationId xmlns:a16="http://schemas.microsoft.com/office/drawing/2014/main" id="{F59FDEF7-06EE-4077-B0ED-40DE2461A81B}"/>
              </a:ext>
            </a:extLst>
          </p:cNvPr>
          <p:cNvSpPr txBox="1"/>
          <p:nvPr/>
        </p:nvSpPr>
        <p:spPr>
          <a:xfrm>
            <a:off x="2992372" y="4395344"/>
            <a:ext cx="450977" cy="2961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PPT</a:t>
            </a:r>
          </a:p>
        </p:txBody>
      </p:sp>
      <p:sp>
        <p:nvSpPr>
          <p:cNvPr id="195" name="TextBox 194">
            <a:extLst>
              <a:ext uri="{FF2B5EF4-FFF2-40B4-BE49-F238E27FC236}">
                <a16:creationId xmlns:a16="http://schemas.microsoft.com/office/drawing/2014/main" id="{796C6AC3-119A-49BD-AF76-3FD859E62CF6}"/>
              </a:ext>
            </a:extLst>
          </p:cNvPr>
          <p:cNvSpPr txBox="1"/>
          <p:nvPr/>
        </p:nvSpPr>
        <p:spPr>
          <a:xfrm>
            <a:off x="5739866" y="3518456"/>
            <a:ext cx="673186" cy="2594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Word</a:t>
            </a:r>
          </a:p>
        </p:txBody>
      </p:sp>
      <p:sp>
        <p:nvSpPr>
          <p:cNvPr id="196" name="TextBox 195">
            <a:extLst>
              <a:ext uri="{FF2B5EF4-FFF2-40B4-BE49-F238E27FC236}">
                <a16:creationId xmlns:a16="http://schemas.microsoft.com/office/drawing/2014/main" id="{7EF0E5F0-C155-42B0-A5FA-F1FA872DB50F}"/>
              </a:ext>
            </a:extLst>
          </p:cNvPr>
          <p:cNvSpPr txBox="1"/>
          <p:nvPr/>
        </p:nvSpPr>
        <p:spPr>
          <a:xfrm>
            <a:off x="10205164" y="1956377"/>
            <a:ext cx="709450" cy="3045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Zoom</a:t>
            </a:r>
          </a:p>
        </p:txBody>
      </p:sp>
      <p:grpSp>
        <p:nvGrpSpPr>
          <p:cNvPr id="198" name="Group 197">
            <a:extLst>
              <a:ext uri="{FF2B5EF4-FFF2-40B4-BE49-F238E27FC236}">
                <a16:creationId xmlns:a16="http://schemas.microsoft.com/office/drawing/2014/main" id="{6A3EC3D4-E621-47EE-A840-1163F09FF18F}"/>
              </a:ext>
            </a:extLst>
          </p:cNvPr>
          <p:cNvGrpSpPr/>
          <p:nvPr/>
        </p:nvGrpSpPr>
        <p:grpSpPr>
          <a:xfrm>
            <a:off x="5316828" y="3524342"/>
            <a:ext cx="351158" cy="217580"/>
            <a:chOff x="6233417" y="3715315"/>
            <a:chExt cx="351158" cy="217580"/>
          </a:xfrm>
        </p:grpSpPr>
        <p:sp>
          <p:nvSpPr>
            <p:cNvPr id="199" name="Oval 198">
              <a:extLst>
                <a:ext uri="{FF2B5EF4-FFF2-40B4-BE49-F238E27FC236}">
                  <a16:creationId xmlns:a16="http://schemas.microsoft.com/office/drawing/2014/main" id="{15151485-B2B4-47E7-A7E5-54141395E2C3}"/>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0" name="Rectangle 199">
              <a:extLst>
                <a:ext uri="{FF2B5EF4-FFF2-40B4-BE49-F238E27FC236}">
                  <a16:creationId xmlns:a16="http://schemas.microsoft.com/office/drawing/2014/main" id="{B1693EC3-DB45-4E5B-9379-E4F0F892E602}"/>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5</a:t>
              </a:r>
            </a:p>
          </p:txBody>
        </p:sp>
      </p:grpSp>
      <p:sp>
        <p:nvSpPr>
          <p:cNvPr id="201" name="TextBox 200">
            <a:extLst>
              <a:ext uri="{FF2B5EF4-FFF2-40B4-BE49-F238E27FC236}">
                <a16:creationId xmlns:a16="http://schemas.microsoft.com/office/drawing/2014/main" id="{7C229D03-5659-4222-AB5B-DF2635BF43A1}"/>
              </a:ext>
            </a:extLst>
          </p:cNvPr>
          <p:cNvSpPr txBox="1"/>
          <p:nvPr/>
        </p:nvSpPr>
        <p:spPr>
          <a:xfrm>
            <a:off x="5097544" y="3321612"/>
            <a:ext cx="705376" cy="29941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OneDrive</a:t>
            </a:r>
          </a:p>
        </p:txBody>
      </p:sp>
    </p:spTree>
    <p:extLst>
      <p:ext uri="{BB962C8B-B14F-4D97-AF65-F5344CB8AC3E}">
        <p14:creationId xmlns:p14="http://schemas.microsoft.com/office/powerpoint/2010/main" val="2800882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2"/>
            </p:custDataLst>
            <p:extLst>
              <p:ext uri="{D42A27DB-BD31-4B8C-83A1-F6EECF244321}">
                <p14:modId xmlns:p14="http://schemas.microsoft.com/office/powerpoint/2010/main" val="3440315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803" name="think-cell Slide" r:id="rId6" imgW="360" imgH="360" progId="TCLayout.ActiveDocument.1">
                  <p:embed/>
                </p:oleObj>
              </mc:Choice>
              <mc:Fallback>
                <p:oleObj name="think-cell Slide" r:id="rId6" imgW="360" imgH="360" progId="TCLayout.ActiveDocument.1">
                  <p:embed/>
                  <p:pic>
                    <p:nvPicPr>
                      <p:cNvPr id="57" name="Object 56" hidden="1"/>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74" name="Straight Connector 73">
            <a:extLst>
              <a:ext uri="{FF2B5EF4-FFF2-40B4-BE49-F238E27FC236}">
                <a16:creationId xmlns:a16="http://schemas.microsoft.com/office/drawing/2014/main" id="{5388F287-A6D2-41FC-B380-724CE08C67D0}"/>
              </a:ext>
            </a:extLst>
          </p:cNvPr>
          <p:cNvCxnSpPr>
            <a:cxnSpLocks/>
          </p:cNvCxnSpPr>
          <p:nvPr/>
        </p:nvCxnSpPr>
        <p:spPr>
          <a:xfrm>
            <a:off x="1135872" y="3685948"/>
            <a:ext cx="9701117"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Rectangle 54"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7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5" name="Rectangle 94">
            <a:extLst>
              <a:ext uri="{FF2B5EF4-FFF2-40B4-BE49-F238E27FC236}">
                <a16:creationId xmlns:a16="http://schemas.microsoft.com/office/drawing/2014/main" id="{2ADD368D-EBA9-49CE-8845-DD4915921681}"/>
              </a:ext>
            </a:extLst>
          </p:cNvPr>
          <p:cNvSpPr/>
          <p:nvPr/>
        </p:nvSpPr>
        <p:spPr>
          <a:xfrm>
            <a:off x="9008" y="2605949"/>
            <a:ext cx="1068128"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80 – 89%</a:t>
            </a:r>
          </a:p>
        </p:txBody>
      </p:sp>
      <p:sp>
        <p:nvSpPr>
          <p:cNvPr id="96" name="Rectangle 95">
            <a:extLst>
              <a:ext uri="{FF2B5EF4-FFF2-40B4-BE49-F238E27FC236}">
                <a16:creationId xmlns:a16="http://schemas.microsoft.com/office/drawing/2014/main" id="{3EC436FB-815A-4371-97A0-A3925D9A1B7E}"/>
              </a:ext>
            </a:extLst>
          </p:cNvPr>
          <p:cNvSpPr/>
          <p:nvPr/>
        </p:nvSpPr>
        <p:spPr>
          <a:xfrm>
            <a:off x="9008" y="335843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70 - 79% </a:t>
            </a:r>
          </a:p>
        </p:txBody>
      </p:sp>
      <p:sp>
        <p:nvSpPr>
          <p:cNvPr id="97" name="Rectangle 96">
            <a:extLst>
              <a:ext uri="{FF2B5EF4-FFF2-40B4-BE49-F238E27FC236}">
                <a16:creationId xmlns:a16="http://schemas.microsoft.com/office/drawing/2014/main" id="{3927BA1C-50B5-4E2F-B3BE-712FBA85C972}"/>
              </a:ext>
            </a:extLst>
          </p:cNvPr>
          <p:cNvSpPr/>
          <p:nvPr/>
        </p:nvSpPr>
        <p:spPr>
          <a:xfrm>
            <a:off x="126510" y="1345615"/>
            <a:ext cx="970723"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E-SAT % </a:t>
            </a:r>
            <a:endParaRPr lang="en-US" baseline="30000" dirty="0">
              <a:solidFill>
                <a:srgbClr val="575757"/>
              </a:solidFill>
            </a:endParaRPr>
          </a:p>
        </p:txBody>
      </p:sp>
      <p:sp>
        <p:nvSpPr>
          <p:cNvPr id="100" name="Rectangle 99">
            <a:extLst>
              <a:ext uri="{FF2B5EF4-FFF2-40B4-BE49-F238E27FC236}">
                <a16:creationId xmlns:a16="http://schemas.microsoft.com/office/drawing/2014/main" id="{01B257D9-DFA0-45CA-93FD-E45EB88F8BA5}"/>
              </a:ext>
            </a:extLst>
          </p:cNvPr>
          <p:cNvSpPr/>
          <p:nvPr/>
        </p:nvSpPr>
        <p:spPr>
          <a:xfrm>
            <a:off x="9008" y="412390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60 - 69% </a:t>
            </a:r>
          </a:p>
        </p:txBody>
      </p:sp>
      <p:sp>
        <p:nvSpPr>
          <p:cNvPr id="106" name="Rectangle 105">
            <a:extLst>
              <a:ext uri="{FF2B5EF4-FFF2-40B4-BE49-F238E27FC236}">
                <a16:creationId xmlns:a16="http://schemas.microsoft.com/office/drawing/2014/main" id="{CBBF116E-9066-47CD-BBA9-04B0E32B7D8A}"/>
              </a:ext>
            </a:extLst>
          </p:cNvPr>
          <p:cNvSpPr/>
          <p:nvPr/>
        </p:nvSpPr>
        <p:spPr>
          <a:xfrm>
            <a:off x="9005" y="4864134"/>
            <a:ext cx="1068114"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50 - 59% </a:t>
            </a:r>
          </a:p>
        </p:txBody>
      </p:sp>
      <p:sp>
        <p:nvSpPr>
          <p:cNvPr id="107" name="Rectangle 106">
            <a:extLst>
              <a:ext uri="{FF2B5EF4-FFF2-40B4-BE49-F238E27FC236}">
                <a16:creationId xmlns:a16="http://schemas.microsoft.com/office/drawing/2014/main" id="{5AA75AC5-BA8E-49E7-A897-21298FDCAEC6}"/>
              </a:ext>
            </a:extLst>
          </p:cNvPr>
          <p:cNvSpPr/>
          <p:nvPr/>
        </p:nvSpPr>
        <p:spPr>
          <a:xfrm>
            <a:off x="10800" y="5604363"/>
            <a:ext cx="1074717"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0 - 49% </a:t>
            </a:r>
          </a:p>
        </p:txBody>
      </p:sp>
      <p:sp>
        <p:nvSpPr>
          <p:cNvPr id="113" name="Rectangle 112">
            <a:extLst>
              <a:ext uri="{FF2B5EF4-FFF2-40B4-BE49-F238E27FC236}">
                <a16:creationId xmlns:a16="http://schemas.microsoft.com/office/drawing/2014/main" id="{45D4C4B4-9B41-42A2-93D2-622F13826CB9}"/>
              </a:ext>
            </a:extLst>
          </p:cNvPr>
          <p:cNvSpPr/>
          <p:nvPr/>
        </p:nvSpPr>
        <p:spPr>
          <a:xfrm>
            <a:off x="11668" y="1877979"/>
            <a:ext cx="1077912"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90 – 100%</a:t>
            </a:r>
          </a:p>
        </p:txBody>
      </p:sp>
      <p:cxnSp>
        <p:nvCxnSpPr>
          <p:cNvPr id="114" name="Straight Connector 113">
            <a:extLst>
              <a:ext uri="{FF2B5EF4-FFF2-40B4-BE49-F238E27FC236}">
                <a16:creationId xmlns:a16="http://schemas.microsoft.com/office/drawing/2014/main" id="{40669308-06C9-46A0-A01D-A95B2B79823D}"/>
              </a:ext>
            </a:extLst>
          </p:cNvPr>
          <p:cNvCxnSpPr>
            <a:cxnSpLocks/>
          </p:cNvCxnSpPr>
          <p:nvPr/>
        </p:nvCxnSpPr>
        <p:spPr>
          <a:xfrm flipV="1">
            <a:off x="196056" y="2559306"/>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6DAF221-986E-4CA9-88BA-DE6BD5750346}"/>
              </a:ext>
            </a:extLst>
          </p:cNvPr>
          <p:cNvCxnSpPr>
            <a:cxnSpLocks/>
          </p:cNvCxnSpPr>
          <p:nvPr/>
        </p:nvCxnSpPr>
        <p:spPr>
          <a:xfrm flipV="1">
            <a:off x="125024" y="6291364"/>
            <a:ext cx="11786560" cy="8796"/>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DE3E7EA-ED7E-4D2A-B7FE-83576C419996}"/>
              </a:ext>
            </a:extLst>
          </p:cNvPr>
          <p:cNvCxnSpPr>
            <a:cxnSpLocks/>
          </p:cNvCxnSpPr>
          <p:nvPr/>
        </p:nvCxnSpPr>
        <p:spPr>
          <a:xfrm flipV="1">
            <a:off x="140679" y="3294353"/>
            <a:ext cx="11890855" cy="11730"/>
          </a:xfrm>
          <a:prstGeom prst="line">
            <a:avLst/>
          </a:prstGeom>
          <a:ln w="19050" cap="rnd" cmpd="sng" algn="ctr">
            <a:solidFill>
              <a:srgbClr val="E71C57"/>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9F7B09C-61E2-4985-A7F1-4C2A3C62251B}"/>
              </a:ext>
            </a:extLst>
          </p:cNvPr>
          <p:cNvCxnSpPr>
            <a:cxnSpLocks/>
          </p:cNvCxnSpPr>
          <p:nvPr/>
        </p:nvCxnSpPr>
        <p:spPr>
          <a:xfrm flipV="1">
            <a:off x="125024" y="4772569"/>
            <a:ext cx="11890689" cy="2940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0B67AAF-BB9A-45D8-A052-4E43666BB465}"/>
              </a:ext>
            </a:extLst>
          </p:cNvPr>
          <p:cNvCxnSpPr>
            <a:cxnSpLocks/>
          </p:cNvCxnSpPr>
          <p:nvPr/>
        </p:nvCxnSpPr>
        <p:spPr>
          <a:xfrm flipV="1">
            <a:off x="153090" y="5518134"/>
            <a:ext cx="11862623" cy="555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957754F-5D56-4D35-B3DF-28CB5C6EE5EE}"/>
              </a:ext>
            </a:extLst>
          </p:cNvPr>
          <p:cNvCxnSpPr>
            <a:cxnSpLocks/>
          </p:cNvCxnSpPr>
          <p:nvPr/>
        </p:nvCxnSpPr>
        <p:spPr>
          <a:xfrm>
            <a:off x="154849" y="1787023"/>
            <a:ext cx="11860864" cy="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D0BEB35-1B7A-4141-B767-A738DC18E70D}"/>
              </a:ext>
            </a:extLst>
          </p:cNvPr>
          <p:cNvCxnSpPr>
            <a:cxnSpLocks/>
            <a:stCxn id="113" idx="3"/>
            <a:endCxn id="153" idx="1"/>
          </p:cNvCxnSpPr>
          <p:nvPr/>
        </p:nvCxnSpPr>
        <p:spPr>
          <a:xfrm flipV="1">
            <a:off x="1089580" y="2181224"/>
            <a:ext cx="9688653"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BAC3207-6D28-4418-B31C-3853CE51FBB3}"/>
              </a:ext>
            </a:extLst>
          </p:cNvPr>
          <p:cNvCxnSpPr>
            <a:cxnSpLocks/>
          </p:cNvCxnSpPr>
          <p:nvPr/>
        </p:nvCxnSpPr>
        <p:spPr>
          <a:xfrm>
            <a:off x="1077136" y="2955515"/>
            <a:ext cx="9701117"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7C258E8-A36E-4E93-94AB-F1CBEF561CFF}"/>
              </a:ext>
            </a:extLst>
          </p:cNvPr>
          <p:cNvCxnSpPr>
            <a:cxnSpLocks/>
            <a:stCxn id="100" idx="3"/>
            <a:endCxn id="141" idx="1"/>
          </p:cNvCxnSpPr>
          <p:nvPr/>
        </p:nvCxnSpPr>
        <p:spPr>
          <a:xfrm flipV="1">
            <a:off x="1077136" y="4410873"/>
            <a:ext cx="9701116" cy="16277"/>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78C2B40-2EFF-4E7F-BF2D-F17404C7E496}"/>
              </a:ext>
            </a:extLst>
          </p:cNvPr>
          <p:cNvCxnSpPr>
            <a:cxnSpLocks/>
            <a:stCxn id="106" idx="3"/>
            <a:endCxn id="140" idx="1"/>
          </p:cNvCxnSpPr>
          <p:nvPr/>
        </p:nvCxnSpPr>
        <p:spPr>
          <a:xfrm flipV="1">
            <a:off x="1077119" y="5151101"/>
            <a:ext cx="9701133" cy="16278"/>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8CB1662-C3FA-4D1B-9EB1-F1DAE1DD06F6}"/>
              </a:ext>
            </a:extLst>
          </p:cNvPr>
          <p:cNvCxnSpPr>
            <a:cxnSpLocks/>
          </p:cNvCxnSpPr>
          <p:nvPr/>
        </p:nvCxnSpPr>
        <p:spPr>
          <a:xfrm flipV="1">
            <a:off x="125024" y="4041230"/>
            <a:ext cx="11890689" cy="17214"/>
          </a:xfrm>
          <a:prstGeom prst="line">
            <a:avLst/>
          </a:prstGeom>
          <a:ln w="19050" cap="rnd" cmpd="sng" algn="ctr">
            <a:solidFill>
              <a:srgbClr val="295E7E"/>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2B577CA9-4217-4C2A-88D1-9B1A9AFB72BE}"/>
              </a:ext>
            </a:extLst>
          </p:cNvPr>
          <p:cNvSpPr/>
          <p:nvPr/>
        </p:nvSpPr>
        <p:spPr>
          <a:xfrm>
            <a:off x="10778252" y="4847856"/>
            <a:ext cx="1253301" cy="60649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Poor</a:t>
            </a:r>
          </a:p>
        </p:txBody>
      </p:sp>
      <p:sp>
        <p:nvSpPr>
          <p:cNvPr id="141" name="Rectangle 140">
            <a:extLst>
              <a:ext uri="{FF2B5EF4-FFF2-40B4-BE49-F238E27FC236}">
                <a16:creationId xmlns:a16="http://schemas.microsoft.com/office/drawing/2014/main" id="{7E6465F6-C22D-4922-9FCC-D377C39BB80F}"/>
              </a:ext>
            </a:extLst>
          </p:cNvPr>
          <p:cNvSpPr/>
          <p:nvPr/>
        </p:nvSpPr>
        <p:spPr>
          <a:xfrm>
            <a:off x="10778252" y="4107628"/>
            <a:ext cx="1253301" cy="606490"/>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Average</a:t>
            </a:r>
          </a:p>
        </p:txBody>
      </p:sp>
      <p:sp>
        <p:nvSpPr>
          <p:cNvPr id="147" name="Rectangle 146">
            <a:extLst>
              <a:ext uri="{FF2B5EF4-FFF2-40B4-BE49-F238E27FC236}">
                <a16:creationId xmlns:a16="http://schemas.microsoft.com/office/drawing/2014/main" id="{2EE8F67F-CC55-4753-9628-96C398FD9DE1}"/>
              </a:ext>
            </a:extLst>
          </p:cNvPr>
          <p:cNvSpPr/>
          <p:nvPr/>
        </p:nvSpPr>
        <p:spPr>
          <a:xfrm>
            <a:off x="10778252" y="3358435"/>
            <a:ext cx="1253301" cy="60649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Good</a:t>
            </a:r>
          </a:p>
        </p:txBody>
      </p:sp>
      <p:sp>
        <p:nvSpPr>
          <p:cNvPr id="148" name="Rectangle 147">
            <a:extLst>
              <a:ext uri="{FF2B5EF4-FFF2-40B4-BE49-F238E27FC236}">
                <a16:creationId xmlns:a16="http://schemas.microsoft.com/office/drawing/2014/main" id="{ECC2CE30-2F6C-4C32-B184-138332A3EF3B}"/>
              </a:ext>
            </a:extLst>
          </p:cNvPr>
          <p:cNvSpPr/>
          <p:nvPr/>
        </p:nvSpPr>
        <p:spPr>
          <a:xfrm>
            <a:off x="10778253" y="2618207"/>
            <a:ext cx="1253301" cy="606490"/>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Very Good</a:t>
            </a:r>
          </a:p>
        </p:txBody>
      </p:sp>
      <p:sp>
        <p:nvSpPr>
          <p:cNvPr id="152" name="Rectangle 151">
            <a:extLst>
              <a:ext uri="{FF2B5EF4-FFF2-40B4-BE49-F238E27FC236}">
                <a16:creationId xmlns:a16="http://schemas.microsoft.com/office/drawing/2014/main" id="{4F247DAD-DED4-42A0-8C39-E5824C9F7C29}"/>
              </a:ext>
            </a:extLst>
          </p:cNvPr>
          <p:cNvSpPr/>
          <p:nvPr/>
        </p:nvSpPr>
        <p:spPr>
          <a:xfrm>
            <a:off x="10738981" y="1273675"/>
            <a:ext cx="1276732"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rade</a:t>
            </a:r>
          </a:p>
        </p:txBody>
      </p:sp>
      <p:sp>
        <p:nvSpPr>
          <p:cNvPr id="153" name="Rectangle 152">
            <a:extLst>
              <a:ext uri="{FF2B5EF4-FFF2-40B4-BE49-F238E27FC236}">
                <a16:creationId xmlns:a16="http://schemas.microsoft.com/office/drawing/2014/main" id="{78A4DEE8-910C-4A69-B2AE-7F629CC73DC0}"/>
              </a:ext>
            </a:extLst>
          </p:cNvPr>
          <p:cNvSpPr/>
          <p:nvPr/>
        </p:nvSpPr>
        <p:spPr>
          <a:xfrm>
            <a:off x="10778233" y="1877979"/>
            <a:ext cx="1253301" cy="606490"/>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Excellent</a:t>
            </a:r>
          </a:p>
        </p:txBody>
      </p:sp>
      <p:sp>
        <p:nvSpPr>
          <p:cNvPr id="154" name="Rectangle 153">
            <a:extLst>
              <a:ext uri="{FF2B5EF4-FFF2-40B4-BE49-F238E27FC236}">
                <a16:creationId xmlns:a16="http://schemas.microsoft.com/office/drawing/2014/main" id="{EF5681E0-ED3C-454D-BF2C-0FE48F94FCB2}"/>
              </a:ext>
            </a:extLst>
          </p:cNvPr>
          <p:cNvSpPr/>
          <p:nvPr/>
        </p:nvSpPr>
        <p:spPr>
          <a:xfrm>
            <a:off x="10778252" y="5588084"/>
            <a:ext cx="1253301" cy="606490"/>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50" dirty="0">
                <a:solidFill>
                  <a:srgbClr val="FFFFFF"/>
                </a:solidFill>
              </a:rPr>
              <a:t>Unacceptable</a:t>
            </a:r>
          </a:p>
        </p:txBody>
      </p:sp>
      <p:sp>
        <p:nvSpPr>
          <p:cNvPr id="99" name="Title 8"/>
          <p:cNvSpPr>
            <a:spLocks noGrp="1"/>
          </p:cNvSpPr>
          <p:nvPr>
            <p:ph type="title"/>
          </p:nvPr>
        </p:nvSpPr>
        <p:spPr>
          <a:xfrm>
            <a:off x="594950" y="506478"/>
            <a:ext cx="11029431" cy="373949"/>
          </a:xfrm>
        </p:spPr>
        <p:txBody>
          <a:bodyPr vert="horz"/>
          <a:lstStyle/>
          <a:p>
            <a:r>
              <a:rPr lang="en-GB" sz="2700" dirty="0">
                <a:solidFill>
                  <a:srgbClr val="295E7E"/>
                </a:solidFill>
              </a:rPr>
              <a:t>E-SAT – </a:t>
            </a:r>
            <a:r>
              <a:rPr lang="en-GB" sz="2700" dirty="0">
                <a:solidFill>
                  <a:srgbClr val="30C1D7"/>
                </a:solidFill>
              </a:rPr>
              <a:t>Q4 2021 </a:t>
            </a:r>
            <a:r>
              <a:rPr lang="en-GB" sz="2700" dirty="0">
                <a:solidFill>
                  <a:srgbClr val="295E7E"/>
                </a:solidFill>
              </a:rPr>
              <a:t>- for </a:t>
            </a:r>
            <a:r>
              <a:rPr lang="en-GB" sz="2700" dirty="0">
                <a:solidFill>
                  <a:srgbClr val="30C1D7"/>
                </a:solidFill>
              </a:rPr>
              <a:t>Business Supporting </a:t>
            </a:r>
            <a:r>
              <a:rPr lang="en-GB" sz="2700" dirty="0">
                <a:solidFill>
                  <a:srgbClr val="295E7E"/>
                </a:solidFill>
              </a:rPr>
              <a:t>Products or Services</a:t>
            </a:r>
          </a:p>
        </p:txBody>
      </p:sp>
      <p:cxnSp>
        <p:nvCxnSpPr>
          <p:cNvPr id="37" name="Straight Connector 36"/>
          <p:cNvCxnSpPr/>
          <p:nvPr/>
        </p:nvCxnSpPr>
        <p:spPr>
          <a:xfrm>
            <a:off x="1402880" y="5921735"/>
            <a:ext cx="8886731" cy="0"/>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CAB69FCD-2FF5-4E9A-A677-305D940285AA}"/>
              </a:ext>
            </a:extLst>
          </p:cNvPr>
          <p:cNvSpPr txBox="1"/>
          <p:nvPr/>
        </p:nvSpPr>
        <p:spPr>
          <a:xfrm>
            <a:off x="6129345" y="4421814"/>
            <a:ext cx="887846" cy="310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Inside BCG</a:t>
            </a:r>
          </a:p>
          <a:p>
            <a:pPr algn="ctr"/>
            <a:r>
              <a:rPr lang="en-US" sz="1000" dirty="0">
                <a:solidFill>
                  <a:srgbClr val="575757"/>
                </a:solidFill>
              </a:rPr>
              <a:t>LAB</a:t>
            </a:r>
          </a:p>
        </p:txBody>
      </p:sp>
      <p:sp>
        <p:nvSpPr>
          <p:cNvPr id="117" name="TextBox 116">
            <a:extLst>
              <a:ext uri="{FF2B5EF4-FFF2-40B4-BE49-F238E27FC236}">
                <a16:creationId xmlns:a16="http://schemas.microsoft.com/office/drawing/2014/main" id="{9AEC9200-0E5F-4725-880F-110552DA97CC}"/>
              </a:ext>
            </a:extLst>
          </p:cNvPr>
          <p:cNvSpPr txBox="1"/>
          <p:nvPr/>
        </p:nvSpPr>
        <p:spPr>
          <a:xfrm>
            <a:off x="8419259" y="2822166"/>
            <a:ext cx="801457" cy="2666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IT Connect</a:t>
            </a:r>
          </a:p>
        </p:txBody>
      </p:sp>
      <p:grpSp>
        <p:nvGrpSpPr>
          <p:cNvPr id="108" name="Group 107">
            <a:extLst>
              <a:ext uri="{FF2B5EF4-FFF2-40B4-BE49-F238E27FC236}">
                <a16:creationId xmlns:a16="http://schemas.microsoft.com/office/drawing/2014/main" id="{C499364E-F2C6-43B0-BBA5-25127439DC45}"/>
              </a:ext>
            </a:extLst>
          </p:cNvPr>
          <p:cNvGrpSpPr/>
          <p:nvPr/>
        </p:nvGrpSpPr>
        <p:grpSpPr>
          <a:xfrm>
            <a:off x="6356602" y="4164243"/>
            <a:ext cx="351158" cy="217580"/>
            <a:chOff x="5163505" y="4447018"/>
            <a:chExt cx="351158" cy="217580"/>
          </a:xfrm>
        </p:grpSpPr>
        <p:sp>
          <p:nvSpPr>
            <p:cNvPr id="109" name="Oval 108">
              <a:extLst>
                <a:ext uri="{FF2B5EF4-FFF2-40B4-BE49-F238E27FC236}">
                  <a16:creationId xmlns:a16="http://schemas.microsoft.com/office/drawing/2014/main" id="{F63E49D0-5D86-406D-8213-05E03DB77A8D}"/>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8" name="Rectangle 117">
              <a:extLst>
                <a:ext uri="{FF2B5EF4-FFF2-40B4-BE49-F238E27FC236}">
                  <a16:creationId xmlns:a16="http://schemas.microsoft.com/office/drawing/2014/main" id="{22D8C390-D194-4975-9FF8-0DFDF62F9926}"/>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7</a:t>
              </a:r>
            </a:p>
          </p:txBody>
        </p:sp>
      </p:grpSp>
      <p:grpSp>
        <p:nvGrpSpPr>
          <p:cNvPr id="127" name="Group 126">
            <a:extLst>
              <a:ext uri="{FF2B5EF4-FFF2-40B4-BE49-F238E27FC236}">
                <a16:creationId xmlns:a16="http://schemas.microsoft.com/office/drawing/2014/main" id="{B07F6FA2-650E-4E51-80A6-1C420FC1DFA0}"/>
              </a:ext>
            </a:extLst>
          </p:cNvPr>
          <p:cNvGrpSpPr/>
          <p:nvPr/>
        </p:nvGrpSpPr>
        <p:grpSpPr>
          <a:xfrm>
            <a:off x="2820860" y="4577850"/>
            <a:ext cx="351158" cy="217580"/>
            <a:chOff x="5163505" y="4447018"/>
            <a:chExt cx="351158" cy="217580"/>
          </a:xfrm>
        </p:grpSpPr>
        <p:sp>
          <p:nvSpPr>
            <p:cNvPr id="128" name="Oval 127">
              <a:extLst>
                <a:ext uri="{FF2B5EF4-FFF2-40B4-BE49-F238E27FC236}">
                  <a16:creationId xmlns:a16="http://schemas.microsoft.com/office/drawing/2014/main" id="{54375403-0531-4182-B9AF-63717D4C7DC6}"/>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9" name="Rectangle 128">
              <a:extLst>
                <a:ext uri="{FF2B5EF4-FFF2-40B4-BE49-F238E27FC236}">
                  <a16:creationId xmlns:a16="http://schemas.microsoft.com/office/drawing/2014/main" id="{F4DD5A62-485C-4F1F-BEBF-7953C0568DFD}"/>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1</a:t>
              </a:r>
            </a:p>
          </p:txBody>
        </p:sp>
      </p:grpSp>
      <p:sp>
        <p:nvSpPr>
          <p:cNvPr id="131" name="TextBox 130">
            <a:extLst>
              <a:ext uri="{FF2B5EF4-FFF2-40B4-BE49-F238E27FC236}">
                <a16:creationId xmlns:a16="http://schemas.microsoft.com/office/drawing/2014/main" id="{E924F4CD-C32A-4839-85EE-CFF668C346E9}"/>
              </a:ext>
            </a:extLst>
          </p:cNvPr>
          <p:cNvSpPr txBox="1"/>
          <p:nvPr/>
        </p:nvSpPr>
        <p:spPr>
          <a:xfrm>
            <a:off x="1696534" y="4726621"/>
            <a:ext cx="590370" cy="2989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Search</a:t>
            </a:r>
          </a:p>
        </p:txBody>
      </p:sp>
      <p:sp>
        <p:nvSpPr>
          <p:cNvPr id="136" name="TextBox 135">
            <a:extLst>
              <a:ext uri="{FF2B5EF4-FFF2-40B4-BE49-F238E27FC236}">
                <a16:creationId xmlns:a16="http://schemas.microsoft.com/office/drawing/2014/main" id="{7879BE62-46B0-4188-A9A7-20DDCCCC48AB}"/>
              </a:ext>
            </a:extLst>
          </p:cNvPr>
          <p:cNvSpPr txBox="1"/>
          <p:nvPr/>
        </p:nvSpPr>
        <p:spPr>
          <a:xfrm>
            <a:off x="9759675" y="2762084"/>
            <a:ext cx="801457" cy="282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Browsers</a:t>
            </a:r>
          </a:p>
        </p:txBody>
      </p:sp>
      <p:grpSp>
        <p:nvGrpSpPr>
          <p:cNvPr id="88" name="Group 87">
            <a:extLst>
              <a:ext uri="{FF2B5EF4-FFF2-40B4-BE49-F238E27FC236}">
                <a16:creationId xmlns:a16="http://schemas.microsoft.com/office/drawing/2014/main" id="{4805D395-6BE0-4482-BE42-198D321263FD}"/>
              </a:ext>
            </a:extLst>
          </p:cNvPr>
          <p:cNvGrpSpPr/>
          <p:nvPr/>
        </p:nvGrpSpPr>
        <p:grpSpPr>
          <a:xfrm>
            <a:off x="8620484" y="3044500"/>
            <a:ext cx="351158" cy="217580"/>
            <a:chOff x="9178110" y="2938778"/>
            <a:chExt cx="351158" cy="217580"/>
          </a:xfrm>
        </p:grpSpPr>
        <p:sp>
          <p:nvSpPr>
            <p:cNvPr id="89" name="Oval 88">
              <a:extLst>
                <a:ext uri="{FF2B5EF4-FFF2-40B4-BE49-F238E27FC236}">
                  <a16:creationId xmlns:a16="http://schemas.microsoft.com/office/drawing/2014/main" id="{EC1C77CB-52CA-42A4-B56A-E58787B57EAD}"/>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0" name="Rectangle 89">
              <a:extLst>
                <a:ext uri="{FF2B5EF4-FFF2-40B4-BE49-F238E27FC236}">
                  <a16:creationId xmlns:a16="http://schemas.microsoft.com/office/drawing/2014/main" id="{310A5CA3-3120-401C-9AFE-191AA26E6A7B}"/>
                </a:ext>
              </a:extLst>
            </p:cNvPr>
            <p:cNvSpPr/>
            <p:nvPr/>
          </p:nvSpPr>
          <p:spPr>
            <a:xfrm>
              <a:off x="9178110" y="293877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2</a:t>
              </a:r>
            </a:p>
          </p:txBody>
        </p:sp>
      </p:grpSp>
      <p:sp>
        <p:nvSpPr>
          <p:cNvPr id="91" name="TextBox 90">
            <a:extLst>
              <a:ext uri="{FF2B5EF4-FFF2-40B4-BE49-F238E27FC236}">
                <a16:creationId xmlns:a16="http://schemas.microsoft.com/office/drawing/2014/main" id="{6B7347DA-EC9C-4A16-8C61-CEC029F5360D}"/>
              </a:ext>
            </a:extLst>
          </p:cNvPr>
          <p:cNvSpPr txBox="1"/>
          <p:nvPr/>
        </p:nvSpPr>
        <p:spPr>
          <a:xfrm>
            <a:off x="7186293" y="3595210"/>
            <a:ext cx="801457" cy="253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575757"/>
                </a:solidFill>
              </a:rPr>
              <a:t>IT Comms.</a:t>
            </a:r>
          </a:p>
        </p:txBody>
      </p:sp>
      <p:grpSp>
        <p:nvGrpSpPr>
          <p:cNvPr id="101" name="Group 100">
            <a:extLst>
              <a:ext uri="{FF2B5EF4-FFF2-40B4-BE49-F238E27FC236}">
                <a16:creationId xmlns:a16="http://schemas.microsoft.com/office/drawing/2014/main" id="{7287C170-B2D5-4B46-AD0C-C5BD64B6DC9F}"/>
              </a:ext>
            </a:extLst>
          </p:cNvPr>
          <p:cNvGrpSpPr/>
          <p:nvPr/>
        </p:nvGrpSpPr>
        <p:grpSpPr>
          <a:xfrm>
            <a:off x="7411443" y="3428113"/>
            <a:ext cx="351158" cy="217580"/>
            <a:chOff x="6233417" y="3715315"/>
            <a:chExt cx="351158" cy="217580"/>
          </a:xfrm>
        </p:grpSpPr>
        <p:sp>
          <p:nvSpPr>
            <p:cNvPr id="102" name="Oval 101">
              <a:extLst>
                <a:ext uri="{FF2B5EF4-FFF2-40B4-BE49-F238E27FC236}">
                  <a16:creationId xmlns:a16="http://schemas.microsoft.com/office/drawing/2014/main" id="{07813751-A3C9-457C-A300-2CE07DE3CA60}"/>
                </a:ext>
              </a:extLst>
            </p:cNvPr>
            <p:cNvSpPr/>
            <p:nvPr/>
          </p:nvSpPr>
          <p:spPr>
            <a:xfrm>
              <a:off x="6298265" y="3728680"/>
              <a:ext cx="228600" cy="201168"/>
            </a:xfrm>
            <a:prstGeom prst="ellipse">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3" name="Rectangle 102">
              <a:extLst>
                <a:ext uri="{FF2B5EF4-FFF2-40B4-BE49-F238E27FC236}">
                  <a16:creationId xmlns:a16="http://schemas.microsoft.com/office/drawing/2014/main" id="{E4EA9549-BF5E-4534-B055-E412BCA276B1}"/>
                </a:ext>
              </a:extLst>
            </p:cNvPr>
            <p:cNvSpPr/>
            <p:nvPr/>
          </p:nvSpPr>
          <p:spPr>
            <a:xfrm>
              <a:off x="6233417" y="3715315"/>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7</a:t>
              </a:r>
            </a:p>
          </p:txBody>
        </p:sp>
      </p:grpSp>
      <p:sp>
        <p:nvSpPr>
          <p:cNvPr id="142" name="Rectangle 141">
            <a:extLst>
              <a:ext uri="{FF2B5EF4-FFF2-40B4-BE49-F238E27FC236}">
                <a16:creationId xmlns:a16="http://schemas.microsoft.com/office/drawing/2014/main" id="{0382A44D-D48F-4F5B-B0E4-8BC943B923D9}"/>
              </a:ext>
            </a:extLst>
          </p:cNvPr>
          <p:cNvSpPr/>
          <p:nvPr/>
        </p:nvSpPr>
        <p:spPr>
          <a:xfrm>
            <a:off x="0" y="6637972"/>
            <a:ext cx="4009292" cy="220028"/>
          </a:xfrm>
          <a:prstGeom prst="rect">
            <a:avLst/>
          </a:prstGeom>
          <a:noFill/>
          <a:ln w="19050" cap="rnd"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295E7E"/>
                </a:solidFill>
              </a:rPr>
              <a:t>Business Supporting Best-in-Class E-SAT is 70%</a:t>
            </a:r>
          </a:p>
        </p:txBody>
      </p:sp>
      <p:sp>
        <p:nvSpPr>
          <p:cNvPr id="165" name="Rectangle 164">
            <a:extLst>
              <a:ext uri="{FF2B5EF4-FFF2-40B4-BE49-F238E27FC236}">
                <a16:creationId xmlns:a16="http://schemas.microsoft.com/office/drawing/2014/main" id="{9804EA76-7D9A-424F-82FF-0D81FDCE210D}"/>
              </a:ext>
            </a:extLst>
          </p:cNvPr>
          <p:cNvSpPr/>
          <p:nvPr/>
        </p:nvSpPr>
        <p:spPr>
          <a:xfrm>
            <a:off x="1013956" y="951344"/>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Q4 Respondents = 1,327</a:t>
            </a:r>
          </a:p>
        </p:txBody>
      </p:sp>
      <p:cxnSp>
        <p:nvCxnSpPr>
          <p:cNvPr id="156" name="Straight Connector 155">
            <a:extLst>
              <a:ext uri="{FF2B5EF4-FFF2-40B4-BE49-F238E27FC236}">
                <a16:creationId xmlns:a16="http://schemas.microsoft.com/office/drawing/2014/main" id="{533DD493-8FAB-4A90-A1C7-0DA5F26E24C1}"/>
              </a:ext>
            </a:extLst>
          </p:cNvPr>
          <p:cNvCxnSpPr>
            <a:cxnSpLocks/>
          </p:cNvCxnSpPr>
          <p:nvPr/>
        </p:nvCxnSpPr>
        <p:spPr>
          <a:xfrm flipH="1" flipV="1">
            <a:off x="1097233" y="1804482"/>
            <a:ext cx="12442" cy="4495678"/>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28F464A1-ECEB-4A5B-87E5-C8E2983A91A4}"/>
              </a:ext>
            </a:extLst>
          </p:cNvPr>
          <p:cNvGrpSpPr/>
          <p:nvPr/>
        </p:nvGrpSpPr>
        <p:grpSpPr>
          <a:xfrm>
            <a:off x="1777098" y="4968227"/>
            <a:ext cx="351158" cy="217580"/>
            <a:chOff x="5163505" y="4447018"/>
            <a:chExt cx="351158" cy="217580"/>
          </a:xfrm>
        </p:grpSpPr>
        <p:sp>
          <p:nvSpPr>
            <p:cNvPr id="80" name="Oval 79">
              <a:extLst>
                <a:ext uri="{FF2B5EF4-FFF2-40B4-BE49-F238E27FC236}">
                  <a16:creationId xmlns:a16="http://schemas.microsoft.com/office/drawing/2014/main" id="{BF9D81CB-0C9E-4AB4-9A2D-873413E40658}"/>
                </a:ext>
              </a:extLst>
            </p:cNvPr>
            <p:cNvSpPr/>
            <p:nvPr/>
          </p:nvSpPr>
          <p:spPr>
            <a:xfrm>
              <a:off x="5231120" y="4459107"/>
              <a:ext cx="228600" cy="201168"/>
            </a:xfrm>
            <a:prstGeom prst="ellipse">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a:extLst>
                <a:ext uri="{FF2B5EF4-FFF2-40B4-BE49-F238E27FC236}">
                  <a16:creationId xmlns:a16="http://schemas.microsoft.com/office/drawing/2014/main" id="{995D7D29-D678-4B5A-93CA-BCF9E14084B2}"/>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6</a:t>
              </a:r>
            </a:p>
          </p:txBody>
        </p:sp>
      </p:grpSp>
      <p:sp>
        <p:nvSpPr>
          <p:cNvPr id="82" name="TextBox 81">
            <a:extLst>
              <a:ext uri="{FF2B5EF4-FFF2-40B4-BE49-F238E27FC236}">
                <a16:creationId xmlns:a16="http://schemas.microsoft.com/office/drawing/2014/main" id="{6C10D41F-8B2E-4ACD-8CC2-37090ED906D3}"/>
              </a:ext>
            </a:extLst>
          </p:cNvPr>
          <p:cNvSpPr txBox="1"/>
          <p:nvPr/>
        </p:nvSpPr>
        <p:spPr>
          <a:xfrm>
            <a:off x="2584429" y="4333324"/>
            <a:ext cx="875404" cy="255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err="1">
                <a:solidFill>
                  <a:srgbClr val="575757"/>
                </a:solidFill>
              </a:rPr>
              <a:t>MyCases</a:t>
            </a:r>
            <a:endParaRPr lang="en-US" sz="1000" dirty="0">
              <a:solidFill>
                <a:srgbClr val="575757"/>
              </a:solidFill>
            </a:endParaRPr>
          </a:p>
        </p:txBody>
      </p:sp>
      <p:grpSp>
        <p:nvGrpSpPr>
          <p:cNvPr id="85" name="Group 84">
            <a:extLst>
              <a:ext uri="{FF2B5EF4-FFF2-40B4-BE49-F238E27FC236}">
                <a16:creationId xmlns:a16="http://schemas.microsoft.com/office/drawing/2014/main" id="{B65FE7D8-A4D7-4C40-9152-5B3ECA1D9511}"/>
              </a:ext>
            </a:extLst>
          </p:cNvPr>
          <p:cNvGrpSpPr/>
          <p:nvPr/>
        </p:nvGrpSpPr>
        <p:grpSpPr>
          <a:xfrm>
            <a:off x="5100595" y="4306976"/>
            <a:ext cx="351158" cy="217580"/>
            <a:chOff x="5163505" y="4447018"/>
            <a:chExt cx="351158" cy="217580"/>
          </a:xfrm>
        </p:grpSpPr>
        <p:sp>
          <p:nvSpPr>
            <p:cNvPr id="86" name="Oval 85">
              <a:extLst>
                <a:ext uri="{FF2B5EF4-FFF2-40B4-BE49-F238E27FC236}">
                  <a16:creationId xmlns:a16="http://schemas.microsoft.com/office/drawing/2014/main" id="{A512E5FE-F3B6-4442-9256-9339F49BE1F3}"/>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7" name="Rectangle 86">
              <a:extLst>
                <a:ext uri="{FF2B5EF4-FFF2-40B4-BE49-F238E27FC236}">
                  <a16:creationId xmlns:a16="http://schemas.microsoft.com/office/drawing/2014/main" id="{2F2AC3DE-075B-4E90-BDA7-CD0250BDDD25}"/>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5</a:t>
              </a:r>
            </a:p>
          </p:txBody>
        </p:sp>
      </p:grpSp>
      <p:sp>
        <p:nvSpPr>
          <p:cNvPr id="92" name="TextBox 91">
            <a:extLst>
              <a:ext uri="{FF2B5EF4-FFF2-40B4-BE49-F238E27FC236}">
                <a16:creationId xmlns:a16="http://schemas.microsoft.com/office/drawing/2014/main" id="{BC3D70FD-6525-47C0-91CE-B82DD2C0B961}"/>
              </a:ext>
            </a:extLst>
          </p:cNvPr>
          <p:cNvSpPr txBox="1"/>
          <p:nvPr/>
        </p:nvSpPr>
        <p:spPr>
          <a:xfrm>
            <a:off x="4795801" y="4531047"/>
            <a:ext cx="1025667" cy="2989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Digital Learning</a:t>
            </a:r>
          </a:p>
        </p:txBody>
      </p:sp>
      <p:grpSp>
        <p:nvGrpSpPr>
          <p:cNvPr id="75" name="Group 74">
            <a:extLst>
              <a:ext uri="{FF2B5EF4-FFF2-40B4-BE49-F238E27FC236}">
                <a16:creationId xmlns:a16="http://schemas.microsoft.com/office/drawing/2014/main" id="{175AA12C-23F9-4C55-BB9F-DE7DC018D21B}"/>
              </a:ext>
            </a:extLst>
          </p:cNvPr>
          <p:cNvGrpSpPr>
            <a:grpSpLocks noChangeAspect="1"/>
          </p:cNvGrpSpPr>
          <p:nvPr/>
        </p:nvGrpSpPr>
        <p:grpSpPr>
          <a:xfrm>
            <a:off x="594950" y="880427"/>
            <a:ext cx="457200" cy="457200"/>
            <a:chOff x="5867400" y="3200400"/>
            <a:chExt cx="457200" cy="457200"/>
          </a:xfrm>
        </p:grpSpPr>
        <p:sp>
          <p:nvSpPr>
            <p:cNvPr id="83" name="AutoShape 43">
              <a:extLst>
                <a:ext uri="{FF2B5EF4-FFF2-40B4-BE49-F238E27FC236}">
                  <a16:creationId xmlns:a16="http://schemas.microsoft.com/office/drawing/2014/main" id="{96654A74-A84A-4AD7-9B19-796C3D271BF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7">
              <a:extLst>
                <a:ext uri="{FF2B5EF4-FFF2-40B4-BE49-F238E27FC236}">
                  <a16:creationId xmlns:a16="http://schemas.microsoft.com/office/drawing/2014/main" id="{FA6E087B-B01A-4A68-97E8-5E978AA2F1E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93" name="Group 92">
            <a:extLst>
              <a:ext uri="{FF2B5EF4-FFF2-40B4-BE49-F238E27FC236}">
                <a16:creationId xmlns:a16="http://schemas.microsoft.com/office/drawing/2014/main" id="{E6AAD0E5-29DB-407F-A740-5F625C1CB332}"/>
              </a:ext>
            </a:extLst>
          </p:cNvPr>
          <p:cNvGrpSpPr/>
          <p:nvPr/>
        </p:nvGrpSpPr>
        <p:grpSpPr>
          <a:xfrm>
            <a:off x="9910257" y="2998103"/>
            <a:ext cx="351158" cy="217580"/>
            <a:chOff x="9178110" y="2938778"/>
            <a:chExt cx="351158" cy="217580"/>
          </a:xfrm>
        </p:grpSpPr>
        <p:sp>
          <p:nvSpPr>
            <p:cNvPr id="94" name="Oval 93">
              <a:extLst>
                <a:ext uri="{FF2B5EF4-FFF2-40B4-BE49-F238E27FC236}">
                  <a16:creationId xmlns:a16="http://schemas.microsoft.com/office/drawing/2014/main" id="{2CBF0A89-4318-4A23-B2E3-9548E056A0D3}"/>
                </a:ext>
              </a:extLst>
            </p:cNvPr>
            <p:cNvSpPr/>
            <p:nvPr/>
          </p:nvSpPr>
          <p:spPr>
            <a:xfrm>
              <a:off x="9241475" y="2941677"/>
              <a:ext cx="228600" cy="20116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8" name="Rectangle 97">
              <a:extLst>
                <a:ext uri="{FF2B5EF4-FFF2-40B4-BE49-F238E27FC236}">
                  <a16:creationId xmlns:a16="http://schemas.microsoft.com/office/drawing/2014/main" id="{62349DBA-F60A-4A31-A943-5DF1F2C29728}"/>
                </a:ext>
              </a:extLst>
            </p:cNvPr>
            <p:cNvSpPr/>
            <p:nvPr/>
          </p:nvSpPr>
          <p:spPr>
            <a:xfrm>
              <a:off x="9178110" y="293877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3</a:t>
              </a:r>
            </a:p>
          </p:txBody>
        </p:sp>
      </p:grpSp>
      <p:grpSp>
        <p:nvGrpSpPr>
          <p:cNvPr id="66" name="Group 65">
            <a:extLst>
              <a:ext uri="{FF2B5EF4-FFF2-40B4-BE49-F238E27FC236}">
                <a16:creationId xmlns:a16="http://schemas.microsoft.com/office/drawing/2014/main" id="{2741917B-E492-4EAC-84E3-EE4424BC3028}"/>
              </a:ext>
            </a:extLst>
          </p:cNvPr>
          <p:cNvGrpSpPr/>
          <p:nvPr/>
        </p:nvGrpSpPr>
        <p:grpSpPr>
          <a:xfrm>
            <a:off x="3807013" y="4485245"/>
            <a:ext cx="351158" cy="217580"/>
            <a:chOff x="5163505" y="4447018"/>
            <a:chExt cx="351158" cy="217580"/>
          </a:xfrm>
        </p:grpSpPr>
        <p:sp>
          <p:nvSpPr>
            <p:cNvPr id="67" name="Oval 66">
              <a:extLst>
                <a:ext uri="{FF2B5EF4-FFF2-40B4-BE49-F238E27FC236}">
                  <a16:creationId xmlns:a16="http://schemas.microsoft.com/office/drawing/2014/main" id="{E97BBADB-D3EB-40A9-96D9-6AF1D5928B45}"/>
                </a:ext>
              </a:extLst>
            </p:cNvPr>
            <p:cNvSpPr/>
            <p:nvPr/>
          </p:nvSpPr>
          <p:spPr>
            <a:xfrm>
              <a:off x="5231120" y="4459107"/>
              <a:ext cx="228600" cy="201168"/>
            </a:xfrm>
            <a:prstGeom prst="ellipse">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8" name="Rectangle 67">
              <a:extLst>
                <a:ext uri="{FF2B5EF4-FFF2-40B4-BE49-F238E27FC236}">
                  <a16:creationId xmlns:a16="http://schemas.microsoft.com/office/drawing/2014/main" id="{AAD9C000-D54E-4611-A9BA-FA5E0E06D89B}"/>
                </a:ext>
              </a:extLst>
            </p:cNvPr>
            <p:cNvSpPr/>
            <p:nvPr/>
          </p:nvSpPr>
          <p:spPr>
            <a:xfrm>
              <a:off x="5163505" y="444701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3</a:t>
              </a:r>
            </a:p>
          </p:txBody>
        </p:sp>
      </p:grpSp>
      <p:sp>
        <p:nvSpPr>
          <p:cNvPr id="69" name="TextBox 68">
            <a:extLst>
              <a:ext uri="{FF2B5EF4-FFF2-40B4-BE49-F238E27FC236}">
                <a16:creationId xmlns:a16="http://schemas.microsoft.com/office/drawing/2014/main" id="{DE6143AB-D88C-4372-8A9E-695EFB080F81}"/>
              </a:ext>
            </a:extLst>
          </p:cNvPr>
          <p:cNvSpPr txBox="1"/>
          <p:nvPr/>
        </p:nvSpPr>
        <p:spPr>
          <a:xfrm>
            <a:off x="3600668" y="4238007"/>
            <a:ext cx="875404" cy="255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err="1">
                <a:solidFill>
                  <a:srgbClr val="575757"/>
                </a:solidFill>
              </a:rPr>
              <a:t>KN</a:t>
            </a:r>
            <a:r>
              <a:rPr lang="en-US" sz="1000" dirty="0">
                <a:solidFill>
                  <a:srgbClr val="575757"/>
                </a:solidFill>
              </a:rPr>
              <a:t> - Overall</a:t>
            </a:r>
          </a:p>
        </p:txBody>
      </p:sp>
    </p:spTree>
    <p:extLst>
      <p:ext uri="{BB962C8B-B14F-4D97-AF65-F5344CB8AC3E}">
        <p14:creationId xmlns:p14="http://schemas.microsoft.com/office/powerpoint/2010/main" val="138088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2"/>
            </p:custDataLst>
            <p:extLst>
              <p:ext uri="{D42A27DB-BD31-4B8C-83A1-F6EECF244321}">
                <p14:modId xmlns:p14="http://schemas.microsoft.com/office/powerpoint/2010/main" val="33046134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27" name="think-cell Slide" r:id="rId6" imgW="360" imgH="360" progId="TCLayout.ActiveDocument.1">
                  <p:embed/>
                </p:oleObj>
              </mc:Choice>
              <mc:Fallback>
                <p:oleObj name="think-cell Slide" r:id="rId6" imgW="360" imgH="360" progId="TCLayout.ActiveDocument.1">
                  <p:embed/>
                  <p:pic>
                    <p:nvPicPr>
                      <p:cNvPr id="57" name="Object 56" hidden="1"/>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137" name="Straight Connector 136">
            <a:extLst>
              <a:ext uri="{FF2B5EF4-FFF2-40B4-BE49-F238E27FC236}">
                <a16:creationId xmlns:a16="http://schemas.microsoft.com/office/drawing/2014/main" id="{978C2B40-2EFF-4E7F-BF2D-F17404C7E496}"/>
              </a:ext>
            </a:extLst>
          </p:cNvPr>
          <p:cNvCxnSpPr>
            <a:cxnSpLocks/>
          </p:cNvCxnSpPr>
          <p:nvPr/>
        </p:nvCxnSpPr>
        <p:spPr>
          <a:xfrm flipV="1">
            <a:off x="1109675" y="5161826"/>
            <a:ext cx="9701133" cy="16278"/>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Rectangle 54"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dirty="0">
              <a:solidFill>
                <a:srgbClr val="FFFFFF"/>
              </a:solidFill>
              <a:latin typeface="Trebuchet MS" panose="020B0603020202020204" pitchFamily="34" charset="0"/>
              <a:ea typeface="+mj-ea"/>
              <a:cs typeface="+mj-cs"/>
              <a:sym typeface="Trebuchet MS" panose="020B0603020202020204" pitchFamily="34" charset="0"/>
            </a:endParaRPr>
          </a:p>
        </p:txBody>
      </p:sp>
      <p:cxnSp>
        <p:nvCxnSpPr>
          <p:cNvPr id="94" name="Straight Connector 93">
            <a:extLst>
              <a:ext uri="{FF2B5EF4-FFF2-40B4-BE49-F238E27FC236}">
                <a16:creationId xmlns:a16="http://schemas.microsoft.com/office/drawing/2014/main" id="{75EE27C4-A86B-41C7-87F8-969D63171DCB}"/>
              </a:ext>
            </a:extLst>
          </p:cNvPr>
          <p:cNvCxnSpPr>
            <a:cxnSpLocks/>
          </p:cNvCxnSpPr>
          <p:nvPr/>
        </p:nvCxnSpPr>
        <p:spPr>
          <a:xfrm>
            <a:off x="1077136" y="3681776"/>
            <a:ext cx="9701116" cy="0"/>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2ADD368D-EBA9-49CE-8845-DD4915921681}"/>
              </a:ext>
            </a:extLst>
          </p:cNvPr>
          <p:cNvSpPr/>
          <p:nvPr/>
        </p:nvSpPr>
        <p:spPr>
          <a:xfrm>
            <a:off x="9008" y="2605949"/>
            <a:ext cx="1068128"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80 – 89%</a:t>
            </a:r>
          </a:p>
        </p:txBody>
      </p:sp>
      <p:sp>
        <p:nvSpPr>
          <p:cNvPr id="96" name="Rectangle 95">
            <a:extLst>
              <a:ext uri="{FF2B5EF4-FFF2-40B4-BE49-F238E27FC236}">
                <a16:creationId xmlns:a16="http://schemas.microsoft.com/office/drawing/2014/main" id="{3EC436FB-815A-4371-97A0-A3925D9A1B7E}"/>
              </a:ext>
            </a:extLst>
          </p:cNvPr>
          <p:cNvSpPr/>
          <p:nvPr/>
        </p:nvSpPr>
        <p:spPr>
          <a:xfrm>
            <a:off x="9008" y="335843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70 - 79% </a:t>
            </a:r>
          </a:p>
        </p:txBody>
      </p:sp>
      <p:sp>
        <p:nvSpPr>
          <p:cNvPr id="97" name="Rectangle 96">
            <a:extLst>
              <a:ext uri="{FF2B5EF4-FFF2-40B4-BE49-F238E27FC236}">
                <a16:creationId xmlns:a16="http://schemas.microsoft.com/office/drawing/2014/main" id="{3927BA1C-50B5-4E2F-B3BE-712FBA85C972}"/>
              </a:ext>
            </a:extLst>
          </p:cNvPr>
          <p:cNvSpPr/>
          <p:nvPr/>
        </p:nvSpPr>
        <p:spPr>
          <a:xfrm>
            <a:off x="126510" y="1345615"/>
            <a:ext cx="970723"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E-SAT % </a:t>
            </a:r>
            <a:endParaRPr lang="en-US" baseline="30000" dirty="0">
              <a:solidFill>
                <a:srgbClr val="575757"/>
              </a:solidFill>
            </a:endParaRPr>
          </a:p>
        </p:txBody>
      </p:sp>
      <p:sp>
        <p:nvSpPr>
          <p:cNvPr id="100" name="Rectangle 99">
            <a:extLst>
              <a:ext uri="{FF2B5EF4-FFF2-40B4-BE49-F238E27FC236}">
                <a16:creationId xmlns:a16="http://schemas.microsoft.com/office/drawing/2014/main" id="{01B257D9-DFA0-45CA-93FD-E45EB88F8BA5}"/>
              </a:ext>
            </a:extLst>
          </p:cNvPr>
          <p:cNvSpPr/>
          <p:nvPr/>
        </p:nvSpPr>
        <p:spPr>
          <a:xfrm>
            <a:off x="9008" y="4123905"/>
            <a:ext cx="1068128"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60 - 69% </a:t>
            </a:r>
          </a:p>
        </p:txBody>
      </p:sp>
      <p:sp>
        <p:nvSpPr>
          <p:cNvPr id="106" name="Rectangle 105">
            <a:extLst>
              <a:ext uri="{FF2B5EF4-FFF2-40B4-BE49-F238E27FC236}">
                <a16:creationId xmlns:a16="http://schemas.microsoft.com/office/drawing/2014/main" id="{CBBF116E-9066-47CD-BBA9-04B0E32B7D8A}"/>
              </a:ext>
            </a:extLst>
          </p:cNvPr>
          <p:cNvSpPr/>
          <p:nvPr/>
        </p:nvSpPr>
        <p:spPr>
          <a:xfrm>
            <a:off x="9005" y="4864134"/>
            <a:ext cx="1068114"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50 - 59% </a:t>
            </a:r>
          </a:p>
        </p:txBody>
      </p:sp>
      <p:sp>
        <p:nvSpPr>
          <p:cNvPr id="107" name="Rectangle 106">
            <a:extLst>
              <a:ext uri="{FF2B5EF4-FFF2-40B4-BE49-F238E27FC236}">
                <a16:creationId xmlns:a16="http://schemas.microsoft.com/office/drawing/2014/main" id="{5AA75AC5-BA8E-49E7-A897-21298FDCAEC6}"/>
              </a:ext>
            </a:extLst>
          </p:cNvPr>
          <p:cNvSpPr/>
          <p:nvPr/>
        </p:nvSpPr>
        <p:spPr>
          <a:xfrm>
            <a:off x="10800" y="5604363"/>
            <a:ext cx="1074717"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0 - 49% </a:t>
            </a:r>
          </a:p>
        </p:txBody>
      </p:sp>
      <p:sp>
        <p:nvSpPr>
          <p:cNvPr id="113" name="Rectangle 112">
            <a:extLst>
              <a:ext uri="{FF2B5EF4-FFF2-40B4-BE49-F238E27FC236}">
                <a16:creationId xmlns:a16="http://schemas.microsoft.com/office/drawing/2014/main" id="{45D4C4B4-9B41-42A2-93D2-622F13826CB9}"/>
              </a:ext>
            </a:extLst>
          </p:cNvPr>
          <p:cNvSpPr/>
          <p:nvPr/>
        </p:nvSpPr>
        <p:spPr>
          <a:xfrm>
            <a:off x="11668" y="1877979"/>
            <a:ext cx="1077912" cy="6187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dirty="0">
                <a:solidFill>
                  <a:srgbClr val="575757"/>
                </a:solidFill>
              </a:rPr>
              <a:t>90 – 100%</a:t>
            </a:r>
          </a:p>
        </p:txBody>
      </p:sp>
      <p:cxnSp>
        <p:nvCxnSpPr>
          <p:cNvPr id="114" name="Straight Connector 113">
            <a:extLst>
              <a:ext uri="{FF2B5EF4-FFF2-40B4-BE49-F238E27FC236}">
                <a16:creationId xmlns:a16="http://schemas.microsoft.com/office/drawing/2014/main" id="{40669308-06C9-46A0-A01D-A95B2B79823D}"/>
              </a:ext>
            </a:extLst>
          </p:cNvPr>
          <p:cNvCxnSpPr>
            <a:cxnSpLocks/>
          </p:cNvCxnSpPr>
          <p:nvPr/>
        </p:nvCxnSpPr>
        <p:spPr>
          <a:xfrm flipV="1">
            <a:off x="186224" y="2559306"/>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6DAF221-986E-4CA9-88BA-DE6BD5750346}"/>
              </a:ext>
            </a:extLst>
          </p:cNvPr>
          <p:cNvCxnSpPr>
            <a:cxnSpLocks/>
          </p:cNvCxnSpPr>
          <p:nvPr/>
        </p:nvCxnSpPr>
        <p:spPr>
          <a:xfrm flipV="1">
            <a:off x="125024" y="6291364"/>
            <a:ext cx="11786560" cy="8796"/>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9F7B09C-61E2-4985-A7F1-4C2A3C62251B}"/>
              </a:ext>
            </a:extLst>
          </p:cNvPr>
          <p:cNvCxnSpPr>
            <a:cxnSpLocks/>
          </p:cNvCxnSpPr>
          <p:nvPr/>
        </p:nvCxnSpPr>
        <p:spPr>
          <a:xfrm flipV="1">
            <a:off x="125024" y="4772569"/>
            <a:ext cx="11890689" cy="2940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0B67AAF-BB9A-45D8-A052-4E43666BB465}"/>
              </a:ext>
            </a:extLst>
          </p:cNvPr>
          <p:cNvCxnSpPr>
            <a:cxnSpLocks/>
          </p:cNvCxnSpPr>
          <p:nvPr/>
        </p:nvCxnSpPr>
        <p:spPr>
          <a:xfrm flipV="1">
            <a:off x="153090" y="5518134"/>
            <a:ext cx="11862623" cy="555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957754F-5D56-4D35-B3DF-28CB5C6EE5EE}"/>
              </a:ext>
            </a:extLst>
          </p:cNvPr>
          <p:cNvCxnSpPr>
            <a:cxnSpLocks/>
          </p:cNvCxnSpPr>
          <p:nvPr/>
        </p:nvCxnSpPr>
        <p:spPr>
          <a:xfrm>
            <a:off x="154849" y="1787023"/>
            <a:ext cx="11860864" cy="0"/>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D0BEB35-1B7A-4141-B767-A738DC18E70D}"/>
              </a:ext>
            </a:extLst>
          </p:cNvPr>
          <p:cNvCxnSpPr>
            <a:cxnSpLocks/>
            <a:stCxn id="113" idx="3"/>
            <a:endCxn id="153" idx="1"/>
          </p:cNvCxnSpPr>
          <p:nvPr/>
        </p:nvCxnSpPr>
        <p:spPr>
          <a:xfrm flipV="1">
            <a:off x="1089580" y="2181224"/>
            <a:ext cx="9688653"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BAC3207-6D28-4418-B31C-3853CE51FBB3}"/>
              </a:ext>
            </a:extLst>
          </p:cNvPr>
          <p:cNvCxnSpPr>
            <a:cxnSpLocks/>
          </p:cNvCxnSpPr>
          <p:nvPr/>
        </p:nvCxnSpPr>
        <p:spPr>
          <a:xfrm>
            <a:off x="1077136" y="2955515"/>
            <a:ext cx="9701117" cy="6129"/>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7C258E8-A36E-4E93-94AB-F1CBEF561CFF}"/>
              </a:ext>
            </a:extLst>
          </p:cNvPr>
          <p:cNvCxnSpPr>
            <a:cxnSpLocks/>
            <a:stCxn id="100" idx="3"/>
            <a:endCxn id="141" idx="1"/>
          </p:cNvCxnSpPr>
          <p:nvPr/>
        </p:nvCxnSpPr>
        <p:spPr>
          <a:xfrm>
            <a:off x="1077136" y="4427150"/>
            <a:ext cx="9701116" cy="1307"/>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2B577CA9-4217-4C2A-88D1-9B1A9AFB72BE}"/>
              </a:ext>
            </a:extLst>
          </p:cNvPr>
          <p:cNvSpPr/>
          <p:nvPr/>
        </p:nvSpPr>
        <p:spPr>
          <a:xfrm>
            <a:off x="10778252" y="4847856"/>
            <a:ext cx="1253301" cy="606490"/>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Poor</a:t>
            </a:r>
          </a:p>
        </p:txBody>
      </p:sp>
      <p:sp>
        <p:nvSpPr>
          <p:cNvPr id="141" name="Rectangle 140">
            <a:extLst>
              <a:ext uri="{FF2B5EF4-FFF2-40B4-BE49-F238E27FC236}">
                <a16:creationId xmlns:a16="http://schemas.microsoft.com/office/drawing/2014/main" id="{7E6465F6-C22D-4922-9FCC-D377C39BB80F}"/>
              </a:ext>
            </a:extLst>
          </p:cNvPr>
          <p:cNvSpPr/>
          <p:nvPr/>
        </p:nvSpPr>
        <p:spPr>
          <a:xfrm>
            <a:off x="10778252" y="4125212"/>
            <a:ext cx="1253301" cy="606490"/>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Average</a:t>
            </a:r>
          </a:p>
        </p:txBody>
      </p:sp>
      <p:sp>
        <p:nvSpPr>
          <p:cNvPr id="147" name="Rectangle 146">
            <a:extLst>
              <a:ext uri="{FF2B5EF4-FFF2-40B4-BE49-F238E27FC236}">
                <a16:creationId xmlns:a16="http://schemas.microsoft.com/office/drawing/2014/main" id="{2EE8F67F-CC55-4753-9628-96C398FD9DE1}"/>
              </a:ext>
            </a:extLst>
          </p:cNvPr>
          <p:cNvSpPr/>
          <p:nvPr/>
        </p:nvSpPr>
        <p:spPr>
          <a:xfrm>
            <a:off x="10778252" y="3393603"/>
            <a:ext cx="1253301" cy="60649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Good</a:t>
            </a:r>
          </a:p>
        </p:txBody>
      </p:sp>
      <p:sp>
        <p:nvSpPr>
          <p:cNvPr id="148" name="Rectangle 147">
            <a:extLst>
              <a:ext uri="{FF2B5EF4-FFF2-40B4-BE49-F238E27FC236}">
                <a16:creationId xmlns:a16="http://schemas.microsoft.com/office/drawing/2014/main" id="{ECC2CE30-2F6C-4C32-B184-138332A3EF3B}"/>
              </a:ext>
            </a:extLst>
          </p:cNvPr>
          <p:cNvSpPr/>
          <p:nvPr/>
        </p:nvSpPr>
        <p:spPr>
          <a:xfrm>
            <a:off x="10778253" y="2618207"/>
            <a:ext cx="1253301" cy="606490"/>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Very Good</a:t>
            </a:r>
          </a:p>
        </p:txBody>
      </p:sp>
      <p:sp>
        <p:nvSpPr>
          <p:cNvPr id="152" name="Rectangle 151">
            <a:extLst>
              <a:ext uri="{FF2B5EF4-FFF2-40B4-BE49-F238E27FC236}">
                <a16:creationId xmlns:a16="http://schemas.microsoft.com/office/drawing/2014/main" id="{4F247DAD-DED4-42A0-8C39-E5824C9F7C29}"/>
              </a:ext>
            </a:extLst>
          </p:cNvPr>
          <p:cNvSpPr/>
          <p:nvPr/>
        </p:nvSpPr>
        <p:spPr>
          <a:xfrm>
            <a:off x="10738981" y="1273675"/>
            <a:ext cx="1276732" cy="4012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rade</a:t>
            </a:r>
          </a:p>
        </p:txBody>
      </p:sp>
      <p:sp>
        <p:nvSpPr>
          <p:cNvPr id="153" name="Rectangle 152">
            <a:extLst>
              <a:ext uri="{FF2B5EF4-FFF2-40B4-BE49-F238E27FC236}">
                <a16:creationId xmlns:a16="http://schemas.microsoft.com/office/drawing/2014/main" id="{78A4DEE8-910C-4A69-B2AE-7F629CC73DC0}"/>
              </a:ext>
            </a:extLst>
          </p:cNvPr>
          <p:cNvSpPr/>
          <p:nvPr/>
        </p:nvSpPr>
        <p:spPr>
          <a:xfrm>
            <a:off x="10778233" y="1877979"/>
            <a:ext cx="1253301" cy="606490"/>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Excellent</a:t>
            </a:r>
          </a:p>
        </p:txBody>
      </p:sp>
      <p:sp>
        <p:nvSpPr>
          <p:cNvPr id="154" name="Rectangle 153">
            <a:extLst>
              <a:ext uri="{FF2B5EF4-FFF2-40B4-BE49-F238E27FC236}">
                <a16:creationId xmlns:a16="http://schemas.microsoft.com/office/drawing/2014/main" id="{EF5681E0-ED3C-454D-BF2C-0FE48F94FCB2}"/>
              </a:ext>
            </a:extLst>
          </p:cNvPr>
          <p:cNvSpPr/>
          <p:nvPr/>
        </p:nvSpPr>
        <p:spPr>
          <a:xfrm>
            <a:off x="10778252" y="5588084"/>
            <a:ext cx="1253301" cy="606490"/>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50" dirty="0">
                <a:solidFill>
                  <a:srgbClr val="FFFFFF"/>
                </a:solidFill>
              </a:rPr>
              <a:t>Unacceptable</a:t>
            </a:r>
          </a:p>
        </p:txBody>
      </p:sp>
      <p:sp>
        <p:nvSpPr>
          <p:cNvPr id="99" name="Title 8"/>
          <p:cNvSpPr>
            <a:spLocks noGrp="1"/>
          </p:cNvSpPr>
          <p:nvPr>
            <p:ph type="title"/>
          </p:nvPr>
        </p:nvSpPr>
        <p:spPr>
          <a:xfrm>
            <a:off x="594950" y="506478"/>
            <a:ext cx="11029431" cy="623248"/>
          </a:xfrm>
        </p:spPr>
        <p:txBody>
          <a:bodyPr vert="horz"/>
          <a:lstStyle/>
          <a:p>
            <a:r>
              <a:rPr lang="en-GB" sz="2700" dirty="0">
                <a:solidFill>
                  <a:srgbClr val="295E7E"/>
                </a:solidFill>
              </a:rPr>
              <a:t>E-SAT – </a:t>
            </a:r>
            <a:r>
              <a:rPr lang="en-GB" sz="2700" dirty="0">
                <a:solidFill>
                  <a:srgbClr val="30C1D7"/>
                </a:solidFill>
              </a:rPr>
              <a:t>Q4 2021 </a:t>
            </a:r>
            <a:r>
              <a:rPr lang="en-GB" sz="2700" dirty="0">
                <a:solidFill>
                  <a:srgbClr val="295E7E"/>
                </a:solidFill>
              </a:rPr>
              <a:t>- </a:t>
            </a:r>
            <a:r>
              <a:rPr lang="en-GB" sz="2700" dirty="0">
                <a:solidFill>
                  <a:srgbClr val="30C1D7"/>
                </a:solidFill>
              </a:rPr>
              <a:t>Other Areas </a:t>
            </a:r>
            <a:r>
              <a:rPr lang="en-GB" sz="2700" dirty="0">
                <a:solidFill>
                  <a:srgbClr val="295E7E"/>
                </a:solidFill>
              </a:rPr>
              <a:t>Measured </a:t>
            </a:r>
            <a:br>
              <a:rPr lang="en-GB" sz="2700" dirty="0">
                <a:solidFill>
                  <a:srgbClr val="29BA74"/>
                </a:solidFill>
              </a:rPr>
            </a:br>
            <a:endParaRPr lang="en-GB" sz="1800" dirty="0">
              <a:solidFill>
                <a:srgbClr val="29BA74"/>
              </a:solidFill>
            </a:endParaRPr>
          </a:p>
        </p:txBody>
      </p:sp>
      <p:cxnSp>
        <p:nvCxnSpPr>
          <p:cNvPr id="37" name="Straight Connector 36"/>
          <p:cNvCxnSpPr/>
          <p:nvPr/>
        </p:nvCxnSpPr>
        <p:spPr>
          <a:xfrm>
            <a:off x="1329344" y="5921735"/>
            <a:ext cx="8886731" cy="0"/>
          </a:xfrm>
          <a:prstGeom prst="line">
            <a:avLst/>
          </a:prstGeom>
          <a:ln w="317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379DEF5-4278-417E-ABDE-3314CA0C9268}"/>
              </a:ext>
            </a:extLst>
          </p:cNvPr>
          <p:cNvSpPr txBox="1"/>
          <p:nvPr/>
        </p:nvSpPr>
        <p:spPr>
          <a:xfrm>
            <a:off x="2579489" y="4437474"/>
            <a:ext cx="970723" cy="2348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T Work with Clients</a:t>
            </a:r>
          </a:p>
        </p:txBody>
      </p:sp>
      <p:cxnSp>
        <p:nvCxnSpPr>
          <p:cNvPr id="156" name="Straight Connector 155">
            <a:extLst>
              <a:ext uri="{FF2B5EF4-FFF2-40B4-BE49-F238E27FC236}">
                <a16:creationId xmlns:a16="http://schemas.microsoft.com/office/drawing/2014/main" id="{533DD493-8FAB-4A90-A1C7-0DA5F26E24C1}"/>
              </a:ext>
            </a:extLst>
          </p:cNvPr>
          <p:cNvCxnSpPr>
            <a:cxnSpLocks/>
          </p:cNvCxnSpPr>
          <p:nvPr/>
        </p:nvCxnSpPr>
        <p:spPr>
          <a:xfrm flipH="1" flipV="1">
            <a:off x="1097233" y="1804482"/>
            <a:ext cx="12442" cy="4495678"/>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FB9D038-AA88-48E8-B416-957596B2801B}"/>
              </a:ext>
            </a:extLst>
          </p:cNvPr>
          <p:cNvCxnSpPr>
            <a:cxnSpLocks/>
          </p:cNvCxnSpPr>
          <p:nvPr/>
        </p:nvCxnSpPr>
        <p:spPr>
          <a:xfrm flipV="1">
            <a:off x="235470" y="3304527"/>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DE93440-00A4-431E-B3E6-F99340F4CAF3}"/>
              </a:ext>
            </a:extLst>
          </p:cNvPr>
          <p:cNvCxnSpPr>
            <a:cxnSpLocks/>
          </p:cNvCxnSpPr>
          <p:nvPr/>
        </p:nvCxnSpPr>
        <p:spPr>
          <a:xfrm flipV="1">
            <a:off x="181254" y="4078902"/>
            <a:ext cx="11829489" cy="15943"/>
          </a:xfrm>
          <a:prstGeom prst="line">
            <a:avLst/>
          </a:prstGeom>
          <a:ln w="19050" cap="rnd">
            <a:solidFill>
              <a:schemeClr val="tx1">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361A563F-7260-4A8E-91AE-6E29BABE2F98}"/>
              </a:ext>
            </a:extLst>
          </p:cNvPr>
          <p:cNvSpPr txBox="1"/>
          <p:nvPr/>
        </p:nvSpPr>
        <p:spPr>
          <a:xfrm>
            <a:off x="7845789" y="3625700"/>
            <a:ext cx="933880" cy="2717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575757"/>
              </a:solidFill>
            </a:endParaRPr>
          </a:p>
        </p:txBody>
      </p:sp>
      <p:sp>
        <p:nvSpPr>
          <p:cNvPr id="81" name="TextBox 80">
            <a:extLst>
              <a:ext uri="{FF2B5EF4-FFF2-40B4-BE49-F238E27FC236}">
                <a16:creationId xmlns:a16="http://schemas.microsoft.com/office/drawing/2014/main" id="{18F71A0B-57C3-4DFD-A7CF-49093AFFBB9E}"/>
              </a:ext>
            </a:extLst>
          </p:cNvPr>
          <p:cNvSpPr txBox="1"/>
          <p:nvPr/>
        </p:nvSpPr>
        <p:spPr>
          <a:xfrm>
            <a:off x="8183890" y="2995185"/>
            <a:ext cx="1253301" cy="3022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Tool Performance on VPN</a:t>
            </a:r>
          </a:p>
        </p:txBody>
      </p:sp>
      <p:sp>
        <p:nvSpPr>
          <p:cNvPr id="82" name="TextBox 81">
            <a:extLst>
              <a:ext uri="{FF2B5EF4-FFF2-40B4-BE49-F238E27FC236}">
                <a16:creationId xmlns:a16="http://schemas.microsoft.com/office/drawing/2014/main" id="{1F0C8C2E-B52D-449E-9391-DD1F4211EFE2}"/>
              </a:ext>
            </a:extLst>
          </p:cNvPr>
          <p:cNvSpPr txBox="1"/>
          <p:nvPr/>
        </p:nvSpPr>
        <p:spPr>
          <a:xfrm>
            <a:off x="5694957" y="3895274"/>
            <a:ext cx="1502171" cy="321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Right Help &amp; Support – Home Set-up</a:t>
            </a:r>
          </a:p>
        </p:txBody>
      </p:sp>
      <p:sp>
        <p:nvSpPr>
          <p:cNvPr id="83" name="TextBox 82">
            <a:extLst>
              <a:ext uri="{FF2B5EF4-FFF2-40B4-BE49-F238E27FC236}">
                <a16:creationId xmlns:a16="http://schemas.microsoft.com/office/drawing/2014/main" id="{AE38890B-7227-45AA-AD80-28FA43BDF314}"/>
              </a:ext>
            </a:extLst>
          </p:cNvPr>
          <p:cNvSpPr txBox="1"/>
          <p:nvPr/>
        </p:nvSpPr>
        <p:spPr>
          <a:xfrm>
            <a:off x="1452554" y="4825117"/>
            <a:ext cx="1327579" cy="295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Tools &amp; Services – for Client Sites</a:t>
            </a:r>
          </a:p>
        </p:txBody>
      </p:sp>
      <p:grpSp>
        <p:nvGrpSpPr>
          <p:cNvPr id="3" name="Group 2">
            <a:extLst>
              <a:ext uri="{FF2B5EF4-FFF2-40B4-BE49-F238E27FC236}">
                <a16:creationId xmlns:a16="http://schemas.microsoft.com/office/drawing/2014/main" id="{0CA055EA-3782-43CE-9121-ACEDAF21FD21}"/>
              </a:ext>
            </a:extLst>
          </p:cNvPr>
          <p:cNvGrpSpPr/>
          <p:nvPr/>
        </p:nvGrpSpPr>
        <p:grpSpPr>
          <a:xfrm>
            <a:off x="8636391" y="2745714"/>
            <a:ext cx="351158" cy="217580"/>
            <a:chOff x="7929236" y="2898590"/>
            <a:chExt cx="351158" cy="217580"/>
          </a:xfrm>
        </p:grpSpPr>
        <p:sp>
          <p:nvSpPr>
            <p:cNvPr id="85" name="Oval 84">
              <a:extLst>
                <a:ext uri="{FF2B5EF4-FFF2-40B4-BE49-F238E27FC236}">
                  <a16:creationId xmlns:a16="http://schemas.microsoft.com/office/drawing/2014/main" id="{F5315CCC-C0BA-412E-B406-CD8E904054E7}"/>
                </a:ext>
              </a:extLst>
            </p:cNvPr>
            <p:cNvSpPr/>
            <p:nvPr/>
          </p:nvSpPr>
          <p:spPr>
            <a:xfrm>
              <a:off x="7989086" y="2912034"/>
              <a:ext cx="228600" cy="201168"/>
            </a:xfrm>
            <a:prstGeom prst="ellipse">
              <a:avLst/>
            </a:prstGeom>
            <a:solidFill>
              <a:srgbClr val="29BA74"/>
            </a:solidFill>
            <a:ln w="190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6" name="Rectangle 85">
              <a:extLst>
                <a:ext uri="{FF2B5EF4-FFF2-40B4-BE49-F238E27FC236}">
                  <a16:creationId xmlns:a16="http://schemas.microsoft.com/office/drawing/2014/main" id="{60605C2A-EC69-4615-9021-02C50837957E}"/>
                </a:ext>
              </a:extLst>
            </p:cNvPr>
            <p:cNvSpPr/>
            <p:nvPr/>
          </p:nvSpPr>
          <p:spPr>
            <a:xfrm>
              <a:off x="7929236" y="2898590"/>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6</a:t>
              </a:r>
            </a:p>
          </p:txBody>
        </p:sp>
      </p:grpSp>
      <p:sp>
        <p:nvSpPr>
          <p:cNvPr id="155" name="Rectangle 154">
            <a:extLst>
              <a:ext uri="{FF2B5EF4-FFF2-40B4-BE49-F238E27FC236}">
                <a16:creationId xmlns:a16="http://schemas.microsoft.com/office/drawing/2014/main" id="{7D359CA8-FC03-479E-BB1B-C22AC3F50FF5}"/>
              </a:ext>
            </a:extLst>
          </p:cNvPr>
          <p:cNvSpPr/>
          <p:nvPr/>
        </p:nvSpPr>
        <p:spPr>
          <a:xfrm>
            <a:off x="4861052" y="2734028"/>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6</a:t>
            </a:r>
          </a:p>
        </p:txBody>
      </p:sp>
      <p:grpSp>
        <p:nvGrpSpPr>
          <p:cNvPr id="5" name="Group 4">
            <a:extLst>
              <a:ext uri="{FF2B5EF4-FFF2-40B4-BE49-F238E27FC236}">
                <a16:creationId xmlns:a16="http://schemas.microsoft.com/office/drawing/2014/main" id="{5E541A18-3B67-4656-9936-DB9DD353B5B7}"/>
              </a:ext>
            </a:extLst>
          </p:cNvPr>
          <p:cNvGrpSpPr/>
          <p:nvPr/>
        </p:nvGrpSpPr>
        <p:grpSpPr>
          <a:xfrm>
            <a:off x="6211536" y="3685107"/>
            <a:ext cx="351158" cy="217580"/>
            <a:chOff x="5362767" y="3565089"/>
            <a:chExt cx="351158" cy="217580"/>
          </a:xfrm>
        </p:grpSpPr>
        <p:sp>
          <p:nvSpPr>
            <p:cNvPr id="166" name="Oval 165">
              <a:extLst>
                <a:ext uri="{FF2B5EF4-FFF2-40B4-BE49-F238E27FC236}">
                  <a16:creationId xmlns:a16="http://schemas.microsoft.com/office/drawing/2014/main" id="{290FFA83-39A9-45D7-B3BB-7934088F910C}"/>
                </a:ext>
              </a:extLst>
            </p:cNvPr>
            <p:cNvSpPr/>
            <p:nvPr/>
          </p:nvSpPr>
          <p:spPr>
            <a:xfrm>
              <a:off x="5424046" y="3581501"/>
              <a:ext cx="228600" cy="201168"/>
            </a:xfrm>
            <a:prstGeom prst="ellipse">
              <a:avLst/>
            </a:prstGeom>
            <a:solidFill>
              <a:srgbClr val="C9E7CA"/>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8" name="Rectangle 167">
              <a:extLst>
                <a:ext uri="{FF2B5EF4-FFF2-40B4-BE49-F238E27FC236}">
                  <a16:creationId xmlns:a16="http://schemas.microsoft.com/office/drawing/2014/main" id="{8B4F0DB2-1467-4F4C-AFC7-18545D8AF48A}"/>
                </a:ext>
              </a:extLst>
            </p:cNvPr>
            <p:cNvSpPr/>
            <p:nvPr/>
          </p:nvSpPr>
          <p:spPr>
            <a:xfrm>
              <a:off x="5362767" y="3565089"/>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4</a:t>
              </a:r>
            </a:p>
          </p:txBody>
        </p:sp>
      </p:grpSp>
      <p:grpSp>
        <p:nvGrpSpPr>
          <p:cNvPr id="2" name="Group 1">
            <a:extLst>
              <a:ext uri="{FF2B5EF4-FFF2-40B4-BE49-F238E27FC236}">
                <a16:creationId xmlns:a16="http://schemas.microsoft.com/office/drawing/2014/main" id="{7802349E-B181-40EB-BE75-148E7DA135CA}"/>
              </a:ext>
            </a:extLst>
          </p:cNvPr>
          <p:cNvGrpSpPr/>
          <p:nvPr/>
        </p:nvGrpSpPr>
        <p:grpSpPr>
          <a:xfrm>
            <a:off x="9761750" y="2690256"/>
            <a:ext cx="351158" cy="217580"/>
            <a:chOff x="9465792" y="2581784"/>
            <a:chExt cx="351158" cy="217580"/>
          </a:xfrm>
        </p:grpSpPr>
        <p:sp>
          <p:nvSpPr>
            <p:cNvPr id="91" name="Oval 90">
              <a:extLst>
                <a:ext uri="{FF2B5EF4-FFF2-40B4-BE49-F238E27FC236}">
                  <a16:creationId xmlns:a16="http://schemas.microsoft.com/office/drawing/2014/main" id="{065A0244-C2FF-4116-AD59-EC7160CB6416}"/>
                </a:ext>
              </a:extLst>
            </p:cNvPr>
            <p:cNvSpPr/>
            <p:nvPr/>
          </p:nvSpPr>
          <p:spPr>
            <a:xfrm>
              <a:off x="9522832" y="2589409"/>
              <a:ext cx="228600" cy="201168"/>
            </a:xfrm>
            <a:prstGeom prst="ellipse">
              <a:avLst/>
            </a:prstGeom>
            <a:solidFill>
              <a:srgbClr val="29BA74"/>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0" name="Rectangle 89">
              <a:extLst>
                <a:ext uri="{FF2B5EF4-FFF2-40B4-BE49-F238E27FC236}">
                  <a16:creationId xmlns:a16="http://schemas.microsoft.com/office/drawing/2014/main" id="{C867B476-3CF7-4BAD-8740-481575F82B89}"/>
                </a:ext>
              </a:extLst>
            </p:cNvPr>
            <p:cNvSpPr/>
            <p:nvPr/>
          </p:nvSpPr>
          <p:spPr>
            <a:xfrm>
              <a:off x="9465792" y="2581784"/>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7</a:t>
              </a:r>
            </a:p>
          </p:txBody>
        </p:sp>
      </p:grpSp>
      <p:grpSp>
        <p:nvGrpSpPr>
          <p:cNvPr id="9" name="Group 8">
            <a:extLst>
              <a:ext uri="{FF2B5EF4-FFF2-40B4-BE49-F238E27FC236}">
                <a16:creationId xmlns:a16="http://schemas.microsoft.com/office/drawing/2014/main" id="{C4814B5E-A5E1-44D6-A3CB-17CF8C1B274D}"/>
              </a:ext>
            </a:extLst>
          </p:cNvPr>
          <p:cNvGrpSpPr/>
          <p:nvPr/>
        </p:nvGrpSpPr>
        <p:grpSpPr>
          <a:xfrm>
            <a:off x="2878276" y="4166714"/>
            <a:ext cx="351158" cy="218622"/>
            <a:chOff x="4269614" y="4213917"/>
            <a:chExt cx="351158" cy="218622"/>
          </a:xfrm>
        </p:grpSpPr>
        <p:sp>
          <p:nvSpPr>
            <p:cNvPr id="93" name="Oval 92">
              <a:extLst>
                <a:ext uri="{FF2B5EF4-FFF2-40B4-BE49-F238E27FC236}">
                  <a16:creationId xmlns:a16="http://schemas.microsoft.com/office/drawing/2014/main" id="{1A60C300-ED2D-46C2-8677-284161B60BDC}"/>
                </a:ext>
              </a:extLst>
            </p:cNvPr>
            <p:cNvSpPr/>
            <p:nvPr/>
          </p:nvSpPr>
          <p:spPr>
            <a:xfrm>
              <a:off x="4330893" y="4231371"/>
              <a:ext cx="228600" cy="201168"/>
            </a:xfrm>
            <a:prstGeom prst="ellipse">
              <a:avLst/>
            </a:prstGeom>
            <a:solidFill>
              <a:srgbClr val="EEE89A"/>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6" name="Rectangle 55">
              <a:extLst>
                <a:ext uri="{FF2B5EF4-FFF2-40B4-BE49-F238E27FC236}">
                  <a16:creationId xmlns:a16="http://schemas.microsoft.com/office/drawing/2014/main" id="{C89F7237-5366-497F-BD1E-AE0591841572}"/>
                </a:ext>
              </a:extLst>
            </p:cNvPr>
            <p:cNvSpPr/>
            <p:nvPr/>
          </p:nvSpPr>
          <p:spPr>
            <a:xfrm>
              <a:off x="4269614" y="4213917"/>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7</a:t>
              </a:r>
            </a:p>
          </p:txBody>
        </p:sp>
      </p:grpSp>
      <p:sp>
        <p:nvSpPr>
          <p:cNvPr id="63" name="Rectangle 62">
            <a:extLst>
              <a:ext uri="{FF2B5EF4-FFF2-40B4-BE49-F238E27FC236}">
                <a16:creationId xmlns:a16="http://schemas.microsoft.com/office/drawing/2014/main" id="{5C2313EF-C7EF-4DC8-946F-8D981C382226}"/>
              </a:ext>
            </a:extLst>
          </p:cNvPr>
          <p:cNvSpPr/>
          <p:nvPr/>
        </p:nvSpPr>
        <p:spPr>
          <a:xfrm>
            <a:off x="1013956" y="951344"/>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Q4 Respondents = 1,327</a:t>
            </a:r>
          </a:p>
        </p:txBody>
      </p:sp>
      <p:grpSp>
        <p:nvGrpSpPr>
          <p:cNvPr id="64" name="Group 63">
            <a:extLst>
              <a:ext uri="{FF2B5EF4-FFF2-40B4-BE49-F238E27FC236}">
                <a16:creationId xmlns:a16="http://schemas.microsoft.com/office/drawing/2014/main" id="{08E2AE03-084D-4E86-94B2-CC3909100F3A}"/>
              </a:ext>
            </a:extLst>
          </p:cNvPr>
          <p:cNvGrpSpPr>
            <a:grpSpLocks noChangeAspect="1"/>
          </p:cNvGrpSpPr>
          <p:nvPr/>
        </p:nvGrpSpPr>
        <p:grpSpPr>
          <a:xfrm>
            <a:off x="594950" y="880427"/>
            <a:ext cx="457200" cy="457200"/>
            <a:chOff x="5867400" y="3200400"/>
            <a:chExt cx="457200" cy="457200"/>
          </a:xfrm>
        </p:grpSpPr>
        <p:sp>
          <p:nvSpPr>
            <p:cNvPr id="65" name="AutoShape 43">
              <a:extLst>
                <a:ext uri="{FF2B5EF4-FFF2-40B4-BE49-F238E27FC236}">
                  <a16:creationId xmlns:a16="http://schemas.microsoft.com/office/drawing/2014/main" id="{FE69711D-2080-4DFC-9C2A-146F7EA24AC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7">
              <a:extLst>
                <a:ext uri="{FF2B5EF4-FFF2-40B4-BE49-F238E27FC236}">
                  <a16:creationId xmlns:a16="http://schemas.microsoft.com/office/drawing/2014/main" id="{F6128FD7-15A6-4DD9-B271-9BD5E750EE07}"/>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60" name="TextBox 59">
            <a:extLst>
              <a:ext uri="{FF2B5EF4-FFF2-40B4-BE49-F238E27FC236}">
                <a16:creationId xmlns:a16="http://schemas.microsoft.com/office/drawing/2014/main" id="{63C4A523-629B-46CB-9AB8-EF3D18300D88}"/>
              </a:ext>
            </a:extLst>
          </p:cNvPr>
          <p:cNvSpPr txBox="1"/>
          <p:nvPr/>
        </p:nvSpPr>
        <p:spPr>
          <a:xfrm>
            <a:off x="3707227" y="4114543"/>
            <a:ext cx="724393" cy="2911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Senior CT Overall</a:t>
            </a:r>
          </a:p>
        </p:txBody>
      </p:sp>
      <p:sp>
        <p:nvSpPr>
          <p:cNvPr id="62" name="TextBox 61">
            <a:extLst>
              <a:ext uri="{FF2B5EF4-FFF2-40B4-BE49-F238E27FC236}">
                <a16:creationId xmlns:a16="http://schemas.microsoft.com/office/drawing/2014/main" id="{91269D12-F37A-44B4-BFE8-6BC3ED478AB9}"/>
              </a:ext>
            </a:extLst>
          </p:cNvPr>
          <p:cNvSpPr txBox="1"/>
          <p:nvPr/>
        </p:nvSpPr>
        <p:spPr>
          <a:xfrm>
            <a:off x="6930567" y="3175355"/>
            <a:ext cx="1327579" cy="295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Tools &amp; Services –  for Home</a:t>
            </a:r>
          </a:p>
        </p:txBody>
      </p:sp>
      <p:sp>
        <p:nvSpPr>
          <p:cNvPr id="67" name="TextBox 66">
            <a:extLst>
              <a:ext uri="{FF2B5EF4-FFF2-40B4-BE49-F238E27FC236}">
                <a16:creationId xmlns:a16="http://schemas.microsoft.com/office/drawing/2014/main" id="{1FCC3958-5067-4963-842C-B3C668EA3E4D}"/>
              </a:ext>
            </a:extLst>
          </p:cNvPr>
          <p:cNvSpPr txBox="1"/>
          <p:nvPr/>
        </p:nvSpPr>
        <p:spPr>
          <a:xfrm>
            <a:off x="9269300" y="2386274"/>
            <a:ext cx="1327579" cy="295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Tools &amp; Services – for the BCG Office</a:t>
            </a:r>
          </a:p>
        </p:txBody>
      </p:sp>
      <p:grpSp>
        <p:nvGrpSpPr>
          <p:cNvPr id="70" name="Group 69">
            <a:extLst>
              <a:ext uri="{FF2B5EF4-FFF2-40B4-BE49-F238E27FC236}">
                <a16:creationId xmlns:a16="http://schemas.microsoft.com/office/drawing/2014/main" id="{3E2FBF24-5356-4666-8522-B4F830DB709F}"/>
              </a:ext>
            </a:extLst>
          </p:cNvPr>
          <p:cNvGrpSpPr/>
          <p:nvPr/>
        </p:nvGrpSpPr>
        <p:grpSpPr>
          <a:xfrm>
            <a:off x="1915455" y="4561039"/>
            <a:ext cx="351158" cy="218622"/>
            <a:chOff x="4269614" y="4213917"/>
            <a:chExt cx="351158" cy="218622"/>
          </a:xfrm>
        </p:grpSpPr>
        <p:sp>
          <p:nvSpPr>
            <p:cNvPr id="71" name="Oval 70">
              <a:extLst>
                <a:ext uri="{FF2B5EF4-FFF2-40B4-BE49-F238E27FC236}">
                  <a16:creationId xmlns:a16="http://schemas.microsoft.com/office/drawing/2014/main" id="{BA52EE3F-DE2B-4AC0-8D43-9ABA0F67437A}"/>
                </a:ext>
              </a:extLst>
            </p:cNvPr>
            <p:cNvSpPr/>
            <p:nvPr/>
          </p:nvSpPr>
          <p:spPr>
            <a:xfrm>
              <a:off x="4330893" y="4231371"/>
              <a:ext cx="228600" cy="201168"/>
            </a:xfrm>
            <a:prstGeom prst="ellipse">
              <a:avLst/>
            </a:prstGeom>
            <a:solidFill>
              <a:srgbClr val="EEE89A"/>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Rectangle 71">
              <a:extLst>
                <a:ext uri="{FF2B5EF4-FFF2-40B4-BE49-F238E27FC236}">
                  <a16:creationId xmlns:a16="http://schemas.microsoft.com/office/drawing/2014/main" id="{CBBD691E-CE0C-4272-BEC1-2346A66B71B7}"/>
                </a:ext>
              </a:extLst>
            </p:cNvPr>
            <p:cNvSpPr/>
            <p:nvPr/>
          </p:nvSpPr>
          <p:spPr>
            <a:xfrm>
              <a:off x="4269614" y="4213917"/>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1</a:t>
              </a:r>
            </a:p>
          </p:txBody>
        </p:sp>
      </p:grpSp>
      <p:grpSp>
        <p:nvGrpSpPr>
          <p:cNvPr id="73" name="Group 72">
            <a:extLst>
              <a:ext uri="{FF2B5EF4-FFF2-40B4-BE49-F238E27FC236}">
                <a16:creationId xmlns:a16="http://schemas.microsoft.com/office/drawing/2014/main" id="{8C9B561A-5239-48C9-A16E-39E03AD63782}"/>
              </a:ext>
            </a:extLst>
          </p:cNvPr>
          <p:cNvGrpSpPr/>
          <p:nvPr/>
        </p:nvGrpSpPr>
        <p:grpSpPr>
          <a:xfrm>
            <a:off x="5013233" y="3777756"/>
            <a:ext cx="351158" cy="217580"/>
            <a:chOff x="5362767" y="3565089"/>
            <a:chExt cx="351158" cy="217580"/>
          </a:xfrm>
        </p:grpSpPr>
        <p:sp>
          <p:nvSpPr>
            <p:cNvPr id="74" name="Oval 73">
              <a:extLst>
                <a:ext uri="{FF2B5EF4-FFF2-40B4-BE49-F238E27FC236}">
                  <a16:creationId xmlns:a16="http://schemas.microsoft.com/office/drawing/2014/main" id="{7766FD5C-5B27-4943-A40D-2551530992E1}"/>
                </a:ext>
              </a:extLst>
            </p:cNvPr>
            <p:cNvSpPr/>
            <p:nvPr/>
          </p:nvSpPr>
          <p:spPr>
            <a:xfrm>
              <a:off x="5424046" y="3581501"/>
              <a:ext cx="228600" cy="201168"/>
            </a:xfrm>
            <a:prstGeom prst="ellipse">
              <a:avLst/>
            </a:prstGeom>
            <a:solidFill>
              <a:srgbClr val="C9E7CA"/>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7" name="Rectangle 76">
              <a:extLst>
                <a:ext uri="{FF2B5EF4-FFF2-40B4-BE49-F238E27FC236}">
                  <a16:creationId xmlns:a16="http://schemas.microsoft.com/office/drawing/2014/main" id="{2563A435-3BC3-4B45-B8FF-8A9B31F50AE5}"/>
                </a:ext>
              </a:extLst>
            </p:cNvPr>
            <p:cNvSpPr/>
            <p:nvPr/>
          </p:nvSpPr>
          <p:spPr>
            <a:xfrm>
              <a:off x="5362767" y="3565089"/>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2</a:t>
              </a:r>
            </a:p>
          </p:txBody>
        </p:sp>
      </p:grpSp>
      <p:sp>
        <p:nvSpPr>
          <p:cNvPr id="78" name="TextBox 77">
            <a:extLst>
              <a:ext uri="{FF2B5EF4-FFF2-40B4-BE49-F238E27FC236}">
                <a16:creationId xmlns:a16="http://schemas.microsoft.com/office/drawing/2014/main" id="{0AC05A25-DF70-4264-9796-414FCC71D758}"/>
              </a:ext>
            </a:extLst>
          </p:cNvPr>
          <p:cNvSpPr txBox="1"/>
          <p:nvPr/>
        </p:nvSpPr>
        <p:spPr>
          <a:xfrm>
            <a:off x="4495685" y="3494690"/>
            <a:ext cx="1422332" cy="2922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Tools &amp; Services – On-the-Go</a:t>
            </a:r>
          </a:p>
        </p:txBody>
      </p:sp>
      <p:grpSp>
        <p:nvGrpSpPr>
          <p:cNvPr id="79" name="Group 78">
            <a:extLst>
              <a:ext uri="{FF2B5EF4-FFF2-40B4-BE49-F238E27FC236}">
                <a16:creationId xmlns:a16="http://schemas.microsoft.com/office/drawing/2014/main" id="{0D52ECA3-1769-4528-ADE8-1843C7033EFD}"/>
              </a:ext>
            </a:extLst>
          </p:cNvPr>
          <p:cNvGrpSpPr/>
          <p:nvPr/>
        </p:nvGrpSpPr>
        <p:grpSpPr>
          <a:xfrm>
            <a:off x="7392684" y="2947454"/>
            <a:ext cx="351158" cy="217580"/>
            <a:chOff x="7929236" y="2898590"/>
            <a:chExt cx="351158" cy="217580"/>
          </a:xfrm>
        </p:grpSpPr>
        <p:sp>
          <p:nvSpPr>
            <p:cNvPr id="84" name="Oval 83">
              <a:extLst>
                <a:ext uri="{FF2B5EF4-FFF2-40B4-BE49-F238E27FC236}">
                  <a16:creationId xmlns:a16="http://schemas.microsoft.com/office/drawing/2014/main" id="{6EF0C85B-3B3C-4A58-85A4-3AD3CE439F71}"/>
                </a:ext>
              </a:extLst>
            </p:cNvPr>
            <p:cNvSpPr/>
            <p:nvPr/>
          </p:nvSpPr>
          <p:spPr>
            <a:xfrm>
              <a:off x="7989086" y="2912034"/>
              <a:ext cx="228600" cy="201168"/>
            </a:xfrm>
            <a:prstGeom prst="ellipse">
              <a:avLst/>
            </a:prstGeom>
            <a:solidFill>
              <a:srgbClr val="29BA74"/>
            </a:solidFill>
            <a:ln w="190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7" name="Rectangle 86">
              <a:extLst>
                <a:ext uri="{FF2B5EF4-FFF2-40B4-BE49-F238E27FC236}">
                  <a16:creationId xmlns:a16="http://schemas.microsoft.com/office/drawing/2014/main" id="{93DA8D65-F099-4DFF-A3EA-39627D66B69E}"/>
                </a:ext>
              </a:extLst>
            </p:cNvPr>
            <p:cNvSpPr/>
            <p:nvPr/>
          </p:nvSpPr>
          <p:spPr>
            <a:xfrm>
              <a:off x="7929236" y="2898590"/>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4</a:t>
              </a:r>
            </a:p>
          </p:txBody>
        </p:sp>
      </p:grpSp>
      <p:grpSp>
        <p:nvGrpSpPr>
          <p:cNvPr id="88" name="Group 87">
            <a:extLst>
              <a:ext uri="{FF2B5EF4-FFF2-40B4-BE49-F238E27FC236}">
                <a16:creationId xmlns:a16="http://schemas.microsoft.com/office/drawing/2014/main" id="{AE85F9D0-D03D-4B5C-A6F2-65AD370D912A}"/>
              </a:ext>
            </a:extLst>
          </p:cNvPr>
          <p:cNvGrpSpPr/>
          <p:nvPr/>
        </p:nvGrpSpPr>
        <p:grpSpPr>
          <a:xfrm>
            <a:off x="3886601" y="3858844"/>
            <a:ext cx="351158" cy="217580"/>
            <a:chOff x="5362767" y="3565089"/>
            <a:chExt cx="351158" cy="217580"/>
          </a:xfrm>
        </p:grpSpPr>
        <p:sp>
          <p:nvSpPr>
            <p:cNvPr id="89" name="Oval 88">
              <a:extLst>
                <a:ext uri="{FF2B5EF4-FFF2-40B4-BE49-F238E27FC236}">
                  <a16:creationId xmlns:a16="http://schemas.microsoft.com/office/drawing/2014/main" id="{3BBBF5BD-EAF3-4CE6-A588-5866337D337D}"/>
                </a:ext>
              </a:extLst>
            </p:cNvPr>
            <p:cNvSpPr/>
            <p:nvPr/>
          </p:nvSpPr>
          <p:spPr>
            <a:xfrm>
              <a:off x="5424046" y="3581501"/>
              <a:ext cx="228600" cy="201168"/>
            </a:xfrm>
            <a:prstGeom prst="ellipse">
              <a:avLst/>
            </a:prstGeom>
            <a:solidFill>
              <a:srgbClr val="C9E7CA"/>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2" name="Rectangle 91">
              <a:extLst>
                <a:ext uri="{FF2B5EF4-FFF2-40B4-BE49-F238E27FC236}">
                  <a16:creationId xmlns:a16="http://schemas.microsoft.com/office/drawing/2014/main" id="{E2B4E320-7765-4AC1-AC17-C3F8E51D2C7F}"/>
                </a:ext>
              </a:extLst>
            </p:cNvPr>
            <p:cNvSpPr/>
            <p:nvPr/>
          </p:nvSpPr>
          <p:spPr>
            <a:xfrm>
              <a:off x="5362767" y="3565089"/>
              <a:ext cx="351158" cy="217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1</a:t>
              </a:r>
            </a:p>
          </p:txBody>
        </p:sp>
      </p:grpSp>
    </p:spTree>
    <p:extLst>
      <p:ext uri="{BB962C8B-B14F-4D97-AF65-F5344CB8AC3E}">
        <p14:creationId xmlns:p14="http://schemas.microsoft.com/office/powerpoint/2010/main" val="733283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38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9"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Section 1 - READ ME FIRST </a:t>
            </a:r>
            <a:br>
              <a:rPr lang="en-US" dirty="0"/>
            </a:br>
            <a:endParaRPr lang="en-US" dirty="0"/>
          </a:p>
        </p:txBody>
      </p:sp>
      <p:cxnSp>
        <p:nvCxnSpPr>
          <p:cNvPr id="10" name="Straight Connector 9"/>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a:grpSpLocks noChangeAspect="1"/>
          </p:cNvGrpSpPr>
          <p:nvPr/>
        </p:nvGrpSpPr>
        <p:grpSpPr>
          <a:xfrm>
            <a:off x="9449435" y="1671161"/>
            <a:ext cx="1644650" cy="1646238"/>
            <a:chOff x="5273675" y="2606040"/>
            <a:chExt cx="1644650" cy="1646238"/>
          </a:xfrm>
        </p:grpSpPr>
        <p:sp>
          <p:nvSpPr>
            <p:cNvPr id="18" name="AutoShape 16"/>
            <p:cNvSpPr>
              <a:spLocks noChangeAspect="1" noChangeArrowheads="1" noTextEdit="1"/>
            </p:cNvSpPr>
            <p:nvPr/>
          </p:nvSpPr>
          <p:spPr bwMode="auto">
            <a:xfrm>
              <a:off x="5273675" y="2606040"/>
              <a:ext cx="1644650"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5437186" y="3025140"/>
              <a:ext cx="1311276" cy="788987"/>
            </a:xfrm>
            <a:custGeom>
              <a:avLst/>
              <a:gdLst>
                <a:gd name="connsiteX0" fmla="*/ 655640 w 1311276"/>
                <a:gd name="connsiteY0" fmla="*/ 439738 h 788987"/>
                <a:gd name="connsiteX1" fmla="*/ 596902 w 1311276"/>
                <a:gd name="connsiteY1" fmla="*/ 498476 h 788987"/>
                <a:gd name="connsiteX2" fmla="*/ 655640 w 1311276"/>
                <a:gd name="connsiteY2" fmla="*/ 557214 h 788987"/>
                <a:gd name="connsiteX3" fmla="*/ 714378 w 1311276"/>
                <a:gd name="connsiteY3" fmla="*/ 498476 h 788987"/>
                <a:gd name="connsiteX4" fmla="*/ 655640 w 1311276"/>
                <a:gd name="connsiteY4" fmla="*/ 439738 h 788987"/>
                <a:gd name="connsiteX5" fmla="*/ 1041249 w 1311276"/>
                <a:gd name="connsiteY5" fmla="*/ 314325 h 788987"/>
                <a:gd name="connsiteX6" fmla="*/ 1247777 w 1311276"/>
                <a:gd name="connsiteY6" fmla="*/ 520853 h 788987"/>
                <a:gd name="connsiteX7" fmla="*/ 1232055 w 1311276"/>
                <a:gd name="connsiteY7" fmla="*/ 536575 h 788987"/>
                <a:gd name="connsiteX8" fmla="*/ 1216333 w 1311276"/>
                <a:gd name="connsiteY8" fmla="*/ 520853 h 788987"/>
                <a:gd name="connsiteX9" fmla="*/ 1041249 w 1311276"/>
                <a:gd name="connsiteY9" fmla="*/ 345054 h 788987"/>
                <a:gd name="connsiteX10" fmla="*/ 1025527 w 1311276"/>
                <a:gd name="connsiteY10" fmla="*/ 330047 h 788987"/>
                <a:gd name="connsiteX11" fmla="*/ 1041249 w 1311276"/>
                <a:gd name="connsiteY11" fmla="*/ 314325 h 788987"/>
                <a:gd name="connsiteX12" fmla="*/ 268493 w 1311276"/>
                <a:gd name="connsiteY12" fmla="*/ 314325 h 788987"/>
                <a:gd name="connsiteX13" fmla="*/ 284164 w 1311276"/>
                <a:gd name="connsiteY13" fmla="*/ 330047 h 788987"/>
                <a:gd name="connsiteX14" fmla="*/ 268493 w 1311276"/>
                <a:gd name="connsiteY14" fmla="*/ 345054 h 788987"/>
                <a:gd name="connsiteX15" fmla="*/ 93257 w 1311276"/>
                <a:gd name="connsiteY15" fmla="*/ 520853 h 788987"/>
                <a:gd name="connsiteX16" fmla="*/ 77585 w 1311276"/>
                <a:gd name="connsiteY16" fmla="*/ 536575 h 788987"/>
                <a:gd name="connsiteX17" fmla="*/ 61914 w 1311276"/>
                <a:gd name="connsiteY17" fmla="*/ 520853 h 788987"/>
                <a:gd name="connsiteX18" fmla="*/ 268493 w 1311276"/>
                <a:gd name="connsiteY18" fmla="*/ 314325 h 788987"/>
                <a:gd name="connsiteX19" fmla="*/ 1042195 w 1311276"/>
                <a:gd name="connsiteY19" fmla="*/ 282574 h 788987"/>
                <a:gd name="connsiteX20" fmla="*/ 804863 w 1311276"/>
                <a:gd name="connsiteY20" fmla="*/ 519906 h 788987"/>
                <a:gd name="connsiteX21" fmla="*/ 1042195 w 1311276"/>
                <a:gd name="connsiteY21" fmla="*/ 757238 h 788987"/>
                <a:gd name="connsiteX22" fmla="*/ 1279527 w 1311276"/>
                <a:gd name="connsiteY22" fmla="*/ 519906 h 788987"/>
                <a:gd name="connsiteX23" fmla="*/ 1042195 w 1311276"/>
                <a:gd name="connsiteY23" fmla="*/ 282574 h 788987"/>
                <a:gd name="connsiteX24" fmla="*/ 267494 w 1311276"/>
                <a:gd name="connsiteY24" fmla="*/ 282573 h 788987"/>
                <a:gd name="connsiteX25" fmla="*/ 30162 w 1311276"/>
                <a:gd name="connsiteY25" fmla="*/ 519905 h 788987"/>
                <a:gd name="connsiteX26" fmla="*/ 267494 w 1311276"/>
                <a:gd name="connsiteY26" fmla="*/ 757237 h 788987"/>
                <a:gd name="connsiteX27" fmla="*/ 504826 w 1311276"/>
                <a:gd name="connsiteY27" fmla="*/ 519905 h 788987"/>
                <a:gd name="connsiteX28" fmla="*/ 267494 w 1311276"/>
                <a:gd name="connsiteY28" fmla="*/ 282573 h 788987"/>
                <a:gd name="connsiteX29" fmla="*/ 1042552 w 1311276"/>
                <a:gd name="connsiteY29" fmla="*/ 250824 h 788987"/>
                <a:gd name="connsiteX30" fmla="*/ 1311276 w 1311276"/>
                <a:gd name="connsiteY30" fmla="*/ 519548 h 788987"/>
                <a:gd name="connsiteX31" fmla="*/ 1042552 w 1311276"/>
                <a:gd name="connsiteY31" fmla="*/ 788987 h 788987"/>
                <a:gd name="connsiteX32" fmla="*/ 773113 w 1311276"/>
                <a:gd name="connsiteY32" fmla="*/ 519548 h 788987"/>
                <a:gd name="connsiteX33" fmla="*/ 1042552 w 1311276"/>
                <a:gd name="connsiteY33" fmla="*/ 250824 h 788987"/>
                <a:gd name="connsiteX34" fmla="*/ 268288 w 1311276"/>
                <a:gd name="connsiteY34" fmla="*/ 250823 h 788987"/>
                <a:gd name="connsiteX35" fmla="*/ 536576 w 1311276"/>
                <a:gd name="connsiteY35" fmla="*/ 519905 h 788987"/>
                <a:gd name="connsiteX36" fmla="*/ 268288 w 1311276"/>
                <a:gd name="connsiteY36" fmla="*/ 788987 h 788987"/>
                <a:gd name="connsiteX37" fmla="*/ 0 w 1311276"/>
                <a:gd name="connsiteY37" fmla="*/ 519905 h 788987"/>
                <a:gd name="connsiteX38" fmla="*/ 268288 w 1311276"/>
                <a:gd name="connsiteY38" fmla="*/ 250823 h 788987"/>
                <a:gd name="connsiteX39" fmla="*/ 461501 w 1311276"/>
                <a:gd name="connsiteY39" fmla="*/ 0 h 788987"/>
                <a:gd name="connsiteX40" fmla="*/ 576414 w 1311276"/>
                <a:gd name="connsiteY40" fmla="*/ 114937 h 788987"/>
                <a:gd name="connsiteX41" fmla="*/ 576414 w 1311276"/>
                <a:gd name="connsiteY41" fmla="*/ 129929 h 788987"/>
                <a:gd name="connsiteX42" fmla="*/ 569277 w 1311276"/>
                <a:gd name="connsiteY42" fmla="*/ 203460 h 788987"/>
                <a:gd name="connsiteX43" fmla="*/ 583551 w 1311276"/>
                <a:gd name="connsiteY43" fmla="*/ 227732 h 788987"/>
                <a:gd name="connsiteX44" fmla="*/ 655640 w 1311276"/>
                <a:gd name="connsiteY44" fmla="*/ 190610 h 788987"/>
                <a:gd name="connsiteX45" fmla="*/ 727728 w 1311276"/>
                <a:gd name="connsiteY45" fmla="*/ 227019 h 788987"/>
                <a:gd name="connsiteX46" fmla="*/ 742002 w 1311276"/>
                <a:gd name="connsiteY46" fmla="*/ 203460 h 788987"/>
                <a:gd name="connsiteX47" fmla="*/ 734865 w 1311276"/>
                <a:gd name="connsiteY47" fmla="*/ 129929 h 788987"/>
                <a:gd name="connsiteX48" fmla="*/ 734865 w 1311276"/>
                <a:gd name="connsiteY48" fmla="*/ 114937 h 788987"/>
                <a:gd name="connsiteX49" fmla="*/ 849778 w 1311276"/>
                <a:gd name="connsiteY49" fmla="*/ 0 h 788987"/>
                <a:gd name="connsiteX50" fmla="*/ 938282 w 1311276"/>
                <a:gd name="connsiteY50" fmla="*/ 42120 h 788987"/>
                <a:gd name="connsiteX51" fmla="*/ 987530 w 1311276"/>
                <a:gd name="connsiteY51" fmla="*/ 98518 h 788987"/>
                <a:gd name="connsiteX52" fmla="*/ 988244 w 1311276"/>
                <a:gd name="connsiteY52" fmla="*/ 102801 h 788987"/>
                <a:gd name="connsiteX53" fmla="*/ 1121714 w 1311276"/>
                <a:gd name="connsiteY53" fmla="*/ 179188 h 788987"/>
                <a:gd name="connsiteX54" fmla="*/ 1133848 w 1311276"/>
                <a:gd name="connsiteY54" fmla="*/ 192038 h 788987"/>
                <a:gd name="connsiteX55" fmla="*/ 1154546 w 1311276"/>
                <a:gd name="connsiteY55" fmla="*/ 214168 h 788987"/>
                <a:gd name="connsiteX56" fmla="*/ 1193802 w 1311276"/>
                <a:gd name="connsiteY56" fmla="*/ 261286 h 788987"/>
                <a:gd name="connsiteX57" fmla="*/ 1041775 w 1311276"/>
                <a:gd name="connsiteY57" fmla="*/ 220594 h 788987"/>
                <a:gd name="connsiteX58" fmla="*/ 744857 w 1311276"/>
                <a:gd name="connsiteY58" fmla="*/ 486162 h 788987"/>
                <a:gd name="connsiteX59" fmla="*/ 745571 w 1311276"/>
                <a:gd name="connsiteY59" fmla="*/ 499013 h 788987"/>
                <a:gd name="connsiteX60" fmla="*/ 655640 w 1311276"/>
                <a:gd name="connsiteY60" fmla="*/ 588963 h 788987"/>
                <a:gd name="connsiteX61" fmla="*/ 566422 w 1311276"/>
                <a:gd name="connsiteY61" fmla="*/ 499013 h 788987"/>
                <a:gd name="connsiteX62" fmla="*/ 566422 w 1311276"/>
                <a:gd name="connsiteY62" fmla="*/ 489018 h 788987"/>
                <a:gd name="connsiteX63" fmla="*/ 268791 w 1311276"/>
                <a:gd name="connsiteY63" fmla="*/ 220594 h 788987"/>
                <a:gd name="connsiteX64" fmla="*/ 117477 w 1311276"/>
                <a:gd name="connsiteY64" fmla="*/ 261286 h 788987"/>
                <a:gd name="connsiteX65" fmla="*/ 156019 w 1311276"/>
                <a:gd name="connsiteY65" fmla="*/ 214168 h 788987"/>
                <a:gd name="connsiteX66" fmla="*/ 177432 w 1311276"/>
                <a:gd name="connsiteY66" fmla="*/ 192038 h 788987"/>
                <a:gd name="connsiteX67" fmla="*/ 189565 w 1311276"/>
                <a:gd name="connsiteY67" fmla="*/ 179188 h 788987"/>
                <a:gd name="connsiteX68" fmla="*/ 322321 w 1311276"/>
                <a:gd name="connsiteY68" fmla="*/ 102801 h 788987"/>
                <a:gd name="connsiteX69" fmla="*/ 323749 w 1311276"/>
                <a:gd name="connsiteY69" fmla="*/ 98518 h 788987"/>
                <a:gd name="connsiteX70" fmla="*/ 372997 w 1311276"/>
                <a:gd name="connsiteY70" fmla="*/ 42120 h 788987"/>
                <a:gd name="connsiteX71" fmla="*/ 461501 w 1311276"/>
                <a:gd name="connsiteY71"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11276" h="788987">
                  <a:moveTo>
                    <a:pt x="655640" y="439738"/>
                  </a:moveTo>
                  <a:cubicBezTo>
                    <a:pt x="623200" y="439738"/>
                    <a:pt x="596902" y="466036"/>
                    <a:pt x="596902" y="498476"/>
                  </a:cubicBezTo>
                  <a:cubicBezTo>
                    <a:pt x="596902" y="530916"/>
                    <a:pt x="623200" y="557214"/>
                    <a:pt x="655640" y="557214"/>
                  </a:cubicBezTo>
                  <a:cubicBezTo>
                    <a:pt x="688080" y="557214"/>
                    <a:pt x="714378" y="530916"/>
                    <a:pt x="714378" y="498476"/>
                  </a:cubicBezTo>
                  <a:cubicBezTo>
                    <a:pt x="714378" y="466036"/>
                    <a:pt x="688080" y="439738"/>
                    <a:pt x="655640" y="439738"/>
                  </a:cubicBezTo>
                  <a:close/>
                  <a:moveTo>
                    <a:pt x="1041249" y="314325"/>
                  </a:moveTo>
                  <a:cubicBezTo>
                    <a:pt x="1154875" y="314325"/>
                    <a:pt x="1247777" y="407227"/>
                    <a:pt x="1247777" y="520853"/>
                  </a:cubicBezTo>
                  <a:cubicBezTo>
                    <a:pt x="1247777" y="529429"/>
                    <a:pt x="1240631" y="536575"/>
                    <a:pt x="1232055" y="536575"/>
                  </a:cubicBezTo>
                  <a:cubicBezTo>
                    <a:pt x="1223480" y="536575"/>
                    <a:pt x="1216333" y="529429"/>
                    <a:pt x="1216333" y="520853"/>
                  </a:cubicBezTo>
                  <a:cubicBezTo>
                    <a:pt x="1216333" y="424378"/>
                    <a:pt x="1137009" y="345054"/>
                    <a:pt x="1041249" y="345054"/>
                  </a:cubicBezTo>
                  <a:cubicBezTo>
                    <a:pt x="1031959" y="345054"/>
                    <a:pt x="1025527" y="338623"/>
                    <a:pt x="1025527" y="330047"/>
                  </a:cubicBezTo>
                  <a:cubicBezTo>
                    <a:pt x="1025527" y="321471"/>
                    <a:pt x="1031959" y="314325"/>
                    <a:pt x="1041249" y="314325"/>
                  </a:cubicBezTo>
                  <a:close/>
                  <a:moveTo>
                    <a:pt x="268493" y="314325"/>
                  </a:moveTo>
                  <a:cubicBezTo>
                    <a:pt x="277753" y="314325"/>
                    <a:pt x="284164" y="321471"/>
                    <a:pt x="284164" y="330047"/>
                  </a:cubicBezTo>
                  <a:cubicBezTo>
                    <a:pt x="284164" y="338623"/>
                    <a:pt x="277753" y="345054"/>
                    <a:pt x="268493" y="345054"/>
                  </a:cubicBezTo>
                  <a:cubicBezTo>
                    <a:pt x="172327" y="345054"/>
                    <a:pt x="93257" y="424378"/>
                    <a:pt x="93257" y="520853"/>
                  </a:cubicBezTo>
                  <a:cubicBezTo>
                    <a:pt x="93257" y="529429"/>
                    <a:pt x="86133" y="536575"/>
                    <a:pt x="77585" y="536575"/>
                  </a:cubicBezTo>
                  <a:cubicBezTo>
                    <a:pt x="69037" y="536575"/>
                    <a:pt x="61914" y="529429"/>
                    <a:pt x="61914" y="520853"/>
                  </a:cubicBezTo>
                  <a:cubicBezTo>
                    <a:pt x="61914" y="407227"/>
                    <a:pt x="154518" y="314325"/>
                    <a:pt x="268493" y="314325"/>
                  </a:cubicBezTo>
                  <a:close/>
                  <a:moveTo>
                    <a:pt x="1042195" y="282574"/>
                  </a:moveTo>
                  <a:cubicBezTo>
                    <a:pt x="911120" y="282574"/>
                    <a:pt x="804863" y="388831"/>
                    <a:pt x="804863" y="519906"/>
                  </a:cubicBezTo>
                  <a:cubicBezTo>
                    <a:pt x="804863" y="650981"/>
                    <a:pt x="911120" y="757238"/>
                    <a:pt x="1042195" y="757238"/>
                  </a:cubicBezTo>
                  <a:cubicBezTo>
                    <a:pt x="1173270" y="757238"/>
                    <a:pt x="1279527" y="650981"/>
                    <a:pt x="1279527" y="519906"/>
                  </a:cubicBezTo>
                  <a:cubicBezTo>
                    <a:pt x="1279527" y="388831"/>
                    <a:pt x="1173270" y="282574"/>
                    <a:pt x="1042195" y="282574"/>
                  </a:cubicBezTo>
                  <a:close/>
                  <a:moveTo>
                    <a:pt x="267494" y="282573"/>
                  </a:moveTo>
                  <a:cubicBezTo>
                    <a:pt x="136419" y="282573"/>
                    <a:pt x="30162" y="388830"/>
                    <a:pt x="30162" y="519905"/>
                  </a:cubicBezTo>
                  <a:cubicBezTo>
                    <a:pt x="30162" y="650980"/>
                    <a:pt x="136419" y="757237"/>
                    <a:pt x="267494" y="757237"/>
                  </a:cubicBezTo>
                  <a:cubicBezTo>
                    <a:pt x="398569" y="757237"/>
                    <a:pt x="504826" y="650980"/>
                    <a:pt x="504826" y="519905"/>
                  </a:cubicBezTo>
                  <a:cubicBezTo>
                    <a:pt x="504826" y="388830"/>
                    <a:pt x="398569" y="282573"/>
                    <a:pt x="267494" y="282573"/>
                  </a:cubicBezTo>
                  <a:close/>
                  <a:moveTo>
                    <a:pt x="1042552" y="250824"/>
                  </a:moveTo>
                  <a:cubicBezTo>
                    <a:pt x="1190493" y="250824"/>
                    <a:pt x="1311276" y="371607"/>
                    <a:pt x="1311276" y="519548"/>
                  </a:cubicBezTo>
                  <a:cubicBezTo>
                    <a:pt x="1311276" y="668204"/>
                    <a:pt x="1190493" y="788987"/>
                    <a:pt x="1042552" y="788987"/>
                  </a:cubicBezTo>
                  <a:cubicBezTo>
                    <a:pt x="893181" y="788987"/>
                    <a:pt x="773113" y="668204"/>
                    <a:pt x="773113" y="519548"/>
                  </a:cubicBezTo>
                  <a:cubicBezTo>
                    <a:pt x="773113" y="371607"/>
                    <a:pt x="893181" y="250824"/>
                    <a:pt x="1042552" y="250824"/>
                  </a:cubicBezTo>
                  <a:close/>
                  <a:moveTo>
                    <a:pt x="268288" y="250823"/>
                  </a:moveTo>
                  <a:cubicBezTo>
                    <a:pt x="416459" y="250823"/>
                    <a:pt x="536576" y="371295"/>
                    <a:pt x="536576" y="519905"/>
                  </a:cubicBezTo>
                  <a:cubicBezTo>
                    <a:pt x="536576" y="668515"/>
                    <a:pt x="416459" y="788987"/>
                    <a:pt x="268288" y="788987"/>
                  </a:cubicBezTo>
                  <a:cubicBezTo>
                    <a:pt x="120117" y="788987"/>
                    <a:pt x="0" y="668515"/>
                    <a:pt x="0" y="519905"/>
                  </a:cubicBezTo>
                  <a:cubicBezTo>
                    <a:pt x="0" y="371295"/>
                    <a:pt x="120117" y="250823"/>
                    <a:pt x="268288" y="250823"/>
                  </a:cubicBezTo>
                  <a:close/>
                  <a:moveTo>
                    <a:pt x="461501" y="0"/>
                  </a:moveTo>
                  <a:cubicBezTo>
                    <a:pt x="524311" y="0"/>
                    <a:pt x="576414" y="51401"/>
                    <a:pt x="576414" y="114937"/>
                  </a:cubicBezTo>
                  <a:cubicBezTo>
                    <a:pt x="576414" y="119221"/>
                    <a:pt x="576414" y="124932"/>
                    <a:pt x="576414" y="129929"/>
                  </a:cubicBezTo>
                  <a:cubicBezTo>
                    <a:pt x="577128" y="154201"/>
                    <a:pt x="577841" y="183471"/>
                    <a:pt x="569277" y="203460"/>
                  </a:cubicBezTo>
                  <a:cubicBezTo>
                    <a:pt x="574273" y="211313"/>
                    <a:pt x="579269" y="219166"/>
                    <a:pt x="583551" y="227732"/>
                  </a:cubicBezTo>
                  <a:cubicBezTo>
                    <a:pt x="599968" y="205602"/>
                    <a:pt x="626376" y="190610"/>
                    <a:pt x="655640" y="190610"/>
                  </a:cubicBezTo>
                  <a:cubicBezTo>
                    <a:pt x="685617" y="190610"/>
                    <a:pt x="711312" y="204888"/>
                    <a:pt x="727728" y="227019"/>
                  </a:cubicBezTo>
                  <a:cubicBezTo>
                    <a:pt x="732010" y="219166"/>
                    <a:pt x="737006" y="210599"/>
                    <a:pt x="742002" y="203460"/>
                  </a:cubicBezTo>
                  <a:cubicBezTo>
                    <a:pt x="732724" y="183471"/>
                    <a:pt x="734151" y="154201"/>
                    <a:pt x="734865" y="129929"/>
                  </a:cubicBezTo>
                  <a:cubicBezTo>
                    <a:pt x="734865" y="124932"/>
                    <a:pt x="734865" y="119221"/>
                    <a:pt x="734865" y="114937"/>
                  </a:cubicBezTo>
                  <a:cubicBezTo>
                    <a:pt x="734865" y="51401"/>
                    <a:pt x="786255" y="0"/>
                    <a:pt x="849778" y="0"/>
                  </a:cubicBezTo>
                  <a:cubicBezTo>
                    <a:pt x="886892" y="0"/>
                    <a:pt x="914728" y="22131"/>
                    <a:pt x="938282" y="42120"/>
                  </a:cubicBezTo>
                  <a:cubicBezTo>
                    <a:pt x="938996" y="42834"/>
                    <a:pt x="981820" y="81384"/>
                    <a:pt x="987530" y="98518"/>
                  </a:cubicBezTo>
                  <a:cubicBezTo>
                    <a:pt x="988244" y="99945"/>
                    <a:pt x="988244" y="101373"/>
                    <a:pt x="988244" y="102801"/>
                  </a:cubicBezTo>
                  <a:cubicBezTo>
                    <a:pt x="1041061" y="113509"/>
                    <a:pt x="1088168" y="139923"/>
                    <a:pt x="1121714" y="179188"/>
                  </a:cubicBezTo>
                  <a:cubicBezTo>
                    <a:pt x="1124569" y="182757"/>
                    <a:pt x="1128851" y="187041"/>
                    <a:pt x="1133848" y="192038"/>
                  </a:cubicBezTo>
                  <a:cubicBezTo>
                    <a:pt x="1140271" y="198463"/>
                    <a:pt x="1148122" y="206316"/>
                    <a:pt x="1154546" y="214168"/>
                  </a:cubicBezTo>
                  <a:cubicBezTo>
                    <a:pt x="1170962" y="233444"/>
                    <a:pt x="1183810" y="248435"/>
                    <a:pt x="1193802" y="261286"/>
                  </a:cubicBezTo>
                  <a:cubicBezTo>
                    <a:pt x="1148836" y="236299"/>
                    <a:pt x="1097447" y="220594"/>
                    <a:pt x="1041775" y="220594"/>
                  </a:cubicBezTo>
                  <a:cubicBezTo>
                    <a:pt x="888320" y="220594"/>
                    <a:pt x="761274" y="336958"/>
                    <a:pt x="744857" y="486162"/>
                  </a:cubicBezTo>
                  <a:cubicBezTo>
                    <a:pt x="745571" y="490446"/>
                    <a:pt x="745571" y="494729"/>
                    <a:pt x="745571" y="499013"/>
                  </a:cubicBezTo>
                  <a:cubicBezTo>
                    <a:pt x="745571" y="548271"/>
                    <a:pt x="705602" y="588963"/>
                    <a:pt x="655640" y="588963"/>
                  </a:cubicBezTo>
                  <a:cubicBezTo>
                    <a:pt x="606391" y="588963"/>
                    <a:pt x="566422" y="548271"/>
                    <a:pt x="566422" y="499013"/>
                  </a:cubicBezTo>
                  <a:cubicBezTo>
                    <a:pt x="566422" y="495443"/>
                    <a:pt x="566422" y="491873"/>
                    <a:pt x="566422" y="489018"/>
                  </a:cubicBezTo>
                  <a:cubicBezTo>
                    <a:pt x="551433" y="338386"/>
                    <a:pt x="423673" y="220594"/>
                    <a:pt x="268791" y="220594"/>
                  </a:cubicBezTo>
                  <a:cubicBezTo>
                    <a:pt x="213833" y="220594"/>
                    <a:pt x="162443" y="236299"/>
                    <a:pt x="117477" y="261286"/>
                  </a:cubicBezTo>
                  <a:cubicBezTo>
                    <a:pt x="127470" y="248435"/>
                    <a:pt x="140317" y="233444"/>
                    <a:pt x="156019" y="214168"/>
                  </a:cubicBezTo>
                  <a:cubicBezTo>
                    <a:pt x="163157" y="206316"/>
                    <a:pt x="170294" y="198463"/>
                    <a:pt x="177432" y="192038"/>
                  </a:cubicBezTo>
                  <a:cubicBezTo>
                    <a:pt x="181714" y="187041"/>
                    <a:pt x="186710" y="182757"/>
                    <a:pt x="189565" y="179188"/>
                  </a:cubicBezTo>
                  <a:cubicBezTo>
                    <a:pt x="223111" y="139923"/>
                    <a:pt x="270218" y="113509"/>
                    <a:pt x="322321" y="102801"/>
                  </a:cubicBezTo>
                  <a:cubicBezTo>
                    <a:pt x="323035" y="101373"/>
                    <a:pt x="323035" y="99945"/>
                    <a:pt x="323749" y="98518"/>
                  </a:cubicBezTo>
                  <a:cubicBezTo>
                    <a:pt x="329459" y="81384"/>
                    <a:pt x="372283" y="42834"/>
                    <a:pt x="372997" y="42120"/>
                  </a:cubicBezTo>
                  <a:cubicBezTo>
                    <a:pt x="395837" y="22131"/>
                    <a:pt x="424387" y="0"/>
                    <a:pt x="46150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81435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356"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683744B2-73FC-4E90-AD73-DB3B1E398192}"/>
              </a:ext>
            </a:extLst>
          </p:cNvPr>
          <p:cNvSpPr/>
          <p:nvPr/>
        </p:nvSpPr>
        <p:spPr>
          <a:xfrm>
            <a:off x="0" y="0"/>
            <a:ext cx="3581777"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154" name="Table 153"/>
          <p:cNvGraphicFramePr>
            <a:graphicFrameLocks noGrp="1"/>
          </p:cNvGraphicFramePr>
          <p:nvPr>
            <p:extLst>
              <p:ext uri="{D42A27DB-BD31-4B8C-83A1-F6EECF244321}">
                <p14:modId xmlns:p14="http://schemas.microsoft.com/office/powerpoint/2010/main" val="204932776"/>
              </p:ext>
            </p:extLst>
          </p:nvPr>
        </p:nvGraphicFramePr>
        <p:xfrm>
          <a:off x="3847609" y="0"/>
          <a:ext cx="8174361" cy="6858005"/>
        </p:xfrm>
        <a:graphic>
          <a:graphicData uri="http://schemas.openxmlformats.org/drawingml/2006/table">
            <a:tbl>
              <a:tblPr/>
              <a:tblGrid>
                <a:gridCol w="2748891">
                  <a:extLst>
                    <a:ext uri="{9D8B030D-6E8A-4147-A177-3AD203B41FA5}">
                      <a16:colId xmlns:a16="http://schemas.microsoft.com/office/drawing/2014/main" val="20000"/>
                    </a:ext>
                  </a:extLst>
                </a:gridCol>
                <a:gridCol w="1085094">
                  <a:extLst>
                    <a:ext uri="{9D8B030D-6E8A-4147-A177-3AD203B41FA5}">
                      <a16:colId xmlns:a16="http://schemas.microsoft.com/office/drawing/2014/main" val="586602614"/>
                    </a:ext>
                  </a:extLst>
                </a:gridCol>
                <a:gridCol w="1085094">
                  <a:extLst>
                    <a:ext uri="{9D8B030D-6E8A-4147-A177-3AD203B41FA5}">
                      <a16:colId xmlns:a16="http://schemas.microsoft.com/office/drawing/2014/main" val="3551981348"/>
                    </a:ext>
                  </a:extLst>
                </a:gridCol>
                <a:gridCol w="1085094">
                  <a:extLst>
                    <a:ext uri="{9D8B030D-6E8A-4147-A177-3AD203B41FA5}">
                      <a16:colId xmlns:a16="http://schemas.microsoft.com/office/drawing/2014/main" val="2229609214"/>
                    </a:ext>
                  </a:extLst>
                </a:gridCol>
                <a:gridCol w="1085094">
                  <a:extLst>
                    <a:ext uri="{9D8B030D-6E8A-4147-A177-3AD203B41FA5}">
                      <a16:colId xmlns:a16="http://schemas.microsoft.com/office/drawing/2014/main" val="3371755498"/>
                    </a:ext>
                  </a:extLst>
                </a:gridCol>
                <a:gridCol w="1085094">
                  <a:extLst>
                    <a:ext uri="{9D8B030D-6E8A-4147-A177-3AD203B41FA5}">
                      <a16:colId xmlns:a16="http://schemas.microsoft.com/office/drawing/2014/main" val="1471656608"/>
                    </a:ext>
                  </a:extLst>
                </a:gridCol>
              </a:tblGrid>
              <a:tr h="166473">
                <a:tc>
                  <a:txBody>
                    <a:bodyPr/>
                    <a:lstStyle/>
                    <a:p>
                      <a:pPr algn="l" rtl="0" fontAlgn="ctr"/>
                      <a:endParaRPr lang="en-GB" sz="10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19 Average</a:t>
                      </a:r>
                      <a:endParaRPr lang="en-GB" sz="1000" b="1" i="0" u="none" strike="noStrike" dirty="0">
                        <a:solidFill>
                          <a:srgbClr val="29BA74"/>
                        </a:solidFill>
                        <a:effectLst/>
                        <a:latin typeface="+mj-lt"/>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0 Average</a:t>
                      </a:r>
                      <a:endParaRPr lang="en-GB" sz="1000" b="1" i="0" u="none" strike="noStrike" dirty="0">
                        <a:solidFill>
                          <a:srgbClr val="29BA74"/>
                        </a:solidFill>
                        <a:effectLst/>
                        <a:latin typeface="+mj-lt"/>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1 Average</a:t>
                      </a:r>
                      <a:endParaRPr lang="en-GB" sz="1000" b="1" i="0" u="none" strike="noStrike" kern="1200" dirty="0">
                        <a:solidFill>
                          <a:srgbClr val="29BA74"/>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1 vs 2020</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1 vs 2019</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66473">
                <a:tc>
                  <a:txBody>
                    <a:bodyPr/>
                    <a:lstStyle/>
                    <a:p>
                      <a:pPr algn="l" rtl="0" fontAlgn="ctr"/>
                      <a:endParaRPr lang="en-GB" sz="10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gridSpan="3">
                  <a:txBody>
                    <a:bodyPr/>
                    <a:lstStyle/>
                    <a:p>
                      <a:pPr algn="ctr" rtl="0" fontAlgn="ctr"/>
                      <a:r>
                        <a:rPr lang="en-GB" sz="1000" b="1" i="0" u="none" strike="noStrike" kern="1200" dirty="0">
                          <a:solidFill>
                            <a:srgbClr val="575757"/>
                          </a:solidFill>
                          <a:effectLst/>
                          <a:latin typeface="+mn-lt"/>
                          <a:ea typeface="+mn-ea"/>
                          <a:cs typeface="+mn-cs"/>
                        </a:rPr>
                        <a:t>% E-SAT</a:t>
                      </a: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rtl="0" fontAlgn="ctr"/>
                      <a:endParaRPr lang="en-GB" sz="1000" b="1" i="0" u="none" strike="noStrike" dirty="0">
                        <a:solidFill>
                          <a:srgbClr val="29BA74"/>
                        </a:solidFill>
                        <a:effectLst/>
                        <a:latin typeface="+mj-lt"/>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algn="ctr" rtl="0" fontAlgn="ctr"/>
                      <a:endParaRPr lang="en-GB" sz="1000" b="1" i="0" u="none" strike="noStrike" kern="1200" dirty="0">
                        <a:solidFill>
                          <a:srgbClr val="29BA74"/>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gridSpan="2">
                  <a:txBody>
                    <a:bodyPr/>
                    <a:lstStyle/>
                    <a:p>
                      <a:pPr algn="ctr" rtl="0" fontAlgn="ctr"/>
                      <a:r>
                        <a:rPr lang="en-GB" sz="1000" b="1" i="0" u="none" strike="noStrike" kern="1200" dirty="0">
                          <a:solidFill>
                            <a:srgbClr val="575757"/>
                          </a:solidFill>
                          <a:effectLst/>
                          <a:latin typeface="+mn-lt"/>
                          <a:ea typeface="+mn-ea"/>
                          <a:cs typeface="+mn-cs"/>
                        </a:rPr>
                        <a:t>Trend</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rtl="0" fontAlgn="ctr"/>
                      <a:endParaRPr lang="en-GB" sz="1000" b="1" i="0" u="none" strike="noStrike" kern="1200" dirty="0">
                        <a:solidFill>
                          <a:srgbClr val="29BA74"/>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530601246"/>
                  </a:ext>
                </a:extLst>
              </a:tr>
              <a:tr h="166473">
                <a:tc>
                  <a:txBody>
                    <a:bodyPr/>
                    <a:lstStyle/>
                    <a:p>
                      <a:pPr algn="l" rtl="0" fontAlgn="ctr"/>
                      <a:r>
                        <a:rPr lang="en-GB" sz="900" b="0" i="1" u="none" strike="noStrike" dirty="0">
                          <a:solidFill>
                            <a:srgbClr val="575757"/>
                          </a:solidFill>
                          <a:effectLst/>
                          <a:latin typeface="+mj-lt"/>
                        </a:rPr>
                        <a:t>Overall IT E-SAT</a:t>
                      </a:r>
                      <a:endParaRPr lang="en-GB" sz="900" b="0" i="1" u="none" strike="noStrike" baseline="30000" dirty="0">
                        <a:solidFill>
                          <a:srgbClr val="575757"/>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GB" sz="1000" b="0" i="0" u="none" strike="noStrike" dirty="0">
                          <a:solidFill>
                            <a:srgbClr val="575757"/>
                          </a:solidFill>
                          <a:effectLst/>
                          <a:latin typeface="+mj-lt"/>
                        </a:rPr>
                        <a:t>74</a:t>
                      </a: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a:txBody>
                    <a:bodyPr/>
                    <a:lstStyle/>
                    <a:p>
                      <a:pPr algn="ctr" rtl="0" fontAlgn="ctr"/>
                      <a:r>
                        <a:rPr lang="en-GB" sz="1000" b="0" i="0" u="none" strike="noStrike" dirty="0">
                          <a:solidFill>
                            <a:srgbClr val="FFFFFF"/>
                          </a:solidFill>
                          <a:effectLst/>
                          <a:latin typeface="+mj-lt"/>
                        </a:rPr>
                        <a:t>83</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00" b="0" i="0" u="none" strike="noStrike" kern="1200" dirty="0">
                          <a:solidFill>
                            <a:srgbClr val="FFFFFF"/>
                          </a:solidFill>
                          <a:effectLst/>
                          <a:latin typeface="Trebuchet MS" panose="020B0603020202020204" pitchFamily="34" charset="0"/>
                          <a:ea typeface="+mn-ea"/>
                          <a:cs typeface="+mn-cs"/>
                        </a:rPr>
                        <a:t>85</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000" b="0" i="0" u="none" strike="noStrike" kern="1200" cap="none" spc="0" normalizeH="0" baseline="0" noProof="0" dirty="0">
                          <a:ln>
                            <a:noFill/>
                          </a:ln>
                          <a:solidFill>
                            <a:srgbClr val="575757"/>
                          </a:solidFill>
                          <a:effectLst/>
                          <a:uLnTx/>
                          <a:uFillTx/>
                          <a:latin typeface="+mn-lt"/>
                          <a:ea typeface="+mn-ea"/>
                          <a:cs typeface="+mn-cs"/>
                        </a:rPr>
                        <a:t>2</a:t>
                      </a:r>
                      <a:r>
                        <a:rPr lang="en-US" sz="1000" b="0" i="0" u="none" strike="noStrike" kern="1200" dirty="0">
                          <a:solidFill>
                            <a:srgbClr val="575757"/>
                          </a:solidFill>
                          <a:effectLst/>
                          <a:latin typeface="+mn-lt"/>
                          <a:ea typeface="+mn-ea"/>
                          <a:cs typeface="+mn-cs"/>
                        </a:rPr>
                        <a: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1%</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82473">
                <a:tc gridSpan="6">
                  <a:txBody>
                    <a:bodyPr/>
                    <a:lstStyle/>
                    <a:p>
                      <a:pPr algn="l" fontAlgn="b"/>
                      <a:r>
                        <a:rPr lang="en-US" sz="1100" b="1" i="0" u="none" strike="noStrike" kern="1200" dirty="0">
                          <a:solidFill>
                            <a:srgbClr val="E71C57"/>
                          </a:solidFill>
                          <a:effectLst/>
                          <a:latin typeface="+mj-lt"/>
                          <a:ea typeface="+mn-ea"/>
                          <a:cs typeface="+mn-cs"/>
                        </a:rPr>
                        <a:t>Critical Products </a:t>
                      </a:r>
                      <a:r>
                        <a:rPr lang="en-US" sz="1100" b="1" i="0" u="none" strike="noStrike" kern="1200" dirty="0">
                          <a:solidFill>
                            <a:srgbClr val="E71C57"/>
                          </a:solidFill>
                          <a:effectLst/>
                          <a:latin typeface="Wingdings 3" panose="05040102010807070707" pitchFamily="18" charset="2"/>
                          <a:ea typeface="+mn-ea"/>
                          <a:cs typeface="+mn-cs"/>
                        </a:rPr>
                        <a:t>i</a:t>
                      </a:r>
                    </a:p>
                  </a:txBody>
                  <a:tcPr marL="6350" marR="6350" marT="635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772782883"/>
                  </a:ext>
                </a:extLst>
              </a:tr>
              <a:tr h="166490">
                <a:tc>
                  <a:txBody>
                    <a:bodyPr/>
                    <a:lstStyle/>
                    <a:p>
                      <a:pPr algn="l" fontAlgn="b"/>
                      <a:r>
                        <a:rPr lang="en-US" sz="1000" b="0" i="0" u="none" strike="noStrike" kern="1200" dirty="0">
                          <a:solidFill>
                            <a:srgbClr val="575757"/>
                          </a:solidFill>
                          <a:effectLst/>
                          <a:latin typeface="+mn-lt"/>
                          <a:ea typeface="+mn-ea"/>
                          <a:cs typeface="+mn-cs"/>
                        </a:rPr>
                        <a:t>Microsoft Outlook (Emai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4</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6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2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366092117"/>
                  </a:ext>
                </a:extLst>
              </a:tr>
              <a:tr h="166490">
                <a:tc>
                  <a:txBody>
                    <a:bodyPr/>
                    <a:lstStyle/>
                    <a:p>
                      <a:pPr algn="l" fontAlgn="b"/>
                      <a:r>
                        <a:rPr lang="en-US" sz="1000" b="0" i="0" u="none" strike="noStrike" kern="1200" dirty="0">
                          <a:solidFill>
                            <a:srgbClr val="575757"/>
                          </a:solidFill>
                          <a:effectLst/>
                          <a:latin typeface="+mn-lt"/>
                          <a:ea typeface="+mn-ea"/>
                          <a:cs typeface="+mn-cs"/>
                        </a:rPr>
                        <a:t>Timesheets – Infor</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0</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FFFFFF"/>
                          </a:solidFill>
                          <a:effectLst/>
                          <a:latin typeface="+mn-lt"/>
                          <a:ea typeface="+mn-ea"/>
                          <a:cs typeface="+mn-cs"/>
                        </a:rPr>
                        <a:t>4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575757"/>
                          </a:solidFill>
                          <a:effectLst/>
                          <a:latin typeface="+mn-lt"/>
                          <a:ea typeface="+mn-ea"/>
                          <a:cs typeface="+mn-cs"/>
                        </a:rPr>
                        <a:t>5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643548881"/>
                  </a:ext>
                </a:extLst>
              </a:tr>
              <a:tr h="166490">
                <a:tc>
                  <a:txBody>
                    <a:bodyPr/>
                    <a:lstStyle/>
                    <a:p>
                      <a:pPr algn="l" fontAlgn="b"/>
                      <a:r>
                        <a:rPr lang="en-US" sz="1000" b="0" i="0" u="none" strike="noStrike" kern="1200" dirty="0">
                          <a:solidFill>
                            <a:srgbClr val="575757"/>
                          </a:solidFill>
                          <a:effectLst/>
                          <a:latin typeface="+mn-lt"/>
                          <a:ea typeface="+mn-ea"/>
                          <a:cs typeface="+mn-cs"/>
                        </a:rPr>
                        <a:t>Calendaring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000" b="0" i="0" u="none" strike="noStrike" kern="1200" dirty="0">
                          <a:solidFill>
                            <a:srgbClr val="575757"/>
                          </a:solidFill>
                          <a:effectLst/>
                          <a:latin typeface="+mn-lt"/>
                          <a:ea typeface="+mn-ea"/>
                          <a:cs typeface="+mn-cs"/>
                        </a:rPr>
                        <a:t>7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59583044"/>
                  </a:ext>
                </a:extLst>
              </a:tr>
              <a:tr h="166490">
                <a:tc>
                  <a:txBody>
                    <a:bodyPr/>
                    <a:lstStyle/>
                    <a:p>
                      <a:pPr algn="l" fontAlgn="b"/>
                      <a:r>
                        <a:rPr lang="en-US" sz="1000" b="0" i="0" u="none" strike="noStrike" kern="1200" dirty="0">
                          <a:solidFill>
                            <a:srgbClr val="575757"/>
                          </a:solidFill>
                          <a:effectLst/>
                          <a:latin typeface="+mn-lt"/>
                          <a:ea typeface="+mn-ea"/>
                          <a:cs typeface="+mn-cs"/>
                        </a:rPr>
                        <a:t>VPN</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FFFFFF"/>
                          </a:solidFill>
                          <a:effectLst/>
                          <a:latin typeface="+mn-lt"/>
                          <a:ea typeface="+mn-ea"/>
                          <a:cs typeface="+mn-cs"/>
                        </a:rPr>
                        <a:t>85</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288499483"/>
                  </a:ext>
                </a:extLst>
              </a:tr>
              <a:tr h="166490">
                <a:tc>
                  <a:txBody>
                    <a:bodyPr/>
                    <a:lstStyle/>
                    <a:p>
                      <a:pPr algn="l" fontAlgn="b"/>
                      <a:r>
                        <a:rPr lang="en-US" sz="1000" b="0" i="0" u="none" strike="noStrike" kern="1200" dirty="0">
                          <a:solidFill>
                            <a:srgbClr val="575757"/>
                          </a:solidFill>
                          <a:effectLst/>
                          <a:latin typeface="+mn-lt"/>
                          <a:ea typeface="+mn-ea"/>
                          <a:cs typeface="+mn-cs"/>
                        </a:rPr>
                        <a:t>Expenses - Chrome River</a:t>
                      </a:r>
                      <a:r>
                        <a:rPr lang="en-US" sz="1000" b="0" i="0" u="none" strike="noStrike" kern="1200" baseline="30000" dirty="0">
                          <a:solidFill>
                            <a:srgbClr val="575757"/>
                          </a:solidFill>
                          <a:effectLst/>
                          <a:latin typeface="+mn-lt"/>
                          <a:ea typeface="+mn-ea"/>
                          <a:cs typeface="+mn-cs"/>
                        </a:rPr>
                        <a:t>2</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6</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6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87046873"/>
                  </a:ext>
                </a:extLst>
              </a:tr>
              <a:tr h="166490">
                <a:tc>
                  <a:txBody>
                    <a:bodyPr/>
                    <a:lstStyle/>
                    <a:p>
                      <a:pPr algn="l" fontAlgn="b"/>
                      <a:r>
                        <a:rPr lang="en-US" sz="1000" b="0" i="0" u="none" strike="noStrike" kern="1200" dirty="0">
                          <a:solidFill>
                            <a:srgbClr val="575757"/>
                          </a:solidFill>
                          <a:effectLst/>
                          <a:latin typeface="+mn-lt"/>
                          <a:ea typeface="+mn-ea"/>
                          <a:cs typeface="+mn-cs"/>
                        </a:rPr>
                        <a:t>Microsoft OneNote</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FFFFFF"/>
                          </a:solidFill>
                          <a:effectLst/>
                          <a:latin typeface="+mn-lt"/>
                          <a:ea typeface="+mn-ea"/>
                          <a:cs typeface="+mn-cs"/>
                        </a:rPr>
                        <a:t>83</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745711991"/>
                  </a:ext>
                </a:extLst>
              </a:tr>
              <a:tr h="166490">
                <a:tc>
                  <a:txBody>
                    <a:bodyPr/>
                    <a:lstStyle/>
                    <a:p>
                      <a:pPr algn="l" fontAlgn="b"/>
                      <a:r>
                        <a:rPr lang="en-US" sz="1000" b="0" i="0" u="none" strike="noStrike" kern="1200" dirty="0">
                          <a:solidFill>
                            <a:srgbClr val="575757"/>
                          </a:solidFill>
                          <a:effectLst/>
                          <a:latin typeface="+mn-lt"/>
                          <a:ea typeface="+mn-ea"/>
                          <a:cs typeface="+mn-cs"/>
                        </a:rPr>
                        <a:t>Microsoft Word</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69</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mn-lt"/>
                          <a:ea typeface="+mn-ea"/>
                          <a:cs typeface="+mn-cs"/>
                        </a:rPr>
                        <a:t>8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723537287"/>
                  </a:ext>
                </a:extLst>
              </a:tr>
              <a:tr h="166490">
                <a:tc>
                  <a:txBody>
                    <a:bodyPr/>
                    <a:lstStyle/>
                    <a:p>
                      <a:pPr algn="l" fontAlgn="b"/>
                      <a:r>
                        <a:rPr lang="en-US" sz="1000" b="0" i="0" u="none" strike="noStrike" kern="1200" dirty="0">
                          <a:solidFill>
                            <a:srgbClr val="575757"/>
                          </a:solidFill>
                          <a:effectLst/>
                          <a:latin typeface="+mn-lt"/>
                          <a:ea typeface="+mn-ea"/>
                          <a:cs typeface="+mn-cs"/>
                        </a:rPr>
                        <a:t>IT Security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mn-lt"/>
                          <a:ea typeface="+mn-ea"/>
                          <a:cs typeface="+mn-cs"/>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695198019"/>
                  </a:ext>
                </a:extLst>
              </a:tr>
              <a:tr h="166490">
                <a:tc>
                  <a:txBody>
                    <a:bodyPr/>
                    <a:lstStyle/>
                    <a:p>
                      <a:pPr algn="l" fontAlgn="b"/>
                      <a:r>
                        <a:rPr lang="en-US" sz="1000" b="0" i="0" u="none" strike="noStrike" kern="1200" dirty="0">
                          <a:solidFill>
                            <a:srgbClr val="575757"/>
                          </a:solidFill>
                          <a:effectLst/>
                          <a:latin typeface="+mn-lt"/>
                          <a:ea typeface="+mn-ea"/>
                          <a:cs typeface="+mn-cs"/>
                        </a:rPr>
                        <a:t>Local IT</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FFFFFF"/>
                          </a:solidFill>
                          <a:effectLst/>
                          <a:latin typeface="+mn-lt"/>
                          <a:ea typeface="+mn-ea"/>
                          <a:cs typeface="+mn-cs"/>
                        </a:rPr>
                        <a:t>90</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mn-lt"/>
                          <a:ea typeface="+mn-ea"/>
                          <a:cs typeface="+mn-cs"/>
                        </a:rPr>
                        <a:t>9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mn-lt"/>
                          <a:ea typeface="+mn-ea"/>
                          <a:cs typeface="+mn-cs"/>
                        </a:rPr>
                        <a:t>9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376830142"/>
                  </a:ext>
                </a:extLst>
              </a:tr>
              <a:tr h="166490">
                <a:tc>
                  <a:txBody>
                    <a:bodyPr/>
                    <a:lstStyle/>
                    <a:p>
                      <a:pPr algn="l" fontAlgn="b"/>
                      <a:r>
                        <a:rPr lang="en-US" sz="1000" b="0" i="0" u="none" strike="noStrike" kern="1200" dirty="0">
                          <a:solidFill>
                            <a:srgbClr val="575757"/>
                          </a:solidFill>
                          <a:effectLst/>
                          <a:latin typeface="+mn-lt"/>
                          <a:ea typeface="+mn-ea"/>
                          <a:cs typeface="+mn-cs"/>
                        </a:rPr>
                        <a:t>Okta - via Laptop</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753188644"/>
                  </a:ext>
                </a:extLst>
              </a:tr>
              <a:tr h="166490">
                <a:tc>
                  <a:txBody>
                    <a:bodyPr/>
                    <a:lstStyle/>
                    <a:p>
                      <a:pPr algn="l" fontAlgn="b"/>
                      <a:r>
                        <a:rPr lang="en-US" sz="1000" b="0" i="0" u="none" strike="noStrike" kern="1200" dirty="0">
                          <a:solidFill>
                            <a:srgbClr val="575757"/>
                          </a:solidFill>
                          <a:effectLst/>
                          <a:latin typeface="+mn-lt"/>
                          <a:ea typeface="+mn-ea"/>
                          <a:cs typeface="+mn-cs"/>
                        </a:rPr>
                        <a:t>Microsoft Exce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6</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2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072434647"/>
                  </a:ext>
                </a:extLst>
              </a:tr>
              <a:tr h="166490">
                <a:tc>
                  <a:txBody>
                    <a:bodyPr/>
                    <a:lstStyle/>
                    <a:p>
                      <a:pPr algn="l" fontAlgn="b"/>
                      <a:r>
                        <a:rPr lang="en-US" sz="1000" b="0" i="0" u="none" strike="noStrike" kern="1200" dirty="0">
                          <a:solidFill>
                            <a:srgbClr val="575757"/>
                          </a:solidFill>
                          <a:effectLst/>
                          <a:latin typeface="+mn-lt"/>
                          <a:ea typeface="+mn-ea"/>
                          <a:cs typeface="+mn-cs"/>
                        </a:rPr>
                        <a:t>Slack</a:t>
                      </a:r>
                      <a:r>
                        <a:rPr lang="en-US" sz="1000" b="0" i="0" u="none" strike="noStrike" kern="1200" baseline="30000" dirty="0">
                          <a:solidFill>
                            <a:srgbClr val="575757"/>
                          </a:solidFill>
                          <a:effectLst/>
                          <a:latin typeface="+mn-lt"/>
                          <a:ea typeface="+mn-ea"/>
                          <a:cs typeface="+mn-cs"/>
                        </a:rPr>
                        <a:t>3</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8</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mn-lt"/>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199305454"/>
                  </a:ext>
                </a:extLst>
              </a:tr>
              <a:tr h="166490">
                <a:tc>
                  <a:txBody>
                    <a:bodyPr/>
                    <a:lstStyle/>
                    <a:p>
                      <a:pPr algn="l" fontAlgn="b"/>
                      <a:r>
                        <a:rPr lang="en-US" sz="1000" b="0" i="0" u="none" strike="noStrike" kern="1200" dirty="0">
                          <a:solidFill>
                            <a:srgbClr val="575757"/>
                          </a:solidFill>
                          <a:effectLst/>
                          <a:latin typeface="+mn-lt"/>
                          <a:ea typeface="+mn-ea"/>
                          <a:cs typeface="+mn-cs"/>
                        </a:rPr>
                        <a:t>Windows Laptops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5</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6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602679458"/>
                  </a:ext>
                </a:extLst>
              </a:tr>
              <a:tr h="166490">
                <a:tc>
                  <a:txBody>
                    <a:bodyPr/>
                    <a:lstStyle/>
                    <a:p>
                      <a:pPr algn="l" fontAlgn="b"/>
                      <a:r>
                        <a:rPr lang="en-US" sz="1000" b="0" i="0" u="none" strike="noStrike" kern="1200" dirty="0">
                          <a:solidFill>
                            <a:srgbClr val="575757"/>
                          </a:solidFill>
                          <a:effectLst/>
                          <a:latin typeface="+mn-lt"/>
                          <a:ea typeface="+mn-ea"/>
                          <a:cs typeface="+mn-cs"/>
                        </a:rPr>
                        <a:t>IT Service Center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873078026"/>
                  </a:ext>
                </a:extLst>
              </a:tr>
              <a:tr h="166490">
                <a:tc>
                  <a:txBody>
                    <a:bodyPr/>
                    <a:lstStyle/>
                    <a:p>
                      <a:pPr algn="l" fontAlgn="b"/>
                      <a:r>
                        <a:rPr lang="en-US" sz="1000" b="0" i="0" u="none" strike="noStrike" kern="1200" dirty="0">
                          <a:solidFill>
                            <a:srgbClr val="575757"/>
                          </a:solidFill>
                          <a:effectLst/>
                          <a:latin typeface="+mn-lt"/>
                          <a:ea typeface="+mn-ea"/>
                          <a:cs typeface="+mn-cs"/>
                        </a:rPr>
                        <a:t>IT Support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FFFFFF"/>
                          </a:solidFill>
                          <a:effectLst/>
                          <a:latin typeface="+mn-lt"/>
                          <a:ea typeface="+mn-ea"/>
                          <a:cs typeface="+mn-cs"/>
                        </a:rPr>
                        <a:t>84</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463726767"/>
                  </a:ext>
                </a:extLst>
              </a:tr>
              <a:tr h="166490">
                <a:tc>
                  <a:txBody>
                    <a:bodyPr/>
                    <a:lstStyle/>
                    <a:p>
                      <a:pPr algn="l" fontAlgn="b"/>
                      <a:r>
                        <a:rPr lang="en-US" sz="1000" b="0" i="0" u="none" strike="noStrike" kern="1200" dirty="0">
                          <a:solidFill>
                            <a:srgbClr val="575757"/>
                          </a:solidFill>
                          <a:effectLst/>
                          <a:latin typeface="+mn-lt"/>
                          <a:ea typeface="+mn-ea"/>
                          <a:cs typeface="+mn-cs"/>
                        </a:rPr>
                        <a:t>Microsoft PowerPoint</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4</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7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53795605"/>
                  </a:ext>
                </a:extLst>
              </a:tr>
              <a:tr h="166490">
                <a:tc>
                  <a:txBody>
                    <a:bodyPr/>
                    <a:lstStyle/>
                    <a:p>
                      <a:pPr algn="l" fontAlgn="b"/>
                      <a:r>
                        <a:rPr lang="en-US" sz="1000" b="0" i="0" u="none" strike="noStrike" kern="1200" dirty="0">
                          <a:solidFill>
                            <a:srgbClr val="575757"/>
                          </a:solidFill>
                          <a:effectLst/>
                          <a:latin typeface="+mn-lt"/>
                          <a:ea typeface="+mn-ea"/>
                          <a:cs typeface="+mn-cs"/>
                        </a:rPr>
                        <a:t>Zoom</a:t>
                      </a:r>
                      <a:r>
                        <a:rPr lang="en-US" sz="1000" b="0" i="0" u="none" strike="noStrike" kern="1200" baseline="30000" dirty="0">
                          <a:solidFill>
                            <a:srgbClr val="575757"/>
                          </a:solidFill>
                          <a:effectLst/>
                          <a:latin typeface="+mn-lt"/>
                          <a:ea typeface="+mn-ea"/>
                          <a:cs typeface="+mn-cs"/>
                        </a:rPr>
                        <a:t>1</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mn-lt"/>
                          <a:ea typeface="+mn-ea"/>
                          <a:cs typeface="+mn-cs"/>
                        </a:rPr>
                        <a:t>9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mn-lt"/>
                          <a:ea typeface="+mn-ea"/>
                          <a:cs typeface="+mn-cs"/>
                        </a:rPr>
                        <a:t>9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439576819"/>
                  </a:ext>
                </a:extLst>
              </a:tr>
              <a:tr h="166490">
                <a:tc>
                  <a:txBody>
                    <a:bodyPr/>
                    <a:lstStyle/>
                    <a:p>
                      <a:pPr algn="l" fontAlgn="b"/>
                      <a:r>
                        <a:rPr lang="en-US" sz="1000" b="0" i="0" u="none" strike="noStrike" kern="1200" dirty="0">
                          <a:solidFill>
                            <a:srgbClr val="575757"/>
                          </a:solidFill>
                          <a:effectLst/>
                          <a:latin typeface="+mn-lt"/>
                          <a:ea typeface="+mn-ea"/>
                          <a:cs typeface="+mn-cs"/>
                        </a:rPr>
                        <a:t>Zoom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mn-lt"/>
                          <a:ea typeface="+mn-ea"/>
                          <a:cs typeface="+mn-cs"/>
                        </a:rPr>
                        <a:t>9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mn-lt"/>
                          <a:ea typeface="+mn-ea"/>
                          <a:cs typeface="+mn-cs"/>
                        </a:rPr>
                        <a:t>9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100875365"/>
                  </a:ext>
                </a:extLst>
              </a:tr>
              <a:tr h="166490">
                <a:tc>
                  <a:txBody>
                    <a:bodyPr/>
                    <a:lstStyle/>
                    <a:p>
                      <a:pPr algn="l" fontAlgn="b"/>
                      <a:r>
                        <a:rPr lang="en-US" sz="1000" b="0" i="0" u="none" strike="noStrike" kern="1200" dirty="0">
                          <a:solidFill>
                            <a:srgbClr val="575757"/>
                          </a:solidFill>
                          <a:effectLst/>
                          <a:latin typeface="+mn-lt"/>
                          <a:ea typeface="+mn-ea"/>
                          <a:cs typeface="+mn-cs"/>
                        </a:rPr>
                        <a:t>Egnyte - Ability to Share files</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8</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797979"/>
                          </a:solidFill>
                          <a:effectLst/>
                          <a:latin typeface="Wingdings 3" panose="05040102010807070707" pitchFamily="18" charset="2"/>
                        </a:rPr>
                        <a:t>w</a:t>
                      </a: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369003421"/>
                  </a:ext>
                </a:extLst>
              </a:tr>
              <a:tr h="166490">
                <a:tc>
                  <a:txBody>
                    <a:bodyPr/>
                    <a:lstStyle/>
                    <a:p>
                      <a:pPr algn="l" fontAlgn="b"/>
                      <a:r>
                        <a:rPr lang="en-US" sz="1000" b="0" i="0" u="none" strike="noStrike" kern="1200" dirty="0">
                          <a:solidFill>
                            <a:srgbClr val="575757"/>
                          </a:solidFill>
                          <a:effectLst/>
                          <a:latin typeface="+mn-lt"/>
                          <a:ea typeface="+mn-ea"/>
                          <a:cs typeface="+mn-cs"/>
                        </a:rPr>
                        <a:t>Slack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mn-lt"/>
                          <a:ea typeface="+mn-ea"/>
                          <a:cs typeface="+mn-cs"/>
                        </a:rPr>
                        <a:t>8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454810796"/>
                  </a:ext>
                </a:extLst>
              </a:tr>
              <a:tr h="166490">
                <a:tc>
                  <a:txBody>
                    <a:bodyPr/>
                    <a:lstStyle/>
                    <a:p>
                      <a:pPr algn="l" fontAlgn="b"/>
                      <a:r>
                        <a:rPr lang="en-US" sz="1000" b="0" i="0" u="none" strike="noStrike" kern="1200" dirty="0">
                          <a:solidFill>
                            <a:srgbClr val="575757"/>
                          </a:solidFill>
                          <a:effectLst/>
                          <a:latin typeface="+mn-lt"/>
                          <a:ea typeface="+mn-ea"/>
                          <a:cs typeface="+mn-cs"/>
                        </a:rPr>
                        <a:t>Trello</a:t>
                      </a:r>
                      <a:r>
                        <a:rPr lang="en-US" sz="1000" b="0" i="0" u="none" strike="noStrike" kern="1200" baseline="30000" dirty="0">
                          <a:solidFill>
                            <a:srgbClr val="575757"/>
                          </a:solidFill>
                          <a:effectLst/>
                          <a:latin typeface="+mn-lt"/>
                          <a:ea typeface="+mn-ea"/>
                          <a:cs typeface="+mn-cs"/>
                        </a:rPr>
                        <a:t>2</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marL="0" indent="0" algn="ctr" fontAlgn="b">
                        <a:buFont typeface="Wingdings 3" panose="05040102010807070707" pitchFamily="18" charset="2"/>
                        <a:buNone/>
                      </a:pPr>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61662116"/>
                  </a:ext>
                </a:extLst>
              </a:tr>
              <a:tr h="166490">
                <a:tc>
                  <a:txBody>
                    <a:bodyPr/>
                    <a:lstStyle/>
                    <a:p>
                      <a:pPr algn="l" fontAlgn="b"/>
                      <a:r>
                        <a:rPr lang="en-US" sz="1000" b="0" i="0" u="none" strike="noStrike" kern="1200" dirty="0">
                          <a:solidFill>
                            <a:srgbClr val="575757"/>
                          </a:solidFill>
                          <a:effectLst/>
                          <a:latin typeface="+mn-lt"/>
                          <a:ea typeface="+mn-ea"/>
                          <a:cs typeface="+mn-cs"/>
                        </a:rPr>
                        <a:t>Outlook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mn-lt"/>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a:solidFill>
                            <a:srgbClr val="FFFFFF"/>
                          </a:solidFill>
                          <a:effectLst/>
                          <a:latin typeface="+mn-lt"/>
                          <a:ea typeface="+mn-ea"/>
                          <a:cs typeface="+mn-cs"/>
                        </a:rPr>
                        <a:t>8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034718634"/>
                  </a:ext>
                </a:extLst>
              </a:tr>
              <a:tr h="166490">
                <a:tc>
                  <a:txBody>
                    <a:bodyPr/>
                    <a:lstStyle/>
                    <a:p>
                      <a:pPr algn="l" fontAlgn="b"/>
                      <a:r>
                        <a:rPr lang="en-US" sz="1000" b="0" i="0" u="none" strike="noStrike" kern="1200" dirty="0">
                          <a:solidFill>
                            <a:srgbClr val="575757"/>
                          </a:solidFill>
                          <a:effectLst/>
                          <a:latin typeface="+mn-lt"/>
                          <a:ea typeface="+mn-ea"/>
                          <a:cs typeface="+mn-cs"/>
                        </a:rPr>
                        <a:t>Okta - via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000" b="0" i="0" u="none" strike="noStrike" kern="1200" dirty="0">
                          <a:solidFill>
                            <a:srgbClr val="FFFFFF"/>
                          </a:solidFill>
                          <a:effectLst/>
                          <a:latin typeface="+mn-lt"/>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000" b="0" i="0" u="none" strike="noStrike" kern="1200" dirty="0">
                          <a:solidFill>
                            <a:srgbClr val="FFFFFF"/>
                          </a:solidFill>
                          <a:effectLst/>
                          <a:latin typeface="+mn-lt"/>
                          <a:ea typeface="+mn-ea"/>
                          <a:cs typeface="+mn-cs"/>
                        </a:rPr>
                        <a:t>8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200579091"/>
                  </a:ext>
                </a:extLst>
              </a:tr>
              <a:tr h="166490">
                <a:tc>
                  <a:txBody>
                    <a:bodyPr/>
                    <a:lstStyle/>
                    <a:p>
                      <a:pPr algn="l" fontAlgn="b"/>
                      <a:r>
                        <a:rPr lang="en-US" sz="1000" b="0" i="0" u="none" strike="noStrike" kern="1200" dirty="0">
                          <a:solidFill>
                            <a:srgbClr val="575757"/>
                          </a:solidFill>
                          <a:effectLst/>
                          <a:latin typeface="+mn-lt"/>
                          <a:ea typeface="+mn-ea"/>
                          <a:cs typeface="+mn-cs"/>
                        </a:rPr>
                        <a:t>Egnyte - Ability to Collaborate on Files</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62</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6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5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201451344"/>
                  </a:ext>
                </a:extLst>
              </a:tr>
              <a:tr h="182473">
                <a:tc gridSpan="6">
                  <a:txBody>
                    <a:bodyPr/>
                    <a:lstStyle/>
                    <a:p>
                      <a:pPr algn="l" fontAlgn="b"/>
                      <a:r>
                        <a:rPr lang="en-US" sz="1100" b="1" i="0" u="none" strike="noStrike" kern="1200" dirty="0">
                          <a:solidFill>
                            <a:srgbClr val="295E7E"/>
                          </a:solidFill>
                          <a:effectLst/>
                          <a:latin typeface="+mj-lt"/>
                          <a:ea typeface="+mn-ea"/>
                          <a:cs typeface="+mn-cs"/>
                        </a:rPr>
                        <a:t>Business Supporting Products </a:t>
                      </a:r>
                      <a:r>
                        <a:rPr lang="en-US" sz="1100" b="1" i="0" u="none" strike="noStrike" kern="1200" dirty="0">
                          <a:solidFill>
                            <a:srgbClr val="295E7E"/>
                          </a:solidFill>
                          <a:effectLst/>
                          <a:latin typeface="Wingdings 3" panose="05040102010807070707" pitchFamily="18" charset="2"/>
                          <a:ea typeface="+mn-ea"/>
                          <a:cs typeface="+mn-cs"/>
                        </a:rPr>
                        <a:t>i</a:t>
                      </a:r>
                      <a:endParaRPr lang="en-US" sz="1100" b="1" i="0" u="none" strike="noStrike" kern="1200" dirty="0">
                        <a:solidFill>
                          <a:srgbClr val="295E7E"/>
                        </a:solidFill>
                        <a:effectLst/>
                        <a:latin typeface="+mj-lt"/>
                        <a:ea typeface="+mn-ea"/>
                        <a:cs typeface="+mn-cs"/>
                      </a:endParaRP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568092017"/>
                  </a:ext>
                </a:extLst>
              </a:tr>
              <a:tr h="166490">
                <a:tc>
                  <a:txBody>
                    <a:bodyPr/>
                    <a:lstStyle/>
                    <a:p>
                      <a:pPr algn="l" fontAlgn="b"/>
                      <a:r>
                        <a:rPr lang="en-US" sz="1000" b="0" i="0" u="none" strike="noStrike" kern="1200" dirty="0">
                          <a:solidFill>
                            <a:srgbClr val="575757"/>
                          </a:solidFill>
                          <a:effectLst/>
                          <a:latin typeface="+mn-lt"/>
                          <a:ea typeface="+mn-ea"/>
                          <a:cs typeface="+mn-cs"/>
                        </a:rPr>
                        <a:t>Browsers</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00781398"/>
                  </a:ext>
                </a:extLst>
              </a:tr>
              <a:tr h="166490">
                <a:tc>
                  <a:txBody>
                    <a:bodyPr/>
                    <a:lstStyle/>
                    <a:p>
                      <a:pPr algn="l" fontAlgn="b"/>
                      <a:r>
                        <a:rPr lang="en-US" sz="1000" b="0" i="0" u="none" strike="noStrike" kern="1200" dirty="0">
                          <a:solidFill>
                            <a:srgbClr val="575757"/>
                          </a:solidFill>
                          <a:effectLst/>
                          <a:latin typeface="+mn-lt"/>
                          <a:ea typeface="+mn-ea"/>
                          <a:cs typeface="+mn-cs"/>
                        </a:rPr>
                        <a:t>IT Connect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4</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mn-lt"/>
                          <a:ea typeface="+mn-ea"/>
                          <a:cs typeface="+mn-cs"/>
                        </a:rPr>
                        <a:t>8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9147356"/>
                  </a:ext>
                </a:extLst>
              </a:tr>
              <a:tr h="166490">
                <a:tc>
                  <a:txBody>
                    <a:bodyPr/>
                    <a:lstStyle/>
                    <a:p>
                      <a:pPr algn="l" fontAlgn="b"/>
                      <a:r>
                        <a:rPr lang="en-US" sz="1000" b="0" i="0" u="none" strike="noStrike" kern="1200" dirty="0">
                          <a:solidFill>
                            <a:srgbClr val="575757"/>
                          </a:solidFill>
                          <a:effectLst/>
                          <a:latin typeface="+mn-lt"/>
                          <a:ea typeface="+mn-ea"/>
                          <a:cs typeface="+mn-cs"/>
                        </a:rPr>
                        <a:t>OneNote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mn-lt"/>
                          <a:ea typeface="+mn-ea"/>
                          <a:cs typeface="+mn-cs"/>
                        </a:rPr>
                        <a:t>8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58488943"/>
                  </a:ext>
                </a:extLst>
              </a:tr>
              <a:tr h="166490">
                <a:tc>
                  <a:txBody>
                    <a:bodyPr/>
                    <a:lstStyle/>
                    <a:p>
                      <a:pPr algn="l" fontAlgn="b"/>
                      <a:r>
                        <a:rPr lang="en-US" sz="1000" b="0" i="0" u="none" strike="noStrike" kern="1200" dirty="0">
                          <a:solidFill>
                            <a:srgbClr val="575757"/>
                          </a:solidFill>
                          <a:effectLst/>
                          <a:latin typeface="+mn-lt"/>
                          <a:ea typeface="+mn-ea"/>
                          <a:cs typeface="+mn-cs"/>
                        </a:rPr>
                        <a:t>IT Comms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206657995"/>
                  </a:ext>
                </a:extLst>
              </a:tr>
              <a:tr h="166490">
                <a:tc>
                  <a:txBody>
                    <a:bodyPr/>
                    <a:lstStyle/>
                    <a:p>
                      <a:pPr algn="l" fontAlgn="b"/>
                      <a:r>
                        <a:rPr lang="en-US" sz="1000" b="0" i="0" u="none" strike="noStrike" kern="1200" dirty="0">
                          <a:solidFill>
                            <a:srgbClr val="575757"/>
                          </a:solidFill>
                          <a:effectLst/>
                          <a:latin typeface="+mn-lt"/>
                          <a:ea typeface="+mn-ea"/>
                          <a:cs typeface="+mn-cs"/>
                        </a:rPr>
                        <a:t>Word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mn-lt"/>
                          <a:ea typeface="+mn-ea"/>
                          <a:cs typeface="+mn-cs"/>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465283791"/>
                  </a:ext>
                </a:extLst>
              </a:tr>
              <a:tr h="166490">
                <a:tc>
                  <a:txBody>
                    <a:bodyPr/>
                    <a:lstStyle/>
                    <a:p>
                      <a:pPr algn="l" fontAlgn="b"/>
                      <a:r>
                        <a:rPr lang="en-US" sz="1000" b="0" i="0" u="none" strike="noStrike" kern="1200" dirty="0">
                          <a:solidFill>
                            <a:srgbClr val="575757"/>
                          </a:solidFill>
                          <a:effectLst/>
                          <a:latin typeface="+mn-lt"/>
                          <a:ea typeface="+mn-ea"/>
                          <a:cs typeface="+mn-cs"/>
                        </a:rPr>
                        <a:t>Learning – LAB</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64</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6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6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719545317"/>
                  </a:ext>
                </a:extLst>
              </a:tr>
              <a:tr h="166490">
                <a:tc>
                  <a:txBody>
                    <a:bodyPr/>
                    <a:lstStyle/>
                    <a:p>
                      <a:pPr algn="l" fontAlgn="b"/>
                      <a:r>
                        <a:rPr lang="en-US" sz="1000" b="0" i="0" u="none" strike="noStrike" kern="1200" dirty="0">
                          <a:solidFill>
                            <a:srgbClr val="575757"/>
                          </a:solidFill>
                          <a:effectLst/>
                          <a:latin typeface="+mn-lt"/>
                          <a:ea typeface="+mn-ea"/>
                          <a:cs typeface="+mn-cs"/>
                        </a:rPr>
                        <a:t>PowerPoint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6873981"/>
                  </a:ext>
                </a:extLst>
              </a:tr>
              <a:tr h="166490">
                <a:tc>
                  <a:txBody>
                    <a:bodyPr/>
                    <a:lstStyle/>
                    <a:p>
                      <a:pPr algn="l" fontAlgn="b"/>
                      <a:r>
                        <a:rPr lang="en-US" sz="1000" b="0" i="0" u="none" strike="noStrike" kern="1200" dirty="0">
                          <a:solidFill>
                            <a:srgbClr val="575757"/>
                          </a:solidFill>
                          <a:effectLst/>
                          <a:latin typeface="+mn-lt"/>
                          <a:ea typeface="+mn-ea"/>
                          <a:cs typeface="+mn-cs"/>
                        </a:rPr>
                        <a:t>Egnyte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423589399"/>
                  </a:ext>
                </a:extLst>
              </a:tr>
              <a:tr h="166490">
                <a:tc>
                  <a:txBody>
                    <a:bodyPr/>
                    <a:lstStyle/>
                    <a:p>
                      <a:pPr algn="l" fontAlgn="b"/>
                      <a:r>
                        <a:rPr lang="en-US" sz="1000" b="0" i="0" u="none" strike="noStrike" kern="1200" dirty="0">
                          <a:solidFill>
                            <a:srgbClr val="575757"/>
                          </a:solidFill>
                          <a:effectLst/>
                          <a:latin typeface="+mn-lt"/>
                          <a:ea typeface="+mn-ea"/>
                          <a:cs typeface="+mn-cs"/>
                        </a:rPr>
                        <a:t>Excel Mobile App</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894646729"/>
                  </a:ext>
                </a:extLst>
              </a:tr>
              <a:tr h="166490">
                <a:tc>
                  <a:txBody>
                    <a:bodyPr/>
                    <a:lstStyle/>
                    <a:p>
                      <a:pPr algn="l" fontAlgn="b"/>
                      <a:r>
                        <a:rPr lang="en-US" sz="1000" b="0" i="0" u="none" strike="noStrike" kern="1200" dirty="0">
                          <a:solidFill>
                            <a:srgbClr val="575757"/>
                          </a:solidFill>
                          <a:effectLst/>
                          <a:latin typeface="+mn-lt"/>
                          <a:ea typeface="+mn-ea"/>
                          <a:cs typeface="+mn-cs"/>
                        </a:rPr>
                        <a:t>Search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3</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5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5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272839427"/>
                  </a:ext>
                </a:extLst>
              </a:tr>
              <a:tr h="166490">
                <a:tc>
                  <a:txBody>
                    <a:bodyPr/>
                    <a:lstStyle/>
                    <a:p>
                      <a:pPr algn="l" fontAlgn="b"/>
                      <a:r>
                        <a:rPr lang="en-US" sz="1000" b="0" i="0" u="none" strike="noStrike" kern="1200" dirty="0">
                          <a:solidFill>
                            <a:srgbClr val="575757"/>
                          </a:solidFill>
                          <a:effectLst/>
                          <a:latin typeface="+mn-lt"/>
                          <a:ea typeface="+mn-ea"/>
                          <a:cs typeface="+mn-cs"/>
                        </a:rPr>
                        <a:t>Inside BCG</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0</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FFFFF"/>
                    </a:solidFill>
                  </a:tcPr>
                </a:tc>
                <a:extLst>
                  <a:ext uri="{0D108BD9-81ED-4DB2-BD59-A6C34878D82A}">
                    <a16:rowId xmlns:a16="http://schemas.microsoft.com/office/drawing/2014/main" val="3670901103"/>
                  </a:ext>
                </a:extLst>
              </a:tr>
              <a:tr h="166490">
                <a:tc>
                  <a:txBody>
                    <a:bodyPr/>
                    <a:lstStyle/>
                    <a:p>
                      <a:pPr algn="l" fontAlgn="b"/>
                      <a:r>
                        <a:rPr lang="en-US" sz="1000" b="0" i="0" u="none" strike="noStrike" kern="1200" dirty="0">
                          <a:solidFill>
                            <a:srgbClr val="575757"/>
                          </a:solidFill>
                          <a:effectLst/>
                          <a:latin typeface="+mn-lt"/>
                          <a:ea typeface="+mn-ea"/>
                          <a:cs typeface="+mn-cs"/>
                        </a:rPr>
                        <a:t>Knowledge Navigator - Overall</a:t>
                      </a:r>
                      <a:r>
                        <a:rPr lang="en-GB" sz="1000" b="0" i="1"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6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939824605"/>
                  </a:ext>
                </a:extLst>
              </a:tr>
            </a:tbl>
          </a:graphicData>
        </a:graphic>
      </p:graphicFrame>
      <p:grpSp>
        <p:nvGrpSpPr>
          <p:cNvPr id="36" name="Group 35">
            <a:extLst>
              <a:ext uri="{FF2B5EF4-FFF2-40B4-BE49-F238E27FC236}">
                <a16:creationId xmlns:a16="http://schemas.microsoft.com/office/drawing/2014/main" id="{2015ACBF-FE7C-46BB-89E4-3D0253A037E4}"/>
              </a:ext>
            </a:extLst>
          </p:cNvPr>
          <p:cNvGrpSpPr>
            <a:grpSpLocks noChangeAspect="1"/>
          </p:cNvGrpSpPr>
          <p:nvPr/>
        </p:nvGrpSpPr>
        <p:grpSpPr>
          <a:xfrm>
            <a:off x="9863321" y="0"/>
            <a:ext cx="144288" cy="144288"/>
            <a:chOff x="5961063" y="3294063"/>
            <a:chExt cx="269875" cy="269875"/>
          </a:xfrm>
        </p:grpSpPr>
        <p:sp>
          <p:nvSpPr>
            <p:cNvPr id="37" name="Oval 14">
              <a:extLst>
                <a:ext uri="{FF2B5EF4-FFF2-40B4-BE49-F238E27FC236}">
                  <a16:creationId xmlns:a16="http://schemas.microsoft.com/office/drawing/2014/main" id="{CFC1DFFD-5339-4B2C-A534-6EC84745C97A}"/>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15">
              <a:extLst>
                <a:ext uri="{FF2B5EF4-FFF2-40B4-BE49-F238E27FC236}">
                  <a16:creationId xmlns:a16="http://schemas.microsoft.com/office/drawing/2014/main" id="{D3FCCDC7-BDD0-4500-85AB-23A5C7B3BACB}"/>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9" name="Group 38">
            <a:extLst>
              <a:ext uri="{FF2B5EF4-FFF2-40B4-BE49-F238E27FC236}">
                <a16:creationId xmlns:a16="http://schemas.microsoft.com/office/drawing/2014/main" id="{6E3B7B9E-A58F-422E-8243-5F1601206CC7}"/>
              </a:ext>
            </a:extLst>
          </p:cNvPr>
          <p:cNvGrpSpPr/>
          <p:nvPr/>
        </p:nvGrpSpPr>
        <p:grpSpPr>
          <a:xfrm>
            <a:off x="151777" y="5631301"/>
            <a:ext cx="3066599" cy="1046614"/>
            <a:chOff x="208927" y="6068154"/>
            <a:chExt cx="3066599" cy="1046614"/>
          </a:xfrm>
        </p:grpSpPr>
        <p:sp>
          <p:nvSpPr>
            <p:cNvPr id="40" name="Rectangle 39">
              <a:extLst>
                <a:ext uri="{FF2B5EF4-FFF2-40B4-BE49-F238E27FC236}">
                  <a16:creationId xmlns:a16="http://schemas.microsoft.com/office/drawing/2014/main" id="{8C8951D9-8798-4184-AF5F-A4ED0992E99E}"/>
                </a:ext>
              </a:extLst>
            </p:cNvPr>
            <p:cNvSpPr/>
            <p:nvPr/>
          </p:nvSpPr>
          <p:spPr>
            <a:xfrm>
              <a:off x="227176" y="607565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41" name="Rectangle 40">
              <a:extLst>
                <a:ext uri="{FF2B5EF4-FFF2-40B4-BE49-F238E27FC236}">
                  <a16:creationId xmlns:a16="http://schemas.microsoft.com/office/drawing/2014/main" id="{3389228F-FD1F-4A1C-8D8A-32414B04AB39}"/>
                </a:ext>
              </a:extLst>
            </p:cNvPr>
            <p:cNvSpPr/>
            <p:nvPr/>
          </p:nvSpPr>
          <p:spPr>
            <a:xfrm>
              <a:off x="2288253" y="6677915"/>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42" name="Rectangle 41">
              <a:extLst>
                <a:ext uri="{FF2B5EF4-FFF2-40B4-BE49-F238E27FC236}">
                  <a16:creationId xmlns:a16="http://schemas.microsoft.com/office/drawing/2014/main" id="{9AD452F2-E8FF-4DDF-8E17-7B7B5B4979BB}"/>
                </a:ext>
              </a:extLst>
            </p:cNvPr>
            <p:cNvSpPr/>
            <p:nvPr/>
          </p:nvSpPr>
          <p:spPr>
            <a:xfrm>
              <a:off x="1248590" y="6677916"/>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43" name="Rectangle 42">
              <a:extLst>
                <a:ext uri="{FF2B5EF4-FFF2-40B4-BE49-F238E27FC236}">
                  <a16:creationId xmlns:a16="http://schemas.microsoft.com/office/drawing/2014/main" id="{B4A68186-A677-41A4-89FA-CB05143AF0D1}"/>
                </a:ext>
              </a:extLst>
            </p:cNvPr>
            <p:cNvSpPr/>
            <p:nvPr/>
          </p:nvSpPr>
          <p:spPr>
            <a:xfrm>
              <a:off x="2296182" y="606815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44" name="Rectangle 43">
              <a:extLst>
                <a:ext uri="{FF2B5EF4-FFF2-40B4-BE49-F238E27FC236}">
                  <a16:creationId xmlns:a16="http://schemas.microsoft.com/office/drawing/2014/main" id="{A1E2BD48-F706-4E3C-851E-503A85B9A9F1}"/>
                </a:ext>
              </a:extLst>
            </p:cNvPr>
            <p:cNvSpPr/>
            <p:nvPr/>
          </p:nvSpPr>
          <p:spPr>
            <a:xfrm>
              <a:off x="1267861" y="606815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5" name="Rectangle 44">
              <a:extLst>
                <a:ext uri="{FF2B5EF4-FFF2-40B4-BE49-F238E27FC236}">
                  <a16:creationId xmlns:a16="http://schemas.microsoft.com/office/drawing/2014/main" id="{ABBECB4E-35F0-4748-9C9D-8E8AAB80AA4C}"/>
                </a:ext>
              </a:extLst>
            </p:cNvPr>
            <p:cNvSpPr/>
            <p:nvPr/>
          </p:nvSpPr>
          <p:spPr>
            <a:xfrm>
              <a:off x="208927" y="6671391"/>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sp>
          <p:nvSpPr>
            <p:cNvPr id="46" name="Rectangle 45">
              <a:extLst>
                <a:ext uri="{FF2B5EF4-FFF2-40B4-BE49-F238E27FC236}">
                  <a16:creationId xmlns:a16="http://schemas.microsoft.com/office/drawing/2014/main" id="{E779927A-D8E7-4925-83BF-2708017CA870}"/>
                </a:ext>
              </a:extLst>
            </p:cNvPr>
            <p:cNvSpPr/>
            <p:nvPr/>
          </p:nvSpPr>
          <p:spPr>
            <a:xfrm>
              <a:off x="227176" y="629904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47" name="Rectangle 46">
              <a:extLst>
                <a:ext uri="{FF2B5EF4-FFF2-40B4-BE49-F238E27FC236}">
                  <a16:creationId xmlns:a16="http://schemas.microsoft.com/office/drawing/2014/main" id="{81DD46BD-7922-467C-A9AF-0F161245C03F}"/>
                </a:ext>
              </a:extLst>
            </p:cNvPr>
            <p:cNvSpPr/>
            <p:nvPr/>
          </p:nvSpPr>
          <p:spPr>
            <a:xfrm>
              <a:off x="2288253" y="690130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48" name="Rectangle 47">
              <a:extLst>
                <a:ext uri="{FF2B5EF4-FFF2-40B4-BE49-F238E27FC236}">
                  <a16:creationId xmlns:a16="http://schemas.microsoft.com/office/drawing/2014/main" id="{C8BC4E8E-ABC1-4DA7-9E60-868DF8C1D690}"/>
                </a:ext>
              </a:extLst>
            </p:cNvPr>
            <p:cNvSpPr/>
            <p:nvPr/>
          </p:nvSpPr>
          <p:spPr>
            <a:xfrm>
              <a:off x="1248590" y="6901309"/>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49" name="Rectangle 48">
              <a:extLst>
                <a:ext uri="{FF2B5EF4-FFF2-40B4-BE49-F238E27FC236}">
                  <a16:creationId xmlns:a16="http://schemas.microsoft.com/office/drawing/2014/main" id="{ACD20A28-C829-47EF-8F3C-D44FDD6C8FC4}"/>
                </a:ext>
              </a:extLst>
            </p:cNvPr>
            <p:cNvSpPr/>
            <p:nvPr/>
          </p:nvSpPr>
          <p:spPr>
            <a:xfrm>
              <a:off x="2296182" y="629154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50" name="Rectangle 49">
              <a:extLst>
                <a:ext uri="{FF2B5EF4-FFF2-40B4-BE49-F238E27FC236}">
                  <a16:creationId xmlns:a16="http://schemas.microsoft.com/office/drawing/2014/main" id="{996AC813-1CE3-482C-91A7-4AD491123590}"/>
                </a:ext>
              </a:extLst>
            </p:cNvPr>
            <p:cNvSpPr/>
            <p:nvPr/>
          </p:nvSpPr>
          <p:spPr>
            <a:xfrm>
              <a:off x="1267861" y="629154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1" name="Rectangle 50">
              <a:extLst>
                <a:ext uri="{FF2B5EF4-FFF2-40B4-BE49-F238E27FC236}">
                  <a16:creationId xmlns:a16="http://schemas.microsoft.com/office/drawing/2014/main" id="{ABEA14ED-1E69-4F67-89C2-0839D6C8B528}"/>
                </a:ext>
              </a:extLst>
            </p:cNvPr>
            <p:cNvSpPr/>
            <p:nvPr/>
          </p:nvSpPr>
          <p:spPr>
            <a:xfrm>
              <a:off x="208927" y="689478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2" name="Title 1">
            <a:extLst>
              <a:ext uri="{FF2B5EF4-FFF2-40B4-BE49-F238E27FC236}">
                <a16:creationId xmlns:a16="http://schemas.microsoft.com/office/drawing/2014/main" id="{7491938F-750F-4842-87DF-2EC9AA075BE0}"/>
              </a:ext>
            </a:extLst>
          </p:cNvPr>
          <p:cNvSpPr txBox="1">
            <a:spLocks/>
          </p:cNvSpPr>
          <p:nvPr/>
        </p:nvSpPr>
        <p:spPr>
          <a:xfrm>
            <a:off x="209879" y="230146"/>
            <a:ext cx="3279946"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sz="2800" dirty="0">
                <a:solidFill>
                  <a:srgbClr val="295E7E"/>
                </a:solidFill>
              </a:rPr>
              <a:t>E-SAT Trends – </a:t>
            </a:r>
          </a:p>
          <a:p>
            <a:r>
              <a:rPr lang="en-GB" sz="2800" dirty="0">
                <a:solidFill>
                  <a:srgbClr val="295E7E"/>
                </a:solidFill>
              </a:rPr>
              <a:t>Annual Average</a:t>
            </a:r>
            <a:endParaRPr lang="en-US" sz="2000" i="1" dirty="0">
              <a:solidFill>
                <a:srgbClr val="295E7E"/>
              </a:solidFill>
            </a:endParaRPr>
          </a:p>
        </p:txBody>
      </p:sp>
      <p:sp>
        <p:nvSpPr>
          <p:cNvPr id="54" name="Rectangle 53">
            <a:extLst>
              <a:ext uri="{FF2B5EF4-FFF2-40B4-BE49-F238E27FC236}">
                <a16:creationId xmlns:a16="http://schemas.microsoft.com/office/drawing/2014/main" id="{50A55EB6-1BBC-46E7-93B2-BFA2A3D34BEE}"/>
              </a:ext>
            </a:extLst>
          </p:cNvPr>
          <p:cNvSpPr/>
          <p:nvPr/>
        </p:nvSpPr>
        <p:spPr>
          <a:xfrm flipH="1">
            <a:off x="154607" y="1443430"/>
            <a:ext cx="3265426" cy="38655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GB" sz="1600" b="1" u="sng" dirty="0">
                <a:solidFill>
                  <a:srgbClr val="E71C57"/>
                </a:solidFill>
              </a:rPr>
              <a:t>Most important trending view</a:t>
            </a:r>
            <a:r>
              <a:rPr lang="en-GB" sz="1600" b="1" dirty="0">
                <a:solidFill>
                  <a:srgbClr val="E71C57"/>
                </a:solidFill>
              </a:rPr>
              <a:t>.</a:t>
            </a:r>
          </a:p>
          <a:p>
            <a:pPr>
              <a:lnSpc>
                <a:spcPct val="90000"/>
              </a:lnSpc>
              <a:spcAft>
                <a:spcPts val="1000"/>
              </a:spcAft>
            </a:pPr>
            <a:r>
              <a:rPr lang="en-GB" sz="1600" dirty="0">
                <a:solidFill>
                  <a:srgbClr val="30C1D7"/>
                </a:solidFill>
              </a:rPr>
              <a:t>These slides show full annual averages (where available) &amp; how products are trending. Remember – annual averages are the strongest indicator of trends as they represent feedback for the whole year &amp; from greater numbers of people (&gt;5,100)</a:t>
            </a:r>
          </a:p>
          <a:p>
            <a:pPr>
              <a:lnSpc>
                <a:spcPct val="90000"/>
              </a:lnSpc>
              <a:spcAft>
                <a:spcPts val="1000"/>
              </a:spcAft>
            </a:pPr>
            <a:r>
              <a:rPr lang="en-GB" sz="1600" dirty="0">
                <a:solidFill>
                  <a:srgbClr val="30C1D7"/>
                </a:solidFill>
              </a:rPr>
              <a:t>Charts are ordered by the delta between 2021 &amp; 2020 averages.</a:t>
            </a:r>
            <a:endParaRPr lang="en-US" sz="1600" dirty="0">
              <a:solidFill>
                <a:srgbClr val="30C1D7"/>
              </a:solidFill>
            </a:endParaRPr>
          </a:p>
        </p:txBody>
      </p:sp>
      <p:grpSp>
        <p:nvGrpSpPr>
          <p:cNvPr id="55" name="Group 54">
            <a:extLst>
              <a:ext uri="{FF2B5EF4-FFF2-40B4-BE49-F238E27FC236}">
                <a16:creationId xmlns:a16="http://schemas.microsoft.com/office/drawing/2014/main" id="{216CD3BF-2C43-4846-BFCE-93BC83C80AFF}"/>
              </a:ext>
            </a:extLst>
          </p:cNvPr>
          <p:cNvGrpSpPr>
            <a:grpSpLocks noChangeAspect="1"/>
          </p:cNvGrpSpPr>
          <p:nvPr/>
        </p:nvGrpSpPr>
        <p:grpSpPr>
          <a:xfrm>
            <a:off x="3183865" y="4485104"/>
            <a:ext cx="211360" cy="211360"/>
            <a:chOff x="5961063" y="3294063"/>
            <a:chExt cx="269875" cy="269875"/>
          </a:xfrm>
        </p:grpSpPr>
        <p:sp>
          <p:nvSpPr>
            <p:cNvPr id="56" name="Oval 14">
              <a:extLst>
                <a:ext uri="{FF2B5EF4-FFF2-40B4-BE49-F238E27FC236}">
                  <a16:creationId xmlns:a16="http://schemas.microsoft.com/office/drawing/2014/main" id="{A9778DC1-1025-418C-B099-D88DCAB1BCF9}"/>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15">
              <a:extLst>
                <a:ext uri="{FF2B5EF4-FFF2-40B4-BE49-F238E27FC236}">
                  <a16:creationId xmlns:a16="http://schemas.microsoft.com/office/drawing/2014/main" id="{E51918F1-7856-42D7-A11B-79E1B51AC208}"/>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custDataLst>
      <p:tags r:id="rId2"/>
    </p:custDataLst>
    <p:extLst>
      <p:ext uri="{BB962C8B-B14F-4D97-AF65-F5344CB8AC3E}">
        <p14:creationId xmlns:p14="http://schemas.microsoft.com/office/powerpoint/2010/main" val="393769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77"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683744B2-73FC-4E90-AD73-DB3B1E398192}"/>
              </a:ext>
            </a:extLst>
          </p:cNvPr>
          <p:cNvSpPr/>
          <p:nvPr/>
        </p:nvSpPr>
        <p:spPr>
          <a:xfrm>
            <a:off x="0" y="0"/>
            <a:ext cx="3581777"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154" name="Table 153"/>
          <p:cNvGraphicFramePr>
            <a:graphicFrameLocks noGrp="1"/>
          </p:cNvGraphicFramePr>
          <p:nvPr>
            <p:extLst>
              <p:ext uri="{D42A27DB-BD31-4B8C-83A1-F6EECF244321}">
                <p14:modId xmlns:p14="http://schemas.microsoft.com/office/powerpoint/2010/main" val="3098692107"/>
              </p:ext>
            </p:extLst>
          </p:nvPr>
        </p:nvGraphicFramePr>
        <p:xfrm>
          <a:off x="3751803" y="0"/>
          <a:ext cx="8270169" cy="6858004"/>
        </p:xfrm>
        <a:graphic>
          <a:graphicData uri="http://schemas.openxmlformats.org/drawingml/2006/table">
            <a:tbl>
              <a:tblPr/>
              <a:tblGrid>
                <a:gridCol w="2781109">
                  <a:extLst>
                    <a:ext uri="{9D8B030D-6E8A-4147-A177-3AD203B41FA5}">
                      <a16:colId xmlns:a16="http://schemas.microsoft.com/office/drawing/2014/main" val="20000"/>
                    </a:ext>
                  </a:extLst>
                </a:gridCol>
                <a:gridCol w="1097812">
                  <a:extLst>
                    <a:ext uri="{9D8B030D-6E8A-4147-A177-3AD203B41FA5}">
                      <a16:colId xmlns:a16="http://schemas.microsoft.com/office/drawing/2014/main" val="586602614"/>
                    </a:ext>
                  </a:extLst>
                </a:gridCol>
                <a:gridCol w="1097812">
                  <a:extLst>
                    <a:ext uri="{9D8B030D-6E8A-4147-A177-3AD203B41FA5}">
                      <a16:colId xmlns:a16="http://schemas.microsoft.com/office/drawing/2014/main" val="3551981348"/>
                    </a:ext>
                  </a:extLst>
                </a:gridCol>
                <a:gridCol w="1097812">
                  <a:extLst>
                    <a:ext uri="{9D8B030D-6E8A-4147-A177-3AD203B41FA5}">
                      <a16:colId xmlns:a16="http://schemas.microsoft.com/office/drawing/2014/main" val="2229609214"/>
                    </a:ext>
                  </a:extLst>
                </a:gridCol>
                <a:gridCol w="1097812">
                  <a:extLst>
                    <a:ext uri="{9D8B030D-6E8A-4147-A177-3AD203B41FA5}">
                      <a16:colId xmlns:a16="http://schemas.microsoft.com/office/drawing/2014/main" val="3371755498"/>
                    </a:ext>
                  </a:extLst>
                </a:gridCol>
                <a:gridCol w="1097812">
                  <a:extLst>
                    <a:ext uri="{9D8B030D-6E8A-4147-A177-3AD203B41FA5}">
                      <a16:colId xmlns:a16="http://schemas.microsoft.com/office/drawing/2014/main" val="1471656608"/>
                    </a:ext>
                  </a:extLst>
                </a:gridCol>
              </a:tblGrid>
              <a:tr h="198611">
                <a:tc>
                  <a:txBody>
                    <a:bodyPr/>
                    <a:lstStyle/>
                    <a:p>
                      <a:pPr algn="l" rtl="0" fontAlgn="ctr"/>
                      <a:endParaRPr lang="en-GB" sz="10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19 Average</a:t>
                      </a:r>
                      <a:endParaRPr lang="en-GB" sz="1000" b="1" i="0" u="none" strike="noStrike" dirty="0">
                        <a:solidFill>
                          <a:srgbClr val="29BA74"/>
                        </a:solidFill>
                        <a:effectLst/>
                        <a:latin typeface="+mj-lt"/>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0 Average</a:t>
                      </a:r>
                      <a:r>
                        <a:rPr lang="en-GB" sz="1000" b="1" i="0" u="none" strike="noStrike" kern="1200" baseline="30000" dirty="0">
                          <a:solidFill>
                            <a:srgbClr val="575757"/>
                          </a:solidFill>
                          <a:effectLst/>
                          <a:latin typeface="+mn-lt"/>
                          <a:ea typeface="+mn-ea"/>
                          <a:cs typeface="+mn-cs"/>
                        </a:rPr>
                        <a:t> </a:t>
                      </a:r>
                      <a:endParaRPr lang="en-GB" sz="1000" b="1" i="0" u="none" strike="noStrike" dirty="0">
                        <a:solidFill>
                          <a:srgbClr val="29BA74"/>
                        </a:solidFill>
                        <a:effectLst/>
                        <a:latin typeface="+mj-lt"/>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1 Average</a:t>
                      </a:r>
                      <a:r>
                        <a:rPr lang="en-GB" sz="1000" b="1" i="0" u="none" strike="noStrike" kern="1200" baseline="30000" dirty="0">
                          <a:solidFill>
                            <a:srgbClr val="575757"/>
                          </a:solidFill>
                          <a:effectLst/>
                          <a:latin typeface="+mn-lt"/>
                          <a:ea typeface="+mn-ea"/>
                          <a:cs typeface="+mn-cs"/>
                        </a:rPr>
                        <a:t> </a:t>
                      </a:r>
                      <a:endParaRPr lang="en-GB" sz="1000" b="1" i="0" u="none" strike="noStrike" kern="1200" dirty="0">
                        <a:solidFill>
                          <a:srgbClr val="29BA74"/>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1 vs 2020</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1 vs 2019</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98611">
                <a:tc>
                  <a:txBody>
                    <a:bodyPr/>
                    <a:lstStyle/>
                    <a:p>
                      <a:pPr algn="l" rtl="0" fontAlgn="ctr"/>
                      <a:endParaRPr lang="en-GB" sz="10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gridSpan="3">
                  <a:txBody>
                    <a:bodyPr/>
                    <a:lstStyle/>
                    <a:p>
                      <a:pPr algn="ctr" rtl="0" fontAlgn="ctr"/>
                      <a:r>
                        <a:rPr lang="en-GB" sz="1000" b="1" i="0" u="none" strike="noStrike" kern="1200" dirty="0">
                          <a:solidFill>
                            <a:srgbClr val="575757"/>
                          </a:solidFill>
                          <a:effectLst/>
                          <a:latin typeface="+mn-lt"/>
                          <a:ea typeface="+mn-ea"/>
                          <a:cs typeface="+mn-cs"/>
                        </a:rPr>
                        <a:t>% E-SAT</a:t>
                      </a: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rtl="0" fontAlgn="ctr"/>
                      <a:endParaRPr lang="en-GB" sz="1000" b="1" i="0" u="none" strike="noStrike" dirty="0">
                        <a:solidFill>
                          <a:srgbClr val="29BA74"/>
                        </a:solidFill>
                        <a:effectLst/>
                        <a:latin typeface="+mj-lt"/>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algn="ctr" rtl="0" fontAlgn="ctr"/>
                      <a:endParaRPr lang="en-GB" sz="1000" b="1" i="0" u="none" strike="noStrike" kern="1200" dirty="0">
                        <a:solidFill>
                          <a:srgbClr val="29BA74"/>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gridSpan="2">
                  <a:txBody>
                    <a:bodyPr/>
                    <a:lstStyle/>
                    <a:p>
                      <a:pPr algn="ctr" rtl="0" fontAlgn="ctr"/>
                      <a:r>
                        <a:rPr lang="en-GB" sz="1000" b="1" i="0" u="none" strike="noStrike" kern="1200" dirty="0">
                          <a:solidFill>
                            <a:srgbClr val="575757"/>
                          </a:solidFill>
                          <a:effectLst/>
                          <a:latin typeface="+mn-lt"/>
                          <a:ea typeface="+mn-ea"/>
                          <a:cs typeface="+mn-cs"/>
                        </a:rPr>
                        <a:t>Trend</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rtl="0" fontAlgn="ctr"/>
                      <a:endParaRPr lang="en-GB" sz="1000" b="1" i="0" u="none" strike="noStrike" kern="1200" dirty="0">
                        <a:solidFill>
                          <a:srgbClr val="29BA74"/>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530601246"/>
                  </a:ext>
                </a:extLst>
              </a:tr>
              <a:tr h="179563">
                <a:tc gridSpan="6">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i="0" u="none" strike="noStrike" kern="1200" dirty="0">
                          <a:solidFill>
                            <a:srgbClr val="575757"/>
                          </a:solidFill>
                          <a:effectLst/>
                          <a:latin typeface="+mj-lt"/>
                          <a:ea typeface="+mn-ea"/>
                          <a:cs typeface="+mn-cs"/>
                        </a:rPr>
                        <a:t>Other Areas Measured</a:t>
                      </a:r>
                      <a:r>
                        <a:rPr lang="en-US" sz="1100" b="1" i="0" u="none" strike="noStrike" kern="1200" dirty="0">
                          <a:solidFill>
                            <a:srgbClr val="575757"/>
                          </a:solidFill>
                          <a:effectLst/>
                          <a:latin typeface="+mn-lt"/>
                          <a:ea typeface="+mn-ea"/>
                          <a:cs typeface="+mn-cs"/>
                        </a:rPr>
                        <a:t> </a:t>
                      </a:r>
                      <a:r>
                        <a:rPr lang="en-US" sz="1100" b="1" i="0" u="none" strike="noStrike" kern="1200" dirty="0">
                          <a:solidFill>
                            <a:srgbClr val="575757"/>
                          </a:solidFill>
                          <a:effectLst/>
                          <a:latin typeface="Wingdings 3" panose="05040102010807070707" pitchFamily="18" charset="2"/>
                          <a:ea typeface="+mn-ea"/>
                          <a:cs typeface="+mn-cs"/>
                        </a:rPr>
                        <a:t>i</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algn="ctr" fontAlgn="ctr"/>
                      <a:endParaRPr lang="en-US" sz="1000" b="0" i="0" u="none" strike="noStrike" kern="1200" dirty="0">
                        <a:solidFill>
                          <a:srgbClr val="575757"/>
                        </a:solidFill>
                        <a:effectLst/>
                        <a:latin typeface="+mn-lt"/>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772782883"/>
                  </a:ext>
                </a:extLst>
              </a:tr>
              <a:tr h="203169">
                <a:tc>
                  <a:txBody>
                    <a:bodyPr/>
                    <a:lstStyle/>
                    <a:p>
                      <a:pPr algn="l" fontAlgn="b"/>
                      <a:r>
                        <a:rPr lang="en-US" sz="1000" b="0" i="0" u="none" strike="noStrike" kern="1200" dirty="0">
                          <a:solidFill>
                            <a:srgbClr val="575757"/>
                          </a:solidFill>
                          <a:effectLst/>
                          <a:latin typeface="+mn-lt"/>
                          <a:ea typeface="+mn-ea"/>
                          <a:cs typeface="+mn-cs"/>
                        </a:rPr>
                        <a:t>Senior CT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3</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5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6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154174162"/>
                  </a:ext>
                </a:extLst>
              </a:tr>
              <a:tr h="203169">
                <a:tc>
                  <a:txBody>
                    <a:bodyPr/>
                    <a:lstStyle/>
                    <a:p>
                      <a:pPr algn="l" fontAlgn="b"/>
                      <a:r>
                        <a:rPr lang="en-US" sz="1000" b="0" i="0" u="none" strike="noStrike" kern="1200" dirty="0">
                          <a:solidFill>
                            <a:srgbClr val="575757"/>
                          </a:solidFill>
                          <a:effectLst/>
                          <a:latin typeface="+mn-lt"/>
                          <a:ea typeface="+mn-ea"/>
                          <a:cs typeface="+mn-cs"/>
                        </a:rPr>
                        <a:t>CT - Ability to Whiteboard with Clients</a:t>
                      </a:r>
                      <a:r>
                        <a:rPr lang="en-US" sz="1000" b="0" i="0" u="none" strike="noStrike" kern="1200" baseline="30000" dirty="0">
                          <a:solidFill>
                            <a:srgbClr val="575757"/>
                          </a:solidFill>
                          <a:effectLst/>
                          <a:latin typeface="+mn-lt"/>
                          <a:ea typeface="+mn-ea"/>
                          <a:cs typeface="+mn-cs"/>
                        </a:rPr>
                        <a:t>3</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mn-lt"/>
                          <a:ea typeface="+mn-ea"/>
                          <a:cs typeface="+mn-cs"/>
                        </a:rPr>
                        <a:t>3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FFFFFF"/>
                          </a:solidFill>
                          <a:effectLst/>
                          <a:latin typeface="+mn-lt"/>
                          <a:ea typeface="+mn-ea"/>
                          <a:cs typeface="+mn-cs"/>
                        </a:rPr>
                        <a:t>4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743701108"/>
                  </a:ext>
                </a:extLst>
              </a:tr>
              <a:tr h="203169">
                <a:tc>
                  <a:txBody>
                    <a:bodyPr/>
                    <a:lstStyle/>
                    <a:p>
                      <a:pPr algn="l" fontAlgn="b"/>
                      <a:r>
                        <a:rPr lang="en-US" sz="1000" b="0" i="0" u="none" strike="noStrike" kern="1200" dirty="0">
                          <a:solidFill>
                            <a:srgbClr val="575757"/>
                          </a:solidFill>
                          <a:effectLst/>
                          <a:latin typeface="+mn-lt"/>
                          <a:ea typeface="+mn-ea"/>
                          <a:cs typeface="+mn-cs"/>
                        </a:rPr>
                        <a:t>IT Security - Resource Findability</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360867793"/>
                  </a:ext>
                </a:extLst>
              </a:tr>
              <a:tr h="203169">
                <a:tc>
                  <a:txBody>
                    <a:bodyPr/>
                    <a:lstStyle/>
                    <a:p>
                      <a:pPr algn="l" fontAlgn="b"/>
                      <a:r>
                        <a:rPr lang="en-US" sz="1000" b="0" i="0" u="none" strike="noStrike" kern="1200" dirty="0">
                          <a:solidFill>
                            <a:srgbClr val="575757"/>
                          </a:solidFill>
                          <a:effectLst/>
                          <a:latin typeface="+mn-lt"/>
                          <a:ea typeface="+mn-ea"/>
                          <a:cs typeface="+mn-cs"/>
                        </a:rPr>
                        <a:t>IT Connect - Availability of Resources</a:t>
                      </a:r>
                      <a:r>
                        <a:rPr lang="en-US" sz="1000" b="0" i="0" u="none" strike="noStrike" kern="1200" baseline="30000" dirty="0">
                          <a:solidFill>
                            <a:srgbClr val="575757"/>
                          </a:solidFill>
                          <a:effectLst/>
                          <a:latin typeface="+mn-lt"/>
                          <a:ea typeface="+mn-ea"/>
                          <a:cs typeface="+mn-cs"/>
                        </a:rPr>
                        <a:t>1</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a:solidFill>
                            <a:srgbClr val="575757"/>
                          </a:solidFill>
                          <a:effectLst/>
                          <a:latin typeface="+mn-lt"/>
                          <a:ea typeface="+mn-ea"/>
                          <a:cs typeface="+mn-cs"/>
                        </a:rPr>
                        <a:t>6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75950098"/>
                  </a:ext>
                </a:extLst>
              </a:tr>
              <a:tr h="203169">
                <a:tc>
                  <a:txBody>
                    <a:bodyPr/>
                    <a:lstStyle/>
                    <a:p>
                      <a:pPr algn="l" fontAlgn="b"/>
                      <a:r>
                        <a:rPr lang="en-US" sz="1000" b="0" i="0" u="none" strike="noStrike" kern="1200" dirty="0">
                          <a:solidFill>
                            <a:srgbClr val="575757"/>
                          </a:solidFill>
                          <a:effectLst/>
                          <a:latin typeface="+mn-lt"/>
                          <a:ea typeface="+mn-ea"/>
                          <a:cs typeface="+mn-cs"/>
                        </a:rPr>
                        <a:t>IT Connect - Ease of Finding Resources</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FFFFFF"/>
                          </a:solidFill>
                          <a:effectLst/>
                          <a:latin typeface="+mn-lt"/>
                          <a:ea typeface="+mn-ea"/>
                          <a:cs typeface="+mn-cs"/>
                        </a:rPr>
                        <a:t>80</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a:solidFill>
                            <a:srgbClr val="575757"/>
                          </a:solidFill>
                          <a:effectLst/>
                          <a:latin typeface="+mn-lt"/>
                          <a:ea typeface="+mn-ea"/>
                          <a:cs typeface="+mn-cs"/>
                        </a:rPr>
                        <a:t>6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337382994"/>
                  </a:ext>
                </a:extLst>
              </a:tr>
              <a:tr h="203169">
                <a:tc>
                  <a:txBody>
                    <a:bodyPr/>
                    <a:lstStyle/>
                    <a:p>
                      <a:pPr algn="l" fontAlgn="b"/>
                      <a:r>
                        <a:rPr lang="en-US" sz="1000" b="0" i="0" u="none" strike="noStrike" kern="1200" dirty="0">
                          <a:solidFill>
                            <a:srgbClr val="575757"/>
                          </a:solidFill>
                          <a:effectLst/>
                          <a:latin typeface="+mn-lt"/>
                          <a:ea typeface="+mn-ea"/>
                          <a:cs typeface="+mn-cs"/>
                        </a:rPr>
                        <a:t>Egnyte – Ability to Share files</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1</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875865486"/>
                  </a:ext>
                </a:extLst>
              </a:tr>
              <a:tr h="203169">
                <a:tc>
                  <a:txBody>
                    <a:bodyPr/>
                    <a:lstStyle/>
                    <a:p>
                      <a:pPr algn="l" fontAlgn="b"/>
                      <a:r>
                        <a:rPr lang="en-US" sz="1000" b="0" i="0" u="none" strike="noStrike" kern="1200" dirty="0">
                          <a:solidFill>
                            <a:srgbClr val="575757"/>
                          </a:solidFill>
                          <a:effectLst/>
                          <a:latin typeface="+mn-lt"/>
                          <a:ea typeface="+mn-ea"/>
                          <a:cs typeface="+mn-cs"/>
                        </a:rPr>
                        <a:t>IT Connect  - Quality of Resources</a:t>
                      </a:r>
                      <a:r>
                        <a:rPr lang="en-US" sz="1000" b="0" i="0" u="none" strike="noStrike" kern="1200" baseline="30000" dirty="0">
                          <a:solidFill>
                            <a:srgbClr val="575757"/>
                          </a:solidFill>
                          <a:effectLst/>
                          <a:latin typeface="+mn-lt"/>
                          <a:ea typeface="+mn-ea"/>
                          <a:cs typeface="+mn-cs"/>
                        </a:rPr>
                        <a:t>1</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FFFFFF"/>
                          </a:solidFill>
                          <a:effectLst/>
                          <a:latin typeface="+mn-lt"/>
                          <a:ea typeface="+mn-ea"/>
                          <a:cs typeface="+mn-cs"/>
                        </a:rPr>
                        <a:t>83</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575757"/>
                          </a:solidFill>
                          <a:effectLst/>
                          <a:latin typeface="+mn-lt"/>
                          <a:ea typeface="+mn-ea"/>
                          <a:cs typeface="+mn-cs"/>
                        </a:rPr>
                        <a:t>6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084213030"/>
                  </a:ext>
                </a:extLst>
              </a:tr>
              <a:tr h="203169">
                <a:tc>
                  <a:txBody>
                    <a:bodyPr/>
                    <a:lstStyle/>
                    <a:p>
                      <a:pPr algn="l" fontAlgn="b"/>
                      <a:r>
                        <a:rPr lang="en-US" sz="1000" b="0" i="0" u="none" strike="noStrike" kern="1200" dirty="0">
                          <a:solidFill>
                            <a:srgbClr val="575757"/>
                          </a:solidFill>
                          <a:effectLst/>
                          <a:latin typeface="+mn-lt"/>
                          <a:ea typeface="+mn-ea"/>
                          <a:cs typeface="+mn-cs"/>
                        </a:rPr>
                        <a:t>Expenses - Chrome River Mobile App</a:t>
                      </a:r>
                      <a:r>
                        <a:rPr lang="en-US" sz="1000" b="0" i="0" u="none" strike="noStrike" kern="1200" baseline="30000" dirty="0">
                          <a:solidFill>
                            <a:srgbClr val="575757"/>
                          </a:solidFill>
                          <a:effectLst/>
                          <a:latin typeface="+mn-lt"/>
                          <a:ea typeface="+mn-ea"/>
                          <a:cs typeface="+mn-cs"/>
                        </a:rPr>
                        <a:t>3</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16546905"/>
                  </a:ext>
                </a:extLst>
              </a:tr>
              <a:tr h="203169">
                <a:tc>
                  <a:txBody>
                    <a:bodyPr/>
                    <a:lstStyle/>
                    <a:p>
                      <a:pPr algn="l" fontAlgn="b"/>
                      <a:r>
                        <a:rPr lang="en-US" sz="1000" b="0" i="0" u="none" strike="noStrike" kern="1200" dirty="0">
                          <a:solidFill>
                            <a:srgbClr val="575757"/>
                          </a:solidFill>
                          <a:effectLst/>
                          <a:latin typeface="+mn-lt"/>
                          <a:ea typeface="+mn-ea"/>
                          <a:cs typeface="+mn-cs"/>
                        </a:rPr>
                        <a:t>IT Comms - Leadership Updates</a:t>
                      </a:r>
                      <a:r>
                        <a:rPr lang="en-US" sz="1000" b="0" i="0" u="none" strike="noStrike" kern="1200" baseline="30000" dirty="0">
                          <a:solidFill>
                            <a:srgbClr val="575757"/>
                          </a:solidFill>
                          <a:effectLst/>
                          <a:latin typeface="+mn-lt"/>
                          <a:ea typeface="+mn-ea"/>
                          <a:cs typeface="+mn-cs"/>
                        </a:rPr>
                        <a:t>2</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4</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6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691378527"/>
                  </a:ext>
                </a:extLst>
              </a:tr>
              <a:tr h="203169">
                <a:tc>
                  <a:txBody>
                    <a:bodyPr/>
                    <a:lstStyle/>
                    <a:p>
                      <a:pPr algn="l" fontAlgn="b"/>
                      <a:r>
                        <a:rPr lang="en-US" sz="1000" b="0" i="0" u="none" strike="noStrike" kern="1200" dirty="0">
                          <a:solidFill>
                            <a:srgbClr val="575757"/>
                          </a:solidFill>
                          <a:effectLst/>
                          <a:latin typeface="+mn-lt"/>
                          <a:ea typeface="+mn-ea"/>
                          <a:cs typeface="+mn-cs"/>
                        </a:rPr>
                        <a:t>IT Service Center – Chat</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3</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328768690"/>
                  </a:ext>
                </a:extLst>
              </a:tr>
              <a:tr h="203169">
                <a:tc>
                  <a:txBody>
                    <a:bodyPr/>
                    <a:lstStyle/>
                    <a:p>
                      <a:pPr algn="l" fontAlgn="b"/>
                      <a:r>
                        <a:rPr lang="en-US" sz="1000" b="0" i="0" u="none" strike="noStrike" kern="1200" dirty="0">
                          <a:solidFill>
                            <a:srgbClr val="575757"/>
                          </a:solidFill>
                          <a:effectLst/>
                          <a:latin typeface="+mn-lt"/>
                          <a:ea typeface="+mn-ea"/>
                          <a:cs typeface="+mn-cs"/>
                        </a:rPr>
                        <a:t>IT Comms - IT Service Center Outages</a:t>
                      </a:r>
                      <a:r>
                        <a:rPr lang="en-US" sz="1000" b="0" i="0" u="none" strike="noStrike" kern="1200" baseline="30000" dirty="0">
                          <a:solidFill>
                            <a:srgbClr val="575757"/>
                          </a:solidFill>
                          <a:effectLst/>
                          <a:latin typeface="+mn-lt"/>
                          <a:ea typeface="+mn-ea"/>
                          <a:cs typeface="+mn-cs"/>
                        </a:rPr>
                        <a:t>2</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0</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mn-lt"/>
                          <a:ea typeface="+mn-ea"/>
                          <a:cs typeface="+mn-cs"/>
                        </a:rPr>
                        <a:t>8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933858752"/>
                  </a:ext>
                </a:extLst>
              </a:tr>
              <a:tr h="203169">
                <a:tc>
                  <a:txBody>
                    <a:bodyPr/>
                    <a:lstStyle/>
                    <a:p>
                      <a:pPr algn="l" fontAlgn="b"/>
                      <a:r>
                        <a:rPr lang="en-US" sz="1000" b="0" i="0" u="none" strike="noStrike" kern="1200" dirty="0">
                          <a:solidFill>
                            <a:srgbClr val="575757"/>
                          </a:solidFill>
                          <a:effectLst/>
                          <a:latin typeface="+mn-lt"/>
                          <a:ea typeface="+mn-ea"/>
                          <a:cs typeface="+mn-cs"/>
                        </a:rPr>
                        <a:t>Windows Laptop Mode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66</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209062083"/>
                  </a:ext>
                </a:extLst>
              </a:tr>
              <a:tr h="203169">
                <a:tc>
                  <a:txBody>
                    <a:bodyPr/>
                    <a:lstStyle/>
                    <a:p>
                      <a:pPr algn="l" fontAlgn="b"/>
                      <a:r>
                        <a:rPr lang="en-US" sz="1000" b="0" i="0" u="none" strike="noStrike" kern="1200" dirty="0">
                          <a:solidFill>
                            <a:srgbClr val="575757"/>
                          </a:solidFill>
                          <a:effectLst/>
                          <a:latin typeface="+mn-lt"/>
                          <a:ea typeface="+mn-ea"/>
                          <a:cs typeface="+mn-cs"/>
                        </a:rPr>
                        <a:t>IT Comms - Local IT Updates</a:t>
                      </a:r>
                      <a:r>
                        <a:rPr lang="en-US" sz="1000" b="0" i="0" u="none" strike="noStrike" kern="1200" baseline="30000" dirty="0">
                          <a:solidFill>
                            <a:srgbClr val="575757"/>
                          </a:solidFill>
                          <a:effectLst/>
                          <a:latin typeface="+mn-lt"/>
                          <a:ea typeface="+mn-ea"/>
                          <a:cs typeface="+mn-cs"/>
                        </a:rPr>
                        <a:t>2</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1</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mn-lt"/>
                          <a:ea typeface="+mn-ea"/>
                          <a:cs typeface="+mn-cs"/>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148089287"/>
                  </a:ext>
                </a:extLst>
              </a:tr>
              <a:tr h="203169">
                <a:tc>
                  <a:txBody>
                    <a:bodyPr/>
                    <a:lstStyle/>
                    <a:p>
                      <a:pPr algn="l" fontAlgn="b"/>
                      <a:r>
                        <a:rPr lang="en-US" sz="1000" b="0" i="0" u="none" strike="noStrike" kern="1200" dirty="0">
                          <a:solidFill>
                            <a:srgbClr val="575757"/>
                          </a:solidFill>
                          <a:effectLst/>
                          <a:latin typeface="+mn-lt"/>
                          <a:ea typeface="+mn-ea"/>
                          <a:cs typeface="+mn-cs"/>
                        </a:rPr>
                        <a:t>IT Comms - Product / Service Updates</a:t>
                      </a:r>
                      <a:r>
                        <a:rPr lang="en-US" sz="1000" b="0" i="0" u="none" strike="noStrike" kern="1200" baseline="30000" dirty="0">
                          <a:solidFill>
                            <a:srgbClr val="575757"/>
                          </a:solidFill>
                          <a:effectLst/>
                          <a:latin typeface="+mn-lt"/>
                          <a:ea typeface="+mn-ea"/>
                          <a:cs typeface="+mn-cs"/>
                        </a:rPr>
                        <a:t>2</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a:solidFill>
                            <a:srgbClr val="575757"/>
                          </a:solidFill>
                          <a:effectLst/>
                          <a:latin typeface="+mn-lt"/>
                          <a:ea typeface="+mn-ea"/>
                          <a:cs typeface="+mn-cs"/>
                        </a:rPr>
                        <a:t>60</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mn-lt"/>
                          <a:ea typeface="+mn-ea"/>
                          <a:cs typeface="+mn-cs"/>
                        </a:rPr>
                        <a:t>1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594935229"/>
                  </a:ext>
                </a:extLst>
              </a:tr>
              <a:tr h="203169">
                <a:tc>
                  <a:txBody>
                    <a:bodyPr/>
                    <a:lstStyle/>
                    <a:p>
                      <a:pPr algn="l" fontAlgn="b"/>
                      <a:r>
                        <a:rPr lang="en-US" sz="1000" b="0" i="0" u="none" strike="noStrike" kern="1200" dirty="0">
                          <a:solidFill>
                            <a:srgbClr val="575757"/>
                          </a:solidFill>
                          <a:effectLst/>
                          <a:latin typeface="+mn-lt"/>
                          <a:ea typeface="+mn-ea"/>
                          <a:cs typeface="+mn-cs"/>
                        </a:rPr>
                        <a:t>IT Service Center – Emai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68</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017876289"/>
                  </a:ext>
                </a:extLst>
              </a:tr>
              <a:tr h="203169">
                <a:tc>
                  <a:txBody>
                    <a:bodyPr/>
                    <a:lstStyle/>
                    <a:p>
                      <a:pPr algn="l" fontAlgn="b"/>
                      <a:r>
                        <a:rPr lang="en-US" sz="1000" b="0" i="0" u="none" strike="noStrike" kern="1200" dirty="0">
                          <a:solidFill>
                            <a:srgbClr val="575757"/>
                          </a:solidFill>
                          <a:effectLst/>
                          <a:latin typeface="+mn-lt"/>
                          <a:ea typeface="+mn-ea"/>
                          <a:cs typeface="+mn-cs"/>
                        </a:rPr>
                        <a:t>Learning - Ease of Finding Learning</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2</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a:solidFill>
                            <a:srgbClr val="575757"/>
                          </a:solidFill>
                          <a:effectLst/>
                          <a:latin typeface="+mn-lt"/>
                          <a:ea typeface="+mn-ea"/>
                          <a:cs typeface="+mn-cs"/>
                        </a:rPr>
                        <a:t>5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5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797979"/>
                          </a:solidFill>
                          <a:effectLst/>
                          <a:latin typeface="Wingdings 3" panose="05040102010807070707" pitchFamily="18" charset="2"/>
                        </a:rPr>
                        <a:t>w</a:t>
                      </a: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287603827"/>
                  </a:ext>
                </a:extLst>
              </a:tr>
              <a:tr h="389318">
                <a:tc>
                  <a:txBody>
                    <a:bodyPr/>
                    <a:lstStyle/>
                    <a:p>
                      <a:pPr algn="l" fontAlgn="b"/>
                      <a:r>
                        <a:rPr lang="en-US" sz="1000" b="0" i="0" u="none" strike="noStrike" kern="1200" dirty="0">
                          <a:solidFill>
                            <a:srgbClr val="575757"/>
                          </a:solidFill>
                          <a:effectLst/>
                          <a:latin typeface="+mn-lt"/>
                          <a:ea typeface="+mn-ea"/>
                          <a:cs typeface="+mn-cs"/>
                        </a:rPr>
                        <a:t>CT - Ability to Chat (Instant Messaging) with Clients</a:t>
                      </a:r>
                      <a:r>
                        <a:rPr lang="en-US" sz="1000" b="0" i="0" u="none" strike="noStrike" kern="1200" baseline="30000" dirty="0">
                          <a:solidFill>
                            <a:srgbClr val="575757"/>
                          </a:solidFill>
                          <a:effectLst/>
                          <a:latin typeface="+mn-lt"/>
                          <a:ea typeface="+mn-ea"/>
                          <a:cs typeface="+mn-cs"/>
                        </a:rPr>
                        <a:t>3</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a:solidFill>
                            <a:srgbClr val="575757"/>
                          </a:solidFill>
                          <a:effectLst/>
                          <a:latin typeface="+mn-lt"/>
                          <a:ea typeface="+mn-ea"/>
                          <a:cs typeface="+mn-cs"/>
                        </a:rPr>
                        <a:t>5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5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372131244"/>
                  </a:ext>
                </a:extLst>
              </a:tr>
              <a:tr h="203169">
                <a:tc>
                  <a:txBody>
                    <a:bodyPr/>
                    <a:lstStyle/>
                    <a:p>
                      <a:pPr algn="l" fontAlgn="b"/>
                      <a:r>
                        <a:rPr lang="en-US" sz="1000" b="0" i="0" u="none" strike="noStrike" kern="1200" dirty="0">
                          <a:solidFill>
                            <a:srgbClr val="575757"/>
                          </a:solidFill>
                          <a:effectLst/>
                          <a:latin typeface="+mn-lt"/>
                          <a:ea typeface="+mn-ea"/>
                          <a:cs typeface="+mn-cs"/>
                        </a:rPr>
                        <a:t>CT - Ability to Collaborate on Files with Clients</a:t>
                      </a:r>
                      <a:r>
                        <a:rPr lang="en-US" sz="1000" b="0" i="0" u="none" strike="noStrike" kern="1200" baseline="30000" dirty="0">
                          <a:solidFill>
                            <a:srgbClr val="575757"/>
                          </a:solidFill>
                          <a:effectLst/>
                          <a:latin typeface="+mn-lt"/>
                          <a:ea typeface="+mn-ea"/>
                          <a:cs typeface="+mn-cs"/>
                        </a:rPr>
                        <a:t>3</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mn-lt"/>
                          <a:ea typeface="+mn-ea"/>
                          <a:cs typeface="+mn-cs"/>
                        </a:rPr>
                        <a:t>3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FFFFFF"/>
                          </a:solidFill>
                          <a:effectLst/>
                          <a:latin typeface="+mn-lt"/>
                          <a:ea typeface="+mn-ea"/>
                          <a:cs typeface="+mn-cs"/>
                        </a:rPr>
                        <a:t>3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636292001"/>
                  </a:ext>
                </a:extLst>
              </a:tr>
              <a:tr h="203169">
                <a:tc>
                  <a:txBody>
                    <a:bodyPr/>
                    <a:lstStyle/>
                    <a:p>
                      <a:pPr algn="l" fontAlgn="b"/>
                      <a:r>
                        <a:rPr lang="en-US" sz="1000" b="0" i="0" u="none" strike="noStrike" kern="1200" dirty="0">
                          <a:solidFill>
                            <a:srgbClr val="575757"/>
                          </a:solidFill>
                          <a:effectLst/>
                          <a:latin typeface="+mn-lt"/>
                          <a:ea typeface="+mn-ea"/>
                          <a:cs typeface="+mn-cs"/>
                        </a:rPr>
                        <a:t>Learning Topics Available</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60</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6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6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265283136"/>
                  </a:ext>
                </a:extLst>
              </a:tr>
              <a:tr h="203169">
                <a:tc>
                  <a:txBody>
                    <a:bodyPr/>
                    <a:lstStyle/>
                    <a:p>
                      <a:pPr algn="l" fontAlgn="b"/>
                      <a:r>
                        <a:rPr lang="en-US" sz="1000" b="0" i="0" u="none" strike="noStrike" kern="1200" dirty="0">
                          <a:solidFill>
                            <a:srgbClr val="575757"/>
                          </a:solidFill>
                          <a:effectLst/>
                          <a:latin typeface="+mn-lt"/>
                          <a:ea typeface="+mn-ea"/>
                          <a:cs typeface="+mn-cs"/>
                        </a:rPr>
                        <a:t>VPN - How Tools Function on VPN</a:t>
                      </a:r>
                      <a:r>
                        <a:rPr lang="en-US" sz="1000" b="0" i="0" u="none" strike="noStrike" kern="1200" baseline="30000" dirty="0">
                          <a:solidFill>
                            <a:srgbClr val="575757"/>
                          </a:solidFill>
                          <a:effectLst/>
                          <a:latin typeface="+mn-lt"/>
                          <a:ea typeface="+mn-ea"/>
                          <a:cs typeface="+mn-cs"/>
                        </a:rPr>
                        <a:t>4</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mn-lt"/>
                          <a:ea typeface="+mn-ea"/>
                          <a:cs typeface="+mn-cs"/>
                        </a:rPr>
                        <a:t>8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472858575"/>
                  </a:ext>
                </a:extLst>
              </a:tr>
              <a:tr h="203169">
                <a:tc>
                  <a:txBody>
                    <a:bodyPr/>
                    <a:lstStyle/>
                    <a:p>
                      <a:pPr algn="l" fontAlgn="b"/>
                      <a:r>
                        <a:rPr lang="en-US" sz="1000" b="0" i="0" u="none" strike="noStrike" kern="1200" dirty="0">
                          <a:solidFill>
                            <a:srgbClr val="575757"/>
                          </a:solidFill>
                          <a:effectLst/>
                          <a:latin typeface="+mn-lt"/>
                          <a:ea typeface="+mn-ea"/>
                          <a:cs typeface="+mn-cs"/>
                        </a:rPr>
                        <a:t>Windows Laptop Stability</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56</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5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6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872757321"/>
                  </a:ext>
                </a:extLst>
              </a:tr>
              <a:tr h="203169">
                <a:tc>
                  <a:txBody>
                    <a:bodyPr/>
                    <a:lstStyle/>
                    <a:p>
                      <a:pPr algn="l" fontAlgn="b"/>
                      <a:r>
                        <a:rPr lang="en-US" sz="1000" b="0" i="0" u="none" strike="noStrike" kern="1200" dirty="0">
                          <a:solidFill>
                            <a:srgbClr val="575757"/>
                          </a:solidFill>
                          <a:effectLst/>
                          <a:latin typeface="+mn-lt"/>
                          <a:ea typeface="+mn-ea"/>
                          <a:cs typeface="+mn-cs"/>
                        </a:rPr>
                        <a:t>CT - Ability to Manage Tasks with Clients</a:t>
                      </a:r>
                      <a:r>
                        <a:rPr lang="en-US" sz="1000" b="0" i="0" u="none" strike="noStrike" kern="1200" baseline="30000" dirty="0">
                          <a:solidFill>
                            <a:srgbClr val="575757"/>
                          </a:solidFill>
                          <a:effectLst/>
                          <a:latin typeface="+mn-lt"/>
                          <a:ea typeface="+mn-ea"/>
                          <a:cs typeface="+mn-cs"/>
                        </a:rPr>
                        <a:t>3</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5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5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501179808"/>
                  </a:ext>
                </a:extLst>
              </a:tr>
              <a:tr h="203169">
                <a:tc>
                  <a:txBody>
                    <a:bodyPr/>
                    <a:lstStyle/>
                    <a:p>
                      <a:pPr algn="l" fontAlgn="b"/>
                      <a:r>
                        <a:rPr lang="en-US" sz="1000" b="0" i="0" u="none" strike="noStrike" kern="1200" dirty="0">
                          <a:solidFill>
                            <a:srgbClr val="575757"/>
                          </a:solidFill>
                          <a:effectLst/>
                          <a:latin typeface="+mn-lt"/>
                          <a:ea typeface="+mn-ea"/>
                          <a:cs typeface="+mn-cs"/>
                        </a:rPr>
                        <a:t>Digital Collaboration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64</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797979"/>
                          </a:solidFill>
                          <a:effectLst/>
                          <a:latin typeface="Wingdings 3" panose="05040102010807070707" pitchFamily="18" charset="2"/>
                        </a:rPr>
                        <a:t>w</a:t>
                      </a: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118981115"/>
                  </a:ext>
                </a:extLst>
              </a:tr>
              <a:tr h="203169">
                <a:tc>
                  <a:txBody>
                    <a:bodyPr/>
                    <a:lstStyle/>
                    <a:p>
                      <a:pPr algn="l" fontAlgn="b"/>
                      <a:r>
                        <a:rPr lang="en-US" sz="1000" b="0" i="0" u="none" strike="noStrike" kern="1200" dirty="0">
                          <a:solidFill>
                            <a:srgbClr val="575757"/>
                          </a:solidFill>
                          <a:effectLst/>
                          <a:latin typeface="+mn-lt"/>
                          <a:ea typeface="+mn-ea"/>
                          <a:cs typeface="+mn-cs"/>
                        </a:rPr>
                        <a:t>IT Service Center – Phone</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76</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797979"/>
                          </a:solidFill>
                          <a:effectLst/>
                          <a:latin typeface="Wingdings 3" panose="05040102010807070707" pitchFamily="18" charset="2"/>
                        </a:rPr>
                        <a:t>w</a:t>
                      </a: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531283309"/>
                  </a:ext>
                </a:extLst>
              </a:tr>
              <a:tr h="203169">
                <a:tc>
                  <a:txBody>
                    <a:bodyPr/>
                    <a:lstStyle/>
                    <a:p>
                      <a:pPr algn="l" fontAlgn="b"/>
                      <a:r>
                        <a:rPr lang="en-US" sz="1000" b="0" i="0" u="none" strike="noStrike" kern="1200" dirty="0">
                          <a:solidFill>
                            <a:srgbClr val="575757"/>
                          </a:solidFill>
                          <a:effectLst/>
                          <a:latin typeface="+mn-lt"/>
                          <a:ea typeface="+mn-ea"/>
                          <a:cs typeface="+mn-cs"/>
                        </a:rPr>
                        <a:t>CT - Ability to Videoconference with Clients</a:t>
                      </a:r>
                      <a:r>
                        <a:rPr lang="en-US" sz="1000" b="0" i="0" u="none" strike="noStrike" kern="1200" baseline="30000" dirty="0">
                          <a:solidFill>
                            <a:srgbClr val="575757"/>
                          </a:solidFill>
                          <a:effectLst/>
                          <a:latin typeface="+mn-lt"/>
                          <a:ea typeface="+mn-ea"/>
                          <a:cs typeface="+mn-cs"/>
                        </a:rPr>
                        <a:t>3</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mn-lt"/>
                          <a:ea typeface="+mn-ea"/>
                          <a:cs typeface="+mn-cs"/>
                        </a:rPr>
                        <a:t>8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mn-lt"/>
                          <a:ea typeface="+mn-ea"/>
                          <a:cs typeface="+mn-cs"/>
                        </a:rPr>
                        <a:t>8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146466650"/>
                  </a:ext>
                </a:extLst>
              </a:tr>
              <a:tr h="203169">
                <a:tc>
                  <a:txBody>
                    <a:bodyPr/>
                    <a:lstStyle/>
                    <a:p>
                      <a:pPr algn="l" fontAlgn="b"/>
                      <a:r>
                        <a:rPr lang="en-US" sz="1000" b="0" i="0" u="none" strike="noStrike" kern="1200" dirty="0">
                          <a:solidFill>
                            <a:srgbClr val="575757"/>
                          </a:solidFill>
                          <a:effectLst/>
                          <a:latin typeface="+mn-lt"/>
                          <a:ea typeface="+mn-ea"/>
                          <a:cs typeface="+mn-cs"/>
                        </a:rPr>
                        <a:t>Learning - Overall</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6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6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758707983"/>
                  </a:ext>
                </a:extLst>
              </a:tr>
              <a:tr h="203169">
                <a:tc>
                  <a:txBody>
                    <a:bodyPr/>
                    <a:lstStyle/>
                    <a:p>
                      <a:pPr algn="l" fontAlgn="b"/>
                      <a:r>
                        <a:rPr lang="en-US" sz="1000" b="0" i="0" u="none" strike="noStrike" kern="1200" dirty="0">
                          <a:solidFill>
                            <a:srgbClr val="575757"/>
                          </a:solidFill>
                          <a:effectLst/>
                          <a:latin typeface="+mn-lt"/>
                          <a:ea typeface="+mn-ea"/>
                          <a:cs typeface="+mn-cs"/>
                        </a:rPr>
                        <a:t>Windows Laptop Performance</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FFFFFF"/>
                          </a:solidFill>
                          <a:effectLst/>
                          <a:latin typeface="+mn-lt"/>
                          <a:ea typeface="+mn-ea"/>
                          <a:cs typeface="+mn-cs"/>
                        </a:rPr>
                        <a:t>49</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575757"/>
                          </a:solidFill>
                          <a:effectLst/>
                          <a:latin typeface="+mn-lt"/>
                          <a:ea typeface="+mn-ea"/>
                          <a:cs typeface="+mn-cs"/>
                        </a:rPr>
                        <a:t>5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mn-lt"/>
                          <a:ea typeface="+mn-ea"/>
                          <a:cs typeface="+mn-cs"/>
                        </a:rPr>
                        <a:t>5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lang="en-US" sz="1000" b="0" i="0" u="none" strike="noStrike" kern="1200" dirty="0">
                          <a:solidFill>
                            <a:srgbClr val="575757"/>
                          </a:solidFill>
                          <a:effectLst/>
                          <a:latin typeface="+mn-lt"/>
                          <a:ea typeface="+mn-ea"/>
                          <a:cs typeface="+mn-cs"/>
                        </a:rPr>
                        <a:t>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233915478"/>
                  </a:ext>
                </a:extLst>
              </a:tr>
              <a:tr h="203169">
                <a:tc>
                  <a:txBody>
                    <a:bodyPr/>
                    <a:lstStyle/>
                    <a:p>
                      <a:pPr algn="l" fontAlgn="b"/>
                      <a:r>
                        <a:rPr lang="en-US" sz="1000" b="0" i="0" u="none" strike="noStrike" kern="1200" dirty="0">
                          <a:solidFill>
                            <a:srgbClr val="575757"/>
                          </a:solidFill>
                          <a:effectLst/>
                          <a:latin typeface="+mn-lt"/>
                          <a:ea typeface="+mn-ea"/>
                          <a:cs typeface="+mn-cs"/>
                        </a:rPr>
                        <a:t>CT - Ability to Share Files with Clients</a:t>
                      </a:r>
                      <a:r>
                        <a:rPr lang="en-US" sz="1000" b="0" i="0" u="none" strike="noStrike" kern="1200" baseline="30000" dirty="0">
                          <a:solidFill>
                            <a:srgbClr val="575757"/>
                          </a:solidFill>
                          <a:effectLst/>
                          <a:latin typeface="+mn-lt"/>
                          <a:ea typeface="+mn-ea"/>
                          <a:cs typeface="+mn-cs"/>
                        </a:rPr>
                        <a:t>3</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6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6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161606585"/>
                  </a:ext>
                </a:extLst>
              </a:tr>
              <a:tr h="203169">
                <a:tc>
                  <a:txBody>
                    <a:bodyPr/>
                    <a:lstStyle/>
                    <a:p>
                      <a:pPr algn="l" fontAlgn="b"/>
                      <a:r>
                        <a:rPr lang="en-US" sz="1000" b="0" i="0" u="none" strike="noStrike" kern="1200" dirty="0">
                          <a:solidFill>
                            <a:srgbClr val="575757"/>
                          </a:solidFill>
                          <a:effectLst/>
                          <a:latin typeface="+mn-lt"/>
                          <a:ea typeface="+mn-ea"/>
                          <a:cs typeface="+mn-cs"/>
                        </a:rPr>
                        <a:t>CT - Ability to Work with Clients - Overall</a:t>
                      </a:r>
                      <a:r>
                        <a:rPr lang="en-US" sz="1000" b="0" i="0" u="none" strike="noStrike" kern="1200" baseline="30000" dirty="0">
                          <a:solidFill>
                            <a:srgbClr val="575757"/>
                          </a:solidFill>
                          <a:effectLst/>
                          <a:latin typeface="+mn-lt"/>
                          <a:ea typeface="+mn-ea"/>
                          <a:cs typeface="+mn-cs"/>
                        </a:rPr>
                        <a:t>3</a:t>
                      </a:r>
                      <a:endParaRPr lang="en-US" sz="1000" b="0" i="0" u="none" strike="noStrike" kern="1200" dirty="0">
                        <a:solidFill>
                          <a:srgbClr val="575757"/>
                        </a:solidFill>
                        <a:effectLst/>
                        <a:latin typeface="+mn-lt"/>
                        <a:ea typeface="+mn-ea"/>
                        <a:cs typeface="+mn-cs"/>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mn-lt"/>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mn-lt"/>
                          <a:ea typeface="+mn-ea"/>
                          <a:cs typeface="+mn-cs"/>
                        </a:rPr>
                        <a:t>7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107990058"/>
                  </a:ext>
                </a:extLst>
              </a:tr>
              <a:tr h="203169">
                <a:tc>
                  <a:txBody>
                    <a:bodyPr/>
                    <a:lstStyle/>
                    <a:p>
                      <a:pPr algn="l" fontAlgn="b"/>
                      <a:r>
                        <a:rPr lang="en-US" sz="1000" b="0" i="0" u="none" strike="noStrike" kern="1200" dirty="0">
                          <a:solidFill>
                            <a:srgbClr val="575757"/>
                          </a:solidFill>
                          <a:effectLst/>
                          <a:latin typeface="+mn-lt"/>
                          <a:ea typeface="+mn-ea"/>
                          <a:cs typeface="+mn-cs"/>
                        </a:rPr>
                        <a:t>Egnyte - Ability to Collaborate on Files</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b"/>
                      <a:r>
                        <a:rPr lang="en-US" sz="1000" b="0" i="0" u="none" strike="noStrike" kern="1200" dirty="0">
                          <a:solidFill>
                            <a:srgbClr val="575757"/>
                          </a:solidFill>
                          <a:effectLst/>
                          <a:latin typeface="+mn-lt"/>
                          <a:ea typeface="+mn-ea"/>
                          <a:cs typeface="+mn-cs"/>
                        </a:rPr>
                        <a:t>62</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6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mn-lt"/>
                          <a:ea typeface="+mn-ea"/>
                          <a:cs typeface="+mn-cs"/>
                        </a:rPr>
                        <a:t>5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mn-lt"/>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FFFFF"/>
                    </a:solidFill>
                  </a:tcPr>
                </a:tc>
                <a:extLst>
                  <a:ext uri="{0D108BD9-81ED-4DB2-BD59-A6C34878D82A}">
                    <a16:rowId xmlns:a16="http://schemas.microsoft.com/office/drawing/2014/main" val="1624463125"/>
                  </a:ext>
                </a:extLst>
              </a:tr>
            </a:tbl>
          </a:graphicData>
        </a:graphic>
      </p:graphicFrame>
      <p:grpSp>
        <p:nvGrpSpPr>
          <p:cNvPr id="36" name="Group 35">
            <a:extLst>
              <a:ext uri="{FF2B5EF4-FFF2-40B4-BE49-F238E27FC236}">
                <a16:creationId xmlns:a16="http://schemas.microsoft.com/office/drawing/2014/main" id="{2015ACBF-FE7C-46BB-89E4-3D0253A037E4}"/>
              </a:ext>
            </a:extLst>
          </p:cNvPr>
          <p:cNvGrpSpPr>
            <a:grpSpLocks noChangeAspect="1"/>
          </p:cNvGrpSpPr>
          <p:nvPr/>
        </p:nvGrpSpPr>
        <p:grpSpPr>
          <a:xfrm>
            <a:off x="9863321" y="0"/>
            <a:ext cx="144288" cy="144288"/>
            <a:chOff x="5961063" y="3294063"/>
            <a:chExt cx="269875" cy="269875"/>
          </a:xfrm>
        </p:grpSpPr>
        <p:sp>
          <p:nvSpPr>
            <p:cNvPr id="37" name="Oval 14">
              <a:extLst>
                <a:ext uri="{FF2B5EF4-FFF2-40B4-BE49-F238E27FC236}">
                  <a16:creationId xmlns:a16="http://schemas.microsoft.com/office/drawing/2014/main" id="{CFC1DFFD-5339-4B2C-A534-6EC84745C97A}"/>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15">
              <a:extLst>
                <a:ext uri="{FF2B5EF4-FFF2-40B4-BE49-F238E27FC236}">
                  <a16:creationId xmlns:a16="http://schemas.microsoft.com/office/drawing/2014/main" id="{D3FCCDC7-BDD0-4500-85AB-23A5C7B3BACB}"/>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9" name="Group 38">
            <a:extLst>
              <a:ext uri="{FF2B5EF4-FFF2-40B4-BE49-F238E27FC236}">
                <a16:creationId xmlns:a16="http://schemas.microsoft.com/office/drawing/2014/main" id="{6E3B7B9E-A58F-422E-8243-5F1601206CC7}"/>
              </a:ext>
            </a:extLst>
          </p:cNvPr>
          <p:cNvGrpSpPr/>
          <p:nvPr/>
        </p:nvGrpSpPr>
        <p:grpSpPr>
          <a:xfrm>
            <a:off x="151777" y="5631301"/>
            <a:ext cx="3066599" cy="1046614"/>
            <a:chOff x="208927" y="6068154"/>
            <a:chExt cx="3066599" cy="1046614"/>
          </a:xfrm>
        </p:grpSpPr>
        <p:sp>
          <p:nvSpPr>
            <p:cNvPr id="40" name="Rectangle 39">
              <a:extLst>
                <a:ext uri="{FF2B5EF4-FFF2-40B4-BE49-F238E27FC236}">
                  <a16:creationId xmlns:a16="http://schemas.microsoft.com/office/drawing/2014/main" id="{8C8951D9-8798-4184-AF5F-A4ED0992E99E}"/>
                </a:ext>
              </a:extLst>
            </p:cNvPr>
            <p:cNvSpPr/>
            <p:nvPr/>
          </p:nvSpPr>
          <p:spPr>
            <a:xfrm>
              <a:off x="227176" y="607565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41" name="Rectangle 40">
              <a:extLst>
                <a:ext uri="{FF2B5EF4-FFF2-40B4-BE49-F238E27FC236}">
                  <a16:creationId xmlns:a16="http://schemas.microsoft.com/office/drawing/2014/main" id="{3389228F-FD1F-4A1C-8D8A-32414B04AB39}"/>
                </a:ext>
              </a:extLst>
            </p:cNvPr>
            <p:cNvSpPr/>
            <p:nvPr/>
          </p:nvSpPr>
          <p:spPr>
            <a:xfrm>
              <a:off x="2288253" y="6677915"/>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42" name="Rectangle 41">
              <a:extLst>
                <a:ext uri="{FF2B5EF4-FFF2-40B4-BE49-F238E27FC236}">
                  <a16:creationId xmlns:a16="http://schemas.microsoft.com/office/drawing/2014/main" id="{9AD452F2-E8FF-4DDF-8E17-7B7B5B4979BB}"/>
                </a:ext>
              </a:extLst>
            </p:cNvPr>
            <p:cNvSpPr/>
            <p:nvPr/>
          </p:nvSpPr>
          <p:spPr>
            <a:xfrm>
              <a:off x="1248590" y="6677916"/>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43" name="Rectangle 42">
              <a:extLst>
                <a:ext uri="{FF2B5EF4-FFF2-40B4-BE49-F238E27FC236}">
                  <a16:creationId xmlns:a16="http://schemas.microsoft.com/office/drawing/2014/main" id="{B4A68186-A677-41A4-89FA-CB05143AF0D1}"/>
                </a:ext>
              </a:extLst>
            </p:cNvPr>
            <p:cNvSpPr/>
            <p:nvPr/>
          </p:nvSpPr>
          <p:spPr>
            <a:xfrm>
              <a:off x="2296182" y="606815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44" name="Rectangle 43">
              <a:extLst>
                <a:ext uri="{FF2B5EF4-FFF2-40B4-BE49-F238E27FC236}">
                  <a16:creationId xmlns:a16="http://schemas.microsoft.com/office/drawing/2014/main" id="{A1E2BD48-F706-4E3C-851E-503A85B9A9F1}"/>
                </a:ext>
              </a:extLst>
            </p:cNvPr>
            <p:cNvSpPr/>
            <p:nvPr/>
          </p:nvSpPr>
          <p:spPr>
            <a:xfrm>
              <a:off x="1267861" y="606815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5" name="Rectangle 44">
              <a:extLst>
                <a:ext uri="{FF2B5EF4-FFF2-40B4-BE49-F238E27FC236}">
                  <a16:creationId xmlns:a16="http://schemas.microsoft.com/office/drawing/2014/main" id="{ABBECB4E-35F0-4748-9C9D-8E8AAB80AA4C}"/>
                </a:ext>
              </a:extLst>
            </p:cNvPr>
            <p:cNvSpPr/>
            <p:nvPr/>
          </p:nvSpPr>
          <p:spPr>
            <a:xfrm>
              <a:off x="208927" y="6671391"/>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sp>
          <p:nvSpPr>
            <p:cNvPr id="46" name="Rectangle 45">
              <a:extLst>
                <a:ext uri="{FF2B5EF4-FFF2-40B4-BE49-F238E27FC236}">
                  <a16:creationId xmlns:a16="http://schemas.microsoft.com/office/drawing/2014/main" id="{E779927A-D8E7-4925-83BF-2708017CA870}"/>
                </a:ext>
              </a:extLst>
            </p:cNvPr>
            <p:cNvSpPr/>
            <p:nvPr/>
          </p:nvSpPr>
          <p:spPr>
            <a:xfrm>
              <a:off x="227176" y="629904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47" name="Rectangle 46">
              <a:extLst>
                <a:ext uri="{FF2B5EF4-FFF2-40B4-BE49-F238E27FC236}">
                  <a16:creationId xmlns:a16="http://schemas.microsoft.com/office/drawing/2014/main" id="{81DD46BD-7922-467C-A9AF-0F161245C03F}"/>
                </a:ext>
              </a:extLst>
            </p:cNvPr>
            <p:cNvSpPr/>
            <p:nvPr/>
          </p:nvSpPr>
          <p:spPr>
            <a:xfrm>
              <a:off x="2288253" y="690130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48" name="Rectangle 47">
              <a:extLst>
                <a:ext uri="{FF2B5EF4-FFF2-40B4-BE49-F238E27FC236}">
                  <a16:creationId xmlns:a16="http://schemas.microsoft.com/office/drawing/2014/main" id="{C8BC4E8E-ABC1-4DA7-9E60-868DF8C1D690}"/>
                </a:ext>
              </a:extLst>
            </p:cNvPr>
            <p:cNvSpPr/>
            <p:nvPr/>
          </p:nvSpPr>
          <p:spPr>
            <a:xfrm>
              <a:off x="1248590" y="6901309"/>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49" name="Rectangle 48">
              <a:extLst>
                <a:ext uri="{FF2B5EF4-FFF2-40B4-BE49-F238E27FC236}">
                  <a16:creationId xmlns:a16="http://schemas.microsoft.com/office/drawing/2014/main" id="{ACD20A28-C829-47EF-8F3C-D44FDD6C8FC4}"/>
                </a:ext>
              </a:extLst>
            </p:cNvPr>
            <p:cNvSpPr/>
            <p:nvPr/>
          </p:nvSpPr>
          <p:spPr>
            <a:xfrm>
              <a:off x="2296182" y="629154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50" name="Rectangle 49">
              <a:extLst>
                <a:ext uri="{FF2B5EF4-FFF2-40B4-BE49-F238E27FC236}">
                  <a16:creationId xmlns:a16="http://schemas.microsoft.com/office/drawing/2014/main" id="{996AC813-1CE3-482C-91A7-4AD491123590}"/>
                </a:ext>
              </a:extLst>
            </p:cNvPr>
            <p:cNvSpPr/>
            <p:nvPr/>
          </p:nvSpPr>
          <p:spPr>
            <a:xfrm>
              <a:off x="1267861" y="629154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1" name="Rectangle 50">
              <a:extLst>
                <a:ext uri="{FF2B5EF4-FFF2-40B4-BE49-F238E27FC236}">
                  <a16:creationId xmlns:a16="http://schemas.microsoft.com/office/drawing/2014/main" id="{ABEA14ED-1E69-4F67-89C2-0839D6C8B528}"/>
                </a:ext>
              </a:extLst>
            </p:cNvPr>
            <p:cNvSpPr/>
            <p:nvPr/>
          </p:nvSpPr>
          <p:spPr>
            <a:xfrm>
              <a:off x="208927" y="689478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2" name="Title 1">
            <a:extLst>
              <a:ext uri="{FF2B5EF4-FFF2-40B4-BE49-F238E27FC236}">
                <a16:creationId xmlns:a16="http://schemas.microsoft.com/office/drawing/2014/main" id="{7491938F-750F-4842-87DF-2EC9AA075BE0}"/>
              </a:ext>
            </a:extLst>
          </p:cNvPr>
          <p:cNvSpPr txBox="1">
            <a:spLocks/>
          </p:cNvSpPr>
          <p:nvPr/>
        </p:nvSpPr>
        <p:spPr>
          <a:xfrm>
            <a:off x="209879" y="230146"/>
            <a:ext cx="3279946"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sz="2800" dirty="0">
                <a:solidFill>
                  <a:srgbClr val="295E7E"/>
                </a:solidFill>
              </a:rPr>
              <a:t>E-SAT Trends – </a:t>
            </a:r>
          </a:p>
          <a:p>
            <a:r>
              <a:rPr lang="en-GB" sz="2800" dirty="0">
                <a:solidFill>
                  <a:srgbClr val="295E7E"/>
                </a:solidFill>
              </a:rPr>
              <a:t>Annual Average</a:t>
            </a:r>
            <a:endParaRPr lang="en-US" sz="2000" i="1" dirty="0">
              <a:solidFill>
                <a:srgbClr val="295E7E"/>
              </a:solidFill>
            </a:endParaRPr>
          </a:p>
        </p:txBody>
      </p:sp>
      <p:sp>
        <p:nvSpPr>
          <p:cNvPr id="34" name="Rectangle 33">
            <a:extLst>
              <a:ext uri="{FF2B5EF4-FFF2-40B4-BE49-F238E27FC236}">
                <a16:creationId xmlns:a16="http://schemas.microsoft.com/office/drawing/2014/main" id="{0161D63A-417E-4420-8044-A5C24781BDB1}"/>
              </a:ext>
            </a:extLst>
          </p:cNvPr>
          <p:cNvSpPr/>
          <p:nvPr/>
        </p:nvSpPr>
        <p:spPr>
          <a:xfrm flipH="1">
            <a:off x="154607" y="1443430"/>
            <a:ext cx="3265426" cy="38655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GB" sz="1600" b="1" u="sng" dirty="0">
                <a:solidFill>
                  <a:srgbClr val="E71C57"/>
                </a:solidFill>
              </a:rPr>
              <a:t>Most important trending view</a:t>
            </a:r>
            <a:r>
              <a:rPr lang="en-GB" sz="1600" b="1" dirty="0">
                <a:solidFill>
                  <a:srgbClr val="E71C57"/>
                </a:solidFill>
              </a:rPr>
              <a:t>.</a:t>
            </a:r>
          </a:p>
          <a:p>
            <a:pPr>
              <a:lnSpc>
                <a:spcPct val="90000"/>
              </a:lnSpc>
              <a:spcAft>
                <a:spcPts val="1000"/>
              </a:spcAft>
            </a:pPr>
            <a:r>
              <a:rPr lang="en-GB" sz="1600" dirty="0">
                <a:solidFill>
                  <a:srgbClr val="30C1D7"/>
                </a:solidFill>
              </a:rPr>
              <a:t>These slides show full annual averages (where available) &amp; how products are trending. Remember – annual averages are the strongest indicator of trends as they represent feedback for the whole year &amp; from greater numbers of people (&gt;5,100)</a:t>
            </a:r>
          </a:p>
          <a:p>
            <a:pPr>
              <a:lnSpc>
                <a:spcPct val="90000"/>
              </a:lnSpc>
              <a:spcAft>
                <a:spcPts val="1000"/>
              </a:spcAft>
            </a:pPr>
            <a:r>
              <a:rPr lang="en-GB" sz="1600" dirty="0">
                <a:solidFill>
                  <a:srgbClr val="30C1D7"/>
                </a:solidFill>
              </a:rPr>
              <a:t>Charts are ordered by the delta between 2021 &amp; 2020 averages.</a:t>
            </a:r>
            <a:endParaRPr lang="en-US" sz="1600" dirty="0">
              <a:solidFill>
                <a:srgbClr val="30C1D7"/>
              </a:solidFill>
            </a:endParaRPr>
          </a:p>
        </p:txBody>
      </p:sp>
      <p:grpSp>
        <p:nvGrpSpPr>
          <p:cNvPr id="52" name="Group 51">
            <a:extLst>
              <a:ext uri="{FF2B5EF4-FFF2-40B4-BE49-F238E27FC236}">
                <a16:creationId xmlns:a16="http://schemas.microsoft.com/office/drawing/2014/main" id="{C50E08A3-C9EE-4D67-B77F-0F60C48C95EC}"/>
              </a:ext>
            </a:extLst>
          </p:cNvPr>
          <p:cNvGrpSpPr>
            <a:grpSpLocks noChangeAspect="1"/>
          </p:cNvGrpSpPr>
          <p:nvPr/>
        </p:nvGrpSpPr>
        <p:grpSpPr>
          <a:xfrm>
            <a:off x="3183865" y="4485104"/>
            <a:ext cx="211360" cy="211360"/>
            <a:chOff x="5961063" y="3294063"/>
            <a:chExt cx="269875" cy="269875"/>
          </a:xfrm>
        </p:grpSpPr>
        <p:sp>
          <p:nvSpPr>
            <p:cNvPr id="53" name="Oval 14">
              <a:extLst>
                <a:ext uri="{FF2B5EF4-FFF2-40B4-BE49-F238E27FC236}">
                  <a16:creationId xmlns:a16="http://schemas.microsoft.com/office/drawing/2014/main" id="{05481CAE-6886-4041-AD04-6E73F544C4EE}"/>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Freeform 15">
              <a:extLst>
                <a:ext uri="{FF2B5EF4-FFF2-40B4-BE49-F238E27FC236}">
                  <a16:creationId xmlns:a16="http://schemas.microsoft.com/office/drawing/2014/main" id="{26DDF72A-7CC8-471A-90C9-F4F41505567D}"/>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custDataLst>
      <p:tags r:id="rId2"/>
    </p:custDataLst>
    <p:extLst>
      <p:ext uri="{BB962C8B-B14F-4D97-AF65-F5344CB8AC3E}">
        <p14:creationId xmlns:p14="http://schemas.microsoft.com/office/powerpoint/2010/main" val="771858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404"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683744B2-73FC-4E90-AD73-DB3B1E398192}"/>
              </a:ext>
            </a:extLst>
          </p:cNvPr>
          <p:cNvSpPr/>
          <p:nvPr/>
        </p:nvSpPr>
        <p:spPr>
          <a:xfrm>
            <a:off x="0" y="0"/>
            <a:ext cx="3581777"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154" name="Table 153"/>
          <p:cNvGraphicFramePr>
            <a:graphicFrameLocks noGrp="1"/>
          </p:cNvGraphicFramePr>
          <p:nvPr>
            <p:extLst>
              <p:ext uri="{D42A27DB-BD31-4B8C-83A1-F6EECF244321}">
                <p14:modId xmlns:p14="http://schemas.microsoft.com/office/powerpoint/2010/main" val="1037163482"/>
              </p:ext>
            </p:extLst>
          </p:nvPr>
        </p:nvGraphicFramePr>
        <p:xfrm>
          <a:off x="3847609" y="1"/>
          <a:ext cx="8174361" cy="6858007"/>
        </p:xfrm>
        <a:graphic>
          <a:graphicData uri="http://schemas.openxmlformats.org/drawingml/2006/table">
            <a:tbl>
              <a:tblPr/>
              <a:tblGrid>
                <a:gridCol w="2748891">
                  <a:extLst>
                    <a:ext uri="{9D8B030D-6E8A-4147-A177-3AD203B41FA5}">
                      <a16:colId xmlns:a16="http://schemas.microsoft.com/office/drawing/2014/main" val="20000"/>
                    </a:ext>
                  </a:extLst>
                </a:gridCol>
                <a:gridCol w="1085094">
                  <a:extLst>
                    <a:ext uri="{9D8B030D-6E8A-4147-A177-3AD203B41FA5}">
                      <a16:colId xmlns:a16="http://schemas.microsoft.com/office/drawing/2014/main" val="586602614"/>
                    </a:ext>
                  </a:extLst>
                </a:gridCol>
                <a:gridCol w="1085094">
                  <a:extLst>
                    <a:ext uri="{9D8B030D-6E8A-4147-A177-3AD203B41FA5}">
                      <a16:colId xmlns:a16="http://schemas.microsoft.com/office/drawing/2014/main" val="3551981348"/>
                    </a:ext>
                  </a:extLst>
                </a:gridCol>
                <a:gridCol w="1085094">
                  <a:extLst>
                    <a:ext uri="{9D8B030D-6E8A-4147-A177-3AD203B41FA5}">
                      <a16:colId xmlns:a16="http://schemas.microsoft.com/office/drawing/2014/main" val="2229609214"/>
                    </a:ext>
                  </a:extLst>
                </a:gridCol>
                <a:gridCol w="1085094">
                  <a:extLst>
                    <a:ext uri="{9D8B030D-6E8A-4147-A177-3AD203B41FA5}">
                      <a16:colId xmlns:a16="http://schemas.microsoft.com/office/drawing/2014/main" val="3371755498"/>
                    </a:ext>
                  </a:extLst>
                </a:gridCol>
                <a:gridCol w="1085094">
                  <a:extLst>
                    <a:ext uri="{9D8B030D-6E8A-4147-A177-3AD203B41FA5}">
                      <a16:colId xmlns:a16="http://schemas.microsoft.com/office/drawing/2014/main" val="1471656608"/>
                    </a:ext>
                  </a:extLst>
                </a:gridCol>
              </a:tblGrid>
              <a:tr h="187185">
                <a:tc>
                  <a:txBody>
                    <a:bodyPr/>
                    <a:lstStyle/>
                    <a:p>
                      <a:pPr algn="l" rtl="0" fontAlgn="ctr"/>
                      <a:endParaRPr lang="en-GB" sz="10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19 Average</a:t>
                      </a:r>
                      <a:endParaRPr lang="en-GB" sz="1000" b="1" i="0" u="none" strike="noStrike" dirty="0">
                        <a:solidFill>
                          <a:srgbClr val="29BA74"/>
                        </a:solidFill>
                        <a:effectLst/>
                        <a:latin typeface="+mj-lt"/>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0 Average</a:t>
                      </a:r>
                      <a:r>
                        <a:rPr lang="en-GB" sz="1000" b="1" i="0" u="none" strike="noStrike" kern="1200" baseline="30000" dirty="0">
                          <a:solidFill>
                            <a:srgbClr val="575757"/>
                          </a:solidFill>
                          <a:effectLst/>
                          <a:latin typeface="+mn-lt"/>
                          <a:ea typeface="+mn-ea"/>
                          <a:cs typeface="+mn-cs"/>
                        </a:rPr>
                        <a:t> </a:t>
                      </a:r>
                      <a:endParaRPr lang="en-GB" sz="1000" b="1" i="0" u="none" strike="noStrike" dirty="0">
                        <a:solidFill>
                          <a:srgbClr val="29BA74"/>
                        </a:solidFill>
                        <a:effectLst/>
                        <a:latin typeface="+mj-lt"/>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1 Average</a:t>
                      </a:r>
                      <a:r>
                        <a:rPr lang="en-GB" sz="1000" b="1" i="0" u="none" strike="noStrike" kern="1200" baseline="30000" dirty="0">
                          <a:solidFill>
                            <a:srgbClr val="575757"/>
                          </a:solidFill>
                          <a:effectLst/>
                          <a:latin typeface="+mn-lt"/>
                          <a:ea typeface="+mn-ea"/>
                          <a:cs typeface="+mn-cs"/>
                        </a:rPr>
                        <a:t> </a:t>
                      </a:r>
                      <a:endParaRPr lang="en-GB" sz="1000" b="1" i="0" u="none" strike="noStrike" kern="1200" dirty="0">
                        <a:solidFill>
                          <a:srgbClr val="29BA74"/>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1 vs 2020</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rtl="0" fontAlgn="ctr"/>
                      <a:r>
                        <a:rPr lang="en-GB" sz="1000" b="1" i="0" u="none" strike="noStrike" kern="1200" dirty="0">
                          <a:solidFill>
                            <a:srgbClr val="575757"/>
                          </a:solidFill>
                          <a:effectLst/>
                          <a:latin typeface="+mn-lt"/>
                          <a:ea typeface="+mn-ea"/>
                          <a:cs typeface="+mn-cs"/>
                        </a:rPr>
                        <a:t>2021 vs 2019</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7185">
                <a:tc>
                  <a:txBody>
                    <a:bodyPr/>
                    <a:lstStyle/>
                    <a:p>
                      <a:pPr algn="l" rtl="0" fontAlgn="ctr"/>
                      <a:endParaRPr lang="en-GB" sz="1000" b="1" i="0" u="none" strike="noStrike" dirty="0">
                        <a:solidFill>
                          <a:srgbClr val="29BA74"/>
                        </a:solidFill>
                        <a:effectLst/>
                        <a:latin typeface="+mj-lt"/>
                      </a:endParaRPr>
                    </a:p>
                  </a:txBody>
                  <a:tcPr marL="6334" marR="6334" marT="6334"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gridSpan="3">
                  <a:txBody>
                    <a:bodyPr/>
                    <a:lstStyle/>
                    <a:p>
                      <a:pPr algn="ctr" rtl="0" fontAlgn="ctr"/>
                      <a:r>
                        <a:rPr lang="en-GB" sz="1000" b="1" i="0" u="none" strike="noStrike" kern="1200" dirty="0">
                          <a:solidFill>
                            <a:srgbClr val="575757"/>
                          </a:solidFill>
                          <a:effectLst/>
                          <a:latin typeface="+mn-lt"/>
                          <a:ea typeface="+mn-ea"/>
                          <a:cs typeface="+mn-cs"/>
                        </a:rPr>
                        <a:t>% E-SAT</a:t>
                      </a: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rtl="0" fontAlgn="ctr"/>
                      <a:endParaRPr lang="en-GB" sz="1000" b="1" i="0" u="none" strike="noStrike" dirty="0">
                        <a:solidFill>
                          <a:srgbClr val="29BA74"/>
                        </a:solidFill>
                        <a:effectLst/>
                        <a:latin typeface="+mj-lt"/>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algn="ctr" rtl="0" fontAlgn="ctr"/>
                      <a:endParaRPr lang="en-GB" sz="1000" b="1" i="0" u="none" strike="noStrike" kern="1200" dirty="0">
                        <a:solidFill>
                          <a:srgbClr val="29BA74"/>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gridSpan="2">
                  <a:txBody>
                    <a:bodyPr/>
                    <a:lstStyle/>
                    <a:p>
                      <a:pPr algn="ctr" rtl="0" fontAlgn="ctr"/>
                      <a:r>
                        <a:rPr lang="en-GB" sz="1000" b="1" i="0" u="none" strike="noStrike" kern="1200" dirty="0">
                          <a:solidFill>
                            <a:srgbClr val="575757"/>
                          </a:solidFill>
                          <a:effectLst/>
                          <a:latin typeface="+mn-lt"/>
                          <a:ea typeface="+mn-ea"/>
                          <a:cs typeface="+mn-cs"/>
                        </a:rPr>
                        <a:t>Trend</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rtl="0" fontAlgn="ctr"/>
                      <a:endParaRPr lang="en-GB" sz="1000" b="1" i="0" u="none" strike="noStrike" kern="1200" dirty="0">
                        <a:solidFill>
                          <a:srgbClr val="29BA74"/>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530601246"/>
                  </a:ext>
                </a:extLst>
              </a:tr>
              <a:tr h="177890">
                <a:tc gridSpan="6">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i="0" u="none" strike="noStrike" kern="1200" dirty="0">
                          <a:solidFill>
                            <a:srgbClr val="E71C57"/>
                          </a:solidFill>
                          <a:effectLst/>
                          <a:latin typeface="+mn-lt"/>
                          <a:ea typeface="+mn-ea"/>
                          <a:cs typeface="+mn-cs"/>
                        </a:rPr>
                        <a:t>Critical Products </a:t>
                      </a:r>
                      <a:r>
                        <a:rPr lang="en-US" sz="1100" b="1" i="0" u="none" strike="noStrike" kern="1200" dirty="0" err="1">
                          <a:solidFill>
                            <a:srgbClr val="E71C57"/>
                          </a:solidFill>
                          <a:effectLst/>
                          <a:latin typeface="Wingdings 3" panose="05040102010807070707" pitchFamily="18" charset="2"/>
                          <a:ea typeface="+mn-ea"/>
                          <a:cs typeface="+mn-cs"/>
                        </a:rPr>
                        <a:t>i</a:t>
                      </a:r>
                      <a:endParaRPr lang="en-US" sz="1100" b="1" i="0" u="none" strike="noStrike" kern="1200" dirty="0">
                        <a:solidFill>
                          <a:srgbClr val="E71C57"/>
                        </a:solidFill>
                        <a:effectLst/>
                        <a:latin typeface="Wingdings 3" panose="05040102010807070707" pitchFamily="18" charset="2"/>
                        <a:ea typeface="+mn-ea"/>
                        <a:cs typeface="+mn-cs"/>
                      </a:endParaRP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87579681"/>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OneDrive - Overall</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700321247"/>
                  </a:ext>
                </a:extLst>
              </a:tr>
              <a:tr h="217219">
                <a:tc gridSpan="6">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i="0" u="none" strike="noStrike" kern="1200" dirty="0">
                          <a:solidFill>
                            <a:srgbClr val="295E7E"/>
                          </a:solidFill>
                          <a:effectLst/>
                          <a:latin typeface="+mn-lt"/>
                          <a:ea typeface="+mn-ea"/>
                          <a:cs typeface="+mn-cs"/>
                        </a:rPr>
                        <a:t>Business Supporting Products </a:t>
                      </a:r>
                      <a:r>
                        <a:rPr lang="en-US" sz="1100" b="1" i="0" u="none" strike="noStrike" kern="1200" dirty="0" err="1">
                          <a:solidFill>
                            <a:srgbClr val="295E7E"/>
                          </a:solidFill>
                          <a:effectLst/>
                          <a:latin typeface="Wingdings 3" panose="05040102010807070707" pitchFamily="18" charset="2"/>
                          <a:ea typeface="+mn-ea"/>
                          <a:cs typeface="+mn-cs"/>
                        </a:rPr>
                        <a:t>i</a:t>
                      </a:r>
                      <a:endParaRPr lang="en-US" sz="1100" b="1" i="0" u="none" strike="noStrike" kern="1200" dirty="0">
                        <a:solidFill>
                          <a:srgbClr val="295E7E"/>
                        </a:solidFill>
                        <a:effectLst/>
                        <a:latin typeface="+mn-lt"/>
                        <a:ea typeface="+mn-ea"/>
                        <a:cs typeface="+mn-cs"/>
                      </a:endParaRP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fontAlgn="ctr"/>
                      <a:endParaRPr lang="en-US" sz="1800" b="0" i="0" u="none" strike="noStrike" dirty="0">
                        <a:solidFill>
                          <a:srgbClr val="000000"/>
                        </a:solidFill>
                        <a:effectLst/>
                        <a:latin typeface="Arial" panose="020B0604020202020204" pitchFamily="34" charset="0"/>
                      </a:endParaRP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fontAlgn="ctr"/>
                      <a:endParaRPr lang="en-US" sz="1800" b="0" i="0" u="none" strike="noStrike" dirty="0">
                        <a:solidFill>
                          <a:srgbClr val="000000"/>
                        </a:solidFill>
                        <a:effectLst/>
                        <a:latin typeface="Arial" panose="020B0604020202020204" pitchFamily="34" charset="0"/>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rtl="0" fontAlgn="b"/>
                      <a:endParaRPr lang="en-US" sz="1000" b="0" i="0" u="none" strike="noStrike" dirty="0">
                        <a:solidFill>
                          <a:srgbClr val="FFFFFF"/>
                        </a:solidFill>
                        <a:effectLst/>
                        <a:latin typeface="Trebuchet MS" panose="020B0603020202020204" pitchFamily="34" charset="0"/>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hMerge="1">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hMerge="1">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87074166"/>
                  </a:ext>
                </a:extLst>
              </a:tr>
              <a:tr h="318125">
                <a:tc>
                  <a:txBody>
                    <a:bodyPr/>
                    <a:lstStyle/>
                    <a:p>
                      <a:pPr algn="l" rtl="0" fontAlgn="b"/>
                      <a:r>
                        <a:rPr lang="en-US" sz="1000" b="0" i="0" u="none" strike="noStrike" dirty="0">
                          <a:solidFill>
                            <a:srgbClr val="575757"/>
                          </a:solidFill>
                          <a:effectLst/>
                          <a:latin typeface="Trebuchet MS" panose="020B0603020202020204" pitchFamily="34" charset="0"/>
                        </a:rPr>
                        <a:t>Digital Tools &amp; Services to work - from the BCG Office</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FFFFFF"/>
                          </a:solidFill>
                          <a:effectLst/>
                          <a:latin typeface="Trebuchet MS" panose="020B0603020202020204" pitchFamily="34" charset="0"/>
                        </a:rPr>
                        <a:t>8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23208791"/>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Digital Tools &amp; Services to work - from Home</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a:solidFill>
                            <a:srgbClr val="FFFFFF"/>
                          </a:solidFill>
                          <a:effectLst/>
                          <a:latin typeface="Trebuchet MS" panose="020B0603020202020204" pitchFamily="34" charset="0"/>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76605945"/>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OneDrive - Creating Files/Folders</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378898012"/>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Digital Tools &amp; Services to work - On-the-Go</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ctr"/>
                      <a:r>
                        <a:rPr lang="en-US" sz="1000" b="0" i="0" u="none" strike="noStrike" dirty="0">
                          <a:solidFill>
                            <a:srgbClr val="575757"/>
                          </a:solidFill>
                          <a:effectLst/>
                          <a:latin typeface="Trebuchet MS" panose="020B0603020202020204" pitchFamily="34" charset="0"/>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008614862"/>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OneDrive - Searching &amp; Accessing Files/Folders</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221359031"/>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OneDrive - Sharing Files/Folders</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926390975"/>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Learning - Live Virtual Learning</a:t>
                      </a:r>
                      <a:r>
                        <a:rPr lang="en-US" sz="1000" b="0" i="0" u="none" strike="noStrike" baseline="30000" dirty="0">
                          <a:solidFill>
                            <a:srgbClr val="575757"/>
                          </a:solidFill>
                          <a:effectLst/>
                          <a:latin typeface="Trebuchet MS" panose="020B0603020202020204" pitchFamily="34" charset="0"/>
                        </a:rPr>
                        <a:t>2</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7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096062673"/>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Digital Tools &amp; Services to work - at Client Sites</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169602070"/>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Learning - Live In-Person Learning</a:t>
                      </a:r>
                      <a:r>
                        <a:rPr lang="en-US" sz="1000" b="0" i="0" u="none" strike="noStrike" baseline="30000" dirty="0">
                          <a:solidFill>
                            <a:srgbClr val="575757"/>
                          </a:solidFill>
                          <a:effectLst/>
                          <a:latin typeface="Trebuchet MS" panose="020B0603020202020204" pitchFamily="34" charset="0"/>
                        </a:rPr>
                        <a:t>2</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6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25547818"/>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Learning - On Demand Learning</a:t>
                      </a:r>
                      <a:r>
                        <a:rPr lang="en-US" sz="1000" b="0" i="0" u="none" strike="noStrike" baseline="30000" dirty="0">
                          <a:solidFill>
                            <a:srgbClr val="575757"/>
                          </a:solidFill>
                          <a:effectLst/>
                          <a:latin typeface="Trebuchet MS" panose="020B0603020202020204" pitchFamily="34" charset="0"/>
                        </a:rPr>
                        <a:t>2</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6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194248824"/>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Native Email Mobile App</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6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135992324"/>
                  </a:ext>
                </a:extLst>
              </a:tr>
              <a:tr h="318125">
                <a:tc>
                  <a:txBody>
                    <a:bodyPr/>
                    <a:lstStyle/>
                    <a:p>
                      <a:pPr algn="l" rtl="0" fontAlgn="b"/>
                      <a:r>
                        <a:rPr lang="en-US" sz="1000" b="0" i="0" u="none" strike="noStrike" dirty="0">
                          <a:solidFill>
                            <a:srgbClr val="575757"/>
                          </a:solidFill>
                          <a:effectLst/>
                          <a:latin typeface="Trebuchet MS" panose="020B0603020202020204" pitchFamily="34" charset="0"/>
                        </a:rPr>
                        <a:t>Knowledge Navigator - Knowledge Contribution</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ctr"/>
                      <a:r>
                        <a:rPr lang="en-US" sz="1000" b="0" i="0" u="none" strike="noStrike" dirty="0">
                          <a:solidFill>
                            <a:srgbClr val="575757"/>
                          </a:solidFill>
                          <a:effectLst/>
                          <a:latin typeface="Trebuchet MS" panose="020B0603020202020204" pitchFamily="34" charset="0"/>
                        </a:rPr>
                        <a:t>6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529267627"/>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Knowledge Navigator – Search</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6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904703003"/>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Knowledge Navigator - Topic Pages</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6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1473207038"/>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My Cases – Overall</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6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624858719"/>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MyCases - Managing Active Cases</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6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458573344"/>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MyCases - Managing Archived Cases</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5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303668084"/>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MyCases - Self-Service Request Form</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5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457378703"/>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OneDrive - Coauthoring Files/Folders</a:t>
                      </a:r>
                      <a:r>
                        <a:rPr lang="en-US" sz="1000" b="0" i="0" u="none" strike="noStrike" baseline="30000" dirty="0">
                          <a:solidFill>
                            <a:srgbClr val="575757"/>
                          </a:solidFill>
                          <a:effectLst/>
                          <a:latin typeface="Trebuchet MS" panose="020B0603020202020204" pitchFamily="34" charset="0"/>
                        </a:rPr>
                        <a:t>1</a:t>
                      </a:r>
                      <a:endParaRPr lang="en-US" sz="1000" b="0" i="0" u="none" strike="noStrike" dirty="0">
                        <a:solidFill>
                          <a:srgbClr val="575757"/>
                        </a:solidFill>
                        <a:effectLst/>
                        <a:latin typeface="Trebuchet MS" panose="020B0603020202020204" pitchFamily="34" charset="0"/>
                      </a:endParaRP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5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3343484984"/>
                  </a:ext>
                </a:extLst>
              </a:tr>
              <a:tr h="286962">
                <a:tc>
                  <a:txBody>
                    <a:bodyPr/>
                    <a:lstStyle/>
                    <a:p>
                      <a:pPr algn="l" rtl="0" fontAlgn="b"/>
                      <a:r>
                        <a:rPr lang="en-US" sz="1000" b="0" i="0" u="none" strike="noStrike" dirty="0">
                          <a:solidFill>
                            <a:srgbClr val="575757"/>
                          </a:solidFill>
                          <a:effectLst/>
                          <a:latin typeface="Trebuchet MS" panose="020B0603020202020204" pitchFamily="34" charset="0"/>
                        </a:rPr>
                        <a:t>Help &amp; Support for Home Set-up</a:t>
                      </a:r>
                    </a:p>
                  </a:txBody>
                  <a:tcPr marL="6350" marR="6350" marT="635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nchorCtr="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rtl="0" fontAlgn="b"/>
                      <a:r>
                        <a:rPr lang="en-US" sz="1000" b="0" i="0" u="none" strike="noStrike" dirty="0">
                          <a:solidFill>
                            <a:srgbClr val="575757"/>
                          </a:solidFill>
                          <a:effectLst/>
                          <a:latin typeface="Trebuchet MS" panose="020B0603020202020204" pitchFamily="34" charset="0"/>
                        </a:rPr>
                        <a:t>5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mn-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578382804"/>
                  </a:ext>
                </a:extLst>
              </a:tr>
            </a:tbl>
          </a:graphicData>
        </a:graphic>
      </p:graphicFrame>
      <p:grpSp>
        <p:nvGrpSpPr>
          <p:cNvPr id="36" name="Group 35">
            <a:extLst>
              <a:ext uri="{FF2B5EF4-FFF2-40B4-BE49-F238E27FC236}">
                <a16:creationId xmlns:a16="http://schemas.microsoft.com/office/drawing/2014/main" id="{2015ACBF-FE7C-46BB-89E4-3D0253A037E4}"/>
              </a:ext>
            </a:extLst>
          </p:cNvPr>
          <p:cNvGrpSpPr>
            <a:grpSpLocks noChangeAspect="1"/>
          </p:cNvGrpSpPr>
          <p:nvPr/>
        </p:nvGrpSpPr>
        <p:grpSpPr>
          <a:xfrm>
            <a:off x="8769812" y="17767"/>
            <a:ext cx="144288" cy="144288"/>
            <a:chOff x="5961063" y="3294063"/>
            <a:chExt cx="269875" cy="269875"/>
          </a:xfrm>
        </p:grpSpPr>
        <p:sp>
          <p:nvSpPr>
            <p:cNvPr id="37" name="Oval 14">
              <a:extLst>
                <a:ext uri="{FF2B5EF4-FFF2-40B4-BE49-F238E27FC236}">
                  <a16:creationId xmlns:a16="http://schemas.microsoft.com/office/drawing/2014/main" id="{CFC1DFFD-5339-4B2C-A534-6EC84745C97A}"/>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15">
              <a:extLst>
                <a:ext uri="{FF2B5EF4-FFF2-40B4-BE49-F238E27FC236}">
                  <a16:creationId xmlns:a16="http://schemas.microsoft.com/office/drawing/2014/main" id="{D3FCCDC7-BDD0-4500-85AB-23A5C7B3BACB}"/>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9" name="Group 38">
            <a:extLst>
              <a:ext uri="{FF2B5EF4-FFF2-40B4-BE49-F238E27FC236}">
                <a16:creationId xmlns:a16="http://schemas.microsoft.com/office/drawing/2014/main" id="{6E3B7B9E-A58F-422E-8243-5F1601206CC7}"/>
              </a:ext>
            </a:extLst>
          </p:cNvPr>
          <p:cNvGrpSpPr/>
          <p:nvPr/>
        </p:nvGrpSpPr>
        <p:grpSpPr>
          <a:xfrm>
            <a:off x="151777" y="5631301"/>
            <a:ext cx="3066599" cy="1046614"/>
            <a:chOff x="208927" y="6068154"/>
            <a:chExt cx="3066599" cy="1046614"/>
          </a:xfrm>
        </p:grpSpPr>
        <p:sp>
          <p:nvSpPr>
            <p:cNvPr id="40" name="Rectangle 39">
              <a:extLst>
                <a:ext uri="{FF2B5EF4-FFF2-40B4-BE49-F238E27FC236}">
                  <a16:creationId xmlns:a16="http://schemas.microsoft.com/office/drawing/2014/main" id="{8C8951D9-8798-4184-AF5F-A4ED0992E99E}"/>
                </a:ext>
              </a:extLst>
            </p:cNvPr>
            <p:cNvSpPr/>
            <p:nvPr/>
          </p:nvSpPr>
          <p:spPr>
            <a:xfrm>
              <a:off x="227176" y="607565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41" name="Rectangle 40">
              <a:extLst>
                <a:ext uri="{FF2B5EF4-FFF2-40B4-BE49-F238E27FC236}">
                  <a16:creationId xmlns:a16="http://schemas.microsoft.com/office/drawing/2014/main" id="{3389228F-FD1F-4A1C-8D8A-32414B04AB39}"/>
                </a:ext>
              </a:extLst>
            </p:cNvPr>
            <p:cNvSpPr/>
            <p:nvPr/>
          </p:nvSpPr>
          <p:spPr>
            <a:xfrm>
              <a:off x="2288253" y="6677915"/>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42" name="Rectangle 41">
              <a:extLst>
                <a:ext uri="{FF2B5EF4-FFF2-40B4-BE49-F238E27FC236}">
                  <a16:creationId xmlns:a16="http://schemas.microsoft.com/office/drawing/2014/main" id="{9AD452F2-E8FF-4DDF-8E17-7B7B5B4979BB}"/>
                </a:ext>
              </a:extLst>
            </p:cNvPr>
            <p:cNvSpPr/>
            <p:nvPr/>
          </p:nvSpPr>
          <p:spPr>
            <a:xfrm>
              <a:off x="1248590" y="6677916"/>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43" name="Rectangle 42">
              <a:extLst>
                <a:ext uri="{FF2B5EF4-FFF2-40B4-BE49-F238E27FC236}">
                  <a16:creationId xmlns:a16="http://schemas.microsoft.com/office/drawing/2014/main" id="{B4A68186-A677-41A4-89FA-CB05143AF0D1}"/>
                </a:ext>
              </a:extLst>
            </p:cNvPr>
            <p:cNvSpPr/>
            <p:nvPr/>
          </p:nvSpPr>
          <p:spPr>
            <a:xfrm>
              <a:off x="2296182" y="606815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44" name="Rectangle 43">
              <a:extLst>
                <a:ext uri="{FF2B5EF4-FFF2-40B4-BE49-F238E27FC236}">
                  <a16:creationId xmlns:a16="http://schemas.microsoft.com/office/drawing/2014/main" id="{A1E2BD48-F706-4E3C-851E-503A85B9A9F1}"/>
                </a:ext>
              </a:extLst>
            </p:cNvPr>
            <p:cNvSpPr/>
            <p:nvPr/>
          </p:nvSpPr>
          <p:spPr>
            <a:xfrm>
              <a:off x="1267861" y="606815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5" name="Rectangle 44">
              <a:extLst>
                <a:ext uri="{FF2B5EF4-FFF2-40B4-BE49-F238E27FC236}">
                  <a16:creationId xmlns:a16="http://schemas.microsoft.com/office/drawing/2014/main" id="{ABBECB4E-35F0-4748-9C9D-8E8AAB80AA4C}"/>
                </a:ext>
              </a:extLst>
            </p:cNvPr>
            <p:cNvSpPr/>
            <p:nvPr/>
          </p:nvSpPr>
          <p:spPr>
            <a:xfrm>
              <a:off x="208927" y="6671391"/>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sp>
          <p:nvSpPr>
            <p:cNvPr id="46" name="Rectangle 45">
              <a:extLst>
                <a:ext uri="{FF2B5EF4-FFF2-40B4-BE49-F238E27FC236}">
                  <a16:creationId xmlns:a16="http://schemas.microsoft.com/office/drawing/2014/main" id="{E779927A-D8E7-4925-83BF-2708017CA870}"/>
                </a:ext>
              </a:extLst>
            </p:cNvPr>
            <p:cNvSpPr/>
            <p:nvPr/>
          </p:nvSpPr>
          <p:spPr>
            <a:xfrm>
              <a:off x="227176" y="629904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47" name="Rectangle 46">
              <a:extLst>
                <a:ext uri="{FF2B5EF4-FFF2-40B4-BE49-F238E27FC236}">
                  <a16:creationId xmlns:a16="http://schemas.microsoft.com/office/drawing/2014/main" id="{81DD46BD-7922-467C-A9AF-0F161245C03F}"/>
                </a:ext>
              </a:extLst>
            </p:cNvPr>
            <p:cNvSpPr/>
            <p:nvPr/>
          </p:nvSpPr>
          <p:spPr>
            <a:xfrm>
              <a:off x="2288253" y="690130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48" name="Rectangle 47">
              <a:extLst>
                <a:ext uri="{FF2B5EF4-FFF2-40B4-BE49-F238E27FC236}">
                  <a16:creationId xmlns:a16="http://schemas.microsoft.com/office/drawing/2014/main" id="{C8BC4E8E-ABC1-4DA7-9E60-868DF8C1D690}"/>
                </a:ext>
              </a:extLst>
            </p:cNvPr>
            <p:cNvSpPr/>
            <p:nvPr/>
          </p:nvSpPr>
          <p:spPr>
            <a:xfrm>
              <a:off x="1248590" y="6901309"/>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49" name="Rectangle 48">
              <a:extLst>
                <a:ext uri="{FF2B5EF4-FFF2-40B4-BE49-F238E27FC236}">
                  <a16:creationId xmlns:a16="http://schemas.microsoft.com/office/drawing/2014/main" id="{ACD20A28-C829-47EF-8F3C-D44FDD6C8FC4}"/>
                </a:ext>
              </a:extLst>
            </p:cNvPr>
            <p:cNvSpPr/>
            <p:nvPr/>
          </p:nvSpPr>
          <p:spPr>
            <a:xfrm>
              <a:off x="2296182" y="629154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50" name="Rectangle 49">
              <a:extLst>
                <a:ext uri="{FF2B5EF4-FFF2-40B4-BE49-F238E27FC236}">
                  <a16:creationId xmlns:a16="http://schemas.microsoft.com/office/drawing/2014/main" id="{996AC813-1CE3-482C-91A7-4AD491123590}"/>
                </a:ext>
              </a:extLst>
            </p:cNvPr>
            <p:cNvSpPr/>
            <p:nvPr/>
          </p:nvSpPr>
          <p:spPr>
            <a:xfrm>
              <a:off x="1267861" y="629154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1" name="Rectangle 50">
              <a:extLst>
                <a:ext uri="{FF2B5EF4-FFF2-40B4-BE49-F238E27FC236}">
                  <a16:creationId xmlns:a16="http://schemas.microsoft.com/office/drawing/2014/main" id="{ABEA14ED-1E69-4F67-89C2-0839D6C8B528}"/>
                </a:ext>
              </a:extLst>
            </p:cNvPr>
            <p:cNvSpPr/>
            <p:nvPr/>
          </p:nvSpPr>
          <p:spPr>
            <a:xfrm>
              <a:off x="208927" y="689478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2" name="Title 1">
            <a:extLst>
              <a:ext uri="{FF2B5EF4-FFF2-40B4-BE49-F238E27FC236}">
                <a16:creationId xmlns:a16="http://schemas.microsoft.com/office/drawing/2014/main" id="{7491938F-750F-4842-87DF-2EC9AA075BE0}"/>
              </a:ext>
            </a:extLst>
          </p:cNvPr>
          <p:cNvSpPr txBox="1">
            <a:spLocks/>
          </p:cNvSpPr>
          <p:nvPr/>
        </p:nvSpPr>
        <p:spPr>
          <a:xfrm>
            <a:off x="209879" y="230146"/>
            <a:ext cx="3279946"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sz="2800" dirty="0">
                <a:solidFill>
                  <a:srgbClr val="295E7E"/>
                </a:solidFill>
              </a:rPr>
              <a:t>E-SAT Trends – </a:t>
            </a:r>
          </a:p>
          <a:p>
            <a:r>
              <a:rPr lang="en-GB" sz="2800" dirty="0">
                <a:solidFill>
                  <a:srgbClr val="295E7E"/>
                </a:solidFill>
              </a:rPr>
              <a:t>Annual Average</a:t>
            </a:r>
            <a:endParaRPr lang="en-US" sz="2000" i="1" dirty="0">
              <a:solidFill>
                <a:srgbClr val="295E7E"/>
              </a:solidFill>
            </a:endParaRPr>
          </a:p>
        </p:txBody>
      </p:sp>
      <p:sp>
        <p:nvSpPr>
          <p:cNvPr id="26" name="Rectangle 25">
            <a:extLst>
              <a:ext uri="{FF2B5EF4-FFF2-40B4-BE49-F238E27FC236}">
                <a16:creationId xmlns:a16="http://schemas.microsoft.com/office/drawing/2014/main" id="{CC059332-C662-4F27-8D61-04544042ED13}"/>
              </a:ext>
            </a:extLst>
          </p:cNvPr>
          <p:cNvSpPr/>
          <p:nvPr/>
        </p:nvSpPr>
        <p:spPr>
          <a:xfrm flipH="1">
            <a:off x="154607" y="1443430"/>
            <a:ext cx="3265426" cy="38655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GB" sz="1600" dirty="0">
                <a:solidFill>
                  <a:srgbClr val="30C1D7"/>
                </a:solidFill>
              </a:rPr>
              <a:t>These products &amp; services were new in 2021 hence no trending against 2020 or 2019 available</a:t>
            </a:r>
          </a:p>
          <a:p>
            <a:pPr>
              <a:lnSpc>
                <a:spcPct val="90000"/>
              </a:lnSpc>
              <a:spcAft>
                <a:spcPts val="1000"/>
              </a:spcAft>
            </a:pPr>
            <a:endParaRPr lang="en-GB" sz="1600" dirty="0">
              <a:solidFill>
                <a:srgbClr val="30C1D7"/>
              </a:solidFill>
            </a:endParaRPr>
          </a:p>
          <a:p>
            <a:pPr>
              <a:lnSpc>
                <a:spcPct val="90000"/>
              </a:lnSpc>
              <a:spcAft>
                <a:spcPts val="1000"/>
              </a:spcAft>
            </a:pPr>
            <a:r>
              <a:rPr lang="en-GB" sz="1600" dirty="0">
                <a:solidFill>
                  <a:srgbClr val="30C1D7"/>
                </a:solidFill>
              </a:rPr>
              <a:t>Trends will be added as more data becomes available</a:t>
            </a:r>
            <a:endParaRPr lang="en-US" sz="1600" dirty="0">
              <a:solidFill>
                <a:srgbClr val="30C1D7"/>
              </a:solidFill>
            </a:endParaRPr>
          </a:p>
        </p:txBody>
      </p:sp>
    </p:spTree>
    <p:custDataLst>
      <p:tags r:id="rId2"/>
    </p:custDataLst>
    <p:extLst>
      <p:ext uri="{BB962C8B-B14F-4D97-AF65-F5344CB8AC3E}">
        <p14:creationId xmlns:p14="http://schemas.microsoft.com/office/powerpoint/2010/main" val="4114423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12"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8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154" name="Table 153"/>
          <p:cNvGraphicFramePr>
            <a:graphicFrameLocks noGrp="1"/>
          </p:cNvGraphicFramePr>
          <p:nvPr>
            <p:extLst>
              <p:ext uri="{D42A27DB-BD31-4B8C-83A1-F6EECF244321}">
                <p14:modId xmlns:p14="http://schemas.microsoft.com/office/powerpoint/2010/main" val="1058686761"/>
              </p:ext>
            </p:extLst>
          </p:nvPr>
        </p:nvGraphicFramePr>
        <p:xfrm>
          <a:off x="145775" y="3790"/>
          <a:ext cx="8789878" cy="6854211"/>
        </p:xfrm>
        <a:graphic>
          <a:graphicData uri="http://schemas.openxmlformats.org/drawingml/2006/table">
            <a:tbl>
              <a:tblPr/>
              <a:tblGrid>
                <a:gridCol w="1554661">
                  <a:extLst>
                    <a:ext uri="{9D8B030D-6E8A-4147-A177-3AD203B41FA5}">
                      <a16:colId xmlns:a16="http://schemas.microsoft.com/office/drawing/2014/main" val="20000"/>
                    </a:ext>
                  </a:extLst>
                </a:gridCol>
                <a:gridCol w="657747">
                  <a:extLst>
                    <a:ext uri="{9D8B030D-6E8A-4147-A177-3AD203B41FA5}">
                      <a16:colId xmlns:a16="http://schemas.microsoft.com/office/drawing/2014/main" val="2586741705"/>
                    </a:ext>
                  </a:extLst>
                </a:gridCol>
                <a:gridCol w="657747">
                  <a:extLst>
                    <a:ext uri="{9D8B030D-6E8A-4147-A177-3AD203B41FA5}">
                      <a16:colId xmlns:a16="http://schemas.microsoft.com/office/drawing/2014/main" val="3902532712"/>
                    </a:ext>
                  </a:extLst>
                </a:gridCol>
                <a:gridCol w="657747">
                  <a:extLst>
                    <a:ext uri="{9D8B030D-6E8A-4147-A177-3AD203B41FA5}">
                      <a16:colId xmlns:a16="http://schemas.microsoft.com/office/drawing/2014/main" val="3646446367"/>
                    </a:ext>
                  </a:extLst>
                </a:gridCol>
                <a:gridCol w="657747">
                  <a:extLst>
                    <a:ext uri="{9D8B030D-6E8A-4147-A177-3AD203B41FA5}">
                      <a16:colId xmlns:a16="http://schemas.microsoft.com/office/drawing/2014/main" val="3808404398"/>
                    </a:ext>
                  </a:extLst>
                </a:gridCol>
                <a:gridCol w="657747">
                  <a:extLst>
                    <a:ext uri="{9D8B030D-6E8A-4147-A177-3AD203B41FA5}">
                      <a16:colId xmlns:a16="http://schemas.microsoft.com/office/drawing/2014/main" val="940990540"/>
                    </a:ext>
                  </a:extLst>
                </a:gridCol>
                <a:gridCol w="657747">
                  <a:extLst>
                    <a:ext uri="{9D8B030D-6E8A-4147-A177-3AD203B41FA5}">
                      <a16:colId xmlns:a16="http://schemas.microsoft.com/office/drawing/2014/main" val="55124534"/>
                    </a:ext>
                  </a:extLst>
                </a:gridCol>
                <a:gridCol w="657747">
                  <a:extLst>
                    <a:ext uri="{9D8B030D-6E8A-4147-A177-3AD203B41FA5}">
                      <a16:colId xmlns:a16="http://schemas.microsoft.com/office/drawing/2014/main" val="1638748108"/>
                    </a:ext>
                  </a:extLst>
                </a:gridCol>
                <a:gridCol w="657747">
                  <a:extLst>
                    <a:ext uri="{9D8B030D-6E8A-4147-A177-3AD203B41FA5}">
                      <a16:colId xmlns:a16="http://schemas.microsoft.com/office/drawing/2014/main" val="644662887"/>
                    </a:ext>
                  </a:extLst>
                </a:gridCol>
                <a:gridCol w="657747">
                  <a:extLst>
                    <a:ext uri="{9D8B030D-6E8A-4147-A177-3AD203B41FA5}">
                      <a16:colId xmlns:a16="http://schemas.microsoft.com/office/drawing/2014/main" val="2317467616"/>
                    </a:ext>
                  </a:extLst>
                </a:gridCol>
                <a:gridCol w="657747">
                  <a:extLst>
                    <a:ext uri="{9D8B030D-6E8A-4147-A177-3AD203B41FA5}">
                      <a16:colId xmlns:a16="http://schemas.microsoft.com/office/drawing/2014/main" val="1449235081"/>
                    </a:ext>
                  </a:extLst>
                </a:gridCol>
                <a:gridCol w="657747">
                  <a:extLst>
                    <a:ext uri="{9D8B030D-6E8A-4147-A177-3AD203B41FA5}">
                      <a16:colId xmlns:a16="http://schemas.microsoft.com/office/drawing/2014/main" val="3011775565"/>
                    </a:ext>
                  </a:extLst>
                </a:gridCol>
              </a:tblGrid>
              <a:tr h="197015">
                <a:tc>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3">
                  <a:txBody>
                    <a:bodyPr/>
                    <a:lstStyle/>
                    <a:p>
                      <a:pPr marL="0" algn="ctr" defTabSz="914400" rtl="0" eaLnBrk="1" fontAlgn="ctr" latinLnBrk="0" hangingPunct="1"/>
                      <a:r>
                        <a:rPr lang="en-GB" sz="1000" b="1" i="0" u="none" strike="noStrike" kern="1200" dirty="0">
                          <a:solidFill>
                            <a:srgbClr val="575757"/>
                          </a:solidFill>
                          <a:effectLst/>
                          <a:latin typeface="+mn-lt"/>
                          <a:ea typeface="+mn-ea"/>
                          <a:cs typeface="+mn-cs"/>
                        </a:rPr>
                        <a:t>ALL</a:t>
                      </a:r>
                      <a:endParaRPr lang="en-US" sz="1000" b="1" i="0" u="none" strike="noStrike" kern="12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algn="ctr" defTabSz="914400" rtl="0" eaLnBrk="1" fontAlgn="ctr" latinLnBrk="0" hangingPunct="1"/>
                      <a:r>
                        <a:rPr lang="en-GB" sz="1200" b="1" i="0" u="none" strike="noStrike" kern="1200" dirty="0">
                          <a:solidFill>
                            <a:srgbClr val="575757"/>
                          </a:solidFill>
                          <a:effectLst/>
                          <a:latin typeface="+mn-lt"/>
                          <a:ea typeface="+mn-ea"/>
                          <a:cs typeface="+mn-cs"/>
                        </a:rPr>
                        <a:t>ALL</a:t>
                      </a:r>
                      <a:endParaRPr lang="en-US" sz="1200" b="1" i="0" u="none" strike="noStrike" kern="12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rtl="0" fontAlgn="ctr"/>
                      <a:endParaRPr lang="en-GB" sz="1200" b="1" i="0" u="none" strike="noStrike" kern="1200" dirty="0">
                        <a:solidFill>
                          <a:srgbClr val="575757"/>
                        </a:solidFill>
                        <a:effectLst/>
                        <a:latin typeface="+mn-lt"/>
                        <a:ea typeface="+mn-ea"/>
                        <a:cs typeface="+mn-cs"/>
                      </a:endParaRPr>
                    </a:p>
                  </a:txBody>
                  <a:tcPr marL="6334" marR="6334" marT="6334"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3">
                  <a:txBody>
                    <a:bodyPr/>
                    <a:lstStyle/>
                    <a:p>
                      <a:pPr marL="0" algn="ctr" defTabSz="914400" rtl="0" eaLnBrk="1" fontAlgn="ctr" latinLnBrk="0" hangingPunct="1"/>
                      <a:r>
                        <a:rPr lang="en-GB" sz="1000" b="1" i="0" u="none" strike="noStrike" kern="1200" dirty="0">
                          <a:solidFill>
                            <a:srgbClr val="575757"/>
                          </a:solidFill>
                          <a:effectLst/>
                          <a:latin typeface="+mn-lt"/>
                          <a:ea typeface="+mn-ea"/>
                          <a:cs typeface="+mn-cs"/>
                        </a:rPr>
                        <a:t>C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algn="ctr" defTabSz="914400" rtl="0" eaLnBrk="1" fontAlgn="ctr" latinLnBrk="0" hangingPunct="1"/>
                      <a:r>
                        <a:rPr lang="en-GB" sz="1200" b="1" i="0" u="none" strike="noStrike" kern="1200" dirty="0">
                          <a:solidFill>
                            <a:srgbClr val="575757"/>
                          </a:solidFill>
                          <a:effectLst/>
                          <a:latin typeface="+mn-lt"/>
                          <a:ea typeface="+mn-ea"/>
                          <a:cs typeface="+mn-cs"/>
                        </a:rPr>
                        <a:t>C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rtl="0" fontAlgn="ctr"/>
                      <a:endParaRPr lang="en-GB" sz="1200" b="1" i="0" u="none" strike="noStrike" kern="12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3">
                  <a:txBody>
                    <a:bodyPr/>
                    <a:lstStyle/>
                    <a:p>
                      <a:pPr algn="ctr" rtl="0" fontAlgn="ctr"/>
                      <a:r>
                        <a:rPr lang="en-GB" sz="1000" b="1" i="0" u="none" strike="noStrike" kern="1200" dirty="0">
                          <a:solidFill>
                            <a:srgbClr val="575757"/>
                          </a:solidFill>
                          <a:effectLst/>
                          <a:latin typeface="+mn-lt"/>
                          <a:ea typeface="+mn-ea"/>
                          <a:cs typeface="+mn-cs"/>
                        </a:rPr>
                        <a:t>BS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rtl="0" fontAlgn="ctr"/>
                      <a:r>
                        <a:rPr lang="en-GB" sz="1200" b="1" i="0" u="none" strike="noStrike" kern="1200" dirty="0">
                          <a:solidFill>
                            <a:srgbClr val="575757"/>
                          </a:solidFill>
                          <a:effectLst/>
                          <a:latin typeface="+mn-lt"/>
                          <a:ea typeface="+mn-ea"/>
                          <a:cs typeface="+mn-cs"/>
                        </a:rPr>
                        <a:t>BS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rtl="0" fontAlgn="ctr"/>
                      <a:endParaRPr lang="en-GB" sz="1200" b="1" i="0" u="none" strike="noStrike" kern="12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a:r>
                        <a:rPr lang="en-US" sz="1000" b="1" dirty="0"/>
                        <a:t>CT vs BST 2021 Av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a:r>
                        <a:rPr lang="en-US" sz="1000" b="1" dirty="0"/>
                        <a:t>CT 2020 vs 2021</a:t>
                      </a:r>
                    </a:p>
                    <a:p>
                      <a:pPr algn="ctr"/>
                      <a:r>
                        <a:rPr lang="en-US" sz="1000" b="1" dirty="0"/>
                        <a:t>Av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643809797"/>
                  </a:ext>
                </a:extLst>
              </a:tr>
              <a:tr h="532927">
                <a:tc>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000" b="1" i="0" u="none" strike="noStrike" kern="1200" dirty="0">
                          <a:solidFill>
                            <a:srgbClr val="575757"/>
                          </a:solidFill>
                          <a:effectLst/>
                          <a:latin typeface="+mn-lt"/>
                          <a:ea typeface="+mn-ea"/>
                          <a:cs typeface="+mn-cs"/>
                        </a:rPr>
                        <a:t>2019</a:t>
                      </a:r>
                    </a:p>
                    <a:p>
                      <a:pPr algn="ctr" rtl="0" fontAlgn="ctr"/>
                      <a:r>
                        <a:rPr lang="en-GB" sz="1000" b="1" i="0" u="none" strike="noStrike" kern="1200" dirty="0">
                          <a:solidFill>
                            <a:srgbClr val="575757"/>
                          </a:solidFill>
                          <a:effectLst/>
                          <a:latin typeface="+mn-lt"/>
                          <a:ea typeface="+mn-ea"/>
                          <a:cs typeface="+mn-cs"/>
                        </a:rPr>
                        <a:t>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000" b="1" i="0" u="none" strike="noStrike" kern="1200" dirty="0">
                          <a:solidFill>
                            <a:srgbClr val="575757"/>
                          </a:solidFill>
                          <a:effectLst/>
                          <a:latin typeface="+mn-lt"/>
                          <a:ea typeface="+mn-ea"/>
                          <a:cs typeface="+mn-cs"/>
                        </a:rPr>
                        <a:t>2020 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000" b="1" i="0" u="none" strike="noStrike" kern="1200" dirty="0">
                          <a:solidFill>
                            <a:srgbClr val="575757"/>
                          </a:solidFill>
                          <a:effectLst/>
                          <a:latin typeface="+mn-lt"/>
                          <a:ea typeface="+mn-ea"/>
                          <a:cs typeface="+mn-cs"/>
                        </a:rPr>
                        <a:t>2021</a:t>
                      </a:r>
                    </a:p>
                    <a:p>
                      <a:pPr algn="ctr" rtl="0" fontAlgn="ctr"/>
                      <a:r>
                        <a:rPr lang="en-GB" sz="1000" b="1" i="0" u="none" strike="noStrike" kern="1200" dirty="0">
                          <a:solidFill>
                            <a:srgbClr val="575757"/>
                          </a:solidFill>
                          <a:effectLst/>
                          <a:latin typeface="+mn-lt"/>
                          <a:ea typeface="+mn-ea"/>
                          <a:cs typeface="+mn-cs"/>
                        </a:rPr>
                        <a:t>Average</a:t>
                      </a:r>
                      <a:endParaRPr lang="en-GB" sz="1000" b="1" i="0" u="none" strike="noStrike" kern="1200" baseline="30000" dirty="0">
                        <a:solidFill>
                          <a:srgbClr val="575757"/>
                        </a:solidFill>
                        <a:effectLst/>
                        <a:latin typeface="+mn-lt"/>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000" b="1" i="0" u="none" strike="noStrike" kern="1200" dirty="0">
                          <a:solidFill>
                            <a:srgbClr val="575757"/>
                          </a:solidFill>
                          <a:effectLst/>
                          <a:latin typeface="+mn-lt"/>
                          <a:ea typeface="+mn-ea"/>
                          <a:cs typeface="+mn-cs"/>
                        </a:rPr>
                        <a:t>2019</a:t>
                      </a:r>
                    </a:p>
                    <a:p>
                      <a:pPr algn="ctr" rtl="0" fontAlgn="ctr"/>
                      <a:r>
                        <a:rPr lang="en-GB" sz="1000" b="1" i="0" u="none" strike="noStrike" kern="1200" dirty="0">
                          <a:solidFill>
                            <a:srgbClr val="575757"/>
                          </a:solidFill>
                          <a:effectLst/>
                          <a:latin typeface="+mn-lt"/>
                          <a:ea typeface="+mn-ea"/>
                          <a:cs typeface="+mn-cs"/>
                        </a:rPr>
                        <a:t>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000" b="1" i="0" u="none" strike="noStrike" kern="1200" dirty="0">
                          <a:solidFill>
                            <a:srgbClr val="575757"/>
                          </a:solidFill>
                          <a:effectLst/>
                          <a:latin typeface="+mn-lt"/>
                          <a:ea typeface="+mn-ea"/>
                          <a:cs typeface="+mn-cs"/>
                        </a:rPr>
                        <a:t>2020 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000" b="1" i="0" u="none" strike="noStrike" kern="1200" dirty="0">
                          <a:solidFill>
                            <a:srgbClr val="575757"/>
                          </a:solidFill>
                          <a:effectLst/>
                          <a:latin typeface="+mn-lt"/>
                          <a:ea typeface="+mn-ea"/>
                          <a:cs typeface="+mn-cs"/>
                        </a:rPr>
                        <a:t>2021</a:t>
                      </a:r>
                    </a:p>
                    <a:p>
                      <a:pPr algn="ctr" rtl="0" fontAlgn="ctr"/>
                      <a:r>
                        <a:rPr lang="en-GB" sz="1000" b="1" i="0" u="none" strike="noStrike" kern="1200" dirty="0">
                          <a:solidFill>
                            <a:srgbClr val="575757"/>
                          </a:solidFill>
                          <a:effectLst/>
                          <a:latin typeface="+mn-lt"/>
                          <a:ea typeface="+mn-ea"/>
                          <a:cs typeface="+mn-cs"/>
                        </a:rPr>
                        <a:t>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000" b="1" i="0" u="none" strike="noStrike" kern="1200" dirty="0">
                          <a:solidFill>
                            <a:srgbClr val="575757"/>
                          </a:solidFill>
                          <a:effectLst/>
                          <a:latin typeface="+mn-lt"/>
                          <a:ea typeface="+mn-ea"/>
                          <a:cs typeface="+mn-cs"/>
                        </a:rPr>
                        <a:t>2019</a:t>
                      </a:r>
                    </a:p>
                    <a:p>
                      <a:pPr algn="ctr" rtl="0" fontAlgn="ctr"/>
                      <a:r>
                        <a:rPr lang="en-GB" sz="1000" b="1" i="0" u="none" strike="noStrike" kern="1200" dirty="0">
                          <a:solidFill>
                            <a:srgbClr val="575757"/>
                          </a:solidFill>
                          <a:effectLst/>
                          <a:latin typeface="+mn-lt"/>
                          <a:ea typeface="+mn-ea"/>
                          <a:cs typeface="+mn-cs"/>
                        </a:rPr>
                        <a:t>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000" b="1" i="0" u="none" strike="noStrike" kern="1200" dirty="0">
                          <a:solidFill>
                            <a:srgbClr val="575757"/>
                          </a:solidFill>
                          <a:effectLst/>
                          <a:latin typeface="+mn-lt"/>
                          <a:ea typeface="+mn-ea"/>
                          <a:cs typeface="+mn-cs"/>
                        </a:rPr>
                        <a:t>2020 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000" b="1" i="0" u="none" strike="noStrike" kern="1200" dirty="0">
                          <a:solidFill>
                            <a:srgbClr val="575757"/>
                          </a:solidFill>
                          <a:effectLst/>
                          <a:latin typeface="+mn-lt"/>
                          <a:ea typeface="+mn-ea"/>
                          <a:cs typeface="+mn-cs"/>
                        </a:rPr>
                        <a:t>2021</a:t>
                      </a:r>
                    </a:p>
                    <a:p>
                      <a:pPr algn="ctr" rtl="0" fontAlgn="ctr"/>
                      <a:r>
                        <a:rPr lang="en-GB" sz="1000" b="1" i="0" u="none" strike="noStrike" kern="1200" dirty="0">
                          <a:solidFill>
                            <a:srgbClr val="575757"/>
                          </a:solidFill>
                          <a:effectLst/>
                          <a:latin typeface="+mn-lt"/>
                          <a:ea typeface="+mn-ea"/>
                          <a:cs typeface="+mn-cs"/>
                        </a:rPr>
                        <a:t>Average</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algn="ct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algn="ct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4764454"/>
                  </a:ext>
                </a:extLst>
              </a:tr>
              <a:tr h="181163">
                <a:tc gridSpan="1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1" i="0" u="none" strike="noStrike" kern="1200" dirty="0">
                          <a:solidFill>
                            <a:srgbClr val="E71C57"/>
                          </a:solidFill>
                          <a:effectLst/>
                          <a:latin typeface="+mn-lt"/>
                          <a:ea typeface="+mn-ea"/>
                          <a:cs typeface="+mn-cs"/>
                        </a:rPr>
                        <a:t>Critical Products </a:t>
                      </a:r>
                      <a:r>
                        <a:rPr lang="en-US" sz="1100" b="1" i="0" u="none" strike="noStrike" kern="1200" dirty="0">
                          <a:solidFill>
                            <a:srgbClr val="E71C57"/>
                          </a:solidFill>
                          <a:effectLst/>
                          <a:latin typeface="Wingdings 3" panose="05040102010807070707" pitchFamily="18" charset="2"/>
                          <a:ea typeface="+mn-ea"/>
                          <a:cs typeface="+mn-cs"/>
                        </a:rPr>
                        <a:t>i</a:t>
                      </a:r>
                    </a:p>
                  </a:txBody>
                  <a:tcPr marL="6350" marR="6350" marT="6350" marB="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endParaRPr lang="en-US"/>
                    </a:p>
                  </a:txBody>
                  <a:tcPr/>
                </a:tc>
                <a:tc hMerge="1">
                  <a:txBody>
                    <a:bodyPr/>
                    <a:lstStyle/>
                    <a:p>
                      <a:pPr algn="ctr" rtl="0" fontAlgn="ctr"/>
                      <a:endParaRPr lang="en-US" sz="1100" b="0" i="0" u="none" strike="noStrike" dirty="0">
                        <a:solidFill>
                          <a:srgbClr val="575757"/>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hMerge="1">
                  <a:txBody>
                    <a:bodyPr/>
                    <a:lstStyle/>
                    <a:p>
                      <a:pPr algn="ctr" rtl="0" fontAlgn="ctr"/>
                      <a:endParaRPr lang="en-US" sz="1100" b="0" i="0" u="none" strike="noStrike" dirty="0">
                        <a:solidFill>
                          <a:srgbClr val="FFFFFF"/>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endParaRPr lang="en-US"/>
                    </a:p>
                  </a:txBody>
                  <a:tcPr/>
                </a:tc>
                <a:tc hMerge="1">
                  <a:txBody>
                    <a:bodyPr/>
                    <a:lstStyle/>
                    <a:p>
                      <a:pPr marL="0" algn="ctr" defTabSz="914400" rtl="0" eaLnBrk="1" fontAlgn="ctr" latinLnBrk="0" hangingPunct="1"/>
                      <a:endParaRPr lang="en-US" sz="11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hMerge="1">
                  <a:txBody>
                    <a:bodyPr/>
                    <a:lstStyle/>
                    <a:p>
                      <a:pPr algn="ctr" rtl="0" fontAlgn="ctr"/>
                      <a:endParaRPr lang="en-US" sz="1100" b="0" i="0" u="none" strike="noStrike" dirty="0">
                        <a:solidFill>
                          <a:srgbClr val="575757"/>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hMerge="1">
                  <a:txBody>
                    <a:bodyPr/>
                    <a:lstStyle/>
                    <a:p>
                      <a:endParaRPr lang="en-US"/>
                    </a:p>
                  </a:txBody>
                  <a:tcPr/>
                </a:tc>
                <a:tc hMerge="1">
                  <a:txBody>
                    <a:bodyPr/>
                    <a:lstStyle/>
                    <a:p>
                      <a:pPr algn="ctr" rtl="0" fontAlgn="ctr"/>
                      <a:endParaRPr lang="en-US" sz="1100" b="0" i="0" u="none" strike="noStrike" dirty="0">
                        <a:solidFill>
                          <a:schemeClr val="bg1"/>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algn="ctr" rtl="0" fontAlgn="ctr"/>
                      <a:endParaRPr lang="en-US" sz="1100" b="0" i="0" u="none" strike="noStrike" dirty="0">
                        <a:solidFill>
                          <a:srgbClr val="FFFFFF"/>
                        </a:solidFill>
                        <a:effectLst/>
                        <a:latin typeface="Trebuchet MS" panose="020B0603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algn="ctr" rtl="0" fontAlgn="b"/>
                      <a:endParaRPr lang="en-US" sz="1100" b="0" i="0" u="none" strike="noStrike" dirty="0">
                        <a:solidFill>
                          <a:srgbClr val="E71C57"/>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b"/>
                      <a:endParaRPr lang="en-US" sz="1100" b="0" i="0" u="none" strike="noStrike" dirty="0">
                        <a:solidFill>
                          <a:srgbClr val="29BA74"/>
                        </a:solidFill>
                        <a:effectLst/>
                        <a:latin typeface="Wingdings 3" panose="05040102010807070707" pitchFamily="18" charset="2"/>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2138332"/>
                  </a:ext>
                </a:extLst>
              </a:tr>
              <a:tr h="355715">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Microsoft Outlook (Email)</a:t>
                      </a:r>
                    </a:p>
                  </a:txBody>
                  <a:tcPr marL="6350" marR="6350" marT="635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4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82332018"/>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Timesheets – Infor</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4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4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4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513971578"/>
                  </a:ext>
                </a:extLst>
              </a:tr>
              <a:tr h="346886">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Expenses - Chrome River</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Trebuchet MS" panose="020B0603020202020204" pitchFamily="34" charset="0"/>
                          <a:ea typeface="+mn-ea"/>
                          <a:cs typeface="+mn-cs"/>
                        </a:rPr>
                        <a:t>1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192419124"/>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VPN</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072766595"/>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Okta via Laptop</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Trebuchet MS" panose="020B0603020202020204" pitchFamily="34" charset="0"/>
                          <a:ea typeface="+mn-ea"/>
                          <a:cs typeface="+mn-cs"/>
                        </a:rPr>
                        <a:t>1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000" b="0" i="0" u="none" strike="noStrike" kern="1200" cap="none" spc="0" normalizeH="0" baseline="0" noProof="0" dirty="0">
                          <a:ln>
                            <a:noFill/>
                          </a:ln>
                          <a:solidFill>
                            <a:srgbClr val="575757"/>
                          </a:solidFill>
                          <a:effectLst/>
                          <a:uLnTx/>
                          <a:uFillTx/>
                          <a:latin typeface="+mj-lt"/>
                          <a:ea typeface="+mn-ea"/>
                          <a:cs typeface="+mn-cs"/>
                        </a:rPr>
                        <a:t>3%</a:t>
                      </a:r>
                      <a:endParaRPr lang="en-US" sz="1000" b="0" i="0" u="none" strike="noStrike" kern="1200" dirty="0">
                        <a:solidFill>
                          <a:srgbClr val="575757"/>
                        </a:solidFill>
                        <a:effectLst/>
                        <a:latin typeface="+mj-lt"/>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725127411"/>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Microsoft Word</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Trebuchet MS" panose="020B0603020202020204" pitchFamily="34" charset="0"/>
                          <a:ea typeface="+mn-ea"/>
                          <a:cs typeface="+mn-cs"/>
                        </a:rPr>
                        <a:t>1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702344448"/>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IT Security – Overall</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a:solidFill>
                            <a:srgbClr val="FFFFFF"/>
                          </a:solidFill>
                          <a:effectLst/>
                          <a:latin typeface="Trebuchet MS" panose="020B0603020202020204" pitchFamily="34" charset="0"/>
                          <a:ea typeface="+mn-ea"/>
                          <a:cs typeface="+mn-cs"/>
                        </a:rPr>
                        <a:t>8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199675991"/>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Excel</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000" b="0" i="0" u="none" strike="noStrike" kern="1200">
                          <a:solidFill>
                            <a:srgbClr val="575757"/>
                          </a:solidFill>
                          <a:effectLst/>
                          <a:latin typeface="Trebuchet MS" panose="020B0603020202020204" pitchFamily="34" charset="0"/>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4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Trebuchet MS" panose="020B0603020202020204" pitchFamily="34" charset="0"/>
                          <a:ea typeface="+mn-ea"/>
                          <a:cs typeface="+mn-cs"/>
                        </a:rPr>
                        <a:t>1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627894540"/>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Slack</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indent="0" algn="ctr" fontAlgn="b">
                        <a:buFont typeface="Wingdings 3" panose="05040102010807070707" pitchFamily="18" charset="2"/>
                        <a:buNone/>
                      </a:pP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426516297"/>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Local IT</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9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C1D7"/>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9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C1D7"/>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9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0C1D7"/>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dirty="0">
                          <a:solidFill>
                            <a:srgbClr val="797979"/>
                          </a:solidFill>
                          <a:effectLst/>
                          <a:latin typeface="Wingdings 3" panose="05040102010807070707" pitchFamily="18" charset="2"/>
                        </a:rPr>
                        <a:t>w</a:t>
                      </a: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lang="en-US" sz="1000" b="0" i="0" u="none" strike="noStrike" kern="1200" dirty="0">
                          <a:solidFill>
                            <a:srgbClr val="575757"/>
                          </a:solidFill>
                          <a:effectLst/>
                          <a:latin typeface="Trebuchet MS" panose="020B0603020202020204" pitchFamily="34" charset="0"/>
                          <a:ea typeface="+mn-ea"/>
                          <a:cs typeface="+mn-cs"/>
                        </a:rPr>
                        <a:t>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840132783"/>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Zoom</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9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C1D7"/>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9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0C1D7"/>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9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329895889"/>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Microsoft OneNote</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797979"/>
                          </a:solidFill>
                          <a:effectLst/>
                          <a:latin typeface="Wingdings 3" panose="05040102010807070707" pitchFamily="18" charset="2"/>
                        </a:rPr>
                        <a:t>w</a:t>
                      </a: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lang="en-US" sz="1000" b="0" i="0" u="none" strike="noStrike" kern="1200" dirty="0">
                          <a:solidFill>
                            <a:srgbClr val="575757"/>
                          </a:solidFill>
                          <a:effectLst/>
                          <a:latin typeface="Trebuchet MS" panose="020B0603020202020204" pitchFamily="34" charset="0"/>
                          <a:ea typeface="+mn-ea"/>
                          <a:cs typeface="+mn-cs"/>
                        </a:rPr>
                        <a:t>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628086707"/>
                  </a:ext>
                </a:extLst>
              </a:tr>
              <a:tr h="355715">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IT Service Center – Overall</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859263872"/>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Microsoft PowerPoint</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C5D0"/>
                    </a:solidFill>
                  </a:tcPr>
                </a:tc>
                <a:tc>
                  <a:txBody>
                    <a:bodyPr/>
                    <a:lstStyle/>
                    <a:p>
                      <a:pPr algn="ctr" fontAlgn="ctr"/>
                      <a:r>
                        <a:rPr lang="en-US" sz="1000" b="0" i="0" u="none" strike="noStrike" kern="1200">
                          <a:solidFill>
                            <a:srgbClr val="575757"/>
                          </a:solidFill>
                          <a:effectLst/>
                          <a:latin typeface="Trebuchet MS" panose="020B0603020202020204" pitchFamily="34" charset="0"/>
                          <a:ea typeface="+mn-ea"/>
                          <a:cs typeface="+mn-cs"/>
                        </a:rPr>
                        <a:t>7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4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a:solidFill>
                            <a:srgbClr val="575757"/>
                          </a:solidFill>
                          <a:effectLst/>
                          <a:latin typeface="Trebuchet MS" panose="020B0603020202020204" pitchFamily="34" charset="0"/>
                          <a:ea typeface="+mn-ea"/>
                          <a:cs typeface="+mn-cs"/>
                        </a:rPr>
                        <a:t>6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Trebuchet MS" panose="020B0603020202020204" pitchFamily="34" charset="0"/>
                          <a:ea typeface="+mn-ea"/>
                          <a:cs typeface="+mn-cs"/>
                        </a:rPr>
                        <a:t>1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797979"/>
                          </a:solidFill>
                          <a:effectLst/>
                          <a:latin typeface="Wingdings 3" panose="05040102010807070707" pitchFamily="18" charset="2"/>
                        </a:rPr>
                        <a:t>w</a:t>
                      </a: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lang="en-US" sz="1000" b="0" i="0" u="none" strike="noStrike" kern="1200" dirty="0">
                          <a:solidFill>
                            <a:srgbClr val="575757"/>
                          </a:solidFill>
                          <a:effectLst/>
                          <a:latin typeface="Trebuchet MS" panose="020B0603020202020204" pitchFamily="34" charset="0"/>
                          <a:ea typeface="+mn-ea"/>
                          <a:cs typeface="+mn-cs"/>
                        </a:rPr>
                        <a:t>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94302103"/>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IT Support – Overall</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a:solidFill>
                            <a:srgbClr val="FFFFFF"/>
                          </a:solidFill>
                          <a:effectLst/>
                          <a:latin typeface="Trebuchet MS" panose="020B0603020202020204" pitchFamily="34" charset="0"/>
                          <a:ea typeface="+mn-ea"/>
                          <a:cs typeface="+mn-cs"/>
                        </a:rPr>
                        <a:t>8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fontAlgn="ctr"/>
                      <a:r>
                        <a:rPr lang="en-US" sz="1000" b="0" i="0" u="none" strike="noStrike" kern="1200">
                          <a:solidFill>
                            <a:srgbClr val="FFFFFF"/>
                          </a:solidFill>
                          <a:effectLst/>
                          <a:latin typeface="Trebuchet MS" panose="020B0603020202020204" pitchFamily="34" charset="0"/>
                          <a:ea typeface="+mn-ea"/>
                          <a:cs typeface="+mn-cs"/>
                        </a:rPr>
                        <a:t>8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9BA74"/>
                    </a:solidFill>
                  </a:tcPr>
                </a:tc>
                <a:tc>
                  <a:txBody>
                    <a:bodyPr/>
                    <a:lstStyle/>
                    <a:p>
                      <a:pPr algn="ctr" fontAlgn="b"/>
                      <a:r>
                        <a:rPr lang="en-US" sz="1000" b="0" i="0" u="none" strike="noStrike" kern="1200">
                          <a:solidFill>
                            <a:srgbClr val="FFFFFF"/>
                          </a:solidFill>
                          <a:effectLst/>
                          <a:latin typeface="Trebuchet MS" panose="020B0603020202020204" pitchFamily="34" charset="0"/>
                          <a:ea typeface="+mn-ea"/>
                          <a:cs typeface="+mn-cs"/>
                        </a:rPr>
                        <a:t>8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a:solidFill>
                            <a:srgbClr val="FFFFFF"/>
                          </a:solidFill>
                          <a:effectLst/>
                          <a:latin typeface="Trebuchet MS" panose="020B0603020202020204" pitchFamily="34" charset="0"/>
                          <a:ea typeface="+mn-ea"/>
                          <a:cs typeface="+mn-cs"/>
                        </a:rPr>
                        <a:t>8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a:solidFill>
                            <a:srgbClr val="FFFFFF"/>
                          </a:solidFill>
                          <a:effectLst/>
                          <a:latin typeface="Trebuchet MS" panose="020B0603020202020204" pitchFamily="34" charset="0"/>
                          <a:ea typeface="+mn-ea"/>
                          <a:cs typeface="+mn-cs"/>
                        </a:rPr>
                        <a:t>8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a:solidFill>
                            <a:srgbClr val="FFFFFF"/>
                          </a:solidFill>
                          <a:effectLst/>
                          <a:latin typeface="Trebuchet MS" panose="020B0603020202020204" pitchFamily="34" charset="0"/>
                          <a:ea typeface="+mn-ea"/>
                          <a:cs typeface="+mn-cs"/>
                        </a:rPr>
                        <a:t>8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90545178"/>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Trello</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a:solidFill>
                            <a:srgbClr val="575757"/>
                          </a:solidFill>
                          <a:effectLst/>
                          <a:latin typeface="Trebuchet MS" panose="020B0603020202020204" pitchFamily="34" charset="0"/>
                          <a:ea typeface="+mn-ea"/>
                          <a:cs typeface="+mn-cs"/>
                        </a:rPr>
                        <a:t>7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ctr"/>
                      <a:r>
                        <a:rPr lang="en-US" sz="1000" b="0" i="0" u="none" strike="noStrike" kern="1200">
                          <a:solidFill>
                            <a:srgbClr val="575757"/>
                          </a:solidFill>
                          <a:effectLst/>
                          <a:latin typeface="Trebuchet MS" panose="020B0603020202020204" pitchFamily="34" charset="0"/>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ctr"/>
                      <a:r>
                        <a:rPr lang="en-US" sz="1000" b="0" i="0" u="none" strike="noStrike" kern="1200">
                          <a:solidFill>
                            <a:srgbClr val="575757"/>
                          </a:solidFill>
                          <a:effectLst/>
                          <a:latin typeface="Trebuchet MS" panose="020B0603020202020204" pitchFamily="34" charset="0"/>
                          <a:ea typeface="+mn-ea"/>
                          <a:cs typeface="+mn-cs"/>
                        </a:rPr>
                        <a:t>7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b"/>
                      <a:r>
                        <a:rPr lang="en-US" sz="1000" b="0" i="0" u="none" strike="noStrike" kern="1200">
                          <a:solidFill>
                            <a:srgbClr val="575757"/>
                          </a:solidFill>
                          <a:effectLst/>
                          <a:latin typeface="Trebuchet MS" panose="020B0603020202020204" pitchFamily="34" charset="0"/>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a:solidFill>
                            <a:srgbClr val="575757"/>
                          </a:solidFill>
                          <a:effectLst/>
                          <a:latin typeface="Trebuchet MS" panose="020B0603020202020204" pitchFamily="34" charset="0"/>
                          <a:ea typeface="+mn-ea"/>
                          <a:cs typeface="+mn-cs"/>
                        </a:rPr>
                        <a:t>7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a:solidFill>
                            <a:srgbClr val="575757"/>
                          </a:solidFill>
                          <a:effectLst/>
                          <a:latin typeface="Trebuchet MS" panose="020B0603020202020204" pitchFamily="34" charset="0"/>
                          <a:ea typeface="+mn-ea"/>
                          <a:cs typeface="+mn-cs"/>
                        </a:rPr>
                        <a:t>7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a:solidFill>
                            <a:srgbClr val="575757"/>
                          </a:solidFill>
                          <a:effectLst/>
                          <a:latin typeface="Trebuchet MS" panose="020B0603020202020204" pitchFamily="34" charset="0"/>
                          <a:ea typeface="+mn-ea"/>
                          <a:cs typeface="+mn-cs"/>
                        </a:rPr>
                        <a:t>7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379159206"/>
                  </a:ext>
                </a:extLst>
              </a:tr>
              <a:tr h="355715">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Windows Laptops – Overall</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4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9A9A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Trebuchet MS" panose="020B0603020202020204" pitchFamily="34" charset="0"/>
                          <a:ea typeface="+mn-ea"/>
                          <a:cs typeface="+mn-cs"/>
                        </a:rPr>
                        <a:t>2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25039324"/>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Egnyte</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9</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E89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7</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1</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8%</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54000522"/>
                  </a:ext>
                </a:extLst>
              </a:tr>
              <a:tr h="181163">
                <a:tc>
                  <a:txBody>
                    <a:bodyPr/>
                    <a:lstStyle/>
                    <a:p>
                      <a:pPr algn="l" rtl="0" fontAlgn="t"/>
                      <a:r>
                        <a:rPr lang="en-US" sz="1100" b="0" i="0" u="none" strike="noStrike" dirty="0">
                          <a:solidFill>
                            <a:srgbClr val="575757"/>
                          </a:solidFill>
                          <a:effectLst/>
                          <a:latin typeface="Trebuchet MS" panose="020B0603020202020204" pitchFamily="34" charset="0"/>
                        </a:rPr>
                        <a:t>OneDrive</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US" sz="10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9E7CA"/>
                    </a:solidFill>
                  </a:tcPr>
                </a:tc>
                <a:tc>
                  <a:txBody>
                    <a:bodyPr/>
                    <a:lstStyle/>
                    <a:p>
                      <a:pPr marL="0" algn="ctr" defTabSz="914400" rtl="0" eaLnBrk="1" fontAlgn="ctr" latinLnBrk="0" hangingPunct="1"/>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algn="ctr" defTabSz="914400" rtl="0" eaLnBrk="1" fontAlgn="ctr" latinLnBrk="0" hangingPunct="1"/>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rtl="0" fontAlgn="ctr"/>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a:txBody>
                    <a:bodyPr/>
                    <a:lstStyle/>
                    <a:p>
                      <a:pPr marL="0" algn="ctr" defTabSz="914400" rtl="0" eaLnBrk="1" fontAlgn="ctr" latinLnBrk="0" hangingPunct="1"/>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algn="ctr" defTabSz="914400" rtl="0" eaLnBrk="1" fontAlgn="ctr" latinLnBrk="0" hangingPunct="1"/>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rtl="0" fontAlgn="ctr"/>
                      <a:r>
                        <a:rPr lang="en-US" sz="1000" b="0" i="0" u="none" strike="noStrike" kern="1200" dirty="0">
                          <a:solidFill>
                            <a:srgbClr val="575757"/>
                          </a:solidFill>
                          <a:effectLst/>
                          <a:latin typeface="Trebuchet MS" panose="020B0603020202020204" pitchFamily="34" charset="0"/>
                          <a:ea typeface="+mn-ea"/>
                          <a:cs typeface="+mn-cs"/>
                        </a:rPr>
                        <a:t>76</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a:txBody>
                    <a:bodyPr/>
                    <a:lstStyle/>
                    <a:p>
                      <a:pPr algn="ctr" rtl="0"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68598645"/>
                  </a:ext>
                </a:extLst>
              </a:tr>
              <a:tr h="181163">
                <a:tc gridSpan="1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295E7E"/>
                          </a:solidFill>
                          <a:effectLst/>
                          <a:latin typeface="Trebuchet MS" panose="020B0603020202020204" pitchFamily="34" charset="0"/>
                        </a:rPr>
                        <a:t>Business Supporting Products </a:t>
                      </a:r>
                      <a:r>
                        <a:rPr lang="en-US" sz="1100" b="1" i="0" u="none" strike="noStrike" kern="1200" dirty="0">
                          <a:solidFill>
                            <a:srgbClr val="295E7E"/>
                          </a:solidFill>
                          <a:effectLst/>
                          <a:latin typeface="Wingdings 3" panose="05040102010807070707" pitchFamily="18" charset="2"/>
                          <a:ea typeface="+mn-ea"/>
                          <a:cs typeface="+mn-cs"/>
                        </a:rPr>
                        <a:t>i</a:t>
                      </a:r>
                    </a:p>
                  </a:txBody>
                  <a:tcPr marL="6350" marR="6350" marT="6350"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lgn="ctr"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hMerge="1">
                  <a:txBody>
                    <a:bodyPr/>
                    <a:lstStyle/>
                    <a:p>
                      <a:endParaRPr lang="en-US"/>
                    </a:p>
                  </a:txBody>
                  <a:tcPr/>
                </a:tc>
                <a:tc hMerge="1">
                  <a:txBody>
                    <a:bodyPr/>
                    <a:lstStyle/>
                    <a:p>
                      <a:endParaRPr lang="en-US"/>
                    </a:p>
                  </a:txBody>
                  <a:tcPr/>
                </a:tc>
                <a:tc hMerge="1">
                  <a:txBody>
                    <a:bodyPr/>
                    <a:lstStyle/>
                    <a:p>
                      <a:pPr algn="ctr"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hMerge="1">
                  <a:txBody>
                    <a:bodyPr/>
                    <a:lstStyle/>
                    <a:p>
                      <a:endParaRPr lang="en-US"/>
                    </a:p>
                  </a:txBody>
                  <a:tcPr/>
                </a:tc>
                <a:tc hMerge="1">
                  <a:txBody>
                    <a:bodyPr/>
                    <a:lstStyle/>
                    <a:p>
                      <a:endParaRPr lang="en-US"/>
                    </a:p>
                  </a:txBody>
                  <a:tcPr/>
                </a:tc>
                <a:tc hMerge="1">
                  <a:txBody>
                    <a:bodyPr/>
                    <a:lstStyle/>
                    <a:p>
                      <a:pPr algn="ctr"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hMerge="1">
                  <a:txBody>
                    <a:bodyPr/>
                    <a:lstStyle/>
                    <a:p>
                      <a:pPr algn="ctr" fontAlgn="b"/>
                      <a:endParaRPr lang="en-US" sz="11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algn="l" rtl="0" fontAlgn="b"/>
                      <a:endParaRPr lang="en-US" sz="1100" b="0" i="0" u="none" strike="noStrike" dirty="0">
                        <a:solidFill>
                          <a:srgbClr val="575757"/>
                        </a:solidFill>
                        <a:effectLst/>
                        <a:latin typeface="Trebuchet MS" panose="020B0603020202020204" pitchFamily="34" charset="0"/>
                      </a:endParaRP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2086255041"/>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Inside BCG</a:t>
                      </a:r>
                    </a:p>
                  </a:txBody>
                  <a:tcPr marL="6350" marR="6350" marT="6350"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Trebuchet MS" panose="020B0603020202020204" pitchFamily="34" charset="0"/>
                          <a:ea typeface="+mn-ea"/>
                          <a:cs typeface="+mn-cs"/>
                        </a:rPr>
                        <a:t>1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844214739"/>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Search - Overall</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5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43520592"/>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Learning - Overall</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dirty="0">
                          <a:solidFill>
                            <a:srgbClr val="E71C57"/>
                          </a:solidFill>
                          <a:effectLst/>
                          <a:latin typeface="Wingdings 3" panose="05040102010807070707" pitchFamily="18" charset="2"/>
                        </a:rPr>
                        <a:t>q</a:t>
                      </a:r>
                      <a:r>
                        <a:rPr lang="en-US" sz="1000" b="0" i="0" u="none" strike="noStrike" dirty="0">
                          <a:solidFill>
                            <a:srgbClr val="FFFFFF"/>
                          </a:solidFill>
                          <a:effectLst/>
                          <a:latin typeface="Wingdings 3" panose="05040102010807070707" pitchFamily="18" charset="2"/>
                        </a:rPr>
                        <a:t>1</a:t>
                      </a:r>
                      <a:r>
                        <a:rPr lang="en-US" sz="1000" b="0" i="0" u="none" strike="noStrike" kern="1200" dirty="0">
                          <a:solidFill>
                            <a:srgbClr val="575757"/>
                          </a:solidFill>
                          <a:effectLst/>
                          <a:latin typeface="Trebuchet MS" panose="020B0603020202020204" pitchFamily="34" charset="0"/>
                          <a:ea typeface="+mn-ea"/>
                          <a:cs typeface="+mn-cs"/>
                        </a:rPr>
                        <a:t>1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lang="en-US" sz="1000" b="0" i="0" u="none" strike="noStrike" kern="1200" dirty="0">
                          <a:solidFill>
                            <a:srgbClr val="575757"/>
                          </a:solidFill>
                          <a:effectLst/>
                          <a:latin typeface="Trebuchet MS" panose="020B0603020202020204" pitchFamily="34" charset="0"/>
                          <a:ea typeface="+mn-ea"/>
                          <a:cs typeface="+mn-cs"/>
                        </a:rPr>
                        <a:t>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303877568"/>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Learning - LAB</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5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797979"/>
                          </a:solidFill>
                          <a:effectLst/>
                          <a:latin typeface="Wingdings 3" panose="05040102010807070707" pitchFamily="18" charset="2"/>
                        </a:rPr>
                        <a:t>w</a:t>
                      </a: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lang="en-US" sz="1000" b="0" i="0" u="none" strike="noStrike" kern="1200" dirty="0">
                          <a:solidFill>
                            <a:srgbClr val="575757"/>
                          </a:solidFill>
                          <a:effectLst/>
                          <a:latin typeface="Trebuchet MS" panose="020B0603020202020204" pitchFamily="34" charset="0"/>
                          <a:ea typeface="+mn-ea"/>
                          <a:cs typeface="+mn-cs"/>
                        </a:rPr>
                        <a:t>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73676203"/>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IT Comms - Overall</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000" b="0" i="0" u="none" strike="noStrike" kern="1200">
                          <a:solidFill>
                            <a:srgbClr val="575757"/>
                          </a:solidFill>
                          <a:effectLst/>
                          <a:latin typeface="Trebuchet MS" panose="020B0603020202020204" pitchFamily="34" charset="0"/>
                          <a:ea typeface="+mn-ea"/>
                          <a:cs typeface="+mn-cs"/>
                        </a:rPr>
                        <a:t>7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8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8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556873199"/>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Browsers</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8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95363309"/>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IT Connect - Overall</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000" b="0" i="0" u="none" strike="noStrike" kern="1200" dirty="0">
                          <a:solidFill>
                            <a:srgbClr val="FFFFFF"/>
                          </a:solidFill>
                          <a:effectLst/>
                          <a:latin typeface="Trebuchet MS" panose="020B0603020202020204" pitchFamily="34" charset="0"/>
                          <a:ea typeface="+mn-ea"/>
                          <a:cs typeface="+mn-cs"/>
                        </a:rPr>
                        <a:t>8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r>
                        <a:rPr lang="en-US" sz="1000" b="0" i="0" u="none" strike="noStrike" kern="1200" dirty="0">
                          <a:solidFill>
                            <a:srgbClr val="FFFFFF"/>
                          </a:solidFill>
                          <a:effectLst/>
                          <a:latin typeface="Trebuchet MS" panose="020B0603020202020204" pitchFamily="34" charset="0"/>
                          <a:ea typeface="+mn-ea"/>
                          <a:cs typeface="+mn-cs"/>
                        </a:rPr>
                        <a:t>8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8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797979"/>
                          </a:solidFill>
                          <a:effectLst/>
                          <a:latin typeface="Wingdings 3" panose="05040102010807070707" pitchFamily="18" charset="2"/>
                        </a:rPr>
                        <a:t>w</a:t>
                      </a:r>
                      <a:r>
                        <a:rPr kumimoji="0" lang="en-US" sz="10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lang="en-US" sz="1000" b="0" i="0" u="none" strike="noStrike" kern="1200" dirty="0">
                          <a:solidFill>
                            <a:srgbClr val="575757"/>
                          </a:solidFill>
                          <a:effectLst/>
                          <a:latin typeface="Trebuchet MS" panose="020B0603020202020204" pitchFamily="34" charset="0"/>
                          <a:ea typeface="+mn-ea"/>
                          <a:cs typeface="+mn-cs"/>
                        </a:rPr>
                        <a:t>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b"/>
                      <a:r>
                        <a:rPr lang="en-US" sz="1000" b="0" i="0" u="none" strike="noStrike" dirty="0">
                          <a:solidFill>
                            <a:srgbClr val="E71C57"/>
                          </a:solidFill>
                          <a:effectLst/>
                          <a:latin typeface="Wingdings 3" panose="05040102010807070707" pitchFamily="18" charset="2"/>
                        </a:rPr>
                        <a:t>q </a:t>
                      </a:r>
                      <a:r>
                        <a:rPr lang="en-US" sz="1000" b="0" i="0" u="none" strike="noStrike" kern="1200" dirty="0">
                          <a:solidFill>
                            <a:srgbClr val="575757"/>
                          </a:solidFill>
                          <a:effectLst/>
                          <a:latin typeface="Trebuchet MS" panose="020B0603020202020204" pitchFamily="34" charset="0"/>
                          <a:ea typeface="+mn-ea"/>
                          <a:cs typeface="+mn-cs"/>
                        </a:rPr>
                        <a:t>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395462900"/>
                  </a:ext>
                </a:extLst>
              </a:tr>
              <a:tr h="181163">
                <a:tc>
                  <a:txBody>
                    <a:bodyPr/>
                    <a:lstStyle/>
                    <a:p>
                      <a:pPr algn="l" fontAlgn="b"/>
                      <a:r>
                        <a:rPr lang="en-US" sz="1100" b="0" i="0" u="none" strike="noStrike" kern="1200" dirty="0" err="1">
                          <a:solidFill>
                            <a:srgbClr val="575757"/>
                          </a:solidFill>
                          <a:effectLst/>
                          <a:latin typeface="Trebuchet MS" panose="020B0603020202020204" pitchFamily="34" charset="0"/>
                          <a:ea typeface="+mn-ea"/>
                          <a:cs typeface="+mn-cs"/>
                        </a:rPr>
                        <a:t>MyCases</a:t>
                      </a:r>
                      <a:endParaRPr lang="en-US" sz="11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a:solidFill>
                          <a:srgbClr val="575757"/>
                        </a:solidFill>
                        <a:effectLst/>
                        <a:latin typeface="Trebuchet MS" panose="020B0603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7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7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N/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720156181"/>
                  </a:ext>
                </a:extLst>
              </a:tr>
              <a:tr h="181163">
                <a:tc>
                  <a:txBody>
                    <a:bodyPr/>
                    <a:lstStyle/>
                    <a:p>
                      <a:pPr algn="l" fontAlgn="b"/>
                      <a:r>
                        <a:rPr lang="en-US" sz="1100" b="0" i="0" u="none" strike="noStrike" kern="1200" dirty="0">
                          <a:solidFill>
                            <a:srgbClr val="575757"/>
                          </a:solidFill>
                          <a:effectLst/>
                          <a:latin typeface="Trebuchet MS" panose="020B0603020202020204" pitchFamily="34" charset="0"/>
                          <a:ea typeface="+mn-ea"/>
                          <a:cs typeface="+mn-cs"/>
                        </a:rPr>
                        <a:t>KN – Overall</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000" b="0" i="0" u="none" strike="noStrike" kern="1200">
                        <a:solidFill>
                          <a:srgbClr val="575757"/>
                        </a:solidFill>
                        <a:effectLst/>
                        <a:latin typeface="Trebuchet MS" panose="020B0603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a:txBody>
                    <a:bodyPr/>
                    <a:lstStyle/>
                    <a:p>
                      <a:pPr algn="ctr" fontAlgn="ctr"/>
                      <a:r>
                        <a:rPr lang="en-US" sz="10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r>
                        <a:rPr lang="en-US" sz="1000" b="0" i="0" u="none" strike="noStrike" kern="1200" dirty="0">
                          <a:solidFill>
                            <a:srgbClr val="575757"/>
                          </a:solidFill>
                          <a:effectLst/>
                          <a:latin typeface="Trebuchet MS" panose="020B0603020202020204" pitchFamily="34" charset="0"/>
                          <a:ea typeface="+mn-ea"/>
                          <a:cs typeface="+mn-cs"/>
                        </a:rPr>
                        <a:t>63</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b"/>
                      <a:endParaRPr lang="en-US" sz="1000" b="0" i="0" u="none" strike="noStrike" kern="1200" dirty="0">
                        <a:solidFill>
                          <a:srgbClr val="575757"/>
                        </a:solidFill>
                        <a:effectLst/>
                        <a:latin typeface="Trebuchet MS" panose="020B0603020202020204" pitchFamily="34" charset="0"/>
                        <a:ea typeface="+mn-ea"/>
                        <a:cs typeface="+mn-cs"/>
                      </a:endParaRP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extLst>
                  <a:ext uri="{0D108BD9-81ED-4DB2-BD59-A6C34878D82A}">
                    <a16:rowId xmlns:a16="http://schemas.microsoft.com/office/drawing/2014/main" val="702436423"/>
                  </a:ext>
                </a:extLst>
              </a:tr>
            </a:tbl>
          </a:graphicData>
        </a:graphic>
      </p:graphicFrame>
      <p:sp>
        <p:nvSpPr>
          <p:cNvPr id="15" name="Rectangle 14">
            <a:extLst>
              <a:ext uri="{FF2B5EF4-FFF2-40B4-BE49-F238E27FC236}">
                <a16:creationId xmlns:a16="http://schemas.microsoft.com/office/drawing/2014/main" id="{193AF288-6955-4B30-8144-E7C540CBE8D9}"/>
              </a:ext>
            </a:extLst>
          </p:cNvPr>
          <p:cNvSpPr/>
          <p:nvPr/>
        </p:nvSpPr>
        <p:spPr>
          <a:xfrm>
            <a:off x="9212825" y="1"/>
            <a:ext cx="2880852" cy="7752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2400" dirty="0">
                <a:solidFill>
                  <a:srgbClr val="FFFFFF"/>
                </a:solidFill>
                <a:cs typeface="Arial" pitchFamily="34" charset="0"/>
              </a:rPr>
              <a:t>CT vs BST</a:t>
            </a:r>
            <a:endParaRPr lang="en-GB" sz="2400" baseline="30000" dirty="0">
              <a:solidFill>
                <a:srgbClr val="FFFFFF"/>
              </a:solidFill>
              <a:cs typeface="Arial" pitchFamily="34" charset="0"/>
            </a:endParaRPr>
          </a:p>
        </p:txBody>
      </p:sp>
      <p:sp>
        <p:nvSpPr>
          <p:cNvPr id="16" name="Rectangle 15">
            <a:extLst>
              <a:ext uri="{FF2B5EF4-FFF2-40B4-BE49-F238E27FC236}">
                <a16:creationId xmlns:a16="http://schemas.microsoft.com/office/drawing/2014/main" id="{C27AA28E-D94B-4A83-94D0-F14827FA0154}"/>
              </a:ext>
            </a:extLst>
          </p:cNvPr>
          <p:cNvSpPr/>
          <p:nvPr/>
        </p:nvSpPr>
        <p:spPr>
          <a:xfrm>
            <a:off x="9124950" y="690665"/>
            <a:ext cx="2921275" cy="51505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T E-SAT continues to be lower than BST for most products, notably Laptops (-23%) &amp; PPT (-17%)</a:t>
            </a:r>
          </a:p>
          <a:p>
            <a:endParaRPr lang="en-GB" dirty="0">
              <a:solidFill>
                <a:srgbClr val="FFFFFF"/>
              </a:solidFill>
              <a:cs typeface="Arial" pitchFamily="34" charset="0"/>
            </a:endParaRPr>
          </a:p>
          <a:p>
            <a:r>
              <a:rPr lang="en-GB" dirty="0">
                <a:solidFill>
                  <a:srgbClr val="FFFFFF"/>
                </a:solidFill>
                <a:cs typeface="Arial" pitchFamily="34" charset="0"/>
              </a:rPr>
              <a:t>CT are equally satisfied as BST for Local IT, IT Connect &amp; OneNote</a:t>
            </a:r>
          </a:p>
          <a:p>
            <a:endParaRPr lang="en-GB" dirty="0">
              <a:solidFill>
                <a:srgbClr val="FFFFFF"/>
              </a:solidFill>
              <a:cs typeface="Arial" pitchFamily="34" charset="0"/>
            </a:endParaRPr>
          </a:p>
          <a:p>
            <a:r>
              <a:rPr lang="en-GB" dirty="0">
                <a:solidFill>
                  <a:srgbClr val="FFFFFF"/>
                </a:solidFill>
                <a:cs typeface="Arial" pitchFamily="34" charset="0"/>
              </a:rPr>
              <a:t>Positively, comparing annual averages, improvements for CT have been seen for many products &amp; services</a:t>
            </a:r>
          </a:p>
        </p:txBody>
      </p:sp>
      <p:grpSp>
        <p:nvGrpSpPr>
          <p:cNvPr id="30" name="Group 29">
            <a:extLst>
              <a:ext uri="{FF2B5EF4-FFF2-40B4-BE49-F238E27FC236}">
                <a16:creationId xmlns:a16="http://schemas.microsoft.com/office/drawing/2014/main" id="{B3077B2F-4D6F-47FF-BD3D-F1C7EB92E0B1}"/>
              </a:ext>
            </a:extLst>
          </p:cNvPr>
          <p:cNvGrpSpPr>
            <a:grpSpLocks noChangeAspect="1"/>
          </p:cNvGrpSpPr>
          <p:nvPr/>
        </p:nvGrpSpPr>
        <p:grpSpPr>
          <a:xfrm>
            <a:off x="8284539" y="43018"/>
            <a:ext cx="211360" cy="211360"/>
            <a:chOff x="5961063" y="3294063"/>
            <a:chExt cx="269875" cy="269875"/>
          </a:xfrm>
        </p:grpSpPr>
        <p:sp>
          <p:nvSpPr>
            <p:cNvPr id="32" name="Oval 14">
              <a:extLst>
                <a:ext uri="{FF2B5EF4-FFF2-40B4-BE49-F238E27FC236}">
                  <a16:creationId xmlns:a16="http://schemas.microsoft.com/office/drawing/2014/main" id="{49081F81-F10F-4073-B1AB-B9300768E7E6}"/>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Freeform 15">
              <a:extLst>
                <a:ext uri="{FF2B5EF4-FFF2-40B4-BE49-F238E27FC236}">
                  <a16:creationId xmlns:a16="http://schemas.microsoft.com/office/drawing/2014/main" id="{BCB83A88-8842-4309-90DC-F3A251CCB82A}"/>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9" name="Group 28">
            <a:extLst>
              <a:ext uri="{FF2B5EF4-FFF2-40B4-BE49-F238E27FC236}">
                <a16:creationId xmlns:a16="http://schemas.microsoft.com/office/drawing/2014/main" id="{35E5F099-35C2-4B69-8EAB-077227262FFE}"/>
              </a:ext>
            </a:extLst>
          </p:cNvPr>
          <p:cNvGrpSpPr/>
          <p:nvPr/>
        </p:nvGrpSpPr>
        <p:grpSpPr>
          <a:xfrm>
            <a:off x="9172402" y="5841243"/>
            <a:ext cx="2921275" cy="905245"/>
            <a:chOff x="208927" y="6068154"/>
            <a:chExt cx="3066599" cy="1046614"/>
          </a:xfrm>
        </p:grpSpPr>
        <p:sp>
          <p:nvSpPr>
            <p:cNvPr id="31" name="Rectangle 30">
              <a:extLst>
                <a:ext uri="{FF2B5EF4-FFF2-40B4-BE49-F238E27FC236}">
                  <a16:creationId xmlns:a16="http://schemas.microsoft.com/office/drawing/2014/main" id="{4DC9AA54-B74E-4A3E-868D-74B8B3CDD91C}"/>
                </a:ext>
              </a:extLst>
            </p:cNvPr>
            <p:cNvSpPr/>
            <p:nvPr/>
          </p:nvSpPr>
          <p:spPr>
            <a:xfrm>
              <a:off x="227176" y="607565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FFFFFF"/>
                  </a:solidFill>
                </a:rPr>
                <a:t>Unacceptable</a:t>
              </a:r>
            </a:p>
          </p:txBody>
        </p:sp>
        <p:sp>
          <p:nvSpPr>
            <p:cNvPr id="35" name="Rectangle 34">
              <a:extLst>
                <a:ext uri="{FF2B5EF4-FFF2-40B4-BE49-F238E27FC236}">
                  <a16:creationId xmlns:a16="http://schemas.microsoft.com/office/drawing/2014/main" id="{92296F0D-B1DB-4E49-8F28-A151226361A2}"/>
                </a:ext>
              </a:extLst>
            </p:cNvPr>
            <p:cNvSpPr/>
            <p:nvPr/>
          </p:nvSpPr>
          <p:spPr>
            <a:xfrm>
              <a:off x="2288253" y="6677915"/>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7" name="Rectangle 36">
              <a:extLst>
                <a:ext uri="{FF2B5EF4-FFF2-40B4-BE49-F238E27FC236}">
                  <a16:creationId xmlns:a16="http://schemas.microsoft.com/office/drawing/2014/main" id="{BD43F8F8-9771-40CB-92D1-D9816504A2E1}"/>
                </a:ext>
              </a:extLst>
            </p:cNvPr>
            <p:cNvSpPr/>
            <p:nvPr/>
          </p:nvSpPr>
          <p:spPr>
            <a:xfrm>
              <a:off x="1248590" y="6677916"/>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8" name="Rectangle 37">
              <a:extLst>
                <a:ext uri="{FF2B5EF4-FFF2-40B4-BE49-F238E27FC236}">
                  <a16:creationId xmlns:a16="http://schemas.microsoft.com/office/drawing/2014/main" id="{326F32B7-E31E-4D0E-B404-7F388D7D3DEC}"/>
                </a:ext>
              </a:extLst>
            </p:cNvPr>
            <p:cNvSpPr/>
            <p:nvPr/>
          </p:nvSpPr>
          <p:spPr>
            <a:xfrm>
              <a:off x="2296182" y="606815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9" name="Rectangle 38">
              <a:extLst>
                <a:ext uri="{FF2B5EF4-FFF2-40B4-BE49-F238E27FC236}">
                  <a16:creationId xmlns:a16="http://schemas.microsoft.com/office/drawing/2014/main" id="{E00E3F85-DA9D-4238-9725-BD88C836836E}"/>
                </a:ext>
              </a:extLst>
            </p:cNvPr>
            <p:cNvSpPr/>
            <p:nvPr/>
          </p:nvSpPr>
          <p:spPr>
            <a:xfrm>
              <a:off x="1267861" y="606815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0" name="Rectangle 39">
              <a:extLst>
                <a:ext uri="{FF2B5EF4-FFF2-40B4-BE49-F238E27FC236}">
                  <a16:creationId xmlns:a16="http://schemas.microsoft.com/office/drawing/2014/main" id="{E21B2658-0187-4D4D-868C-2579417E96DA}"/>
                </a:ext>
              </a:extLst>
            </p:cNvPr>
            <p:cNvSpPr/>
            <p:nvPr/>
          </p:nvSpPr>
          <p:spPr>
            <a:xfrm>
              <a:off x="208927" y="6671391"/>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sp>
          <p:nvSpPr>
            <p:cNvPr id="41" name="Rectangle 40">
              <a:extLst>
                <a:ext uri="{FF2B5EF4-FFF2-40B4-BE49-F238E27FC236}">
                  <a16:creationId xmlns:a16="http://schemas.microsoft.com/office/drawing/2014/main" id="{7B10F99A-3C2B-40A0-A539-F7AACA2EC0A7}"/>
                </a:ext>
              </a:extLst>
            </p:cNvPr>
            <p:cNvSpPr/>
            <p:nvPr/>
          </p:nvSpPr>
          <p:spPr>
            <a:xfrm>
              <a:off x="227176" y="629904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0 - 49</a:t>
              </a:r>
            </a:p>
          </p:txBody>
        </p:sp>
        <p:sp>
          <p:nvSpPr>
            <p:cNvPr id="42" name="Rectangle 41">
              <a:extLst>
                <a:ext uri="{FF2B5EF4-FFF2-40B4-BE49-F238E27FC236}">
                  <a16:creationId xmlns:a16="http://schemas.microsoft.com/office/drawing/2014/main" id="{96FD693C-9729-4690-AAC0-514FD9FDE100}"/>
                </a:ext>
              </a:extLst>
            </p:cNvPr>
            <p:cNvSpPr/>
            <p:nvPr/>
          </p:nvSpPr>
          <p:spPr>
            <a:xfrm>
              <a:off x="2288253" y="690130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90 - 100</a:t>
              </a:r>
            </a:p>
          </p:txBody>
        </p:sp>
        <p:sp>
          <p:nvSpPr>
            <p:cNvPr id="43" name="Rectangle 42">
              <a:extLst>
                <a:ext uri="{FF2B5EF4-FFF2-40B4-BE49-F238E27FC236}">
                  <a16:creationId xmlns:a16="http://schemas.microsoft.com/office/drawing/2014/main" id="{7A3F4423-8A9F-4509-B065-1004A29CF3AC}"/>
                </a:ext>
              </a:extLst>
            </p:cNvPr>
            <p:cNvSpPr/>
            <p:nvPr/>
          </p:nvSpPr>
          <p:spPr>
            <a:xfrm>
              <a:off x="1248590" y="6901309"/>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80 - 89</a:t>
              </a:r>
            </a:p>
          </p:txBody>
        </p:sp>
        <p:sp>
          <p:nvSpPr>
            <p:cNvPr id="44" name="Rectangle 43">
              <a:extLst>
                <a:ext uri="{FF2B5EF4-FFF2-40B4-BE49-F238E27FC236}">
                  <a16:creationId xmlns:a16="http://schemas.microsoft.com/office/drawing/2014/main" id="{28755CAA-213E-4548-90BB-0E42D5903CEA}"/>
                </a:ext>
              </a:extLst>
            </p:cNvPr>
            <p:cNvSpPr/>
            <p:nvPr/>
          </p:nvSpPr>
          <p:spPr>
            <a:xfrm>
              <a:off x="2296182" y="629154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60 - 69</a:t>
              </a:r>
            </a:p>
          </p:txBody>
        </p:sp>
        <p:sp>
          <p:nvSpPr>
            <p:cNvPr id="45" name="Rectangle 44">
              <a:extLst>
                <a:ext uri="{FF2B5EF4-FFF2-40B4-BE49-F238E27FC236}">
                  <a16:creationId xmlns:a16="http://schemas.microsoft.com/office/drawing/2014/main" id="{42B9A113-F953-4166-B294-9379AB54FB62}"/>
                </a:ext>
              </a:extLst>
            </p:cNvPr>
            <p:cNvSpPr/>
            <p:nvPr/>
          </p:nvSpPr>
          <p:spPr>
            <a:xfrm>
              <a:off x="1267861" y="629154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50 - 59</a:t>
              </a:r>
            </a:p>
          </p:txBody>
        </p:sp>
        <p:sp>
          <p:nvSpPr>
            <p:cNvPr id="46" name="Rectangle 45">
              <a:extLst>
                <a:ext uri="{FF2B5EF4-FFF2-40B4-BE49-F238E27FC236}">
                  <a16:creationId xmlns:a16="http://schemas.microsoft.com/office/drawing/2014/main" id="{A069C1BB-3E10-4F0B-8DFB-3AF3C6A71230}"/>
                </a:ext>
              </a:extLst>
            </p:cNvPr>
            <p:cNvSpPr/>
            <p:nvPr/>
          </p:nvSpPr>
          <p:spPr>
            <a:xfrm>
              <a:off x="208927" y="689478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70 - 79</a:t>
              </a:r>
            </a:p>
          </p:txBody>
        </p:sp>
      </p:grpSp>
    </p:spTree>
    <p:custDataLst>
      <p:tags r:id="rId2"/>
    </p:custDataLst>
    <p:extLst>
      <p:ext uri="{BB962C8B-B14F-4D97-AF65-F5344CB8AC3E}">
        <p14:creationId xmlns:p14="http://schemas.microsoft.com/office/powerpoint/2010/main" val="25603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28"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8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154" name="Table 153"/>
          <p:cNvGraphicFramePr>
            <a:graphicFrameLocks noGrp="1"/>
          </p:cNvGraphicFramePr>
          <p:nvPr>
            <p:extLst>
              <p:ext uri="{D42A27DB-BD31-4B8C-83A1-F6EECF244321}">
                <p14:modId xmlns:p14="http://schemas.microsoft.com/office/powerpoint/2010/main" val="2630241993"/>
              </p:ext>
            </p:extLst>
          </p:nvPr>
        </p:nvGraphicFramePr>
        <p:xfrm>
          <a:off x="463822" y="91226"/>
          <a:ext cx="8229603" cy="6150543"/>
        </p:xfrm>
        <a:graphic>
          <a:graphicData uri="http://schemas.openxmlformats.org/drawingml/2006/table">
            <a:tbl>
              <a:tblPr/>
              <a:tblGrid>
                <a:gridCol w="1798063">
                  <a:extLst>
                    <a:ext uri="{9D8B030D-6E8A-4147-A177-3AD203B41FA5}">
                      <a16:colId xmlns:a16="http://schemas.microsoft.com/office/drawing/2014/main" val="20000"/>
                    </a:ext>
                  </a:extLst>
                </a:gridCol>
                <a:gridCol w="1286308">
                  <a:extLst>
                    <a:ext uri="{9D8B030D-6E8A-4147-A177-3AD203B41FA5}">
                      <a16:colId xmlns:a16="http://schemas.microsoft.com/office/drawing/2014/main" val="3344681644"/>
                    </a:ext>
                  </a:extLst>
                </a:gridCol>
                <a:gridCol w="1286308">
                  <a:extLst>
                    <a:ext uri="{9D8B030D-6E8A-4147-A177-3AD203B41FA5}">
                      <a16:colId xmlns:a16="http://schemas.microsoft.com/office/drawing/2014/main" val="1401836058"/>
                    </a:ext>
                  </a:extLst>
                </a:gridCol>
                <a:gridCol w="1286308">
                  <a:extLst>
                    <a:ext uri="{9D8B030D-6E8A-4147-A177-3AD203B41FA5}">
                      <a16:colId xmlns:a16="http://schemas.microsoft.com/office/drawing/2014/main" val="3646446367"/>
                    </a:ext>
                  </a:extLst>
                </a:gridCol>
                <a:gridCol w="1286308">
                  <a:extLst>
                    <a:ext uri="{9D8B030D-6E8A-4147-A177-3AD203B41FA5}">
                      <a16:colId xmlns:a16="http://schemas.microsoft.com/office/drawing/2014/main" val="2317467616"/>
                    </a:ext>
                  </a:extLst>
                </a:gridCol>
                <a:gridCol w="1286308">
                  <a:extLst>
                    <a:ext uri="{9D8B030D-6E8A-4147-A177-3AD203B41FA5}">
                      <a16:colId xmlns:a16="http://schemas.microsoft.com/office/drawing/2014/main" val="1449235081"/>
                    </a:ext>
                  </a:extLst>
                </a:gridCol>
              </a:tblGrid>
              <a:tr h="480650">
                <a:tc>
                  <a:txBody>
                    <a:bodyPr/>
                    <a:lstStyle/>
                    <a:p>
                      <a:pPr algn="l" rtl="0" fontAlgn="ctr"/>
                      <a:endParaRPr lang="en-GB" sz="1200" b="1" i="0" u="none" strike="noStrike" dirty="0">
                        <a:solidFill>
                          <a:srgbClr val="29BA74"/>
                        </a:solidFill>
                        <a:effectLst/>
                        <a:latin typeface="+mj-lt"/>
                      </a:endParaRPr>
                    </a:p>
                  </a:txBody>
                  <a:tcPr marL="6334" marR="6334" marT="6334" marB="0" anchor="ctr">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j-lt"/>
                          <a:ea typeface="+mn-ea"/>
                          <a:cs typeface="+mn-cs"/>
                        </a:rPr>
                        <a:t>2019 Average</a:t>
                      </a:r>
                    </a:p>
                    <a:p>
                      <a:pPr algn="ctr" rtl="0" fontAlgn="ctr"/>
                      <a:r>
                        <a:rPr lang="en-GB" sz="1200" b="1" i="0" u="none" strike="noStrike" kern="1200" dirty="0">
                          <a:solidFill>
                            <a:srgbClr val="575757"/>
                          </a:solidFill>
                          <a:effectLst/>
                          <a:latin typeface="+mj-lt"/>
                          <a:ea typeface="+mn-ea"/>
                          <a:cs typeface="+mn-cs"/>
                        </a:rPr>
                        <a:t>% E-SAT</a:t>
                      </a:r>
                    </a:p>
                  </a:txBody>
                  <a:tcPr marL="6334" marR="6334" marT="6334" marB="0" anchor="ctr">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dirty="0">
                          <a:solidFill>
                            <a:srgbClr val="575757"/>
                          </a:solidFill>
                          <a:effectLst/>
                          <a:latin typeface="+mj-lt"/>
                        </a:rPr>
                        <a:t>2020 Average</a:t>
                      </a:r>
                    </a:p>
                    <a:p>
                      <a:pPr algn="ctr" rtl="0" fontAlgn="ctr"/>
                      <a:r>
                        <a:rPr lang="en-GB" sz="1200" b="1" i="0" u="none" strike="noStrike" dirty="0">
                          <a:solidFill>
                            <a:srgbClr val="575757"/>
                          </a:solidFill>
                          <a:effectLst/>
                          <a:latin typeface="+mj-lt"/>
                        </a:rPr>
                        <a:t>% E-SAT</a:t>
                      </a:r>
                      <a:endParaRPr lang="en-GB" sz="1200" b="1" i="0" u="none" strike="noStrike" dirty="0">
                        <a:solidFill>
                          <a:srgbClr val="29BA74"/>
                        </a:solidFill>
                        <a:effectLst/>
                        <a:latin typeface="+mj-lt"/>
                      </a:endParaRPr>
                    </a:p>
                  </a:txBody>
                  <a:tcPr marL="6334" marR="6334" marT="6334"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2021 Average</a:t>
                      </a:r>
                      <a:endParaRPr lang="en-GB" sz="1200" b="1" i="0" u="none" strike="noStrike" kern="1200" baseline="30000" dirty="0">
                        <a:solidFill>
                          <a:srgbClr val="575757"/>
                        </a:solidFill>
                        <a:effectLst/>
                        <a:latin typeface="+mn-lt"/>
                        <a:ea typeface="+mn-ea"/>
                        <a:cs typeface="+mn-cs"/>
                      </a:endParaRPr>
                    </a:p>
                    <a:p>
                      <a:pPr algn="ctr" rtl="0" fontAlgn="ctr"/>
                      <a:r>
                        <a:rPr lang="en-GB" sz="1200" b="1" i="0" u="none" strike="noStrike" kern="1200" dirty="0">
                          <a:solidFill>
                            <a:srgbClr val="575757"/>
                          </a:solidFill>
                          <a:effectLst/>
                          <a:latin typeface="+mn-lt"/>
                          <a:ea typeface="+mn-ea"/>
                          <a:cs typeface="+mn-cs"/>
                        </a:rPr>
                        <a:t>% E-SA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1200" b="1" i="0" u="none" strike="noStrike" kern="1200" dirty="0">
                          <a:solidFill>
                            <a:srgbClr val="575757"/>
                          </a:solidFill>
                          <a:effectLst/>
                          <a:latin typeface="+mn-lt"/>
                          <a:ea typeface="+mn-ea"/>
                          <a:cs typeface="+mn-cs"/>
                        </a:rPr>
                        <a:t>%  BIC Target</a:t>
                      </a: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200" b="1" dirty="0"/>
                        <a:t>% Gap </a:t>
                      </a:r>
                    </a:p>
                    <a:p>
                      <a:pPr algn="ctr"/>
                      <a:r>
                        <a:rPr lang="en-US" sz="1200" b="1" dirty="0"/>
                        <a:t>Against B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4764454"/>
                  </a:ext>
                </a:extLst>
              </a:tr>
              <a:tr h="176238">
                <a:tc gridSpan="6">
                  <a:txBody>
                    <a:bodyPr/>
                    <a:lstStyle/>
                    <a:p>
                      <a:pPr algn="l" fontAlgn="t"/>
                      <a:r>
                        <a:rPr lang="en-US" sz="1100" b="1" i="0" u="none" strike="noStrike" kern="1200" dirty="0">
                          <a:solidFill>
                            <a:srgbClr val="E71C57"/>
                          </a:solidFill>
                          <a:effectLst/>
                          <a:latin typeface="Trebuchet MS" panose="020B0603020202020204" pitchFamily="34" charset="0"/>
                          <a:ea typeface="+mn-ea"/>
                          <a:cs typeface="+mn-cs"/>
                        </a:rPr>
                        <a:t>Critical Products - </a:t>
                      </a:r>
                    </a:p>
                  </a:txBody>
                  <a:tcPr marL="0" marR="0" marT="0" marB="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pPr algn="ctr" fontAlgn="ctr"/>
                      <a:endParaRPr lang="en-US" sz="1100" kern="1200" dirty="0">
                        <a:solidFill>
                          <a:srgbClr val="FFFFFF"/>
                        </a:solidFill>
                        <a:latin typeface="+mn-lt"/>
                        <a:ea typeface="+mn-ea"/>
                        <a:cs typeface="+mn-cs"/>
                      </a:endParaRP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0C1D7"/>
                    </a:solidFill>
                  </a:tcPr>
                </a:tc>
                <a:tc hMerge="1">
                  <a:txBody>
                    <a:bodyPr/>
                    <a:lstStyle/>
                    <a:p>
                      <a:pPr algn="ctr" fontAlgn="ctr"/>
                      <a:endParaRPr lang="en-US" sz="1100" kern="1200" dirty="0">
                        <a:solidFill>
                          <a:srgbClr val="FFFFFF"/>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0C1D7"/>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kern="1200" dirty="0">
                        <a:solidFill>
                          <a:srgbClr val="FFFFFF"/>
                        </a:solidFill>
                        <a:latin typeface="+mn-lt"/>
                        <a:ea typeface="+mn-ea"/>
                        <a:cs typeface="+mn-cs"/>
                      </a:endParaRP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hMerge="1">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43061415"/>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Local IT</a:t>
                      </a:r>
                    </a:p>
                  </a:txBody>
                  <a:tcPr marL="0" marR="0" marT="0" marB="0">
                    <a:lnL>
                      <a:noFill/>
                    </a:lnL>
                    <a:lnR>
                      <a:noFill/>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90</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ctr"/>
                      <a:r>
                        <a:rPr lang="en-US" sz="1100" kern="1200" dirty="0">
                          <a:solidFill>
                            <a:srgbClr val="FFFFFF"/>
                          </a:solidFill>
                          <a:latin typeface="+mn-lt"/>
                          <a:ea typeface="+mn-ea"/>
                          <a:cs typeface="+mn-cs"/>
                        </a:rPr>
                        <a:t>91</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ctr"/>
                      <a:r>
                        <a:rPr lang="en-US" sz="1100" kern="1200" dirty="0">
                          <a:solidFill>
                            <a:srgbClr val="FFFFFF"/>
                          </a:solidFill>
                          <a:latin typeface="+mn-lt"/>
                          <a:ea typeface="+mn-ea"/>
                          <a:cs typeface="+mn-cs"/>
                        </a:rPr>
                        <a:t>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rowSpan="20">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80</a:t>
                      </a: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575757"/>
                          </a:solidFill>
                          <a:effectLst/>
                          <a:uLnTx/>
                          <a:uFillTx/>
                          <a:latin typeface="+mn-lt"/>
                          <a:ea typeface="+mn-ea"/>
                          <a:cs typeface="+mn-cs"/>
                        </a:rPr>
                        <a:t>13</a:t>
                      </a:r>
                      <a:endPar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324880421"/>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Zoom</a:t>
                      </a:r>
                      <a:r>
                        <a:rPr lang="en-US" sz="1100" b="0" i="0" u="none" strike="noStrike" kern="1200" baseline="30000" dirty="0">
                          <a:solidFill>
                            <a:srgbClr val="575757"/>
                          </a:solidFill>
                          <a:effectLst/>
                          <a:latin typeface="Trebuchet MS" panose="020B0603020202020204" pitchFamily="34" charset="0"/>
                          <a:ea typeface="+mn-ea"/>
                          <a:cs typeface="+mn-cs"/>
                        </a:rPr>
                        <a:t>1</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100" kern="1200" dirty="0">
                        <a:solidFill>
                          <a:srgbClr val="FFFFFF"/>
                        </a:solidFill>
                        <a:latin typeface="+mn-lt"/>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100" kern="1200" dirty="0">
                          <a:solidFill>
                            <a:srgbClr val="FFFFFF"/>
                          </a:solidFill>
                          <a:latin typeface="+mn-lt"/>
                          <a:ea typeface="+mn-ea"/>
                          <a:cs typeface="+mn-cs"/>
                        </a:rPr>
                        <a:t>92</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a:txBody>
                    <a:bodyPr/>
                    <a:lstStyle/>
                    <a:p>
                      <a:pPr algn="ctr" fontAlgn="ctr"/>
                      <a:r>
                        <a:rPr lang="en-US" sz="1100" kern="1200" dirty="0">
                          <a:solidFill>
                            <a:srgbClr val="FFFFFF"/>
                          </a:solidFill>
                          <a:latin typeface="+mn-lt"/>
                          <a:ea typeface="+mn-ea"/>
                          <a:cs typeface="+mn-cs"/>
                        </a:rPr>
                        <a:t>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30C1D7"/>
                    </a:solidFill>
                  </a:tcPr>
                </a:tc>
                <a:tc v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3</a:t>
                      </a:r>
                      <a:endPar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4893709"/>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Slack </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78</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7</a:t>
                      </a:r>
                      <a:endPar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64205275"/>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VPN</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85</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3</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9</a:t>
                      </a:r>
                      <a:r>
                        <a:rPr lang="en-US" sz="1100" kern="1200" dirty="0">
                          <a:solidFill>
                            <a:srgbClr val="575757"/>
                          </a:solidFill>
                          <a:latin typeface="+mn-lt"/>
                          <a:ea typeface="+mn-ea"/>
                          <a:cs typeface="+mn-cs"/>
                        </a:rPr>
                        <a:t>7</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726297669"/>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Support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84</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6</a:t>
                      </a:r>
                      <a:endParaRPr kumimoji="0" lang="en-US" sz="11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516350518"/>
                  </a:ext>
                </a:extLst>
              </a:tr>
              <a:tr h="18289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kern="1200" dirty="0">
                          <a:solidFill>
                            <a:srgbClr val="575757"/>
                          </a:solidFill>
                          <a:effectLst/>
                          <a:latin typeface="Trebuchet MS" panose="020B0603020202020204" pitchFamily="34" charset="0"/>
                          <a:ea typeface="+mn-ea"/>
                          <a:cs typeface="+mn-cs"/>
                        </a:rPr>
                        <a:t>OneNote</a:t>
                      </a:r>
                      <a:r>
                        <a:rPr lang="en-US" sz="1100" b="0" i="0" u="none" strike="noStrike" kern="1200" baseline="30000" dirty="0">
                          <a:solidFill>
                            <a:srgbClr val="575757"/>
                          </a:solidFill>
                          <a:effectLst/>
                          <a:latin typeface="Trebuchet MS" panose="020B0603020202020204" pitchFamily="34" charset="0"/>
                          <a:ea typeface="+mn-ea"/>
                          <a:cs typeface="+mn-cs"/>
                        </a:rPr>
                        <a:t>2</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FFFFFF"/>
                          </a:solidFill>
                          <a:latin typeface="+mn-lt"/>
                          <a:ea typeface="+mn-ea"/>
                          <a:cs typeface="+mn-cs"/>
                        </a:rPr>
                        <a:t>83</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3</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9</a:t>
                      </a:r>
                      <a:r>
                        <a:rPr lang="en-US" sz="1100" kern="1200" dirty="0">
                          <a:solidFill>
                            <a:srgbClr val="575757"/>
                          </a:solidFill>
                          <a:latin typeface="+mn-lt"/>
                          <a:ea typeface="+mn-ea"/>
                          <a:cs typeface="+mn-cs"/>
                        </a:rPr>
                        <a:t>6</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14422955"/>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utlook for Mobile</a:t>
                      </a:r>
                      <a:r>
                        <a:rPr lang="en-US" sz="1100" b="0" i="0" u="none" strike="noStrike" kern="1200" baseline="30000" dirty="0">
                          <a:solidFill>
                            <a:srgbClr val="575757"/>
                          </a:solidFill>
                          <a:effectLst/>
                          <a:latin typeface="Trebuchet MS" panose="020B0603020202020204" pitchFamily="34" charset="0"/>
                          <a:ea typeface="+mn-ea"/>
                          <a:cs typeface="+mn-cs"/>
                        </a:rPr>
                        <a:t>1</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100" b="0" i="0" u="none" strike="noStrike" kern="1200" dirty="0">
                          <a:solidFill>
                            <a:srgbClr val="FFFFFF"/>
                          </a:solidFill>
                          <a:effectLst/>
                          <a:latin typeface="Trebuchet MS" panose="020B0603020202020204" pitchFamily="34" charset="0"/>
                          <a:ea typeface="+mn-ea"/>
                          <a:cs typeface="+mn-cs"/>
                        </a:rPr>
                        <a:t>8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a:txBody>
                    <a:bodyPr/>
                    <a:lstStyle/>
                    <a:p>
                      <a:pPr algn="ctr" fontAlgn="ctr"/>
                      <a:r>
                        <a:rPr lang="en-US" sz="1100" kern="1200" dirty="0">
                          <a:solidFill>
                            <a:srgbClr val="FFFFFF"/>
                          </a:solidFill>
                          <a:latin typeface="+mn-lt"/>
                          <a:ea typeface="+mn-ea"/>
                          <a:cs typeface="+mn-cs"/>
                        </a:rPr>
                        <a:t>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9</a:t>
                      </a:r>
                      <a:r>
                        <a:rPr lang="en-US" sz="1100" kern="1200" dirty="0">
                          <a:solidFill>
                            <a:srgbClr val="575757"/>
                          </a:solidFill>
                          <a:latin typeface="+mn-lt"/>
                          <a:ea typeface="+mn-ea"/>
                          <a:cs typeface="+mn-cs"/>
                        </a:rPr>
                        <a:t>2</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640408739"/>
                  </a:ext>
                </a:extLst>
              </a:tr>
              <a:tr h="35247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nformation Security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100" kern="1200" dirty="0">
                        <a:solidFill>
                          <a:srgbClr val="575757"/>
                        </a:solidFill>
                        <a:latin typeface="+mn-lt"/>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100" kern="1200" dirty="0">
                          <a:solidFill>
                            <a:srgbClr val="575757"/>
                          </a:solidFill>
                          <a:latin typeface="+mn-lt"/>
                          <a:ea typeface="+mn-ea"/>
                          <a:cs typeface="+mn-cs"/>
                        </a:rPr>
                        <a:t>79</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FFFFFF"/>
                          </a:solidFill>
                          <a:latin typeface="+mn-lt"/>
                          <a:ea typeface="+mn-ea"/>
                          <a:cs typeface="+mn-cs"/>
                        </a:rPr>
                        <a:t>8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1</a:t>
                      </a:r>
                      <a:r>
                        <a:rPr lang="en-US" sz="1100" kern="1200" dirty="0">
                          <a:solidFill>
                            <a:srgbClr val="575757"/>
                          </a:solidFill>
                          <a:latin typeface="+mn-lt"/>
                          <a:ea typeface="+mn-ea"/>
                          <a:cs typeface="+mn-cs"/>
                        </a:rPr>
                        <a:t>1</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927057076"/>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Word</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69</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7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FFFFFF"/>
                          </a:solidFill>
                          <a:latin typeface="+mn-lt"/>
                          <a:ea typeface="+mn-ea"/>
                          <a:cs typeface="+mn-cs"/>
                        </a:rPr>
                        <a:t>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lumMod val="50000"/>
                            </a:srgbClr>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0</a:t>
                      </a:r>
                      <a:r>
                        <a:rPr kumimoji="0" lang="en-US" sz="1100" b="0" i="0" u="none" strike="noStrike" kern="1200" cap="none" spc="0" normalizeH="0" baseline="0" noProof="0" dirty="0">
                          <a:ln>
                            <a:noFill/>
                          </a:ln>
                          <a:solidFill>
                            <a:srgbClr val="575757"/>
                          </a:solidFill>
                          <a:effectLst/>
                          <a:uLnTx/>
                          <a:uFillTx/>
                          <a:latin typeface="+mn-lt"/>
                          <a:ea typeface="+mn-ea"/>
                          <a:cs typeface="+mn-cs"/>
                        </a:rPr>
                        <a:t>0</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566660191"/>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utlook</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54</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kern="1200" dirty="0">
                          <a:solidFill>
                            <a:srgbClr val="575757"/>
                          </a:solidFill>
                          <a:latin typeface="+mn-lt"/>
                          <a:ea typeface="+mn-ea"/>
                          <a:cs typeface="+mn-cs"/>
                        </a:rPr>
                        <a:t>68</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7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80631669"/>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kta</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100" kern="1200" dirty="0">
                        <a:solidFill>
                          <a:srgbClr val="575757"/>
                        </a:solidFill>
                        <a:latin typeface="+mn-lt"/>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100" kern="1200" dirty="0">
                          <a:solidFill>
                            <a:srgbClr val="575757"/>
                          </a:solidFill>
                          <a:latin typeface="+mn-lt"/>
                          <a:ea typeface="+mn-ea"/>
                          <a:cs typeface="+mn-cs"/>
                        </a:rPr>
                        <a:t>75</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101957065"/>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Exce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56</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kern="1200" dirty="0">
                          <a:solidFill>
                            <a:srgbClr val="575757"/>
                          </a:solidFill>
                          <a:latin typeface="+mn-lt"/>
                          <a:ea typeface="+mn-ea"/>
                          <a:cs typeface="+mn-cs"/>
                        </a:rPr>
                        <a:t>74</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4</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421203156"/>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OneDrive</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endParaRPr lang="en-US" sz="1100" b="0" i="0" u="none" strike="noStrike" kern="1200" dirty="0">
                        <a:solidFill>
                          <a:srgbClr val="575757"/>
                        </a:solidFill>
                        <a:effectLst/>
                        <a:latin typeface="Trebuchet MS" panose="020B0603020202020204" pitchFamily="34" charset="0"/>
                        <a:ea typeface="+mn-ea"/>
                        <a:cs typeface="+mn-cs"/>
                      </a:endParaRP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100" b="0" i="0" u="none" strike="noStrike" kern="1200" dirty="0">
                          <a:solidFill>
                            <a:srgbClr val="575757"/>
                          </a:solidFill>
                          <a:effectLst/>
                          <a:latin typeface="Trebuchet MS" panose="020B0603020202020204" pitchFamily="34" charset="0"/>
                          <a:ea typeface="+mn-ea"/>
                          <a:cs typeface="+mn-cs"/>
                        </a:rPr>
                        <a:t>7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5</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925882055"/>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Service Center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6</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3</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6</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591847148"/>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Trello</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7</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4</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7</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671063734"/>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PowerPoint</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54</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kern="1200" dirty="0">
                          <a:solidFill>
                            <a:srgbClr val="575757"/>
                          </a:solidFill>
                          <a:latin typeface="+mn-lt"/>
                          <a:ea typeface="+mn-ea"/>
                          <a:cs typeface="+mn-cs"/>
                        </a:rPr>
                        <a:t>70</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9</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633819725"/>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Expenses - Chrome River</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56</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a:txBody>
                    <a:bodyPr/>
                    <a:lstStyle/>
                    <a:p>
                      <a:pPr algn="ctr" fontAlgn="ctr"/>
                      <a:r>
                        <a:rPr lang="en-US" sz="1100" kern="1200" dirty="0">
                          <a:solidFill>
                            <a:srgbClr val="575757"/>
                          </a:solidFill>
                          <a:latin typeface="+mn-lt"/>
                          <a:ea typeface="+mn-ea"/>
                          <a:cs typeface="+mn-cs"/>
                        </a:rPr>
                        <a:t>6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187821821"/>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Windows Laptop</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55</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6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pPr algn="ctr" fontAlgn="b"/>
                      <a:endParaRPr lang="en-US" sz="1100" b="0" i="0" u="none" strike="noStrike" kern="1200" baseline="0" dirty="0">
                        <a:solidFill>
                          <a:srgbClr val="FFFFFF"/>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1</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64858036"/>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Egnyte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69</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70</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6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lnL w="12700" cap="flat" cmpd="sng" algn="ctr">
                      <a:solidFill>
                        <a:schemeClr val="tx1"/>
                      </a:solidFill>
                      <a:prstDash val="solid"/>
                      <a:round/>
                      <a:headEnd type="none" w="med" len="med"/>
                      <a:tailEnd type="none" w="med" len="med"/>
                    </a:lnL>
                    <a:lnT w="6350" cap="flat" cmpd="sng" algn="ctr">
                      <a:solidFill>
                        <a:srgbClr val="9A9A9A"/>
                      </a:solidFill>
                      <a:prstDash val="solid"/>
                      <a:round/>
                      <a:headEnd type="none" w="med" len="med"/>
                      <a:tailEnd type="none" w="med" len="med"/>
                    </a:lnT>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3</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258405562"/>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Timesheets – Infor</a:t>
                      </a:r>
                    </a:p>
                  </a:txBody>
                  <a:tcPr marL="0" marR="0" marT="0" marB="0">
                    <a:lnL>
                      <a:noFill/>
                    </a:lnL>
                    <a:lnR>
                      <a:noFill/>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50</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C5D0"/>
                    </a:solidFill>
                  </a:tcPr>
                </a:tc>
                <a:tc>
                  <a:txBody>
                    <a:bodyPr/>
                    <a:lstStyle/>
                    <a:p>
                      <a:pPr algn="ctr" fontAlgn="ctr"/>
                      <a:r>
                        <a:rPr lang="en-US" sz="1100" kern="1200" dirty="0">
                          <a:solidFill>
                            <a:srgbClr val="FFFFFF"/>
                          </a:solidFill>
                          <a:latin typeface="+mn-lt"/>
                          <a:ea typeface="+mn-ea"/>
                          <a:cs typeface="+mn-cs"/>
                        </a:rPr>
                        <a:t>4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A9A9A"/>
                    </a:solidFill>
                  </a:tcPr>
                </a:tc>
                <a:tc>
                  <a:txBody>
                    <a:bodyPr/>
                    <a:lstStyle/>
                    <a:p>
                      <a:pPr algn="ctr" fontAlgn="ctr"/>
                      <a:r>
                        <a:rPr lang="en-US" sz="1100" kern="1200" dirty="0">
                          <a:solidFill>
                            <a:srgbClr val="575757"/>
                          </a:solidFill>
                          <a:latin typeface="+mn-lt"/>
                          <a:ea typeface="+mn-ea"/>
                          <a:cs typeface="+mn-cs"/>
                        </a:rPr>
                        <a:t>5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C5D0"/>
                    </a:solidFill>
                  </a:tcPr>
                </a:tc>
                <a:tc vMerge="1">
                  <a:txBody>
                    <a:bodyPr/>
                    <a:lstStyle/>
                    <a:p>
                      <a:pPr algn="ctr" fontAlgn="b"/>
                      <a:endParaRPr lang="en-US" sz="1100" b="0" i="0" u="none" strike="noStrike" kern="1200" baseline="0" dirty="0">
                        <a:solidFill>
                          <a:srgbClr val="FFFFFF"/>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6350" cap="flat" cmpd="sng" algn="ctr">
                      <a:solidFill>
                        <a:srgbClr val="9A9A9A"/>
                      </a:solidFill>
                      <a:prstDash val="solid"/>
                      <a:round/>
                      <a:headEnd type="none" w="med" len="med"/>
                      <a:tailEnd type="none" w="med" len="med"/>
                    </a:lnB>
                    <a:solidFill>
                      <a:srgbClr val="29BA7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mn-lt"/>
                          <a:ea typeface="+mn-ea"/>
                          <a:cs typeface="+mn-cs"/>
                        </a:rPr>
                        <a:t>26</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0430446"/>
                  </a:ext>
                </a:extLst>
              </a:tr>
              <a:tr h="182914">
                <a:tc gridSpan="6">
                  <a:txBody>
                    <a:bodyPr/>
                    <a:lstStyle/>
                    <a:p>
                      <a:pPr algn="l" fontAlgn="b"/>
                      <a:r>
                        <a:rPr lang="en-US" sz="1100" b="1" i="0" u="none" strike="noStrike" kern="1200" dirty="0">
                          <a:solidFill>
                            <a:srgbClr val="295E7E"/>
                          </a:solidFill>
                          <a:effectLst/>
                          <a:latin typeface="Trebuchet MS" panose="020B0603020202020204" pitchFamily="34" charset="0"/>
                          <a:ea typeface="+mn-ea"/>
                          <a:cs typeface="+mn-cs"/>
                        </a:rPr>
                        <a:t>Business Supporting Products - </a:t>
                      </a:r>
                    </a:p>
                  </a:txBody>
                  <a:tcPr marL="6350" marR="6350" marT="6350"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pPr algn="ctr" fontAlgn="b"/>
                      <a:endParaRPr lang="en-US" sz="1100" b="0" i="0" u="none" strike="noStrike" kern="1200" baseline="0" dirty="0">
                        <a:solidFill>
                          <a:srgbClr val="575757"/>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hMerge="1">
                  <a:txBody>
                    <a:bodyPr/>
                    <a:lstStyle/>
                    <a:p>
                      <a:pPr algn="ctr" fontAlgn="b"/>
                      <a:endParaRPr lang="en-US" sz="1100" b="0" i="0" u="none" strike="noStrike" kern="1200" baseline="0" dirty="0">
                        <a:solidFill>
                          <a:srgbClr val="575757"/>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tc hMerge="1">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290346787"/>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Connect </a:t>
                      </a:r>
                    </a:p>
                  </a:txBody>
                  <a:tcPr marL="0" marR="0" marT="0" marB="0">
                    <a:lnL>
                      <a:noFill/>
                    </a:lnL>
                    <a:lnR>
                      <a:noFill/>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4</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9</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FFFFFF"/>
                          </a:solidFill>
                          <a:latin typeface="+mn-lt"/>
                          <a:ea typeface="+mn-ea"/>
                          <a:cs typeface="+mn-cs"/>
                        </a:rPr>
                        <a:t>8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29BA74"/>
                    </a:solidFill>
                  </a:tcPr>
                </a:tc>
                <a:tc rowSpan="10">
                  <a:txBody>
                    <a:bodyPr/>
                    <a:lstStyle/>
                    <a:p>
                      <a:pPr algn="ctr" fontAlgn="b"/>
                      <a:r>
                        <a:rPr lang="en-US" sz="1100" b="0" i="0" u="none" strike="noStrike" kern="1200" baseline="0" dirty="0">
                          <a:solidFill>
                            <a:srgbClr val="575757"/>
                          </a:solidFill>
                          <a:effectLst/>
                          <a:latin typeface="+mj-lt"/>
                          <a:ea typeface="+mn-ea"/>
                          <a:cs typeface="+mn-cs"/>
                        </a:rPr>
                        <a:t>70</a:t>
                      </a:r>
                    </a:p>
                  </a:txBody>
                  <a:tcPr marL="6350" marR="6350" marT="635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C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kern="1200" dirty="0">
                          <a:solidFill>
                            <a:srgbClr val="575757"/>
                          </a:solidFill>
                          <a:latin typeface="+mn-lt"/>
                          <a:ea typeface="+mn-ea"/>
                          <a:cs typeface="+mn-cs"/>
                        </a:rPr>
                        <a:t>17</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95363309"/>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Browsers</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100" kern="1200" dirty="0">
                        <a:solidFill>
                          <a:srgbClr val="575757"/>
                        </a:solidFill>
                        <a:latin typeface="+mn-lt"/>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100" kern="1200" dirty="0">
                          <a:solidFill>
                            <a:srgbClr val="575757"/>
                          </a:solidFill>
                          <a:latin typeface="+mn-lt"/>
                          <a:ea typeface="+mn-ea"/>
                          <a:cs typeface="+mn-cs"/>
                        </a:rPr>
                        <a:t>71</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kern="1200" dirty="0">
                          <a:solidFill>
                            <a:srgbClr val="FFFFFF"/>
                          </a:solidFill>
                          <a:latin typeface="+mn-lt"/>
                          <a:ea typeface="+mn-ea"/>
                          <a:cs typeface="+mn-cs"/>
                        </a:rPr>
                        <a:t>1</a:t>
                      </a:r>
                      <a:r>
                        <a:rPr lang="en-US" sz="1100" kern="1200" dirty="0">
                          <a:solidFill>
                            <a:srgbClr val="575757"/>
                          </a:solidFill>
                          <a:latin typeface="+mn-lt"/>
                          <a:ea typeface="+mn-ea"/>
                          <a:cs typeface="+mn-cs"/>
                        </a:rPr>
                        <a:t>9</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000578561"/>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T Comms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100" kern="1200" dirty="0">
                        <a:solidFill>
                          <a:srgbClr val="575757"/>
                        </a:solidFill>
                        <a:latin typeface="+mn-lt"/>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100" kern="1200" dirty="0">
                          <a:solidFill>
                            <a:srgbClr val="575757"/>
                          </a:solidFill>
                          <a:latin typeface="+mn-lt"/>
                          <a:ea typeface="+mn-ea"/>
                          <a:cs typeface="+mn-cs"/>
                        </a:rPr>
                        <a:t>77</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 </a:t>
                      </a:r>
                      <a:r>
                        <a:rPr lang="en-US" sz="1100" dirty="0">
                          <a:solidFill>
                            <a:srgbClr val="FFFFFF"/>
                          </a:solidFill>
                          <a:latin typeface="Wingdings 3" panose="05040102010807070707" pitchFamily="18" charset="2"/>
                        </a:rPr>
                        <a:t>9</a:t>
                      </a:r>
                      <a:r>
                        <a:rPr lang="en-US" sz="1100" kern="1200" dirty="0">
                          <a:solidFill>
                            <a:srgbClr val="575757"/>
                          </a:solidFill>
                          <a:latin typeface="+mn-lt"/>
                          <a:ea typeface="+mn-ea"/>
                          <a:cs typeface="+mn-cs"/>
                        </a:rPr>
                        <a:t>9</a:t>
                      </a:r>
                      <a:endParaRPr lang="en-US" sz="1100" b="0" i="0" u="none" strike="noStrike" kern="1200" dirty="0">
                        <a:solidFill>
                          <a:srgbClr val="575757"/>
                        </a:solidFill>
                        <a:effectLst/>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84396536"/>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Inside BCG</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r>
                        <a:rPr lang="en-US" sz="1100" kern="1200" dirty="0">
                          <a:solidFill>
                            <a:srgbClr val="575757"/>
                          </a:solidFill>
                          <a:latin typeface="+mn-lt"/>
                          <a:ea typeface="+mn-ea"/>
                          <a:cs typeface="+mn-cs"/>
                        </a:rPr>
                        <a:t>70</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76</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algn="ctr" fontAlgn="ctr"/>
                      <a:r>
                        <a:rPr lang="en-US" sz="1100" kern="1200" dirty="0">
                          <a:solidFill>
                            <a:srgbClr val="575757"/>
                          </a:solidFill>
                          <a:latin typeface="+mn-lt"/>
                          <a:ea typeface="+mn-ea"/>
                          <a:cs typeface="+mn-cs"/>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lnL w="12700" cap="flat" cmpd="sng" algn="ctr">
                      <a:solidFill>
                        <a:schemeClr val="tx1"/>
                      </a:solidFill>
                      <a:prstDash val="solid"/>
                      <a:round/>
                      <a:headEnd type="none" w="med" len="med"/>
                      <a:tailEnd type="none" w="med" len="med"/>
                    </a:lnL>
                    <a:lnT w="6350" cap="flat" cmpd="sng" algn="ctr">
                      <a:solidFill>
                        <a:srgbClr val="9A9A9A"/>
                      </a:solidFill>
                      <a:prstDash val="solid"/>
                      <a:round/>
                      <a:headEnd type="none" w="med" len="med"/>
                      <a:tailEnd type="none" w="med" len="med"/>
                    </a:lnT>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1</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796221877"/>
                  </a:ext>
                </a:extLst>
              </a:tr>
              <a:tr h="182897">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Learning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100" kern="1200" dirty="0">
                        <a:solidFill>
                          <a:srgbClr val="575757"/>
                        </a:solidFill>
                        <a:latin typeface="+mn-lt"/>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100" kern="1200" dirty="0">
                          <a:solidFill>
                            <a:srgbClr val="575757"/>
                          </a:solidFill>
                          <a:latin typeface="+mn-lt"/>
                          <a:ea typeface="+mn-ea"/>
                          <a:cs typeface="+mn-cs"/>
                        </a:rPr>
                        <a:t>66</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a:txBody>
                    <a:bodyPr/>
                    <a:lstStyle/>
                    <a:p>
                      <a:pPr algn="ctr" fontAlgn="ctr"/>
                      <a:r>
                        <a:rPr lang="en-US" sz="1100" kern="1200" dirty="0">
                          <a:solidFill>
                            <a:srgbClr val="575757"/>
                          </a:solidFill>
                          <a:latin typeface="+mn-lt"/>
                          <a:ea typeface="+mn-ea"/>
                          <a:cs typeface="+mn-cs"/>
                        </a:rPr>
                        <a:t>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kumimoji="0" lang="en-US" sz="1100" b="0" i="0" u="none" strike="noStrike" kern="1200" cap="none" spc="0" normalizeH="0" baseline="0" noProof="0" dirty="0">
                          <a:ln>
                            <a:noFill/>
                          </a:ln>
                          <a:solidFill>
                            <a:srgbClr val="575757"/>
                          </a:solidFill>
                          <a:effectLst/>
                          <a:uLnTx/>
                          <a:uFillTx/>
                          <a:latin typeface="+mn-lt"/>
                          <a:ea typeface="+mn-ea"/>
                          <a:cs typeface="+mn-cs"/>
                        </a:rPr>
                        <a:t>5</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206024408"/>
                  </a:ext>
                </a:extLst>
              </a:tr>
              <a:tr h="176238">
                <a:tc>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KN - Overall</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a:txBody>
                    <a:bodyPr/>
                    <a:lstStyle/>
                    <a:p>
                      <a:pPr algn="ctr" fontAlgn="ctr"/>
                      <a:endParaRPr lang="en-US" sz="1100" kern="1200" dirty="0">
                        <a:solidFill>
                          <a:srgbClr val="575757"/>
                        </a:solidFill>
                        <a:latin typeface="+mn-lt"/>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endParaRPr lang="en-US" sz="1100" kern="1200" dirty="0">
                        <a:solidFill>
                          <a:srgbClr val="575757"/>
                        </a:solidFill>
                        <a:latin typeface="+mn-lt"/>
                        <a:ea typeface="+mn-ea"/>
                        <a:cs typeface="+mn-cs"/>
                      </a:endParaRP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F2F2F2"/>
                    </a:solidFill>
                  </a:tcPr>
                </a:tc>
                <a:tc>
                  <a:txBody>
                    <a:bodyPr/>
                    <a:lstStyle/>
                    <a:p>
                      <a:pPr algn="ctr" fontAlgn="ctr"/>
                      <a:r>
                        <a:rPr lang="en-US" sz="1100" kern="1200" dirty="0">
                          <a:solidFill>
                            <a:srgbClr val="575757"/>
                          </a:solidFill>
                          <a:latin typeface="+mn-lt"/>
                          <a:ea typeface="+mn-ea"/>
                          <a:cs typeface="+mn-cs"/>
                        </a:rPr>
                        <a:t>6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tc>
                <a:tc rowSpan="2">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kumimoji="0" lang="en-US" sz="1100" b="0" i="0" u="none" strike="noStrike" kern="1200" cap="none" spc="0" normalizeH="0" baseline="0" noProof="0" dirty="0">
                          <a:ln>
                            <a:noFill/>
                          </a:ln>
                          <a:solidFill>
                            <a:srgbClr val="575757"/>
                          </a:solidFill>
                          <a:effectLst/>
                          <a:uLnTx/>
                          <a:uFillTx/>
                          <a:latin typeface="+mn-lt"/>
                          <a:ea typeface="+mn-ea"/>
                          <a:cs typeface="+mn-cs"/>
                        </a:rPr>
                        <a:t>7</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87792645"/>
                  </a:ext>
                </a:extLst>
              </a:tr>
              <a:tr h="26703">
                <a:tc rowSpan="2">
                  <a:txBody>
                    <a:bodyPr/>
                    <a:lstStyle/>
                    <a:p>
                      <a:pPr algn="l" fontAlgn="t"/>
                      <a:r>
                        <a:rPr lang="en-US" sz="1100" b="0" i="0" u="none" strike="noStrike" kern="1200" dirty="0">
                          <a:solidFill>
                            <a:srgbClr val="575757"/>
                          </a:solidFill>
                          <a:effectLst/>
                          <a:latin typeface="+mj-lt"/>
                          <a:ea typeface="+mn-ea"/>
                          <a:cs typeface="+mn-cs"/>
                        </a:rPr>
                        <a:t>LAB Platform</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rowSpan="2">
                  <a:txBody>
                    <a:bodyPr/>
                    <a:lstStyle/>
                    <a:p>
                      <a:pPr algn="ctr" fontAlgn="ctr"/>
                      <a:r>
                        <a:rPr lang="en-US" sz="1100" kern="1200">
                          <a:solidFill>
                            <a:srgbClr val="575757"/>
                          </a:solidFill>
                          <a:latin typeface="+mj-lt"/>
                          <a:ea typeface="+mn-ea"/>
                          <a:cs typeface="+mn-cs"/>
                        </a:rPr>
                        <a:t>64</a:t>
                      </a:r>
                      <a:endParaRPr lang="en-US" sz="1100" kern="1200" dirty="0">
                        <a:solidFill>
                          <a:srgbClr val="575757"/>
                        </a:solidFill>
                        <a:latin typeface="+mj-lt"/>
                        <a:ea typeface="+mn-ea"/>
                        <a:cs typeface="+mn-cs"/>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rowSpan="2">
                  <a:txBody>
                    <a:bodyPr/>
                    <a:lstStyle/>
                    <a:p>
                      <a:pPr algn="ctr" fontAlgn="ctr"/>
                      <a:r>
                        <a:rPr lang="en-US" sz="1100" kern="1200">
                          <a:solidFill>
                            <a:srgbClr val="575757"/>
                          </a:solidFill>
                          <a:latin typeface="+mj-lt"/>
                          <a:ea typeface="+mn-ea"/>
                          <a:cs typeface="+mn-cs"/>
                        </a:rPr>
                        <a:t>62</a:t>
                      </a:r>
                      <a:endParaRPr lang="en-US" sz="1100" kern="1200" dirty="0">
                        <a:solidFill>
                          <a:srgbClr val="575757"/>
                        </a:solidFill>
                        <a:latin typeface="+mj-lt"/>
                        <a:ea typeface="+mn-ea"/>
                        <a:cs typeface="+mn-cs"/>
                      </a:endParaRP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rowSpan="2">
                  <a:txBody>
                    <a:bodyPr/>
                    <a:lstStyle/>
                    <a:p>
                      <a:pPr algn="ctr" fontAlgn="ctr"/>
                      <a:r>
                        <a:rPr lang="en-US" sz="1100" kern="1200" dirty="0">
                          <a:solidFill>
                            <a:srgbClr val="575757"/>
                          </a:solidFill>
                          <a:latin typeface="+mj-lt"/>
                          <a:ea typeface="+mn-ea"/>
                          <a:cs typeface="+mn-cs"/>
                        </a:rPr>
                        <a:t>6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tc>
                <a:tc vMerge="1">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61839492"/>
                  </a:ext>
                </a:extLst>
              </a:tr>
              <a:tr h="149536">
                <a:tc vMerge="1">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LAB Platform</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vMerge="1">
                  <a:txBody>
                    <a:bodyPr/>
                    <a:lstStyle/>
                    <a:p>
                      <a:pPr algn="ctr" fontAlgn="ctr"/>
                      <a:r>
                        <a:rPr lang="en-US" sz="1100" kern="1200" dirty="0">
                          <a:solidFill>
                            <a:srgbClr val="575757"/>
                          </a:solidFill>
                          <a:latin typeface="+mn-lt"/>
                          <a:ea typeface="+mn-ea"/>
                          <a:cs typeface="+mn-cs"/>
                        </a:rPr>
                        <a:t>64</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pPr algn="ctr" fontAlgn="ctr"/>
                      <a:r>
                        <a:rPr lang="en-US" sz="1100" kern="1200" dirty="0">
                          <a:solidFill>
                            <a:srgbClr val="575757"/>
                          </a:solidFill>
                          <a:latin typeface="+mn-lt"/>
                          <a:ea typeface="+mn-ea"/>
                          <a:cs typeface="+mn-cs"/>
                        </a:rPr>
                        <a:t>62</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pPr algn="ctr" fontAlgn="ctr"/>
                      <a:r>
                        <a:rPr lang="en-US" sz="1100" kern="1200" dirty="0">
                          <a:solidFill>
                            <a:srgbClr val="575757"/>
                          </a:solidFill>
                          <a:latin typeface="+mn-lt"/>
                          <a:ea typeface="+mn-ea"/>
                          <a:cs typeface="+mn-cs"/>
                        </a:rPr>
                        <a:t>6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EE89A"/>
                    </a:solidFill>
                  </a:tcPr>
                </a:tc>
                <a:tc vMerge="1">
                  <a:txBody>
                    <a:bodyPr/>
                    <a:lstStyle/>
                    <a:p>
                      <a:endParaRPr lang="en-US"/>
                    </a:p>
                  </a:txBody>
                  <a:tcPr>
                    <a:lnL w="12700" cap="flat" cmpd="sng" algn="ctr">
                      <a:solidFill>
                        <a:schemeClr val="tx1"/>
                      </a:solidFill>
                      <a:prstDash val="solid"/>
                      <a:round/>
                      <a:headEnd type="none" w="med" len="med"/>
                      <a:tailEnd type="none" w="med" len="med"/>
                    </a:lnL>
                    <a:lnT w="6350" cap="flat" cmpd="sng" algn="ctr">
                      <a:solidFill>
                        <a:srgbClr val="9A9A9A"/>
                      </a:solidFill>
                      <a:prstDash val="solid"/>
                      <a:round/>
                      <a:headEnd type="none" w="med" len="med"/>
                      <a:tailEnd type="none" w="med" len="med"/>
                    </a:lnT>
                  </a:tcPr>
                </a:tc>
                <a:tc rowSpan="2">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6</a:t>
                      </a:r>
                      <a:r>
                        <a:rPr kumimoji="0" lang="en-US" sz="1100" b="0" i="0" u="none" strike="noStrike" kern="1200" cap="none" spc="0" normalizeH="0" baseline="0" noProof="0" dirty="0">
                          <a:ln>
                            <a:noFill/>
                          </a:ln>
                          <a:solidFill>
                            <a:srgbClr val="575757"/>
                          </a:solidFill>
                          <a:effectLst/>
                          <a:uLnTx/>
                          <a:uFillTx/>
                          <a:latin typeface="+mn-lt"/>
                          <a:ea typeface="+mn-ea"/>
                          <a:cs typeface="+mn-cs"/>
                        </a:rPr>
                        <a:t>7</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12387205"/>
                  </a:ext>
                </a:extLst>
              </a:tr>
              <a:tr h="33362">
                <a:tc rowSpan="2">
                  <a:txBody>
                    <a:bodyPr/>
                    <a:lstStyle/>
                    <a:p>
                      <a:pPr algn="l"/>
                      <a:r>
                        <a:rPr lang="en-US" sz="1100" b="0" i="0" u="none" strike="noStrike" kern="1200" dirty="0">
                          <a:solidFill>
                            <a:srgbClr val="575757"/>
                          </a:solidFill>
                          <a:effectLst/>
                          <a:latin typeface="+mj-lt"/>
                          <a:ea typeface="+mn-ea"/>
                          <a:cs typeface="+mn-cs"/>
                        </a:rPr>
                        <a:t>Search</a:t>
                      </a:r>
                      <a:endParaRPr lang="en-US" dirty="0">
                        <a:latin typeface="+mj-lt"/>
                      </a:endParaRP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rowSpan="2">
                  <a:txBody>
                    <a:bodyPr/>
                    <a:lstStyle/>
                    <a:p>
                      <a:pPr algn="ctr"/>
                      <a:r>
                        <a:rPr lang="en-US" sz="1100" kern="1200" dirty="0">
                          <a:solidFill>
                            <a:srgbClr val="575757"/>
                          </a:solidFill>
                          <a:latin typeface="+mj-lt"/>
                          <a:ea typeface="+mn-ea"/>
                          <a:cs typeface="+mn-cs"/>
                        </a:rPr>
                        <a:t>53</a:t>
                      </a:r>
                      <a:endParaRPr lang="en-US" dirty="0">
                        <a:latin typeface="+mj-lt"/>
                      </a:endParaRP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rowSpan="2">
                  <a:txBody>
                    <a:bodyPr/>
                    <a:lstStyle/>
                    <a:p>
                      <a:pPr algn="ctr"/>
                      <a:r>
                        <a:rPr lang="en-US" sz="1100" kern="1200" dirty="0">
                          <a:solidFill>
                            <a:srgbClr val="575757"/>
                          </a:solidFill>
                          <a:latin typeface="+mj-lt"/>
                          <a:ea typeface="+mn-ea"/>
                          <a:cs typeface="+mn-cs"/>
                        </a:rPr>
                        <a:t>59</a:t>
                      </a:r>
                      <a:endParaRPr lang="en-US" dirty="0">
                        <a:latin typeface="+mj-lt"/>
                      </a:endParaRP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rowSpan="2">
                  <a:txBody>
                    <a:bodyPr/>
                    <a:lstStyle/>
                    <a:p>
                      <a:pPr algn="ctr"/>
                      <a:r>
                        <a:rPr lang="en-US" sz="1100" kern="1200" dirty="0">
                          <a:solidFill>
                            <a:srgbClr val="575757"/>
                          </a:solidFill>
                          <a:latin typeface="+mj-lt"/>
                          <a:ea typeface="+mn-ea"/>
                          <a:cs typeface="+mn-cs"/>
                        </a:rPr>
                        <a:t>57</a:t>
                      </a:r>
                      <a:endParaRPr lang="en-US" dirty="0">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vMerge="1">
                  <a:txBody>
                    <a:bodyPr/>
                    <a:lstStyle/>
                    <a:p>
                      <a:endParaRPr lang="en-US"/>
                    </a:p>
                  </a:txBody>
                  <a:tcPr/>
                </a:tc>
                <a:tc vMerge="1">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597637144"/>
                  </a:ext>
                </a:extLst>
              </a:tr>
              <a:tr h="182897">
                <a:tc vMerge="1">
                  <a:txBody>
                    <a:bodyPr/>
                    <a:lstStyle/>
                    <a:p>
                      <a:pPr algn="l" fontAlgn="t"/>
                      <a:r>
                        <a:rPr lang="en-US" sz="1100" b="0" i="0" u="none" strike="noStrike" kern="1200" dirty="0">
                          <a:solidFill>
                            <a:srgbClr val="575757"/>
                          </a:solidFill>
                          <a:effectLst/>
                          <a:latin typeface="Trebuchet MS" panose="020B0603020202020204" pitchFamily="34" charset="0"/>
                          <a:ea typeface="+mn-ea"/>
                          <a:cs typeface="+mn-cs"/>
                        </a:rPr>
                        <a:t>Search</a:t>
                      </a:r>
                    </a:p>
                  </a:txBody>
                  <a:tcPr marL="0" marR="0" marT="0" marB="0">
                    <a:lnL>
                      <a:noFill/>
                    </a:lnL>
                    <a:lnR>
                      <a:noFill/>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tcPr>
                </a:tc>
                <a:tc vMerge="1">
                  <a:txBody>
                    <a:bodyPr/>
                    <a:lstStyle/>
                    <a:p>
                      <a:pPr algn="ctr" fontAlgn="ctr"/>
                      <a:r>
                        <a:rPr lang="en-US" sz="1100" kern="1200" dirty="0">
                          <a:solidFill>
                            <a:srgbClr val="575757"/>
                          </a:solidFill>
                          <a:latin typeface="+mn-lt"/>
                          <a:ea typeface="+mn-ea"/>
                          <a:cs typeface="+mn-cs"/>
                        </a:rPr>
                        <a:t>53</a:t>
                      </a:r>
                    </a:p>
                  </a:txBody>
                  <a:tcPr marL="0" marR="0" marT="0" marB="0" anchor="ctr">
                    <a:lnL>
                      <a:noFill/>
                    </a:lnL>
                    <a:lnR w="12700" cap="flat" cmpd="sng" algn="ctr">
                      <a:no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vMerge="1">
                  <a:txBody>
                    <a:bodyPr/>
                    <a:lstStyle/>
                    <a:p>
                      <a:pPr algn="ctr" fontAlgn="ctr"/>
                      <a:r>
                        <a:rPr lang="en-US" sz="1100" kern="1200" dirty="0">
                          <a:solidFill>
                            <a:srgbClr val="575757"/>
                          </a:solidFill>
                          <a:latin typeface="+mn-lt"/>
                          <a:ea typeface="+mn-ea"/>
                          <a:cs typeface="+mn-cs"/>
                        </a:rPr>
                        <a:t>59</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vMerge="1">
                  <a:txBody>
                    <a:bodyPr/>
                    <a:lstStyle/>
                    <a:p>
                      <a:pPr algn="ctr" fontAlgn="ctr"/>
                      <a:r>
                        <a:rPr lang="en-US" sz="1100" kern="1200" dirty="0">
                          <a:solidFill>
                            <a:srgbClr val="575757"/>
                          </a:solidFill>
                          <a:latin typeface="+mn-lt"/>
                          <a:ea typeface="+mn-ea"/>
                          <a:cs typeface="+mn-cs"/>
                        </a:rPr>
                        <a:t>5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EBC5D0"/>
                    </a:solidFill>
                  </a:tcPr>
                </a:tc>
                <a:tc vMerge="1">
                  <a:txBody>
                    <a:bodyPr/>
                    <a:lstStyle/>
                    <a:p>
                      <a:pPr algn="ctr" fontAlgn="b"/>
                      <a:endParaRPr lang="en-US" sz="1100" b="0" i="0" u="none" strike="noStrike" kern="1200" baseline="0" dirty="0">
                        <a:solidFill>
                          <a:srgbClr val="575757"/>
                        </a:solidFill>
                        <a:effectLst/>
                        <a:latin typeface="+mj-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solidFill>
                      <a:srgbClr val="C9E7C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mn-lt"/>
                          <a:ea typeface="+mn-ea"/>
                          <a:cs typeface="+mn-cs"/>
                        </a:rPr>
                        <a:t>13</a:t>
                      </a:r>
                      <a:endParaRPr kumimoji="0" lang="en-US" sz="1100" b="1"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a:txBody>
                  <a:tcPr marL="6334" marR="6334" marT="63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919964920"/>
                  </a:ext>
                </a:extLst>
              </a:tr>
            </a:tbl>
          </a:graphicData>
        </a:graphic>
      </p:graphicFrame>
      <p:sp>
        <p:nvSpPr>
          <p:cNvPr id="15" name="Rectangle 14">
            <a:extLst>
              <a:ext uri="{FF2B5EF4-FFF2-40B4-BE49-F238E27FC236}">
                <a16:creationId xmlns:a16="http://schemas.microsoft.com/office/drawing/2014/main" id="{193AF288-6955-4B30-8144-E7C540CBE8D9}"/>
              </a:ext>
            </a:extLst>
          </p:cNvPr>
          <p:cNvSpPr/>
          <p:nvPr/>
        </p:nvSpPr>
        <p:spPr>
          <a:xfrm>
            <a:off x="9212825" y="0"/>
            <a:ext cx="2880852" cy="152399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2400" dirty="0">
                <a:solidFill>
                  <a:srgbClr val="FFFFFF"/>
                </a:solidFill>
                <a:cs typeface="Arial" pitchFamily="34" charset="0"/>
              </a:rPr>
              <a:t>E-SAT Trending vs Best-in-Class (BIC) Target</a:t>
            </a:r>
            <a:endParaRPr lang="en-GB" sz="2400" baseline="30000" dirty="0">
              <a:solidFill>
                <a:srgbClr val="FFFFFF"/>
              </a:solidFill>
              <a:cs typeface="Arial" pitchFamily="34" charset="0"/>
            </a:endParaRPr>
          </a:p>
        </p:txBody>
      </p:sp>
      <p:grpSp>
        <p:nvGrpSpPr>
          <p:cNvPr id="13" name="Group 12">
            <a:extLst>
              <a:ext uri="{FF2B5EF4-FFF2-40B4-BE49-F238E27FC236}">
                <a16:creationId xmlns:a16="http://schemas.microsoft.com/office/drawing/2014/main" id="{89E8162A-27EA-4B55-A213-92C73658A52D}"/>
              </a:ext>
            </a:extLst>
          </p:cNvPr>
          <p:cNvGrpSpPr/>
          <p:nvPr/>
        </p:nvGrpSpPr>
        <p:grpSpPr>
          <a:xfrm>
            <a:off x="1530274" y="6413650"/>
            <a:ext cx="6155997" cy="444350"/>
            <a:chOff x="753111" y="3331233"/>
            <a:chExt cx="6155997" cy="444350"/>
          </a:xfrm>
        </p:grpSpPr>
        <p:grpSp>
          <p:nvGrpSpPr>
            <p:cNvPr id="14" name="Group 13">
              <a:extLst>
                <a:ext uri="{FF2B5EF4-FFF2-40B4-BE49-F238E27FC236}">
                  <a16:creationId xmlns:a16="http://schemas.microsoft.com/office/drawing/2014/main" id="{CB25974D-D1CC-41C9-8CCA-DEA903D0AEEB}"/>
                </a:ext>
              </a:extLst>
            </p:cNvPr>
            <p:cNvGrpSpPr/>
            <p:nvPr/>
          </p:nvGrpSpPr>
          <p:grpSpPr>
            <a:xfrm>
              <a:off x="753111" y="3331233"/>
              <a:ext cx="6155997" cy="220957"/>
              <a:chOff x="753111" y="3331233"/>
              <a:chExt cx="6155997" cy="220957"/>
            </a:xfrm>
          </p:grpSpPr>
          <p:sp>
            <p:nvSpPr>
              <p:cNvPr id="23" name="Rectangle 22">
                <a:extLst>
                  <a:ext uri="{FF2B5EF4-FFF2-40B4-BE49-F238E27FC236}">
                    <a16:creationId xmlns:a16="http://schemas.microsoft.com/office/drawing/2014/main" id="{69034C0F-EFD0-4095-9597-080E5EE53534}"/>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24" name="Rectangle 23">
                <a:extLst>
                  <a:ext uri="{FF2B5EF4-FFF2-40B4-BE49-F238E27FC236}">
                    <a16:creationId xmlns:a16="http://schemas.microsoft.com/office/drawing/2014/main" id="{DC5E7B85-76C8-47B6-9B82-CDC12CE0444B}"/>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25" name="Rectangle 24">
                <a:extLst>
                  <a:ext uri="{FF2B5EF4-FFF2-40B4-BE49-F238E27FC236}">
                    <a16:creationId xmlns:a16="http://schemas.microsoft.com/office/drawing/2014/main" id="{375D671A-B39D-4590-810B-316B1D1FA2A8}"/>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26" name="Rectangle 25">
                <a:extLst>
                  <a:ext uri="{FF2B5EF4-FFF2-40B4-BE49-F238E27FC236}">
                    <a16:creationId xmlns:a16="http://schemas.microsoft.com/office/drawing/2014/main" id="{B7962E85-1CFE-4ACE-87F6-0F409AAA68AA}"/>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27" name="Rectangle 26">
                <a:extLst>
                  <a:ext uri="{FF2B5EF4-FFF2-40B4-BE49-F238E27FC236}">
                    <a16:creationId xmlns:a16="http://schemas.microsoft.com/office/drawing/2014/main" id="{B14CBD70-A051-4A42-A596-0E324D2707D0}"/>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28" name="Rectangle 27">
                <a:extLst>
                  <a:ext uri="{FF2B5EF4-FFF2-40B4-BE49-F238E27FC236}">
                    <a16:creationId xmlns:a16="http://schemas.microsoft.com/office/drawing/2014/main" id="{B73CB9A1-94E5-43EA-A41F-A5C4393050FC}"/>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17" name="Rectangle 16">
              <a:extLst>
                <a:ext uri="{FF2B5EF4-FFF2-40B4-BE49-F238E27FC236}">
                  <a16:creationId xmlns:a16="http://schemas.microsoft.com/office/drawing/2014/main" id="{2A205D41-CBBC-4133-A084-EE39E845EDBC}"/>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18" name="Rectangle 17">
              <a:extLst>
                <a:ext uri="{FF2B5EF4-FFF2-40B4-BE49-F238E27FC236}">
                  <a16:creationId xmlns:a16="http://schemas.microsoft.com/office/drawing/2014/main" id="{77EAF109-8B5D-4DC0-B8AA-26940229A06C}"/>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19" name="Rectangle 18">
              <a:extLst>
                <a:ext uri="{FF2B5EF4-FFF2-40B4-BE49-F238E27FC236}">
                  <a16:creationId xmlns:a16="http://schemas.microsoft.com/office/drawing/2014/main" id="{EFEE2077-F2C3-481C-9119-D79E4A322C63}"/>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0" name="Rectangle 19">
              <a:extLst>
                <a:ext uri="{FF2B5EF4-FFF2-40B4-BE49-F238E27FC236}">
                  <a16:creationId xmlns:a16="http://schemas.microsoft.com/office/drawing/2014/main" id="{630173DE-2168-4643-8C4C-CA046F946318}"/>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1" name="Rectangle 20">
              <a:extLst>
                <a:ext uri="{FF2B5EF4-FFF2-40B4-BE49-F238E27FC236}">
                  <a16:creationId xmlns:a16="http://schemas.microsoft.com/office/drawing/2014/main" id="{707E8F41-7014-4F82-A5D0-4FB8D4AE8C56}"/>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2" name="Rectangle 21">
              <a:extLst>
                <a:ext uri="{FF2B5EF4-FFF2-40B4-BE49-F238E27FC236}">
                  <a16:creationId xmlns:a16="http://schemas.microsoft.com/office/drawing/2014/main" id="{EDDE633E-DF69-4D79-B1E3-E776BA7ABE0B}"/>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2" name="Rectangle 31">
            <a:extLst>
              <a:ext uri="{FF2B5EF4-FFF2-40B4-BE49-F238E27FC236}">
                <a16:creationId xmlns:a16="http://schemas.microsoft.com/office/drawing/2014/main" id="{04154940-B285-4D9A-8565-8B9783BCBBA3}"/>
              </a:ext>
            </a:extLst>
          </p:cNvPr>
          <p:cNvSpPr/>
          <p:nvPr/>
        </p:nvSpPr>
        <p:spPr>
          <a:xfrm>
            <a:off x="9134061" y="1524000"/>
            <a:ext cx="2959615" cy="511956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43% (12) products or services met or exceeded their BIC target for 2021</a:t>
            </a:r>
          </a:p>
          <a:p>
            <a:endParaRPr lang="en-GB" dirty="0">
              <a:solidFill>
                <a:srgbClr val="FFFFFF"/>
              </a:solidFill>
              <a:cs typeface="Arial" pitchFamily="34" charset="0"/>
            </a:endParaRPr>
          </a:p>
          <a:p>
            <a:r>
              <a:rPr lang="en-GB" dirty="0">
                <a:solidFill>
                  <a:srgbClr val="FFFFFF"/>
                </a:solidFill>
                <a:cs typeface="Arial" pitchFamily="34" charset="0"/>
              </a:rPr>
              <a:t>Timesheets remains -26% off target, &amp; Search -13% </a:t>
            </a:r>
          </a:p>
          <a:p>
            <a:endParaRPr lang="en-GB" dirty="0">
              <a:solidFill>
                <a:srgbClr val="FFFFFF"/>
              </a:solidFill>
              <a:cs typeface="Arial" pitchFamily="34" charset="0"/>
            </a:endParaRPr>
          </a:p>
          <a:p>
            <a:r>
              <a:rPr lang="en-GB" dirty="0">
                <a:solidFill>
                  <a:srgbClr val="FFFFFF"/>
                </a:solidFill>
                <a:cs typeface="Arial" pitchFamily="34" charset="0"/>
              </a:rPr>
              <a:t>Newly meeting target are Information Security &amp; Word</a:t>
            </a:r>
          </a:p>
          <a:p>
            <a:endParaRPr lang="en-GB" dirty="0">
              <a:solidFill>
                <a:srgbClr val="FFFFFF"/>
              </a:solidFill>
              <a:cs typeface="Arial" pitchFamily="34" charset="0"/>
            </a:endParaRPr>
          </a:p>
          <a:p>
            <a:r>
              <a:rPr lang="en-GB" dirty="0">
                <a:solidFill>
                  <a:srgbClr val="FFFFFF"/>
                </a:solidFill>
                <a:cs typeface="Arial" pitchFamily="34" charset="0"/>
              </a:rPr>
              <a:t>Newly missing target is Inside BCG</a:t>
            </a:r>
          </a:p>
        </p:txBody>
      </p:sp>
    </p:spTree>
    <p:custDataLst>
      <p:tags r:id="rId2"/>
    </p:custDataLst>
    <p:extLst>
      <p:ext uri="{BB962C8B-B14F-4D97-AF65-F5344CB8AC3E}">
        <p14:creationId xmlns:p14="http://schemas.microsoft.com/office/powerpoint/2010/main" val="4000531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A75BDC0-EBEF-4508-959B-7D1EBB148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812"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CA75BDC0-EBEF-4508-959B-7D1EBB148F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458F231-C9F9-4ECF-9249-EC0F44B978C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C4059E3-9B88-4087-A26A-F7996D1C45DA}"/>
              </a:ext>
            </a:extLst>
          </p:cNvPr>
          <p:cNvSpPr/>
          <p:nvPr/>
        </p:nvSpPr>
        <p:spPr>
          <a:xfrm>
            <a:off x="4911365" y="184728"/>
            <a:ext cx="6929653" cy="2803570"/>
          </a:xfrm>
          <a:prstGeom prst="rect">
            <a:avLst/>
          </a:prstGeom>
          <a:solidFill>
            <a:srgbClr val="F2F2F2">
              <a:alpha val="9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200" b="1" dirty="0">
                <a:solidFill>
                  <a:srgbClr val="575757"/>
                </a:solidFill>
              </a:rPr>
              <a:t>When should my product meet its E-SAT target?</a:t>
            </a:r>
          </a:p>
          <a:p>
            <a:pPr algn="ctr"/>
            <a:endParaRPr lang="en-US" sz="2200" dirty="0">
              <a:solidFill>
                <a:srgbClr val="575757"/>
              </a:solidFill>
            </a:endParaRPr>
          </a:p>
          <a:p>
            <a:pPr algn="ctr"/>
            <a:r>
              <a:rPr lang="en-US" sz="2200" dirty="0">
                <a:solidFill>
                  <a:srgbClr val="575757"/>
                </a:solidFill>
              </a:rPr>
              <a:t>All products &amp; services should aim to meet or exceed their 'Best in Class' (BIC) target by </a:t>
            </a:r>
            <a:r>
              <a:rPr lang="en-US" sz="2200" b="1" dirty="0">
                <a:solidFill>
                  <a:srgbClr val="575757"/>
                </a:solidFill>
              </a:rPr>
              <a:t>Q4</a:t>
            </a:r>
            <a:r>
              <a:rPr lang="en-US" sz="2200" dirty="0">
                <a:solidFill>
                  <a:srgbClr val="575757"/>
                </a:solidFill>
              </a:rPr>
              <a:t> </a:t>
            </a:r>
            <a:r>
              <a:rPr lang="en-US" sz="2200" b="1" dirty="0">
                <a:solidFill>
                  <a:srgbClr val="575757"/>
                </a:solidFill>
              </a:rPr>
              <a:t>2023</a:t>
            </a:r>
          </a:p>
          <a:p>
            <a:pPr algn="ctr"/>
            <a:endParaRPr lang="en-US" sz="2200" dirty="0">
              <a:solidFill>
                <a:srgbClr val="575757"/>
              </a:solidFill>
            </a:endParaRPr>
          </a:p>
          <a:p>
            <a:pPr algn="ctr"/>
            <a:r>
              <a:rPr lang="en-US" sz="2200" dirty="0">
                <a:solidFill>
                  <a:srgbClr val="575757"/>
                </a:solidFill>
              </a:rPr>
              <a:t>As we progress, this may be subject for review</a:t>
            </a:r>
          </a:p>
        </p:txBody>
      </p:sp>
    </p:spTree>
    <p:extLst>
      <p:ext uri="{BB962C8B-B14F-4D97-AF65-F5344CB8AC3E}">
        <p14:creationId xmlns:p14="http://schemas.microsoft.com/office/powerpoint/2010/main" val="1543230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69" name="think-cell Slide" r:id="rId6" imgW="473" imgH="473" progId="TCLayout.ActiveDocument.1">
                  <p:embed/>
                </p:oleObj>
              </mc:Choice>
              <mc:Fallback>
                <p:oleObj name="think-cell Slide" r:id="rId6" imgW="473" imgH="473"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F9BDF0D4-A861-4D43-9D9F-61B67B738D8E}"/>
              </a:ext>
            </a:extLst>
          </p:cNvPr>
          <p:cNvGraphicFramePr>
            <a:graphicFrameLocks noGrp="1"/>
          </p:cNvGraphicFramePr>
          <p:nvPr>
            <p:extLst>
              <p:ext uri="{D42A27DB-BD31-4B8C-83A1-F6EECF244321}">
                <p14:modId xmlns:p14="http://schemas.microsoft.com/office/powerpoint/2010/main" val="2479870212"/>
              </p:ext>
            </p:extLst>
          </p:nvPr>
        </p:nvGraphicFramePr>
        <p:xfrm>
          <a:off x="2662368" y="-15315"/>
          <a:ext cx="9529631" cy="6858002"/>
        </p:xfrm>
        <a:graphic>
          <a:graphicData uri="http://schemas.openxmlformats.org/drawingml/2006/table">
            <a:tbl>
              <a:tblPr>
                <a:tableStyleId>{0E3FDE45-AF77-4B5C-9715-49D594BDF05E}</a:tableStyleId>
              </a:tblPr>
              <a:tblGrid>
                <a:gridCol w="413440">
                  <a:extLst>
                    <a:ext uri="{9D8B030D-6E8A-4147-A177-3AD203B41FA5}">
                      <a16:colId xmlns:a16="http://schemas.microsoft.com/office/drawing/2014/main" val="1134790770"/>
                    </a:ext>
                  </a:extLst>
                </a:gridCol>
                <a:gridCol w="2632460">
                  <a:extLst>
                    <a:ext uri="{9D8B030D-6E8A-4147-A177-3AD203B41FA5}">
                      <a16:colId xmlns:a16="http://schemas.microsoft.com/office/drawing/2014/main" val="20001"/>
                    </a:ext>
                  </a:extLst>
                </a:gridCol>
                <a:gridCol w="1029289">
                  <a:extLst>
                    <a:ext uri="{9D8B030D-6E8A-4147-A177-3AD203B41FA5}">
                      <a16:colId xmlns:a16="http://schemas.microsoft.com/office/drawing/2014/main" val="20002"/>
                    </a:ext>
                  </a:extLst>
                </a:gridCol>
                <a:gridCol w="1723250">
                  <a:extLst>
                    <a:ext uri="{9D8B030D-6E8A-4147-A177-3AD203B41FA5}">
                      <a16:colId xmlns:a16="http://schemas.microsoft.com/office/drawing/2014/main" val="1216618465"/>
                    </a:ext>
                  </a:extLst>
                </a:gridCol>
                <a:gridCol w="746768">
                  <a:extLst>
                    <a:ext uri="{9D8B030D-6E8A-4147-A177-3AD203B41FA5}">
                      <a16:colId xmlns:a16="http://schemas.microsoft.com/office/drawing/2014/main" val="1035057440"/>
                    </a:ext>
                  </a:extLst>
                </a:gridCol>
                <a:gridCol w="746768">
                  <a:extLst>
                    <a:ext uri="{9D8B030D-6E8A-4147-A177-3AD203B41FA5}">
                      <a16:colId xmlns:a16="http://schemas.microsoft.com/office/drawing/2014/main" val="244798498"/>
                    </a:ext>
                  </a:extLst>
                </a:gridCol>
                <a:gridCol w="746768">
                  <a:extLst>
                    <a:ext uri="{9D8B030D-6E8A-4147-A177-3AD203B41FA5}">
                      <a16:colId xmlns:a16="http://schemas.microsoft.com/office/drawing/2014/main" val="959635603"/>
                    </a:ext>
                  </a:extLst>
                </a:gridCol>
                <a:gridCol w="729873">
                  <a:extLst>
                    <a:ext uri="{9D8B030D-6E8A-4147-A177-3AD203B41FA5}">
                      <a16:colId xmlns:a16="http://schemas.microsoft.com/office/drawing/2014/main" val="140476507"/>
                    </a:ext>
                  </a:extLst>
                </a:gridCol>
                <a:gridCol w="761015">
                  <a:extLst>
                    <a:ext uri="{9D8B030D-6E8A-4147-A177-3AD203B41FA5}">
                      <a16:colId xmlns:a16="http://schemas.microsoft.com/office/drawing/2014/main" val="3000775947"/>
                    </a:ext>
                  </a:extLst>
                </a:gridCol>
              </a:tblGrid>
              <a:tr h="839265">
                <a:tc gridSpan="2">
                  <a:txBody>
                    <a:bodyPr/>
                    <a:lstStyle/>
                    <a:p>
                      <a:pPr lvl="0">
                        <a:defRPr/>
                      </a:pPr>
                      <a:r>
                        <a:rPr lang="en-US" sz="1800" b="1" i="1" dirty="0">
                          <a:solidFill>
                            <a:srgbClr val="29BA74"/>
                          </a:solidFill>
                          <a:latin typeface="+mn-lt"/>
                        </a:rPr>
                        <a:t>PRIORITY</a:t>
                      </a:r>
                      <a:endParaRPr lang="en-US" sz="1800" b="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hMerge="1">
                  <a:txBody>
                    <a:bodyPr/>
                    <a:lstStyle/>
                    <a:p>
                      <a:pPr lvl="0">
                        <a:defRPr/>
                      </a:pPr>
                      <a:r>
                        <a:rPr lang="en-US" sz="930" b="0" dirty="0">
                          <a:solidFill>
                            <a:srgbClr val="575757"/>
                          </a:solidFill>
                          <a:latin typeface="+mn-lt"/>
                        </a:rPr>
                        <a:t>PRIORITY</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100" dirty="0">
                          <a:solidFill>
                            <a:srgbClr val="575757"/>
                          </a:solidFill>
                          <a:latin typeface="+mn-lt"/>
                        </a:rPr>
                        <a:t>Owne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dirty="0">
                          <a:solidFill>
                            <a:srgbClr val="575757"/>
                          </a:solidFill>
                          <a:effectLst/>
                          <a:latin typeface="+mn-lt"/>
                        </a:rPr>
                        <a:t>Service / Produc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100" b="0" dirty="0">
                          <a:solidFill>
                            <a:srgbClr val="575757"/>
                          </a:solidFill>
                          <a:latin typeface="+mn-lt"/>
                        </a:rPr>
                        <a:t>2019 Average</a:t>
                      </a:r>
                    </a:p>
                    <a:p>
                      <a:pPr algn="ctr"/>
                      <a:r>
                        <a:rPr lang="en-US" sz="11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100" b="0" dirty="0">
                          <a:solidFill>
                            <a:srgbClr val="575757"/>
                          </a:solidFill>
                          <a:latin typeface="+mn-lt"/>
                        </a:rPr>
                        <a:t>2020 </a:t>
                      </a:r>
                    </a:p>
                    <a:p>
                      <a:pPr algn="ctr"/>
                      <a:r>
                        <a:rPr lang="en-US" sz="1100" b="0" dirty="0">
                          <a:solidFill>
                            <a:srgbClr val="575757"/>
                          </a:solidFill>
                          <a:latin typeface="+mn-lt"/>
                        </a:rPr>
                        <a:t>Average</a:t>
                      </a:r>
                    </a:p>
                    <a:p>
                      <a:pPr algn="ctr"/>
                      <a:r>
                        <a:rPr lang="en-US" sz="11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100" b="0" dirty="0">
                          <a:solidFill>
                            <a:srgbClr val="575757"/>
                          </a:solidFill>
                          <a:latin typeface="+mn-lt"/>
                        </a:rPr>
                        <a:t>2021</a:t>
                      </a:r>
                    </a:p>
                    <a:p>
                      <a:pPr algn="ctr"/>
                      <a:r>
                        <a:rPr lang="en-US" sz="1100" b="0" dirty="0">
                          <a:solidFill>
                            <a:srgbClr val="575757"/>
                          </a:solidFill>
                          <a:latin typeface="+mn-lt"/>
                        </a:rPr>
                        <a:t>Average</a:t>
                      </a:r>
                    </a:p>
                    <a:p>
                      <a:pPr algn="ctr"/>
                      <a:r>
                        <a:rPr lang="en-US" sz="11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575757"/>
                          </a:solidFill>
                          <a:latin typeface="+mn-lt"/>
                        </a:rPr>
                        <a:t>Best-in-Class (BI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575757"/>
                          </a:solidFill>
                          <a:latin typeface="+mn-lt"/>
                        </a:rPr>
                        <a:t>Targe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100" b="0" dirty="0">
                          <a:solidFill>
                            <a:srgbClr val="575757"/>
                          </a:solidFill>
                          <a:latin typeface="+mn-lt"/>
                        </a:rPr>
                        <a:t>BIC vs. 2021 Avg.</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3460961722"/>
                  </a:ext>
                </a:extLst>
              </a:tr>
              <a:tr h="285350">
                <a:tc rowSpan="4">
                  <a:txBody>
                    <a:bodyPr/>
                    <a:lstStyle/>
                    <a:p>
                      <a:pPr lvl="0">
                        <a:defRPr/>
                      </a:pPr>
                      <a:r>
                        <a:rPr lang="en-US" sz="1100" dirty="0">
                          <a:solidFill>
                            <a:srgbClr val="575757"/>
                          </a:solidFill>
                          <a:latin typeface="+mn-lt"/>
                        </a:rPr>
                        <a:t>P1</a:t>
                      </a:r>
                      <a:endParaRPr lang="en-US" sz="1100" b="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4">
                  <a:txBody>
                    <a:bodyPr/>
                    <a:lstStyle/>
                    <a:p>
                      <a:pPr lvl="0" algn="l">
                        <a:defRPr/>
                      </a:pPr>
                      <a:r>
                        <a:rPr lang="en-US" sz="1100" dirty="0">
                          <a:solidFill>
                            <a:srgbClr val="575757"/>
                          </a:solidFill>
                          <a:latin typeface="+mn-lt"/>
                        </a:rPr>
                        <a:t>Basics like my laptop, PowerPoint, Email &amp; Excel are fast &amp; responsive</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4">
                  <a:txBody>
                    <a:bodyPr/>
                    <a:lstStyle/>
                    <a:p>
                      <a:pPr algn="ctr"/>
                      <a:r>
                        <a:rPr lang="en-US" sz="1100" dirty="0">
                          <a:solidFill>
                            <a:srgbClr val="575757"/>
                          </a:solidFill>
                          <a:latin typeface="+mn-lt"/>
                        </a:rPr>
                        <a:t>Zoeckle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dirty="0">
                          <a:solidFill>
                            <a:srgbClr val="575757"/>
                          </a:solidFill>
                          <a:effectLst/>
                          <a:latin typeface="+mn-lt"/>
                        </a:rPr>
                        <a:t>Laptop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100" b="0" dirty="0">
                          <a:solidFill>
                            <a:srgbClr val="575757"/>
                          </a:solidFill>
                          <a:latin typeface="+mn-lt"/>
                        </a:rPr>
                        <a:t>5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1100" b="0" dirty="0">
                          <a:solidFill>
                            <a:srgbClr val="575757"/>
                          </a:solidFill>
                          <a:latin typeface="+mn-lt"/>
                        </a:rPr>
                        <a:t>6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100" b="0" dirty="0">
                          <a:solidFill>
                            <a:srgbClr val="575757"/>
                          </a:solidFill>
                          <a:latin typeface="+mn-lt"/>
                        </a:rPr>
                        <a:t>6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FFFFFF"/>
                          </a:solidFill>
                          <a:latin typeface="+mn-lt"/>
                        </a:rPr>
                        <a:t>80%</a:t>
                      </a:r>
                      <a:endParaRPr lang="en-US" sz="11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1100" dirty="0">
                          <a:solidFill>
                            <a:srgbClr val="E71C57"/>
                          </a:solidFill>
                          <a:latin typeface="Wingdings 3" panose="05040102010807070707" pitchFamily="18" charset="2"/>
                        </a:rPr>
                        <a:t>q </a:t>
                      </a:r>
                      <a:r>
                        <a:rPr lang="en-US" sz="1100" b="0" dirty="0">
                          <a:solidFill>
                            <a:srgbClr val="575757"/>
                          </a:solidFill>
                          <a:latin typeface="+mn-lt"/>
                        </a:rPr>
                        <a:t>1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10001"/>
                  </a:ext>
                </a:extLst>
              </a:tr>
              <a:tr h="285350">
                <a:tc vMerge="1">
                  <a:txBody>
                    <a:bodyPr/>
                    <a:lstStyle/>
                    <a:p>
                      <a:pPr lvl="0">
                        <a:defRPr/>
                      </a:pPr>
                      <a:endParaRPr lang="en-US" sz="1100" dirty="0">
                        <a:solidFill>
                          <a:srgbClr val="575757"/>
                        </a:solidFill>
                        <a:latin typeface="+mn-lt"/>
                      </a:endParaRPr>
                    </a:p>
                  </a:txBody>
                  <a:tcPr anchor="ctr"/>
                </a:tc>
                <a:tc vMerge="1">
                  <a:txBody>
                    <a:bodyPr/>
                    <a:lstStyle/>
                    <a:p>
                      <a:pPr lvl="0">
                        <a:defRPr/>
                      </a:pPr>
                      <a:endParaRPr lang="en-US" sz="1100" dirty="0">
                        <a:solidFill>
                          <a:srgbClr val="575757"/>
                        </a:solidFill>
                        <a:latin typeface="+mn-lt"/>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rgbClr val="575757"/>
                        </a:solidFill>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kern="1200" dirty="0">
                          <a:solidFill>
                            <a:srgbClr val="575757"/>
                          </a:solidFill>
                          <a:effectLst/>
                          <a:latin typeface="+mn-lt"/>
                          <a:ea typeface="+mn-ea"/>
                          <a:cs typeface="+mn-cs"/>
                        </a:rPr>
                        <a:t>PP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100" b="0" kern="1200" dirty="0">
                          <a:solidFill>
                            <a:srgbClr val="575757"/>
                          </a:solidFill>
                          <a:latin typeface="+mn-lt"/>
                          <a:ea typeface="+mn-ea"/>
                          <a:cs typeface="+mn-cs"/>
                        </a:rPr>
                        <a:t>5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7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FFFFFF"/>
                          </a:solidFill>
                          <a:latin typeface="+mn-lt"/>
                        </a:rPr>
                        <a:t>80%</a:t>
                      </a:r>
                      <a:endParaRPr lang="en-US" sz="11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1100" dirty="0">
                          <a:solidFill>
                            <a:srgbClr val="E71C57"/>
                          </a:solidFill>
                          <a:latin typeface="Wingdings 3" panose="05040102010807070707" pitchFamily="18" charset="2"/>
                        </a:rPr>
                        <a:t>q </a:t>
                      </a:r>
                      <a:r>
                        <a:rPr lang="en-US" sz="1100" dirty="0">
                          <a:solidFill>
                            <a:srgbClr val="FFFFFF"/>
                          </a:solidFill>
                          <a:latin typeface="Wingdings 3" panose="05040102010807070707" pitchFamily="18" charset="2"/>
                        </a:rPr>
                        <a:t>1</a:t>
                      </a:r>
                      <a:r>
                        <a:rPr lang="en-US" sz="1100" b="0" dirty="0">
                          <a:solidFill>
                            <a:srgbClr val="575757"/>
                          </a:solidFill>
                          <a:latin typeface="+mn-lt"/>
                        </a:rPr>
                        <a:t>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2932214488"/>
                  </a:ext>
                </a:extLst>
              </a:tr>
              <a:tr h="285350">
                <a:tc vMerge="1">
                  <a:txBody>
                    <a:bodyPr/>
                    <a:lstStyle/>
                    <a:p>
                      <a:pPr lvl="0">
                        <a:defRPr/>
                      </a:pPr>
                      <a:endParaRPr lang="en-US" sz="930" b="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lvl="0">
                        <a:defRPr/>
                      </a:pP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algn="ctr"/>
                      <a:endParaRPr lang="en-US" sz="93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kern="1200" dirty="0">
                          <a:solidFill>
                            <a:srgbClr val="575757"/>
                          </a:solidFill>
                          <a:effectLst/>
                          <a:latin typeface="+mn-lt"/>
                          <a:ea typeface="+mn-ea"/>
                          <a:cs typeface="+mn-cs"/>
                        </a:rPr>
                        <a:t>Email (Outlook)</a:t>
                      </a:r>
                      <a:endParaRPr lang="en-GB" sz="1100" b="0" i="0" u="none" strike="noStrike" baseline="30000" dirty="0">
                        <a:solidFill>
                          <a:srgbClr val="575757"/>
                        </a:solidFill>
                        <a:effectLst/>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100" b="0" kern="1200" dirty="0">
                          <a:solidFill>
                            <a:srgbClr val="575757"/>
                          </a:solidFill>
                          <a:latin typeface="+mn-lt"/>
                          <a:ea typeface="+mn-ea"/>
                          <a:cs typeface="+mn-cs"/>
                        </a:rPr>
                        <a:t>5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68</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7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1100" dirty="0">
                          <a:solidFill>
                            <a:srgbClr val="E71C57"/>
                          </a:solidFill>
                          <a:latin typeface="Wingdings 3" panose="05040102010807070707" pitchFamily="18" charset="2"/>
                        </a:rPr>
                        <a:t>q </a:t>
                      </a:r>
                      <a:r>
                        <a:rPr lang="en-US" sz="1100" dirty="0">
                          <a:solidFill>
                            <a:srgbClr val="FFFFFF"/>
                          </a:solidFill>
                          <a:latin typeface="Wingdings 3" panose="05040102010807070707" pitchFamily="18" charset="2"/>
                        </a:rPr>
                        <a:t>1</a:t>
                      </a:r>
                      <a:r>
                        <a:rPr lang="en-US" sz="1100" b="0" dirty="0">
                          <a:solidFill>
                            <a:srgbClr val="575757"/>
                          </a:solidFill>
                          <a:latin typeface="+mn-lt"/>
                        </a:rPr>
                        <a:t>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1927105849"/>
                  </a:ext>
                </a:extLst>
              </a:tr>
              <a:tr h="285350">
                <a:tc vMerge="1">
                  <a:txBody>
                    <a:bodyPr/>
                    <a:lstStyle/>
                    <a:p>
                      <a:pPr lvl="0">
                        <a:defRPr/>
                      </a:pPr>
                      <a:endParaRPr lang="en-US" sz="930" b="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lvl="0">
                        <a:defRPr/>
                      </a:pP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algn="ctr"/>
                      <a:endParaRPr lang="en-US" sz="93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kern="1200" dirty="0">
                          <a:solidFill>
                            <a:srgbClr val="575757"/>
                          </a:solidFill>
                          <a:effectLst/>
                          <a:latin typeface="+mn-lt"/>
                          <a:ea typeface="+mn-ea"/>
                          <a:cs typeface="+mn-cs"/>
                        </a:rPr>
                        <a:t>Excel</a:t>
                      </a:r>
                      <a:endParaRPr lang="en-GB" sz="1100" b="0" i="0" u="none" strike="noStrike" baseline="30000" dirty="0">
                        <a:solidFill>
                          <a:srgbClr val="575757"/>
                        </a:solidFill>
                        <a:effectLst/>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100" b="0" kern="1200" dirty="0">
                          <a:solidFill>
                            <a:srgbClr val="575757"/>
                          </a:solidFill>
                          <a:latin typeface="+mn-lt"/>
                          <a:ea typeface="+mn-ea"/>
                          <a:cs typeface="+mn-cs"/>
                        </a:rPr>
                        <a:t>5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7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7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1100" dirty="0">
                          <a:solidFill>
                            <a:srgbClr val="E71C57"/>
                          </a:solidFill>
                          <a:latin typeface="Wingdings 3" panose="05040102010807070707" pitchFamily="18" charset="2"/>
                        </a:rPr>
                        <a:t>q </a:t>
                      </a:r>
                      <a:r>
                        <a:rPr lang="en-US" sz="1100" dirty="0">
                          <a:solidFill>
                            <a:srgbClr val="FFFFFF"/>
                          </a:solidFill>
                          <a:latin typeface="Wingdings 3" panose="05040102010807070707" pitchFamily="18" charset="2"/>
                        </a:rPr>
                        <a:t>1</a:t>
                      </a:r>
                      <a:r>
                        <a:rPr lang="en-US" sz="1100" b="0" dirty="0">
                          <a:solidFill>
                            <a:srgbClr val="575757"/>
                          </a:solidFill>
                          <a:latin typeface="+mn-lt"/>
                        </a:rPr>
                        <a:t>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1601513027"/>
                  </a:ext>
                </a:extLst>
              </a:tr>
              <a:tr h="285350">
                <a:tc rowSpan="4">
                  <a:txBody>
                    <a:bodyPr/>
                    <a:lstStyle/>
                    <a:p>
                      <a:pPr lvl="0">
                        <a:defRPr/>
                      </a:pPr>
                      <a:r>
                        <a:rPr lang="en-US" sz="1100" dirty="0">
                          <a:solidFill>
                            <a:srgbClr val="575757"/>
                          </a:solidFill>
                          <a:latin typeface="+mn-lt"/>
                        </a:rPr>
                        <a:t>P2</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4">
                  <a:txBody>
                    <a:bodyPr/>
                    <a:lstStyle/>
                    <a:p>
                      <a:pPr marL="0" marR="0" algn="l">
                        <a:spcBef>
                          <a:spcPts val="0"/>
                        </a:spcBef>
                        <a:spcAft>
                          <a:spcPts val="0"/>
                        </a:spcAft>
                      </a:pPr>
                      <a:r>
                        <a:rPr lang="en-GB" sz="1100" kern="1200" dirty="0">
                          <a:solidFill>
                            <a:srgbClr val="575757"/>
                          </a:solidFill>
                          <a:latin typeface="+mn-lt"/>
                          <a:ea typeface="+mn-ea"/>
                          <a:cs typeface="+mn-cs"/>
                        </a:rPr>
                        <a:t>I need the right technology to work effectively with my team &amp; clients from anywhere (hybrid working)</a:t>
                      </a:r>
                    </a:p>
                  </a:txBody>
                  <a:tcPr marL="68580" marR="68580" marT="0" marB="0">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Jackson-DeJoie</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1" u="none" strike="noStrike" dirty="0">
                          <a:solidFill>
                            <a:srgbClr val="575757"/>
                          </a:solidFill>
                          <a:effectLst/>
                          <a:latin typeface="+mn-lt"/>
                        </a:rPr>
                        <a:t>From Home </a:t>
                      </a:r>
                      <a:r>
                        <a:rPr lang="en-GB" sz="1100" b="0" i="1" u="none" strike="noStrike" kern="1200" baseline="30000" noProof="0" dirty="0">
                          <a:solidFill>
                            <a:srgbClr val="575757"/>
                          </a:solidFill>
                          <a:effectLst/>
                          <a:latin typeface="+mn-lt"/>
                          <a:ea typeface="+mn-ea"/>
                          <a:cs typeface="+mn-cs"/>
                        </a:rPr>
                        <a:t>1</a:t>
                      </a:r>
                      <a:r>
                        <a:rPr lang="en-GB" sz="1100" b="0" i="1" u="none" strike="noStrike" dirty="0">
                          <a:solidFill>
                            <a:srgbClr val="575757"/>
                          </a:solidFill>
                          <a:effectLst/>
                          <a:latin typeface="+mn-lt"/>
                        </a:rPr>
                        <a:t> </a:t>
                      </a:r>
                      <a:r>
                        <a:rPr lang="en-GB" sz="1100" b="0" i="1" u="none" strike="noStrike" kern="1200" baseline="30000" noProof="0" dirty="0">
                          <a:solidFill>
                            <a:srgbClr val="575757"/>
                          </a:solidFill>
                          <a:effectLst/>
                          <a:latin typeface="+mn-lt"/>
                          <a:ea typeface="+mn-ea"/>
                          <a:cs typeface="+mn-cs"/>
                        </a:rPr>
                        <a:t>2</a:t>
                      </a:r>
                      <a:endParaRPr lang="en-GB" sz="1100" b="0" i="1" u="none" strike="noStrike" dirty="0">
                        <a:solidFill>
                          <a:srgbClr val="575757"/>
                        </a:solidFill>
                        <a:effectLst/>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Trebuchet MS"/>
                          <a:ea typeface="+mn-ea"/>
                          <a:cs typeface="+mn-cs"/>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1100" b="0" dirty="0">
                          <a:solidFill>
                            <a:srgbClr val="FFFFFF"/>
                          </a:solidFill>
                          <a:latin typeface="+mn-lt"/>
                        </a:rPr>
                        <a:t>8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4193879383"/>
                  </a:ext>
                </a:extLst>
              </a:tr>
              <a:tr h="395641">
                <a:tc vMerge="1">
                  <a:txBody>
                    <a:bodyPr/>
                    <a:lstStyle/>
                    <a:p>
                      <a:pPr lvl="0">
                        <a:defRPr/>
                      </a:pPr>
                      <a:endParaRPr lang="en-US" sz="93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algn="just">
                        <a:spcBef>
                          <a:spcPts val="0"/>
                        </a:spcBef>
                        <a:spcAft>
                          <a:spcPts val="0"/>
                        </a:spcAft>
                      </a:pPr>
                      <a:endParaRPr lang="en-GB" sz="930" kern="1200" dirty="0">
                        <a:solidFill>
                          <a:srgbClr val="575757"/>
                        </a:solidFill>
                        <a:latin typeface="+mn-lt"/>
                        <a:ea typeface="+mn-ea"/>
                        <a:cs typeface="+mn-cs"/>
                      </a:endParaRPr>
                    </a:p>
                  </a:txBody>
                  <a:tcPr marL="68580" marR="68580" marT="0" marB="0">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1" u="none" strike="noStrike" dirty="0">
                          <a:solidFill>
                            <a:srgbClr val="575757"/>
                          </a:solidFill>
                          <a:effectLst/>
                          <a:latin typeface="+mn-lt"/>
                        </a:rPr>
                        <a:t>At the BCG Office </a:t>
                      </a:r>
                      <a:r>
                        <a:rPr lang="en-GB" sz="1100" b="0" i="1" u="none" strike="noStrike" kern="1200" baseline="30000" noProof="0" dirty="0">
                          <a:solidFill>
                            <a:srgbClr val="575757"/>
                          </a:solidFill>
                          <a:effectLst/>
                          <a:latin typeface="+mn-lt"/>
                          <a:ea typeface="+mn-ea"/>
                          <a:cs typeface="+mn-cs"/>
                        </a:rPr>
                        <a:t>2</a:t>
                      </a:r>
                      <a:endParaRPr lang="en-GB" sz="1100" b="0" i="1" u="none" strike="noStrike" dirty="0">
                        <a:solidFill>
                          <a:srgbClr val="575757"/>
                        </a:solidFill>
                        <a:effectLst/>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1100" b="0" dirty="0">
                          <a:solidFill>
                            <a:srgbClr val="FFFFFF"/>
                          </a:solidFill>
                          <a:latin typeface="+mn-lt"/>
                        </a:rPr>
                        <a:t>8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494640068"/>
                  </a:ext>
                </a:extLst>
              </a:tr>
              <a:tr h="285350">
                <a:tc vMerge="1">
                  <a:txBody>
                    <a:bodyPr/>
                    <a:lstStyle/>
                    <a:p>
                      <a:pPr lvl="0">
                        <a:defRPr/>
                      </a:pPr>
                      <a:endParaRPr lang="en-US" sz="93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algn="just">
                        <a:spcBef>
                          <a:spcPts val="0"/>
                        </a:spcBef>
                        <a:spcAft>
                          <a:spcPts val="0"/>
                        </a:spcAft>
                      </a:pPr>
                      <a:endParaRPr lang="en-GB" sz="930" kern="1200" dirty="0">
                        <a:solidFill>
                          <a:srgbClr val="575757"/>
                        </a:solidFill>
                        <a:latin typeface="+mn-lt"/>
                        <a:ea typeface="+mn-ea"/>
                        <a:cs typeface="+mn-cs"/>
                      </a:endParaRPr>
                    </a:p>
                  </a:txBody>
                  <a:tcPr marL="68580" marR="68580" marT="0" marB="0">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1" u="none" strike="noStrike" dirty="0">
                          <a:solidFill>
                            <a:srgbClr val="575757"/>
                          </a:solidFill>
                          <a:effectLst/>
                          <a:latin typeface="+mn-lt"/>
                        </a:rPr>
                        <a:t>At Client Sites </a:t>
                      </a:r>
                      <a:r>
                        <a:rPr lang="en-GB" sz="1100" b="0" i="1" u="none" strike="noStrike" kern="1200" baseline="30000" noProof="0" dirty="0">
                          <a:solidFill>
                            <a:srgbClr val="575757"/>
                          </a:solidFill>
                          <a:effectLst/>
                          <a:latin typeface="+mn-lt"/>
                          <a:ea typeface="+mn-ea"/>
                          <a:cs typeface="+mn-cs"/>
                        </a:rPr>
                        <a:t>2</a:t>
                      </a:r>
                      <a:endParaRPr lang="en-GB" sz="1100" b="0" i="1" u="none" strike="noStrike" dirty="0">
                        <a:solidFill>
                          <a:srgbClr val="575757"/>
                        </a:solidFill>
                        <a:effectLst/>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1100" b="0" dirty="0">
                          <a:solidFill>
                            <a:srgbClr val="575757"/>
                          </a:solidFill>
                          <a:latin typeface="+mn-lt"/>
                        </a:rPr>
                        <a:t>5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166658391"/>
                  </a:ext>
                </a:extLst>
              </a:tr>
              <a:tr h="285350">
                <a:tc vMerge="1">
                  <a:txBody>
                    <a:bodyPr/>
                    <a:lstStyle/>
                    <a:p>
                      <a:pPr lvl="0">
                        <a:defRPr/>
                      </a:pPr>
                      <a:endParaRPr lang="en-US" sz="93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algn="just">
                        <a:spcBef>
                          <a:spcPts val="0"/>
                        </a:spcBef>
                        <a:spcAft>
                          <a:spcPts val="0"/>
                        </a:spcAft>
                      </a:pPr>
                      <a:endParaRPr lang="en-GB" sz="930" kern="1200" dirty="0">
                        <a:solidFill>
                          <a:srgbClr val="575757"/>
                        </a:solidFill>
                        <a:latin typeface="+mn-lt"/>
                        <a:ea typeface="+mn-ea"/>
                        <a:cs typeface="+mn-cs"/>
                      </a:endParaRPr>
                    </a:p>
                  </a:txBody>
                  <a:tcPr marL="68580" marR="68580" marT="0" marB="0">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3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1" u="none" strike="noStrike" dirty="0">
                          <a:solidFill>
                            <a:srgbClr val="575757"/>
                          </a:solidFill>
                          <a:effectLst/>
                          <a:latin typeface="+mn-lt"/>
                        </a:rPr>
                        <a:t>On-the-Go </a:t>
                      </a:r>
                      <a:r>
                        <a:rPr lang="en-GB" sz="1100" b="0" i="1" u="none" strike="noStrike" kern="1200" baseline="30000" noProof="0" dirty="0">
                          <a:solidFill>
                            <a:srgbClr val="575757"/>
                          </a:solidFill>
                          <a:effectLst/>
                          <a:latin typeface="+mn-lt"/>
                          <a:ea typeface="+mn-ea"/>
                          <a:cs typeface="+mn-cs"/>
                        </a:rPr>
                        <a:t>3</a:t>
                      </a:r>
                      <a:endParaRPr lang="en-GB" sz="1100" b="0" i="1" u="none" strike="noStrike" dirty="0">
                        <a:solidFill>
                          <a:srgbClr val="575757"/>
                        </a:solidFill>
                        <a:effectLst/>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1100" b="0" dirty="0">
                          <a:solidFill>
                            <a:srgbClr val="575757"/>
                          </a:solidFill>
                          <a:latin typeface="+mn-lt"/>
                        </a:rPr>
                        <a:t>7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442949078"/>
                  </a:ext>
                </a:extLst>
              </a:tr>
              <a:tr h="923192">
                <a:tc>
                  <a:txBody>
                    <a:bodyPr/>
                    <a:lstStyle/>
                    <a:p>
                      <a:pPr lvl="0">
                        <a:defRPr/>
                      </a:pPr>
                      <a:r>
                        <a:rPr lang="en-US" sz="1100" dirty="0">
                          <a:solidFill>
                            <a:srgbClr val="575757"/>
                          </a:solidFill>
                          <a:latin typeface="+mn-lt"/>
                        </a:rPr>
                        <a:t>P3</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algn="l">
                        <a:spcBef>
                          <a:spcPts val="0"/>
                        </a:spcBef>
                        <a:spcAft>
                          <a:spcPts val="0"/>
                        </a:spcAft>
                      </a:pPr>
                      <a:r>
                        <a:rPr lang="en-GB" sz="1100" kern="1200" dirty="0">
                          <a:solidFill>
                            <a:srgbClr val="575757"/>
                          </a:solidFill>
                          <a:latin typeface="+mn-lt"/>
                          <a:ea typeface="+mn-ea"/>
                          <a:cs typeface="+mn-cs"/>
                        </a:rPr>
                        <a:t>I need the right guidance &amp; processes to utilize the technology I have, to work effectively with my team &amp; clients from anywhere (hybrid working)</a:t>
                      </a:r>
                    </a:p>
                  </a:txBody>
                  <a:tcPr marL="68580" marR="68580" marT="0" marB="0">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Jackson-DeJoie</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dirty="0">
                          <a:solidFill>
                            <a:srgbClr val="575757"/>
                          </a:solidFill>
                          <a:effectLst/>
                          <a:latin typeface="+mn-lt"/>
                        </a:rPr>
                        <a:t>TBC</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mn-lt"/>
                          <a:ea typeface="+mn-ea"/>
                          <a:cs typeface="+mn-cs"/>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809439981"/>
                  </a:ext>
                </a:extLst>
              </a:tr>
              <a:tr h="469989">
                <a:tc>
                  <a:txBody>
                    <a:bodyPr/>
                    <a:lstStyle/>
                    <a:p>
                      <a:pPr lvl="0">
                        <a:defRPr/>
                      </a:pPr>
                      <a:r>
                        <a:rPr lang="en-US" sz="1100" dirty="0">
                          <a:solidFill>
                            <a:srgbClr val="575757"/>
                          </a:solidFill>
                          <a:latin typeface="+mn-lt"/>
                        </a:rPr>
                        <a:t>P4</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algn="l">
                        <a:spcBef>
                          <a:spcPts val="0"/>
                        </a:spcBef>
                        <a:spcAft>
                          <a:spcPts val="0"/>
                        </a:spcAft>
                      </a:pPr>
                      <a:r>
                        <a:rPr lang="en-GB" sz="1100" kern="1200" dirty="0">
                          <a:solidFill>
                            <a:srgbClr val="575757"/>
                          </a:solidFill>
                          <a:latin typeface="+mn-lt"/>
                          <a:ea typeface="+mn-ea"/>
                          <a:cs typeface="+mn-cs"/>
                        </a:rPr>
                        <a:t>Streamline &amp; integrate the IT tools I use for collab. (e.g., MS Teams)</a:t>
                      </a:r>
                    </a:p>
                  </a:txBody>
                  <a:tcPr marL="68580" marR="68580" marT="0" marB="0">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Jackson-DeJoie</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dirty="0">
                          <a:solidFill>
                            <a:srgbClr val="575757"/>
                          </a:solidFill>
                          <a:effectLst/>
                          <a:latin typeface="+mn-lt"/>
                        </a:rPr>
                        <a:t>MS Team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mn-lt"/>
                          <a:ea typeface="+mn-ea"/>
                          <a:cs typeface="+mn-cs"/>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Trebuchet MS"/>
                          <a:ea typeface="+mn-ea"/>
                          <a:cs typeface="+mn-cs"/>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Trebuchet MS"/>
                          <a:ea typeface="+mn-ea"/>
                          <a:cs typeface="+mn-cs"/>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927849632"/>
                  </a:ext>
                </a:extLst>
              </a:tr>
              <a:tr h="551069">
                <a:tc>
                  <a:txBody>
                    <a:bodyPr/>
                    <a:lstStyle/>
                    <a:p>
                      <a:pPr lvl="0">
                        <a:defRPr/>
                      </a:pPr>
                      <a:r>
                        <a:rPr lang="en-US" sz="1100" dirty="0">
                          <a:solidFill>
                            <a:srgbClr val="575757"/>
                          </a:solidFill>
                          <a:latin typeface="+mn-lt"/>
                        </a:rPr>
                        <a:t>P5</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lvl="0" algn="l">
                        <a:defRPr/>
                      </a:pPr>
                      <a:r>
                        <a:rPr lang="en-US" sz="1100" dirty="0">
                          <a:solidFill>
                            <a:srgbClr val="575757"/>
                          </a:solidFill>
                          <a:latin typeface="+mn-lt"/>
                        </a:rPr>
                        <a:t>Enable Co-Authoring so that multiple people can work on a fil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Jackson-DeJoie</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1" u="none" strike="noStrike" dirty="0">
                          <a:solidFill>
                            <a:srgbClr val="575757"/>
                          </a:solidFill>
                          <a:effectLst/>
                          <a:latin typeface="+mn-lt"/>
                        </a:rPr>
                        <a:t>One Driv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1" u="none" strike="noStrike" dirty="0">
                          <a:solidFill>
                            <a:srgbClr val="575757"/>
                          </a:solidFill>
                          <a:effectLst/>
                          <a:latin typeface="+mn-lt"/>
                        </a:rPr>
                        <a:t>(Co-authoring Files) </a:t>
                      </a:r>
                      <a:r>
                        <a:rPr lang="en-GB" sz="1100" b="0" i="1" u="none" strike="noStrike" kern="1200" baseline="30000" noProof="0" dirty="0">
                          <a:solidFill>
                            <a:srgbClr val="575757"/>
                          </a:solidFill>
                          <a:effectLst/>
                          <a:latin typeface="+mn-lt"/>
                          <a:ea typeface="+mn-ea"/>
                          <a:cs typeface="+mn-cs"/>
                        </a:rPr>
                        <a:t>3</a:t>
                      </a:r>
                      <a:endParaRPr lang="en-GB" sz="1100" b="0" i="1" u="none" strike="noStrike" dirty="0">
                        <a:solidFill>
                          <a:srgbClr val="575757"/>
                        </a:solidFill>
                        <a:effectLst/>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Trebuchet MS"/>
                          <a:ea typeface="+mn-ea"/>
                          <a:cs typeface="+mn-cs"/>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Trebuchet MS"/>
                          <a:ea typeface="+mn-ea"/>
                          <a:cs typeface="+mn-cs"/>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1100" b="0" dirty="0">
                          <a:solidFill>
                            <a:srgbClr val="575757"/>
                          </a:solidFill>
                          <a:latin typeface="+mn-lt"/>
                        </a:rPr>
                        <a:t>5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E71C57"/>
                          </a:solidFill>
                          <a:latin typeface="Wingdings 3" panose="05040102010807070707" pitchFamily="18" charset="2"/>
                        </a:rPr>
                        <a:t>q </a:t>
                      </a:r>
                      <a:r>
                        <a:rPr lang="en-US" sz="1100" b="0" dirty="0">
                          <a:solidFill>
                            <a:srgbClr val="575757"/>
                          </a:solidFill>
                          <a:latin typeface="+mn-lt"/>
                        </a:rPr>
                        <a:t>2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extLst>
                  <a:ext uri="{0D108BD9-81ED-4DB2-BD59-A6C34878D82A}">
                    <a16:rowId xmlns:a16="http://schemas.microsoft.com/office/drawing/2014/main" val="10002"/>
                  </a:ext>
                </a:extLst>
              </a:tr>
              <a:tr h="469989">
                <a:tc>
                  <a:txBody>
                    <a:bodyPr/>
                    <a:lstStyle/>
                    <a:p>
                      <a:pPr lvl="0">
                        <a:defRPr/>
                      </a:pPr>
                      <a:r>
                        <a:rPr lang="en-US" sz="1100" dirty="0">
                          <a:solidFill>
                            <a:srgbClr val="575757"/>
                          </a:solidFill>
                          <a:latin typeface="+mn-lt"/>
                        </a:rPr>
                        <a:t>P6</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lvl="0" algn="l" defTabSz="914400" rtl="0" eaLnBrk="1" latinLnBrk="0" hangingPunct="1">
                        <a:defRPr/>
                      </a:pPr>
                      <a:r>
                        <a:rPr lang="en-US" sz="1100" kern="1200" dirty="0">
                          <a:solidFill>
                            <a:srgbClr val="575757"/>
                          </a:solidFill>
                          <a:latin typeface="+mn-lt"/>
                          <a:ea typeface="+mn-ea"/>
                          <a:cs typeface="+mn-cs"/>
                          <a:sym typeface="Trebuchet MS" panose="020B0603020202020204" pitchFamily="34" charset="0"/>
                        </a:rPr>
                        <a:t>Provide me google like search across the intranet</a:t>
                      </a:r>
                      <a:endParaRPr lang="en-US" sz="110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Patterson</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dirty="0">
                          <a:solidFill>
                            <a:srgbClr val="575757"/>
                          </a:solidFill>
                          <a:effectLst/>
                          <a:latin typeface="+mn-lt"/>
                        </a:rPr>
                        <a:t>Search (Overall)</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algn="ctr" defTabSz="914400" rtl="0" eaLnBrk="1" latinLnBrk="0" hangingPunct="1"/>
                      <a:r>
                        <a:rPr lang="en-US" sz="1100" kern="1200" dirty="0">
                          <a:solidFill>
                            <a:srgbClr val="575757"/>
                          </a:solidFill>
                          <a:latin typeface="+mn-lt"/>
                          <a:ea typeface="+mn-ea"/>
                          <a:cs typeface="+mn-cs"/>
                        </a:rPr>
                        <a:t>5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5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5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dirty="0">
                          <a:solidFill>
                            <a:srgbClr val="E71C57"/>
                          </a:solidFill>
                          <a:latin typeface="Wingdings 3" panose="05040102010807070707" pitchFamily="18" charset="2"/>
                        </a:rPr>
                        <a:t>q </a:t>
                      </a:r>
                      <a:r>
                        <a:rPr lang="en-US" sz="1100" kern="1200" dirty="0">
                          <a:solidFill>
                            <a:srgbClr val="575757"/>
                          </a:solidFill>
                          <a:latin typeface="+mn-lt"/>
                          <a:ea typeface="+mn-ea"/>
                          <a:cs typeface="+mn-cs"/>
                        </a:rPr>
                        <a:t>13%</a:t>
                      </a:r>
                      <a:endPar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45777">
                <a:tc rowSpan="2">
                  <a:txBody>
                    <a:bodyPr/>
                    <a:lstStyle/>
                    <a:p>
                      <a:pPr lvl="0">
                        <a:defRPr/>
                      </a:pPr>
                      <a:r>
                        <a:rPr lang="en-US" sz="1100" dirty="0">
                          <a:solidFill>
                            <a:srgbClr val="575757"/>
                          </a:solidFill>
                          <a:latin typeface="+mn-lt"/>
                        </a:rPr>
                        <a:t>P7</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sym typeface="Trebuchet MS" panose="020B0603020202020204" pitchFamily="34" charset="0"/>
                        </a:rPr>
                        <a:t>Balance background &amp; security processes with laptop performanc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algn="ctr"/>
                      <a:r>
                        <a:rPr lang="en-US" sz="1100" dirty="0">
                          <a:solidFill>
                            <a:srgbClr val="575757"/>
                          </a:solidFill>
                          <a:latin typeface="+mn-lt"/>
                        </a:rPr>
                        <a:t>Zoeckle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dirty="0">
                          <a:solidFill>
                            <a:srgbClr val="575757"/>
                          </a:solidFill>
                          <a:effectLst/>
                          <a:latin typeface="+mn-lt"/>
                        </a:rPr>
                        <a:t>Laptop – Stability</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56</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59</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60</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E71C57"/>
                          </a:solidFill>
                          <a:latin typeface="Wingdings 3" panose="05040102010807070707" pitchFamily="18" charset="2"/>
                        </a:rPr>
                        <a:t>q </a:t>
                      </a:r>
                      <a:r>
                        <a:rPr lang="en-US" sz="1100" kern="1200" dirty="0">
                          <a:solidFill>
                            <a:srgbClr val="575757"/>
                          </a:solidFill>
                          <a:latin typeface="+mn-lt"/>
                          <a:ea typeface="+mn-ea"/>
                          <a:cs typeface="+mn-cs"/>
                        </a:rPr>
                        <a:t>20%</a:t>
                      </a:r>
                      <a:endPar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extLst>
                  <a:ext uri="{0D108BD9-81ED-4DB2-BD59-A6C34878D82A}">
                    <a16:rowId xmlns:a16="http://schemas.microsoft.com/office/drawing/2014/main" val="3012578451"/>
                  </a:ext>
                </a:extLst>
              </a:tr>
              <a:tr h="395641">
                <a:tc vMerge="1">
                  <a:txBody>
                    <a:bodyPr/>
                    <a:lstStyle/>
                    <a:p>
                      <a:pPr lvl="0">
                        <a:defRPr/>
                      </a:pPr>
                      <a:endParaRPr lang="en-US" sz="93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30" kern="1200" dirty="0">
                        <a:solidFill>
                          <a:srgbClr val="575757"/>
                        </a:solidFill>
                        <a:latin typeface="+mn-lt"/>
                        <a:ea typeface="+mn-ea"/>
                        <a:cs typeface="+mn-cs"/>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algn="ctr"/>
                      <a:endParaRPr lang="en-US" sz="93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dirty="0">
                          <a:solidFill>
                            <a:srgbClr val="575757"/>
                          </a:solidFill>
                          <a:effectLst/>
                          <a:latin typeface="+mn-lt"/>
                        </a:rPr>
                        <a:t>Laptop Performanc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49</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59</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58</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E71C57"/>
                          </a:solidFill>
                          <a:latin typeface="Wingdings 3" panose="05040102010807070707" pitchFamily="18" charset="2"/>
                        </a:rPr>
                        <a:t>q </a:t>
                      </a:r>
                      <a:r>
                        <a:rPr lang="en-US" sz="1100" kern="1200" dirty="0">
                          <a:solidFill>
                            <a:srgbClr val="575757"/>
                          </a:solidFill>
                          <a:latin typeface="+mn-lt"/>
                          <a:ea typeface="+mn-ea"/>
                          <a:cs typeface="+mn-cs"/>
                        </a:rPr>
                        <a:t>22%</a:t>
                      </a:r>
                      <a:endPar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extLst>
                  <a:ext uri="{0D108BD9-81ED-4DB2-BD59-A6C34878D82A}">
                    <a16:rowId xmlns:a16="http://schemas.microsoft.com/office/drawing/2014/main" val="1208542626"/>
                  </a:ext>
                </a:extLst>
              </a:tr>
              <a:tr h="469989">
                <a:tc>
                  <a:txBody>
                    <a:bodyPr/>
                    <a:lstStyle/>
                    <a:p>
                      <a:pPr lvl="0">
                        <a:defRPr/>
                      </a:pPr>
                      <a:r>
                        <a:rPr lang="en-US" sz="1100" dirty="0">
                          <a:solidFill>
                            <a:srgbClr val="575757"/>
                          </a:solidFill>
                          <a:latin typeface="+mn-lt"/>
                        </a:rPr>
                        <a:t>P8</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kern="1200" dirty="0">
                          <a:solidFill>
                            <a:srgbClr val="575757"/>
                          </a:solidFill>
                          <a:latin typeface="+mn-lt"/>
                          <a:ea typeface="+mn-ea"/>
                          <a:cs typeface="+mn-cs"/>
                        </a:rPr>
                        <a:t>Ability to collaborate on ideas using virtual whiteboarding tools</a:t>
                      </a:r>
                      <a:endParaRPr lang="en-US" sz="1100" kern="1200" dirty="0">
                        <a:solidFill>
                          <a:srgbClr val="575757"/>
                        </a:solidFill>
                        <a:latin typeface="+mn-lt"/>
                        <a:ea typeface="+mn-ea"/>
                        <a:cs typeface="+mn-cs"/>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latin typeface="+mn-lt"/>
                        </a:rPr>
                        <a:t>Jackson-DeJoie</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dirty="0">
                          <a:solidFill>
                            <a:srgbClr val="575757"/>
                          </a:solidFill>
                          <a:effectLst/>
                          <a:latin typeface="+mn-lt"/>
                        </a:rPr>
                        <a:t>Whiteboarding</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100" kern="1200" dirty="0">
                        <a:solidFill>
                          <a:srgbClr val="FFFFFF"/>
                        </a:solidFill>
                        <a:latin typeface="+mn-lt"/>
                        <a:ea typeface="+mn-ea"/>
                        <a:cs typeface="+mn-cs"/>
                      </a:endParaRP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100" kern="1200" dirty="0">
                        <a:solidFill>
                          <a:srgbClr val="575757"/>
                        </a:solidFill>
                        <a:latin typeface="+mn-lt"/>
                        <a:ea typeface="+mn-ea"/>
                        <a:cs typeface="+mn-cs"/>
                      </a:endParaRP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100" kern="1200" dirty="0">
                        <a:solidFill>
                          <a:srgbClr val="575757"/>
                        </a:solidFill>
                        <a:latin typeface="+mn-lt"/>
                        <a:ea typeface="+mn-ea"/>
                        <a:cs typeface="+mn-cs"/>
                      </a:endParaRP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endParaRPr lang="en-US" sz="11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1799235878"/>
                  </a:ext>
                </a:extLst>
              </a:tr>
            </a:tbl>
          </a:graphicData>
        </a:graphic>
      </p:graphicFrame>
      <p:sp>
        <p:nvSpPr>
          <p:cNvPr id="17" name="Rectangle 16">
            <a:extLst>
              <a:ext uri="{FF2B5EF4-FFF2-40B4-BE49-F238E27FC236}">
                <a16:creationId xmlns:a16="http://schemas.microsoft.com/office/drawing/2014/main" id="{D62928BB-5284-48E8-AF32-808FF8EA173B}"/>
              </a:ext>
            </a:extLst>
          </p:cNvPr>
          <p:cNvSpPr/>
          <p:nvPr/>
        </p:nvSpPr>
        <p:spPr>
          <a:xfrm>
            <a:off x="0" y="0"/>
            <a:ext cx="2620211"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0" name="Title 1">
            <a:extLst>
              <a:ext uri="{FF2B5EF4-FFF2-40B4-BE49-F238E27FC236}">
                <a16:creationId xmlns:a16="http://schemas.microsoft.com/office/drawing/2014/main" id="{19B6C6DF-6A4F-4DE2-B127-26333A798904}"/>
              </a:ext>
            </a:extLst>
          </p:cNvPr>
          <p:cNvSpPr>
            <a:spLocks noGrp="1"/>
          </p:cNvSpPr>
          <p:nvPr>
            <p:ph type="title"/>
          </p:nvPr>
        </p:nvSpPr>
        <p:spPr>
          <a:xfrm>
            <a:off x="192379" y="2697054"/>
            <a:ext cx="2193410" cy="1689693"/>
          </a:xfrm>
        </p:spPr>
        <p:txBody>
          <a:bodyPr vert="horz"/>
          <a:lstStyle/>
          <a:p>
            <a:r>
              <a:rPr lang="en-GB" sz="2800" dirty="0">
                <a:solidFill>
                  <a:srgbClr val="295E7E"/>
                </a:solidFill>
              </a:rPr>
              <a:t>E-SAT Trends</a:t>
            </a:r>
            <a:br>
              <a:rPr lang="en-GB" sz="2800" dirty="0">
                <a:solidFill>
                  <a:srgbClr val="295E7E"/>
                </a:solidFill>
              </a:rPr>
            </a:br>
            <a:br>
              <a:rPr lang="en-GB" sz="2800" dirty="0">
                <a:solidFill>
                  <a:srgbClr val="295E7E"/>
                </a:solidFill>
              </a:rPr>
            </a:br>
            <a:r>
              <a:rPr lang="en-GB" sz="2200" i="1" dirty="0">
                <a:solidFill>
                  <a:srgbClr val="295E7E"/>
                </a:solidFill>
              </a:rPr>
              <a:t>Against our Employee Centric Priorities </a:t>
            </a:r>
            <a:endParaRPr lang="en-US" sz="1400" i="1" dirty="0">
              <a:solidFill>
                <a:srgbClr val="295E7E"/>
              </a:solidFill>
            </a:endParaRPr>
          </a:p>
        </p:txBody>
      </p:sp>
      <p:sp>
        <p:nvSpPr>
          <p:cNvPr id="5" name="Rectangle 4">
            <a:extLst>
              <a:ext uri="{FF2B5EF4-FFF2-40B4-BE49-F238E27FC236}">
                <a16:creationId xmlns:a16="http://schemas.microsoft.com/office/drawing/2014/main" id="{FF56A5E2-6440-4A99-86C5-35B5E25A0998}"/>
              </a:ext>
            </a:extLst>
          </p:cNvPr>
          <p:cNvSpPr/>
          <p:nvPr/>
        </p:nvSpPr>
        <p:spPr>
          <a:xfrm>
            <a:off x="10679420" y="-15315"/>
            <a:ext cx="1512580" cy="6868601"/>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Rectangle 1">
            <a:extLst>
              <a:ext uri="{FF2B5EF4-FFF2-40B4-BE49-F238E27FC236}">
                <a16:creationId xmlns:a16="http://schemas.microsoft.com/office/drawing/2014/main" id="{6DA9D498-0686-460B-B00E-919792410C2F}"/>
              </a:ext>
            </a:extLst>
          </p:cNvPr>
          <p:cNvSpPr/>
          <p:nvPr/>
        </p:nvSpPr>
        <p:spPr>
          <a:xfrm>
            <a:off x="0" y="6278252"/>
            <a:ext cx="2620211" cy="56443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i="1" dirty="0">
                <a:solidFill>
                  <a:srgbClr val="575757"/>
                </a:solidFill>
              </a:rPr>
              <a:t>Note – where there are blank cells in the chart, the method for obtaining E-SAT is in the process of being defined</a:t>
            </a:r>
          </a:p>
        </p:txBody>
      </p:sp>
    </p:spTree>
    <p:extLst>
      <p:ext uri="{BB962C8B-B14F-4D97-AF65-F5344CB8AC3E}">
        <p14:creationId xmlns:p14="http://schemas.microsoft.com/office/powerpoint/2010/main" val="260990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92" name="think-cell Slide" r:id="rId6" imgW="473" imgH="473" progId="TCLayout.ActiveDocument.1">
                  <p:embed/>
                </p:oleObj>
              </mc:Choice>
              <mc:Fallback>
                <p:oleObj name="think-cell Slide" r:id="rId6" imgW="473" imgH="473"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F9BDF0D4-A861-4D43-9D9F-61B67B738D8E}"/>
              </a:ext>
            </a:extLst>
          </p:cNvPr>
          <p:cNvGraphicFramePr>
            <a:graphicFrameLocks noGrp="1"/>
          </p:cNvGraphicFramePr>
          <p:nvPr>
            <p:extLst>
              <p:ext uri="{D42A27DB-BD31-4B8C-83A1-F6EECF244321}">
                <p14:modId xmlns:p14="http://schemas.microsoft.com/office/powerpoint/2010/main" val="4038351110"/>
              </p:ext>
            </p:extLst>
          </p:nvPr>
        </p:nvGraphicFramePr>
        <p:xfrm>
          <a:off x="2662368" y="-30308"/>
          <a:ext cx="9498363" cy="6888307"/>
        </p:xfrm>
        <a:graphic>
          <a:graphicData uri="http://schemas.openxmlformats.org/drawingml/2006/table">
            <a:tbl>
              <a:tblPr>
                <a:tableStyleId>{0E3FDE45-AF77-4B5C-9715-49D594BDF05E}</a:tableStyleId>
              </a:tblPr>
              <a:tblGrid>
                <a:gridCol w="412083">
                  <a:extLst>
                    <a:ext uri="{9D8B030D-6E8A-4147-A177-3AD203B41FA5}">
                      <a16:colId xmlns:a16="http://schemas.microsoft.com/office/drawing/2014/main" val="1134790770"/>
                    </a:ext>
                  </a:extLst>
                </a:gridCol>
                <a:gridCol w="3069871">
                  <a:extLst>
                    <a:ext uri="{9D8B030D-6E8A-4147-A177-3AD203B41FA5}">
                      <a16:colId xmlns:a16="http://schemas.microsoft.com/office/drawing/2014/main" val="20001"/>
                    </a:ext>
                  </a:extLst>
                </a:gridCol>
                <a:gridCol w="913229">
                  <a:extLst>
                    <a:ext uri="{9D8B030D-6E8A-4147-A177-3AD203B41FA5}">
                      <a16:colId xmlns:a16="http://schemas.microsoft.com/office/drawing/2014/main" val="20002"/>
                    </a:ext>
                  </a:extLst>
                </a:gridCol>
                <a:gridCol w="1384230">
                  <a:extLst>
                    <a:ext uri="{9D8B030D-6E8A-4147-A177-3AD203B41FA5}">
                      <a16:colId xmlns:a16="http://schemas.microsoft.com/office/drawing/2014/main" val="1216618465"/>
                    </a:ext>
                  </a:extLst>
                </a:gridCol>
                <a:gridCol w="744318">
                  <a:extLst>
                    <a:ext uri="{9D8B030D-6E8A-4147-A177-3AD203B41FA5}">
                      <a16:colId xmlns:a16="http://schemas.microsoft.com/office/drawing/2014/main" val="1035057440"/>
                    </a:ext>
                  </a:extLst>
                </a:gridCol>
                <a:gridCol w="744318">
                  <a:extLst>
                    <a:ext uri="{9D8B030D-6E8A-4147-A177-3AD203B41FA5}">
                      <a16:colId xmlns:a16="http://schemas.microsoft.com/office/drawing/2014/main" val="244798498"/>
                    </a:ext>
                  </a:extLst>
                </a:gridCol>
                <a:gridCol w="744318">
                  <a:extLst>
                    <a:ext uri="{9D8B030D-6E8A-4147-A177-3AD203B41FA5}">
                      <a16:colId xmlns:a16="http://schemas.microsoft.com/office/drawing/2014/main" val="959635603"/>
                    </a:ext>
                  </a:extLst>
                </a:gridCol>
                <a:gridCol w="727478">
                  <a:extLst>
                    <a:ext uri="{9D8B030D-6E8A-4147-A177-3AD203B41FA5}">
                      <a16:colId xmlns:a16="http://schemas.microsoft.com/office/drawing/2014/main" val="140476507"/>
                    </a:ext>
                  </a:extLst>
                </a:gridCol>
                <a:gridCol w="758518">
                  <a:extLst>
                    <a:ext uri="{9D8B030D-6E8A-4147-A177-3AD203B41FA5}">
                      <a16:colId xmlns:a16="http://schemas.microsoft.com/office/drawing/2014/main" val="3000775947"/>
                    </a:ext>
                  </a:extLst>
                </a:gridCol>
              </a:tblGrid>
              <a:tr h="859962">
                <a:tc gridSpan="2">
                  <a:txBody>
                    <a:bodyPr/>
                    <a:lstStyle/>
                    <a:p>
                      <a:pPr lvl="0">
                        <a:defRPr/>
                      </a:pPr>
                      <a:r>
                        <a:rPr lang="en-US" sz="1800" b="1" i="1" dirty="0">
                          <a:solidFill>
                            <a:srgbClr val="29BA74"/>
                          </a:solidFill>
                          <a:latin typeface="+mn-lt"/>
                        </a:rPr>
                        <a:t>PRIORITY</a:t>
                      </a:r>
                      <a:endParaRPr lang="en-US" sz="1800" b="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hMerge="1">
                  <a:txBody>
                    <a:bodyPr/>
                    <a:lstStyle/>
                    <a:p>
                      <a:pPr lvl="0">
                        <a:defRPr/>
                      </a:pPr>
                      <a:r>
                        <a:rPr lang="en-US" sz="930" b="0" dirty="0">
                          <a:solidFill>
                            <a:srgbClr val="575757"/>
                          </a:solidFill>
                          <a:latin typeface="+mn-lt"/>
                        </a:rPr>
                        <a:t>PRIORITY</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100" dirty="0">
                          <a:solidFill>
                            <a:srgbClr val="575757"/>
                          </a:solidFill>
                          <a:latin typeface="+mn-lt"/>
                        </a:rPr>
                        <a:t>Owne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u="none" strike="noStrike" dirty="0">
                          <a:solidFill>
                            <a:srgbClr val="575757"/>
                          </a:solidFill>
                          <a:effectLst/>
                          <a:latin typeface="+mn-lt"/>
                        </a:rPr>
                        <a:t>Service / Produc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100" b="0" dirty="0">
                          <a:solidFill>
                            <a:srgbClr val="575757"/>
                          </a:solidFill>
                          <a:latin typeface="+mn-lt"/>
                        </a:rPr>
                        <a:t>2019 Average</a:t>
                      </a:r>
                    </a:p>
                    <a:p>
                      <a:pPr algn="ctr"/>
                      <a:r>
                        <a:rPr lang="en-US" sz="11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100" b="0" dirty="0">
                          <a:solidFill>
                            <a:srgbClr val="575757"/>
                          </a:solidFill>
                          <a:latin typeface="+mn-lt"/>
                        </a:rPr>
                        <a:t>2020 </a:t>
                      </a:r>
                    </a:p>
                    <a:p>
                      <a:pPr algn="ctr"/>
                      <a:r>
                        <a:rPr lang="en-US" sz="1100" b="0" dirty="0">
                          <a:solidFill>
                            <a:srgbClr val="575757"/>
                          </a:solidFill>
                          <a:latin typeface="+mn-lt"/>
                        </a:rPr>
                        <a:t>Average</a:t>
                      </a:r>
                    </a:p>
                    <a:p>
                      <a:pPr algn="ctr"/>
                      <a:r>
                        <a:rPr lang="en-US" sz="11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100" b="0" dirty="0">
                          <a:solidFill>
                            <a:srgbClr val="575757"/>
                          </a:solidFill>
                          <a:latin typeface="+mn-lt"/>
                        </a:rPr>
                        <a:t>2021</a:t>
                      </a:r>
                    </a:p>
                    <a:p>
                      <a:pPr algn="ctr"/>
                      <a:r>
                        <a:rPr lang="en-US" sz="1100" b="0" dirty="0">
                          <a:solidFill>
                            <a:srgbClr val="575757"/>
                          </a:solidFill>
                          <a:latin typeface="+mn-lt"/>
                        </a:rPr>
                        <a:t>Average</a:t>
                      </a:r>
                    </a:p>
                    <a:p>
                      <a:pPr algn="ctr"/>
                      <a:r>
                        <a:rPr lang="en-US" sz="1100" b="0" dirty="0">
                          <a:solidFill>
                            <a:srgbClr val="575757"/>
                          </a:solidFill>
                          <a:latin typeface="+mn-lt"/>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575757"/>
                          </a:solidFill>
                          <a:latin typeface="+mn-lt"/>
                        </a:rPr>
                        <a:t>Best-in-Class (BI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575757"/>
                          </a:solidFill>
                          <a:latin typeface="+mn-lt"/>
                        </a:rPr>
                        <a:t>Targe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noFill/>
                  </a:tcPr>
                </a:tc>
                <a:tc>
                  <a:txBody>
                    <a:bodyPr/>
                    <a:lstStyle/>
                    <a:p>
                      <a:pPr algn="ctr"/>
                      <a:r>
                        <a:rPr lang="en-US" sz="1100" b="0" dirty="0">
                          <a:solidFill>
                            <a:srgbClr val="575757"/>
                          </a:solidFill>
                          <a:latin typeface="+mn-lt"/>
                        </a:rPr>
                        <a:t>BIC vs. 2021 Avg.</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extLst>
                  <a:ext uri="{0D108BD9-81ED-4DB2-BD59-A6C34878D82A}">
                    <a16:rowId xmlns:a16="http://schemas.microsoft.com/office/drawing/2014/main" val="3460961722"/>
                  </a:ext>
                </a:extLst>
              </a:tr>
              <a:tr h="481578">
                <a:tc rowSpan="5">
                  <a:txBody>
                    <a:bodyPr/>
                    <a:lstStyle/>
                    <a:p>
                      <a:pPr lvl="0">
                        <a:defRPr/>
                      </a:pPr>
                      <a:r>
                        <a:rPr lang="en-US" sz="1100" dirty="0">
                          <a:solidFill>
                            <a:srgbClr val="575757"/>
                          </a:solidFill>
                          <a:latin typeface="+mn-lt"/>
                        </a:rPr>
                        <a:t>P9</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5">
                  <a:txBody>
                    <a:bodyPr/>
                    <a:lstStyle/>
                    <a:p>
                      <a:pPr lvl="0">
                        <a:defRPr/>
                      </a:pPr>
                      <a:r>
                        <a:rPr lang="en-US" sz="1100" dirty="0">
                          <a:solidFill>
                            <a:srgbClr val="575757"/>
                          </a:solidFill>
                          <a:latin typeface="+mn-lt"/>
                        </a:rPr>
                        <a:t>Improve how I share files externally &amp; collaborate with others on file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Jackson-DeJoi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i="0" kern="1200" dirty="0">
                          <a:solidFill>
                            <a:srgbClr val="575757"/>
                          </a:solidFill>
                          <a:latin typeface="+mn-lt"/>
                          <a:ea typeface="+mn-ea"/>
                          <a:cs typeface="+mn-cs"/>
                        </a:rPr>
                        <a:t>Egnyte - Filesharing</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algn="ctr"/>
                      <a:r>
                        <a:rPr lang="en-US" sz="1100" kern="1200" dirty="0">
                          <a:solidFill>
                            <a:srgbClr val="575757"/>
                          </a:solidFill>
                          <a:latin typeface="+mn-lt"/>
                          <a:ea typeface="+mn-ea"/>
                          <a:cs typeface="+mn-cs"/>
                        </a:rPr>
                        <a:t>78</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7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7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100" dirty="0">
                          <a:solidFill>
                            <a:srgbClr val="FFFFFF"/>
                          </a:solidFill>
                          <a:latin typeface="+mn-lt"/>
                        </a:rPr>
                        <a:t>80%</a:t>
                      </a:r>
                      <a:endParaRPr lang="en-US" sz="11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1100" dirty="0">
                          <a:solidFill>
                            <a:srgbClr val="E71C57"/>
                          </a:solidFill>
                          <a:latin typeface="Wingdings 3" panose="05040102010807070707" pitchFamily="18" charset="2"/>
                        </a:rPr>
                        <a:t>q </a:t>
                      </a:r>
                      <a:r>
                        <a:rPr lang="en-US" sz="1100" dirty="0">
                          <a:solidFill>
                            <a:srgbClr val="FFFFFF"/>
                          </a:solidFill>
                          <a:latin typeface="Wingdings 3" panose="05040102010807070707" pitchFamily="18" charset="2"/>
                        </a:rPr>
                        <a:t>1</a:t>
                      </a:r>
                      <a:r>
                        <a:rPr lang="en-US" sz="1100" dirty="0">
                          <a:solidFill>
                            <a:srgbClr val="575757"/>
                          </a:solidFill>
                          <a:latin typeface="+mn-lt"/>
                        </a:rPr>
                        <a:t>2%</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1583882609"/>
                  </a:ext>
                </a:extLst>
              </a:tr>
              <a:tr h="481578">
                <a:tc vMerge="1">
                  <a:txBody>
                    <a:bodyPr/>
                    <a:lstStyle/>
                    <a:p>
                      <a:pPr lvl="0">
                        <a:defRPr/>
                      </a:pPr>
                      <a:endParaRPr lang="en-US" sz="100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lvl="0">
                        <a:defRPr/>
                      </a:pPr>
                      <a:endParaRPr lang="en-US" sz="100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30" kern="1200" dirty="0">
                          <a:solidFill>
                            <a:srgbClr val="575757"/>
                          </a:solidFill>
                          <a:latin typeface="+mn-lt"/>
                          <a:ea typeface="+mn-ea"/>
                          <a:cs typeface="+mn-cs"/>
                        </a:rPr>
                        <a:t>Jackson-DeJoi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i="0" kern="1200" dirty="0">
                          <a:solidFill>
                            <a:srgbClr val="575757"/>
                          </a:solidFill>
                          <a:latin typeface="+mn-lt"/>
                          <a:ea typeface="+mn-ea"/>
                          <a:cs typeface="+mn-cs"/>
                        </a:rPr>
                        <a:t>Egnyte - Collaboratio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6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6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58</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E71C57"/>
                          </a:solidFill>
                          <a:latin typeface="Wingdings 3" panose="05040102010807070707" pitchFamily="18" charset="2"/>
                        </a:rPr>
                        <a:t>q </a:t>
                      </a:r>
                      <a:r>
                        <a:rPr lang="en-US" sz="1100" dirty="0">
                          <a:solidFill>
                            <a:srgbClr val="575757"/>
                          </a:solidFill>
                          <a:latin typeface="+mn-lt"/>
                        </a:rPr>
                        <a:t>19%</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251338473"/>
                  </a:ext>
                </a:extLst>
              </a:tr>
              <a:tr h="614252">
                <a:tc vMerge="1">
                  <a:txBody>
                    <a:bodyPr/>
                    <a:lstStyle/>
                    <a:p>
                      <a:pPr lvl="0">
                        <a:defRPr/>
                      </a:pPr>
                      <a:endParaRPr lang="en-US" sz="93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lvl="0">
                        <a:defRPr/>
                      </a:pPr>
                      <a:endParaRPr lang="en-US" sz="93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3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i="1" kern="1200" dirty="0">
                          <a:solidFill>
                            <a:srgbClr val="575757"/>
                          </a:solidFill>
                          <a:latin typeface="+mn-lt"/>
                          <a:ea typeface="+mn-ea"/>
                          <a:cs typeface="+mn-cs"/>
                        </a:rPr>
                        <a:t>Working with Clients – Share Files</a:t>
                      </a:r>
                      <a:r>
                        <a:rPr lang="en-GB" sz="1100" b="0" i="1" u="none" strike="noStrike" kern="1200" baseline="30000" dirty="0">
                          <a:solidFill>
                            <a:srgbClr val="575757"/>
                          </a:solidFill>
                          <a:effectLst/>
                          <a:latin typeface="+mn-lt"/>
                          <a:ea typeface="+mn-ea"/>
                          <a:cs typeface="+mn-cs"/>
                        </a:rPr>
                        <a:t>1 4</a:t>
                      </a:r>
                      <a:endParaRPr lang="en-GB" sz="1100" i="1"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64</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61</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9%</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515796426"/>
                  </a:ext>
                </a:extLst>
              </a:tr>
              <a:tr h="787502">
                <a:tc vMerge="1">
                  <a:txBody>
                    <a:bodyPr/>
                    <a:lstStyle/>
                    <a:p>
                      <a:pPr lvl="0">
                        <a:defRPr/>
                      </a:pPr>
                      <a:endParaRPr lang="en-US" sz="93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lvl="0">
                        <a:defRPr/>
                      </a:pPr>
                      <a:endParaRPr lang="en-US" sz="93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3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i="1" kern="1200" dirty="0">
                          <a:solidFill>
                            <a:srgbClr val="575757"/>
                          </a:solidFill>
                          <a:latin typeface="+mn-lt"/>
                          <a:ea typeface="+mn-ea"/>
                          <a:cs typeface="+mn-cs"/>
                        </a:rPr>
                        <a:t>Working with Clients – Collaborate on Files </a:t>
                      </a:r>
                      <a:r>
                        <a:rPr lang="en-GB" sz="1100" b="0" i="1" u="none" strike="noStrike" kern="1200" baseline="30000" dirty="0">
                          <a:solidFill>
                            <a:srgbClr val="575757"/>
                          </a:solidFill>
                          <a:effectLst/>
                          <a:latin typeface="+mn-lt"/>
                          <a:ea typeface="+mn-ea"/>
                          <a:cs typeface="+mn-cs"/>
                        </a:rPr>
                        <a:t>4</a:t>
                      </a:r>
                      <a:endParaRPr lang="en-GB" sz="1100" i="1"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34</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35</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9A9A9A"/>
                    </a:solidFill>
                  </a:tcPr>
                </a:tc>
                <a:tc>
                  <a:txBody>
                    <a:bodyPr/>
                    <a:lstStyle/>
                    <a:p>
                      <a:pPr algn="ct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4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822872345"/>
                  </a:ext>
                </a:extLst>
              </a:tr>
              <a:tr h="481578">
                <a:tc vMerge="1">
                  <a:txBody>
                    <a:bodyPr/>
                    <a:lstStyle/>
                    <a:p>
                      <a:pPr lvl="0">
                        <a:defRPr/>
                      </a:pPr>
                      <a:endParaRPr lang="en-US" sz="90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lvl="0">
                        <a:defRPr/>
                      </a:pPr>
                      <a:endParaRPr lang="en-US" sz="90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i="1" kern="1200" dirty="0">
                          <a:solidFill>
                            <a:srgbClr val="575757"/>
                          </a:solidFill>
                          <a:latin typeface="+mn-lt"/>
                          <a:ea typeface="+mn-ea"/>
                          <a:cs typeface="+mn-cs"/>
                        </a:rPr>
                        <a:t>OneDrive – Sharing Files / Folders </a:t>
                      </a:r>
                      <a:r>
                        <a:rPr lang="en-GB" sz="1100" b="0" i="1" u="none" strike="noStrike" kern="1200" baseline="30000" dirty="0">
                          <a:solidFill>
                            <a:srgbClr val="575757"/>
                          </a:solidFill>
                          <a:effectLst/>
                          <a:latin typeface="+mn-lt"/>
                          <a:ea typeface="+mn-ea"/>
                          <a:cs typeface="+mn-cs"/>
                        </a:rPr>
                        <a:t>3</a:t>
                      </a:r>
                      <a:endParaRPr lang="en-GB" sz="1100" i="1"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Trebuchet MS"/>
                          <a:ea typeface="+mn-ea"/>
                          <a:cs typeface="+mn-cs"/>
                        </a:rPr>
                        <a:t>--</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100" kern="1200" dirty="0">
                        <a:solidFill>
                          <a:srgbClr val="575757"/>
                        </a:solidFill>
                        <a:latin typeface="+mn-lt"/>
                        <a:ea typeface="+mn-ea"/>
                        <a:cs typeface="+mn-cs"/>
                      </a:endParaRP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67</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algn="ct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4176335101"/>
                  </a:ext>
                </a:extLst>
              </a:tr>
              <a:tr h="481578">
                <a:tc>
                  <a:txBody>
                    <a:bodyPr/>
                    <a:lstStyle/>
                    <a:p>
                      <a:pPr lvl="0">
                        <a:defRPr/>
                      </a:pPr>
                      <a:r>
                        <a:rPr lang="en-US" sz="1100" dirty="0">
                          <a:solidFill>
                            <a:srgbClr val="575757"/>
                          </a:solidFill>
                          <a:latin typeface="+mn-lt"/>
                        </a:rPr>
                        <a:t>P10</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575757"/>
                          </a:solidFill>
                        </a:rPr>
                        <a:t>Improve the experience when delivering training to employee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0" kern="1200" dirty="0">
                          <a:solidFill>
                            <a:srgbClr val="575757"/>
                          </a:solidFill>
                          <a:latin typeface="+mn-lt"/>
                          <a:ea typeface="+mn-ea"/>
                          <a:cs typeface="+mn-cs"/>
                        </a:rPr>
                        <a:t>Ega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i="0" kern="1200" noProof="0" dirty="0">
                          <a:solidFill>
                            <a:srgbClr val="575757"/>
                          </a:solidFill>
                          <a:latin typeface="+mn-lt"/>
                          <a:ea typeface="+mn-ea"/>
                          <a:cs typeface="+mn-cs"/>
                        </a:rPr>
                        <a:t>Digital Learning</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59</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66</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65</a:t>
                      </a:r>
                    </a:p>
                  </a:txBody>
                  <a:tcPr marL="0" marR="73152" marT="73152" marB="73152" anchor="ctr" horzOverflow="overflow">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algn="ctr" defTabSz="914400" rtl="0" eaLnBrk="1" latinLnBrk="0" hangingPunct="1"/>
                      <a:r>
                        <a:rPr lang="en-US" sz="1100" dirty="0">
                          <a:solidFill>
                            <a:srgbClr val="E71C57"/>
                          </a:solidFill>
                          <a:latin typeface="Wingdings 3" panose="05040102010807070707" pitchFamily="18" charset="2"/>
                        </a:rPr>
                        <a:t>q </a:t>
                      </a:r>
                      <a:r>
                        <a:rPr lang="en-US" sz="1100" dirty="0">
                          <a:solidFill>
                            <a:srgbClr val="FFFFFF"/>
                          </a:solidFill>
                          <a:latin typeface="Wingdings 3" panose="05040102010807070707" pitchFamily="18" charset="2"/>
                        </a:rPr>
                        <a:t>1</a:t>
                      </a:r>
                      <a:r>
                        <a:rPr lang="en-US" sz="1100" b="0" kern="1200" dirty="0">
                          <a:solidFill>
                            <a:srgbClr val="575757"/>
                          </a:solidFill>
                          <a:latin typeface="+mn-lt"/>
                          <a:ea typeface="+mn-ea"/>
                          <a:cs typeface="+mn-cs"/>
                        </a:rPr>
                        <a:t>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3593770067"/>
                  </a:ext>
                </a:extLst>
              </a:tr>
              <a:tr h="481578">
                <a:tc rowSpan="2">
                  <a:txBody>
                    <a:bodyPr/>
                    <a:lstStyle/>
                    <a:p>
                      <a:pPr lvl="0">
                        <a:defRPr/>
                      </a:pPr>
                      <a:r>
                        <a:rPr lang="en-US" sz="1100" dirty="0">
                          <a:solidFill>
                            <a:srgbClr val="575757"/>
                          </a:solidFill>
                          <a:latin typeface="+mn-lt"/>
                        </a:rPr>
                        <a:t>P11</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75757"/>
                          </a:solidFill>
                        </a:rPr>
                        <a:t>The right help &amp; support is available to enable the home set-up to be as productive as it can be </a:t>
                      </a:r>
                      <a:r>
                        <a:rPr lang="en-US" sz="1100" baseline="30000" dirty="0">
                          <a:solidFill>
                            <a:srgbClr val="575757"/>
                          </a:solidFill>
                          <a:latin typeface="+mn-lt"/>
                        </a:rPr>
                        <a:t>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Tusti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i="1" kern="1200" noProof="0" dirty="0">
                          <a:solidFill>
                            <a:srgbClr val="575757"/>
                          </a:solidFill>
                          <a:latin typeface="+mn-lt"/>
                          <a:ea typeface="+mn-ea"/>
                          <a:cs typeface="+mn-cs"/>
                        </a:rPr>
                        <a:t>Help &amp; Support for Home Set-Up</a:t>
                      </a:r>
                      <a:r>
                        <a:rPr lang="en-GB" sz="1100" i="1" kern="1200" baseline="30000" noProof="0" dirty="0">
                          <a:solidFill>
                            <a:srgbClr val="575757"/>
                          </a:solidFill>
                          <a:latin typeface="+mn-lt"/>
                          <a:ea typeface="+mn-ea"/>
                          <a:cs typeface="+mn-cs"/>
                        </a:rPr>
                        <a:t>2</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1100" b="0" dirty="0">
                          <a:solidFill>
                            <a:srgbClr val="575757"/>
                          </a:solidFill>
                          <a:latin typeface="+mn-lt"/>
                        </a:rPr>
                        <a:t>5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E71C57"/>
                          </a:solidFill>
                          <a:latin typeface="Wingdings 3" panose="05040102010807070707" pitchFamily="18" charset="2"/>
                        </a:rPr>
                        <a:t>q </a:t>
                      </a:r>
                      <a:r>
                        <a:rPr lang="en-US" sz="1100" dirty="0">
                          <a:solidFill>
                            <a:srgbClr val="575757"/>
                          </a:solidFill>
                          <a:latin typeface="+mn-lt"/>
                        </a:rPr>
                        <a:t>26%</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4045944667"/>
                  </a:ext>
                </a:extLst>
              </a:tr>
              <a:tr h="670771">
                <a:tc vMerge="1">
                  <a:txBody>
                    <a:bodyPr/>
                    <a:lstStyle/>
                    <a:p>
                      <a:pPr lvl="0">
                        <a:defRPr/>
                      </a:pPr>
                      <a:endParaRPr lang="en-US" sz="930" dirty="0">
                        <a:solidFill>
                          <a:srgbClr val="575757"/>
                        </a:solidFill>
                        <a:latin typeface="+mn-lt"/>
                      </a:endParaRP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30" dirty="0">
                        <a:solidFill>
                          <a:srgbClr val="575757"/>
                        </a:solidFill>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3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i="1" kern="1200" noProof="0" dirty="0">
                          <a:solidFill>
                            <a:srgbClr val="575757"/>
                          </a:solidFill>
                          <a:latin typeface="+mn-lt"/>
                          <a:ea typeface="+mn-ea"/>
                          <a:cs typeface="+mn-cs"/>
                        </a:rPr>
                        <a:t>Digital Tools &amp; Services – For Hom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75757"/>
                          </a:solidFill>
                          <a:effectLst/>
                          <a:uLnTx/>
                          <a:uFillTx/>
                          <a:latin typeface="Trebuchet MS"/>
                          <a:ea typeface="+mn-ea"/>
                          <a:cs typeface="+mn-cs"/>
                        </a:rPr>
                        <a:t>--</a:t>
                      </a:r>
                      <a:endParaRPr kumimoji="0" lang="en-US" sz="1100" b="0" i="0" u="none" strike="noStrike" kern="1200" cap="none" spc="0" normalizeH="0" baseline="0" noProof="0" dirty="0">
                        <a:ln>
                          <a:noFill/>
                        </a:ln>
                        <a:solidFill>
                          <a:srgbClr val="575757"/>
                        </a:solidFill>
                        <a:effectLst/>
                        <a:uLnTx/>
                        <a:uFillTx/>
                        <a:latin typeface="Trebuchet MS"/>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Trebuchet MS"/>
                          <a:ea typeface="+mn-ea"/>
                          <a:cs typeface="+mn-cs"/>
                        </a:rPr>
                        <a: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2F2F2"/>
                    </a:solidFill>
                  </a:tcPr>
                </a:tc>
                <a:tc>
                  <a:txBody>
                    <a:bodyPr/>
                    <a:lstStyle/>
                    <a:p>
                      <a:pPr algn="ctr"/>
                      <a:r>
                        <a:rPr lang="en-US" sz="1100" b="0" dirty="0">
                          <a:solidFill>
                            <a:srgbClr val="FFFFFF"/>
                          </a:solidFill>
                          <a:latin typeface="+mn-lt"/>
                        </a:rPr>
                        <a:t>81</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1100" b="0" dirty="0">
                          <a:solidFill>
                            <a:srgbClr val="FFFFFF"/>
                          </a:solidFill>
                          <a:latin typeface="+mn-lt"/>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1%</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614503595"/>
                  </a:ext>
                </a:extLst>
              </a:tr>
              <a:tr h="292387">
                <a:tc rowSpan="2">
                  <a:txBody>
                    <a:bodyPr/>
                    <a:lstStyle/>
                    <a:p>
                      <a:pPr lvl="0">
                        <a:defRPr/>
                      </a:pPr>
                      <a:r>
                        <a:rPr lang="en-US" sz="1100" dirty="0">
                          <a:solidFill>
                            <a:srgbClr val="575757"/>
                          </a:solidFill>
                          <a:latin typeface="+mn-lt"/>
                        </a:rPr>
                        <a:t>P12</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r>
                        <a:rPr lang="en-GB" sz="1100" kern="1200" dirty="0">
                          <a:solidFill>
                            <a:srgbClr val="575757"/>
                          </a:solidFill>
                          <a:latin typeface="+mn-lt"/>
                          <a:ea typeface="+mn-ea"/>
                          <a:cs typeface="+mn-cs"/>
                        </a:rPr>
                        <a:t>For support tickets, all my IT issues are seamlessly resolved</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Tustin</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rgbClr val="575757"/>
                          </a:solidFill>
                          <a:latin typeface="+mn-lt"/>
                          <a:ea typeface="+mn-ea"/>
                          <a:cs typeface="+mn-cs"/>
                        </a:rPr>
                        <a:t>IT Service Cente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7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73</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7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algn="ctr"/>
                      <a:r>
                        <a:rPr lang="en-US" sz="1100" dirty="0">
                          <a:solidFill>
                            <a:srgbClr val="FFFFFF"/>
                          </a:solidFill>
                          <a:latin typeface="+mn-lt"/>
                        </a:rPr>
                        <a:t>80%</a:t>
                      </a:r>
                      <a:endParaRPr lang="en-US" sz="11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algn="ctr"/>
                      <a:r>
                        <a:rPr lang="en-US" sz="1100" dirty="0">
                          <a:solidFill>
                            <a:srgbClr val="E71C57"/>
                          </a:solidFill>
                          <a:latin typeface="Wingdings 3" panose="05040102010807070707" pitchFamily="18" charset="2"/>
                        </a:rPr>
                        <a:t>q </a:t>
                      </a:r>
                      <a:r>
                        <a:rPr lang="en-US" sz="1100" dirty="0">
                          <a:solidFill>
                            <a:srgbClr val="FFFFFF"/>
                          </a:solidFill>
                          <a:latin typeface="Wingdings 3" panose="05040102010807070707" pitchFamily="18" charset="2"/>
                        </a:rPr>
                        <a:t>1</a:t>
                      </a:r>
                      <a:r>
                        <a:rPr lang="en-US" sz="1100" dirty="0">
                          <a:solidFill>
                            <a:srgbClr val="575757"/>
                          </a:solidFill>
                          <a:latin typeface="+mn-lt"/>
                        </a:rPr>
                        <a:t>6%</a:t>
                      </a:r>
                      <a:endParaRPr lang="en-US" sz="1100" b="0" dirty="0">
                        <a:solidFill>
                          <a:srgbClr val="575757"/>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1933149978"/>
                  </a:ext>
                </a:extLst>
              </a:tr>
              <a:tr h="292387">
                <a:tc vMerge="1">
                  <a:txBody>
                    <a:bodyPr/>
                    <a:lstStyle/>
                    <a:p>
                      <a:endParaRPr lang="en-US"/>
                    </a:p>
                  </a:txBody>
                  <a:tcPr>
                    <a:lnT w="12700" cap="flat" cmpd="sng" algn="ctr">
                      <a:solidFill>
                        <a:schemeClr val="tx1">
                          <a:lumMod val="40000"/>
                          <a:lumOff val="60000"/>
                        </a:schemeClr>
                      </a:solidFill>
                      <a:prstDash val="sysDot"/>
                      <a:round/>
                      <a:headEnd type="none" w="med" len="med"/>
                      <a:tailEnd type="none" w="med" len="med"/>
                    </a:lnT>
                  </a:tcPr>
                </a:tc>
                <a:tc vMerge="1">
                  <a:txBody>
                    <a:bodyPr/>
                    <a:lstStyle/>
                    <a:p>
                      <a:endParaRPr lang="en-US"/>
                    </a:p>
                  </a:txBody>
                  <a:tcPr>
                    <a:lnT w="12700" cap="flat" cmpd="sng" algn="ctr">
                      <a:solidFill>
                        <a:schemeClr val="tx1">
                          <a:lumMod val="40000"/>
                          <a:lumOff val="60000"/>
                        </a:schemeClr>
                      </a:solidFill>
                      <a:prstDash val="sysDot"/>
                      <a:round/>
                      <a:headEnd type="none" w="med" len="med"/>
                      <a:tailEnd type="none" w="med" len="med"/>
                    </a:lnT>
                  </a:tcPr>
                </a:tc>
                <a:tc vMerge="1">
                  <a:txBody>
                    <a:bodyPr/>
                    <a:lstStyle/>
                    <a:p>
                      <a:endParaRPr lang="en-US"/>
                    </a:p>
                  </a:txBody>
                  <a:tcPr>
                    <a:lnT w="12700" cap="flat" cmpd="sng" algn="ctr">
                      <a:solidFill>
                        <a:schemeClr val="tx1">
                          <a:lumMod val="40000"/>
                          <a:lumOff val="60000"/>
                        </a:schemeClr>
                      </a:solidFill>
                      <a:prstDash val="sysDot"/>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rgbClr val="575757"/>
                          </a:solidFill>
                          <a:latin typeface="+mn-lt"/>
                          <a:ea typeface="+mn-ea"/>
                          <a:cs typeface="+mn-cs"/>
                        </a:rPr>
                        <a:t>Overall IT support</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8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85</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8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8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6%</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545883433"/>
                  </a:ext>
                </a:extLst>
              </a:tr>
              <a:tr h="481578">
                <a:tc>
                  <a:txBody>
                    <a:bodyPr/>
                    <a:lstStyle/>
                    <a:p>
                      <a:pPr lvl="0">
                        <a:defRPr/>
                      </a:pPr>
                      <a:r>
                        <a:rPr lang="en-US" sz="1100" dirty="0">
                          <a:solidFill>
                            <a:srgbClr val="575757"/>
                          </a:solidFill>
                          <a:latin typeface="+mn-lt"/>
                        </a:rPr>
                        <a:t>P13</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r>
                        <a:rPr lang="en-US" sz="1100" dirty="0">
                          <a:solidFill>
                            <a:srgbClr val="575757"/>
                          </a:solidFill>
                        </a:rPr>
                        <a:t>Increase employee satisfaction when completing &amp; submitting timesheet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0" dirty="0">
                          <a:solidFill>
                            <a:srgbClr val="575757"/>
                          </a:solidFill>
                        </a:rPr>
                        <a:t>Howe</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rgbClr val="575757"/>
                          </a:solidFill>
                          <a:latin typeface="+mn-lt"/>
                          <a:ea typeface="+mn-ea"/>
                          <a:cs typeface="+mn-cs"/>
                        </a:rPr>
                        <a:t>Timesheets - Infor</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rgbClr val="575757"/>
                          </a:solidFill>
                          <a:latin typeface="+mn-lt"/>
                          <a:ea typeface="+mn-ea"/>
                          <a:cs typeface="+mn-cs"/>
                        </a:rPr>
                        <a:t>5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FFFF"/>
                          </a:solidFill>
                          <a:latin typeface="+mn-lt"/>
                          <a:ea typeface="+mn-ea"/>
                          <a:cs typeface="+mn-cs"/>
                        </a:rPr>
                        <a:t>4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9A9A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54</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algn="ctr"/>
                      <a:r>
                        <a:rPr lang="en-US" sz="1100" dirty="0">
                          <a:solidFill>
                            <a:srgbClr val="FFFFFF"/>
                          </a:solidFill>
                          <a:latin typeface="+mn-lt"/>
                        </a:rPr>
                        <a:t>80%</a:t>
                      </a:r>
                      <a:endParaRPr lang="en-US" sz="11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algn="ctr" defTabSz="914400" rtl="0" eaLnBrk="1" latinLnBrk="0" hangingPunct="1"/>
                      <a:r>
                        <a:rPr lang="en-US" sz="1100" dirty="0">
                          <a:solidFill>
                            <a:srgbClr val="E71C57"/>
                          </a:solidFill>
                          <a:latin typeface="Wingdings 3" panose="05040102010807070707" pitchFamily="18" charset="2"/>
                        </a:rPr>
                        <a:t>q </a:t>
                      </a:r>
                      <a:r>
                        <a:rPr lang="en-US" sz="1100" b="0" kern="1200" dirty="0">
                          <a:solidFill>
                            <a:srgbClr val="575757"/>
                          </a:solidFill>
                          <a:latin typeface="+mn-lt"/>
                          <a:ea typeface="+mn-ea"/>
                          <a:cs typeface="+mn-cs"/>
                        </a:rPr>
                        <a:t>2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1451963066"/>
                  </a:ext>
                </a:extLst>
              </a:tr>
              <a:tr h="481578">
                <a:tc>
                  <a:txBody>
                    <a:bodyPr/>
                    <a:lstStyle/>
                    <a:p>
                      <a:pPr lvl="0">
                        <a:defRPr/>
                      </a:pPr>
                      <a:r>
                        <a:rPr lang="en-US" sz="1100" dirty="0">
                          <a:solidFill>
                            <a:srgbClr val="575757"/>
                          </a:solidFill>
                          <a:latin typeface="+mn-lt"/>
                        </a:rPr>
                        <a:t>P14</a:t>
                      </a:r>
                    </a:p>
                  </a:txBody>
                  <a:tcPr anchor="ctr">
                    <a:lnL w="12700" cap="flat" cmpd="sng" algn="ctr">
                      <a:solidFill>
                        <a:schemeClr val="tx1"/>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r>
                        <a:rPr lang="en-US" sz="1100" dirty="0">
                          <a:solidFill>
                            <a:srgbClr val="575757"/>
                          </a:solidFill>
                        </a:rPr>
                        <a:t>Increase employee satisfaction when completing &amp; submitting expense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dirty="0">
                          <a:solidFill>
                            <a:srgbClr val="575757"/>
                          </a:solidFill>
                        </a:rPr>
                        <a:t>Howe</a:t>
                      </a:r>
                      <a:endParaRPr lang="en-US" sz="930" i="0" kern="1200" dirty="0">
                        <a:solidFill>
                          <a:srgbClr val="575757"/>
                        </a:solidFill>
                        <a:latin typeface="+mn-lt"/>
                        <a:ea typeface="+mn-ea"/>
                        <a:cs typeface="+mn-cs"/>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rgbClr val="575757"/>
                          </a:solidFill>
                          <a:latin typeface="+mn-lt"/>
                          <a:ea typeface="+mn-ea"/>
                          <a:cs typeface="+mn-cs"/>
                        </a:rPr>
                        <a:t>Expenses</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rgbClr val="575757"/>
                          </a:solidFill>
                          <a:latin typeface="+mn-lt"/>
                          <a:ea typeface="+mn-ea"/>
                          <a:cs typeface="+mn-cs"/>
                        </a:rPr>
                        <a:t>56</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BC5D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rgbClr val="575757"/>
                          </a:solidFill>
                          <a:latin typeface="+mn-lt"/>
                          <a:ea typeface="+mn-ea"/>
                          <a:cs typeface="+mn-cs"/>
                        </a:rPr>
                        <a:t>67</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EEE89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575757"/>
                          </a:solidFill>
                          <a:latin typeface="+mn-lt"/>
                          <a:ea typeface="+mn-ea"/>
                          <a:cs typeface="+mn-cs"/>
                        </a:rPr>
                        <a:t>7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C9E7C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FFFFFF"/>
                          </a:solidFill>
                          <a:latin typeface="+mn-lt"/>
                        </a:rPr>
                        <a:t>80%</a:t>
                      </a:r>
                      <a:endParaRPr lang="en-US" sz="1100" b="0" dirty="0">
                        <a:solidFill>
                          <a:srgbClr val="FFFFFF"/>
                        </a:solidFill>
                        <a:latin typeface="+mn-lt"/>
                      </a:endParaRP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29BA7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E71C57"/>
                          </a:solidFill>
                          <a:latin typeface="Wingdings 3" panose="05040102010807070707" pitchFamily="18" charset="2"/>
                        </a:rPr>
                        <a:t>q </a:t>
                      </a:r>
                      <a:r>
                        <a:rPr lang="en-US" sz="1100" b="0" kern="1200" dirty="0">
                          <a:solidFill>
                            <a:srgbClr val="575757"/>
                          </a:solidFill>
                          <a:latin typeface="+mn-lt"/>
                          <a:ea typeface="+mn-ea"/>
                          <a:cs typeface="+mn-cs"/>
                        </a:rPr>
                        <a:t>10%</a:t>
                      </a:r>
                    </a:p>
                  </a:txBody>
                  <a:tcPr anchor="ctr">
                    <a:lnL w="12700" cap="flat" cmpd="sng" algn="ctr">
                      <a:solidFill>
                        <a:schemeClr val="tx1">
                          <a:lumMod val="40000"/>
                          <a:lumOff val="60000"/>
                        </a:schemeClr>
                      </a:solidFill>
                      <a:prstDash val="sysDot"/>
                      <a:round/>
                      <a:headEnd type="none" w="med" len="med"/>
                      <a:tailEnd type="none" w="med" len="med"/>
                    </a:lnL>
                    <a:lnR w="12700" cap="flat" cmpd="sng" algn="ctr">
                      <a:solidFill>
                        <a:schemeClr val="tx1">
                          <a:lumMod val="40000"/>
                          <a:lumOff val="60000"/>
                        </a:schemeClr>
                      </a:solidFill>
                      <a:prstDash val="sysDot"/>
                      <a:round/>
                      <a:headEnd type="none" w="med" len="med"/>
                      <a:tailEnd type="none" w="med" len="med"/>
                    </a:lnR>
                    <a:lnT w="12700" cap="flat" cmpd="sng" algn="ctr">
                      <a:solidFill>
                        <a:schemeClr val="tx1">
                          <a:lumMod val="40000"/>
                          <a:lumOff val="60000"/>
                        </a:schemeClr>
                      </a:solidFill>
                      <a:prstDash val="sysDot"/>
                      <a:round/>
                      <a:headEnd type="none" w="med" len="med"/>
                      <a:tailEnd type="none" w="med" len="med"/>
                    </a:lnT>
                    <a:lnB w="12700" cap="flat" cmpd="sng" algn="ctr">
                      <a:solidFill>
                        <a:schemeClr val="tx1">
                          <a:lumMod val="40000"/>
                          <a:lumOff val="60000"/>
                        </a:schemeClr>
                      </a:solidFill>
                      <a:prstDash val="sysDot"/>
                      <a:round/>
                      <a:headEnd type="none" w="med" len="med"/>
                      <a:tailEnd type="none" w="med" len="med"/>
                    </a:lnB>
                    <a:solidFill>
                      <a:srgbClr val="FFFFFF"/>
                    </a:solidFill>
                  </a:tcPr>
                </a:tc>
                <a:extLst>
                  <a:ext uri="{0D108BD9-81ED-4DB2-BD59-A6C34878D82A}">
                    <a16:rowId xmlns:a16="http://schemas.microsoft.com/office/drawing/2014/main" val="2837532894"/>
                  </a:ext>
                </a:extLst>
              </a:tr>
            </a:tbl>
          </a:graphicData>
        </a:graphic>
      </p:graphicFrame>
      <p:sp>
        <p:nvSpPr>
          <p:cNvPr id="17" name="Rectangle 16">
            <a:extLst>
              <a:ext uri="{FF2B5EF4-FFF2-40B4-BE49-F238E27FC236}">
                <a16:creationId xmlns:a16="http://schemas.microsoft.com/office/drawing/2014/main" id="{D62928BB-5284-48E8-AF32-808FF8EA173B}"/>
              </a:ext>
            </a:extLst>
          </p:cNvPr>
          <p:cNvSpPr/>
          <p:nvPr/>
        </p:nvSpPr>
        <p:spPr>
          <a:xfrm>
            <a:off x="0" y="0"/>
            <a:ext cx="2620211"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0" name="Title 1">
            <a:extLst>
              <a:ext uri="{FF2B5EF4-FFF2-40B4-BE49-F238E27FC236}">
                <a16:creationId xmlns:a16="http://schemas.microsoft.com/office/drawing/2014/main" id="{19B6C6DF-6A4F-4DE2-B127-26333A798904}"/>
              </a:ext>
            </a:extLst>
          </p:cNvPr>
          <p:cNvSpPr>
            <a:spLocks noGrp="1"/>
          </p:cNvSpPr>
          <p:nvPr>
            <p:ph type="title"/>
          </p:nvPr>
        </p:nvSpPr>
        <p:spPr>
          <a:xfrm>
            <a:off x="192379" y="2697054"/>
            <a:ext cx="2193410" cy="1689693"/>
          </a:xfrm>
        </p:spPr>
        <p:txBody>
          <a:bodyPr vert="horz"/>
          <a:lstStyle/>
          <a:p>
            <a:r>
              <a:rPr lang="en-GB" sz="2800" dirty="0">
                <a:solidFill>
                  <a:srgbClr val="295E7E"/>
                </a:solidFill>
              </a:rPr>
              <a:t>E-SAT Trends</a:t>
            </a:r>
            <a:br>
              <a:rPr lang="en-GB" sz="2800" dirty="0">
                <a:solidFill>
                  <a:srgbClr val="295E7E"/>
                </a:solidFill>
              </a:rPr>
            </a:br>
            <a:br>
              <a:rPr lang="en-GB" sz="2800" dirty="0">
                <a:solidFill>
                  <a:srgbClr val="295E7E"/>
                </a:solidFill>
              </a:rPr>
            </a:br>
            <a:r>
              <a:rPr lang="en-GB" sz="2200" i="1" dirty="0">
                <a:solidFill>
                  <a:srgbClr val="295E7E"/>
                </a:solidFill>
              </a:rPr>
              <a:t>Against our Employee Centric Priorities </a:t>
            </a:r>
            <a:endParaRPr lang="en-US" sz="1400" i="1" dirty="0">
              <a:solidFill>
                <a:srgbClr val="295E7E"/>
              </a:solidFill>
            </a:endParaRPr>
          </a:p>
        </p:txBody>
      </p:sp>
      <p:sp>
        <p:nvSpPr>
          <p:cNvPr id="5" name="Rectangle 4">
            <a:extLst>
              <a:ext uri="{FF2B5EF4-FFF2-40B4-BE49-F238E27FC236}">
                <a16:creationId xmlns:a16="http://schemas.microsoft.com/office/drawing/2014/main" id="{FF56A5E2-6440-4A99-86C5-35B5E25A0998}"/>
              </a:ext>
            </a:extLst>
          </p:cNvPr>
          <p:cNvSpPr/>
          <p:nvPr/>
        </p:nvSpPr>
        <p:spPr>
          <a:xfrm>
            <a:off x="9921998" y="-30308"/>
            <a:ext cx="2244801" cy="6888307"/>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2821148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04656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014"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dirty="0"/>
              <a:t>SECTION 4 – </a:t>
            </a:r>
            <a:br>
              <a:rPr lang="en-US" dirty="0"/>
            </a:br>
            <a:r>
              <a:rPr lang="en-US" dirty="0"/>
              <a:t>Detailed Survey Results</a:t>
            </a:r>
          </a:p>
        </p:txBody>
      </p:sp>
      <p:cxnSp>
        <p:nvCxnSpPr>
          <p:cNvPr id="10" name="Straight Connector 9"/>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a:grpSpLocks noChangeAspect="1"/>
          </p:cNvGrpSpPr>
          <p:nvPr/>
        </p:nvGrpSpPr>
        <p:grpSpPr>
          <a:xfrm>
            <a:off x="9712801" y="1651635"/>
            <a:ext cx="1646238" cy="1644650"/>
            <a:chOff x="5273675" y="2606675"/>
            <a:chExt cx="1646238" cy="1644650"/>
          </a:xfrm>
        </p:grpSpPr>
        <p:sp>
          <p:nvSpPr>
            <p:cNvPr id="12"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09741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4881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03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GB" dirty="0"/>
              <a:t>Overall IT Satisfaction</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p:cNvGrpSpPr>
            <a:grpSpLocks noChangeAspect="1"/>
          </p:cNvGrpSpPr>
          <p:nvPr/>
        </p:nvGrpSpPr>
        <p:grpSpPr>
          <a:xfrm>
            <a:off x="9577573" y="2077756"/>
            <a:ext cx="1646238" cy="1644650"/>
            <a:chOff x="5273675" y="2606675"/>
            <a:chExt cx="1646238" cy="1644650"/>
          </a:xfrm>
        </p:grpSpPr>
        <p:sp>
          <p:nvSpPr>
            <p:cNvPr id="12"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546725" y="2892425"/>
              <a:ext cx="1100138" cy="1147763"/>
            </a:xfrm>
            <a:custGeom>
              <a:avLst/>
              <a:gdLst>
                <a:gd name="connsiteX0" fmla="*/ 0 w 1100138"/>
                <a:gd name="connsiteY0" fmla="*/ 552450 h 1147763"/>
                <a:gd name="connsiteX1" fmla="*/ 95851 w 1100138"/>
                <a:gd name="connsiteY1" fmla="*/ 552450 h 1147763"/>
                <a:gd name="connsiteX2" fmla="*/ 233189 w 1100138"/>
                <a:gd name="connsiteY2" fmla="*/ 552450 h 1147763"/>
                <a:gd name="connsiteX3" fmla="*/ 238911 w 1100138"/>
                <a:gd name="connsiteY3" fmla="*/ 552450 h 1147763"/>
                <a:gd name="connsiteX4" fmla="*/ 550069 w 1100138"/>
                <a:gd name="connsiteY4" fmla="*/ 862955 h 1147763"/>
                <a:gd name="connsiteX5" fmla="*/ 861227 w 1100138"/>
                <a:gd name="connsiteY5" fmla="*/ 552450 h 1147763"/>
                <a:gd name="connsiteX6" fmla="*/ 866949 w 1100138"/>
                <a:gd name="connsiteY6" fmla="*/ 552450 h 1147763"/>
                <a:gd name="connsiteX7" fmla="*/ 1004287 w 1100138"/>
                <a:gd name="connsiteY7" fmla="*/ 552450 h 1147763"/>
                <a:gd name="connsiteX8" fmla="*/ 1100138 w 1100138"/>
                <a:gd name="connsiteY8" fmla="*/ 552450 h 1147763"/>
                <a:gd name="connsiteX9" fmla="*/ 1100138 w 1100138"/>
                <a:gd name="connsiteY9" fmla="*/ 644531 h 1147763"/>
                <a:gd name="connsiteX10" fmla="*/ 994988 w 1100138"/>
                <a:gd name="connsiteY10" fmla="*/ 644531 h 1147763"/>
                <a:gd name="connsiteX11" fmla="*/ 946348 w 1100138"/>
                <a:gd name="connsiteY11" fmla="*/ 774443 h 1147763"/>
                <a:gd name="connsiteX12" fmla="*/ 1048636 w 1100138"/>
                <a:gd name="connsiteY12" fmla="*/ 833689 h 1147763"/>
                <a:gd name="connsiteX13" fmla="*/ 1002142 w 1100138"/>
                <a:gd name="connsiteY13" fmla="*/ 913635 h 1147763"/>
                <a:gd name="connsiteX14" fmla="*/ 892700 w 1100138"/>
                <a:gd name="connsiteY14" fmla="*/ 850107 h 1147763"/>
                <a:gd name="connsiteX15" fmla="*/ 794703 w 1100138"/>
                <a:gd name="connsiteY15" fmla="*/ 934336 h 1147763"/>
                <a:gd name="connsiteX16" fmla="*/ 863372 w 1100138"/>
                <a:gd name="connsiteY16" fmla="*/ 1052113 h 1147763"/>
                <a:gd name="connsiteX17" fmla="*/ 783258 w 1100138"/>
                <a:gd name="connsiteY17" fmla="*/ 1098511 h 1147763"/>
                <a:gd name="connsiteX18" fmla="*/ 712443 w 1100138"/>
                <a:gd name="connsiteY18" fmla="*/ 975736 h 1147763"/>
                <a:gd name="connsiteX19" fmla="*/ 596564 w 1100138"/>
                <a:gd name="connsiteY19" fmla="*/ 1003575 h 1147763"/>
                <a:gd name="connsiteX20" fmla="*/ 596564 w 1100138"/>
                <a:gd name="connsiteY20" fmla="*/ 1147763 h 1147763"/>
                <a:gd name="connsiteX21" fmla="*/ 503574 w 1100138"/>
                <a:gd name="connsiteY21" fmla="*/ 1147763 h 1147763"/>
                <a:gd name="connsiteX22" fmla="*/ 503574 w 1100138"/>
                <a:gd name="connsiteY22" fmla="*/ 1003575 h 1147763"/>
                <a:gd name="connsiteX23" fmla="*/ 384833 w 1100138"/>
                <a:gd name="connsiteY23" fmla="*/ 974309 h 1147763"/>
                <a:gd name="connsiteX24" fmla="*/ 312588 w 1100138"/>
                <a:gd name="connsiteY24" fmla="*/ 1098511 h 1147763"/>
                <a:gd name="connsiteX25" fmla="*/ 232474 w 1100138"/>
                <a:gd name="connsiteY25" fmla="*/ 1052113 h 1147763"/>
                <a:gd name="connsiteX26" fmla="*/ 302573 w 1100138"/>
                <a:gd name="connsiteY26" fmla="*/ 932194 h 1147763"/>
                <a:gd name="connsiteX27" fmla="*/ 206723 w 1100138"/>
                <a:gd name="connsiteY27" fmla="*/ 849393 h 1147763"/>
                <a:gd name="connsiteX28" fmla="*/ 95135 w 1100138"/>
                <a:gd name="connsiteY28" fmla="*/ 913635 h 1147763"/>
                <a:gd name="connsiteX29" fmla="*/ 49356 w 1100138"/>
                <a:gd name="connsiteY29" fmla="*/ 833689 h 1147763"/>
                <a:gd name="connsiteX30" fmla="*/ 153790 w 1100138"/>
                <a:gd name="connsiteY30" fmla="*/ 773730 h 1147763"/>
                <a:gd name="connsiteX31" fmla="*/ 105149 w 1100138"/>
                <a:gd name="connsiteY31" fmla="*/ 644531 h 1147763"/>
                <a:gd name="connsiteX32" fmla="*/ 0 w 1100138"/>
                <a:gd name="connsiteY32" fmla="*/ 644531 h 1147763"/>
                <a:gd name="connsiteX33" fmla="*/ 0 w 1100138"/>
                <a:gd name="connsiteY33" fmla="*/ 552450 h 1147763"/>
                <a:gd name="connsiteX34" fmla="*/ 892969 w 1100138"/>
                <a:gd name="connsiteY34" fmla="*/ 457200 h 1147763"/>
                <a:gd name="connsiteX35" fmla="*/ 925513 w 1100138"/>
                <a:gd name="connsiteY35" fmla="*/ 489744 h 1147763"/>
                <a:gd name="connsiteX36" fmla="*/ 892969 w 1100138"/>
                <a:gd name="connsiteY36" fmla="*/ 522288 h 1147763"/>
                <a:gd name="connsiteX37" fmla="*/ 860425 w 1100138"/>
                <a:gd name="connsiteY37" fmla="*/ 489744 h 1147763"/>
                <a:gd name="connsiteX38" fmla="*/ 892969 w 1100138"/>
                <a:gd name="connsiteY38" fmla="*/ 457200 h 1147763"/>
                <a:gd name="connsiteX39" fmla="*/ 207169 w 1100138"/>
                <a:gd name="connsiteY39" fmla="*/ 457200 h 1147763"/>
                <a:gd name="connsiteX40" fmla="*/ 239713 w 1100138"/>
                <a:gd name="connsiteY40" fmla="*/ 489744 h 1147763"/>
                <a:gd name="connsiteX41" fmla="*/ 207169 w 1100138"/>
                <a:gd name="connsiteY41" fmla="*/ 522288 h 1147763"/>
                <a:gd name="connsiteX42" fmla="*/ 174625 w 1100138"/>
                <a:gd name="connsiteY42" fmla="*/ 489744 h 1147763"/>
                <a:gd name="connsiteX43" fmla="*/ 207169 w 1100138"/>
                <a:gd name="connsiteY43" fmla="*/ 457200 h 1147763"/>
                <a:gd name="connsiteX44" fmla="*/ 855451 w 1100138"/>
                <a:gd name="connsiteY44" fmla="*/ 286548 h 1147763"/>
                <a:gd name="connsiteX45" fmla="*/ 875629 w 1100138"/>
                <a:gd name="connsiteY45" fmla="*/ 301794 h 1147763"/>
                <a:gd name="connsiteX46" fmla="*/ 863433 w 1100138"/>
                <a:gd name="connsiteY46" fmla="*/ 346275 h 1147763"/>
                <a:gd name="connsiteX47" fmla="*/ 818952 w 1100138"/>
                <a:gd name="connsiteY47" fmla="*/ 334796 h 1147763"/>
                <a:gd name="connsiteX48" fmla="*/ 830431 w 1100138"/>
                <a:gd name="connsiteY48" fmla="*/ 289597 h 1147763"/>
                <a:gd name="connsiteX49" fmla="*/ 855451 w 1100138"/>
                <a:gd name="connsiteY49" fmla="*/ 286548 h 1147763"/>
                <a:gd name="connsiteX50" fmla="*/ 244687 w 1100138"/>
                <a:gd name="connsiteY50" fmla="*/ 286548 h 1147763"/>
                <a:gd name="connsiteX51" fmla="*/ 269707 w 1100138"/>
                <a:gd name="connsiteY51" fmla="*/ 289597 h 1147763"/>
                <a:gd name="connsiteX52" fmla="*/ 281186 w 1100138"/>
                <a:gd name="connsiteY52" fmla="*/ 334796 h 1147763"/>
                <a:gd name="connsiteX53" fmla="*/ 236705 w 1100138"/>
                <a:gd name="connsiteY53" fmla="*/ 346275 h 1147763"/>
                <a:gd name="connsiteX54" fmla="*/ 224509 w 1100138"/>
                <a:gd name="connsiteY54" fmla="*/ 301794 h 1147763"/>
                <a:gd name="connsiteX55" fmla="*/ 244687 w 1100138"/>
                <a:gd name="connsiteY55" fmla="*/ 286548 h 1147763"/>
                <a:gd name="connsiteX56" fmla="*/ 387228 w 1100138"/>
                <a:gd name="connsiteY56" fmla="*/ 161584 h 1147763"/>
                <a:gd name="connsiteX57" fmla="*/ 407317 w 1100138"/>
                <a:gd name="connsiteY57" fmla="*/ 177098 h 1147763"/>
                <a:gd name="connsiteX58" fmla="*/ 395120 w 1100138"/>
                <a:gd name="connsiteY58" fmla="*/ 221579 h 1147763"/>
                <a:gd name="connsiteX59" fmla="*/ 350639 w 1100138"/>
                <a:gd name="connsiteY59" fmla="*/ 209383 h 1147763"/>
                <a:gd name="connsiteX60" fmla="*/ 362836 w 1100138"/>
                <a:gd name="connsiteY60" fmla="*/ 164902 h 1147763"/>
                <a:gd name="connsiteX61" fmla="*/ 387228 w 1100138"/>
                <a:gd name="connsiteY61" fmla="*/ 161584 h 1147763"/>
                <a:gd name="connsiteX62" fmla="*/ 550069 w 1100138"/>
                <a:gd name="connsiteY62" fmla="*/ 114300 h 1147763"/>
                <a:gd name="connsiteX63" fmla="*/ 582613 w 1100138"/>
                <a:gd name="connsiteY63" fmla="*/ 146844 h 1147763"/>
                <a:gd name="connsiteX64" fmla="*/ 550069 w 1100138"/>
                <a:gd name="connsiteY64" fmla="*/ 179388 h 1147763"/>
                <a:gd name="connsiteX65" fmla="*/ 517525 w 1100138"/>
                <a:gd name="connsiteY65" fmla="*/ 146844 h 1147763"/>
                <a:gd name="connsiteX66" fmla="*/ 550069 w 1100138"/>
                <a:gd name="connsiteY66" fmla="*/ 114300 h 1147763"/>
                <a:gd name="connsiteX67" fmla="*/ 870974 w 1100138"/>
                <a:gd name="connsiteY67" fmla="*/ 111125 h 1147763"/>
                <a:gd name="connsiteX68" fmla="*/ 1073150 w 1100138"/>
                <a:gd name="connsiteY68" fmla="*/ 522288 h 1147763"/>
                <a:gd name="connsiteX69" fmla="*/ 987118 w 1100138"/>
                <a:gd name="connsiteY69" fmla="*/ 522288 h 1147763"/>
                <a:gd name="connsiteX70" fmla="*/ 828675 w 1100138"/>
                <a:gd name="connsiteY70" fmla="*/ 186791 h 1147763"/>
                <a:gd name="connsiteX71" fmla="*/ 870974 w 1100138"/>
                <a:gd name="connsiteY71" fmla="*/ 111125 h 1147763"/>
                <a:gd name="connsiteX72" fmla="*/ 798925 w 1100138"/>
                <a:gd name="connsiteY72" fmla="*/ 59954 h 1147763"/>
                <a:gd name="connsiteX73" fmla="*/ 823164 w 1100138"/>
                <a:gd name="connsiteY73" fmla="*/ 63255 h 1147763"/>
                <a:gd name="connsiteX74" fmla="*/ 835283 w 1100138"/>
                <a:gd name="connsiteY74" fmla="*/ 107513 h 1147763"/>
                <a:gd name="connsiteX75" fmla="*/ 834570 w 1100138"/>
                <a:gd name="connsiteY75" fmla="*/ 108227 h 1147763"/>
                <a:gd name="connsiteX76" fmla="*/ 833857 w 1100138"/>
                <a:gd name="connsiteY76" fmla="*/ 109655 h 1147763"/>
                <a:gd name="connsiteX77" fmla="*/ 833857 w 1100138"/>
                <a:gd name="connsiteY77" fmla="*/ 110369 h 1147763"/>
                <a:gd name="connsiteX78" fmla="*/ 833144 w 1100138"/>
                <a:gd name="connsiteY78" fmla="*/ 111796 h 1147763"/>
                <a:gd name="connsiteX79" fmla="*/ 832431 w 1100138"/>
                <a:gd name="connsiteY79" fmla="*/ 112510 h 1147763"/>
                <a:gd name="connsiteX80" fmla="*/ 831718 w 1100138"/>
                <a:gd name="connsiteY80" fmla="*/ 113938 h 1147763"/>
                <a:gd name="connsiteX81" fmla="*/ 831005 w 1100138"/>
                <a:gd name="connsiteY81" fmla="*/ 114652 h 1147763"/>
                <a:gd name="connsiteX82" fmla="*/ 830292 w 1100138"/>
                <a:gd name="connsiteY82" fmla="*/ 116079 h 1147763"/>
                <a:gd name="connsiteX83" fmla="*/ 830292 w 1100138"/>
                <a:gd name="connsiteY83" fmla="*/ 117507 h 1147763"/>
                <a:gd name="connsiteX84" fmla="*/ 829580 w 1100138"/>
                <a:gd name="connsiteY84" fmla="*/ 118221 h 1147763"/>
                <a:gd name="connsiteX85" fmla="*/ 828867 w 1100138"/>
                <a:gd name="connsiteY85" fmla="*/ 119649 h 1147763"/>
                <a:gd name="connsiteX86" fmla="*/ 828154 w 1100138"/>
                <a:gd name="connsiteY86" fmla="*/ 120363 h 1147763"/>
                <a:gd name="connsiteX87" fmla="*/ 827441 w 1100138"/>
                <a:gd name="connsiteY87" fmla="*/ 121790 h 1147763"/>
                <a:gd name="connsiteX88" fmla="*/ 826728 w 1100138"/>
                <a:gd name="connsiteY88" fmla="*/ 122504 h 1147763"/>
                <a:gd name="connsiteX89" fmla="*/ 826015 w 1100138"/>
                <a:gd name="connsiteY89" fmla="*/ 123932 h 1147763"/>
                <a:gd name="connsiteX90" fmla="*/ 826015 w 1100138"/>
                <a:gd name="connsiteY90" fmla="*/ 124646 h 1147763"/>
                <a:gd name="connsiteX91" fmla="*/ 825302 w 1100138"/>
                <a:gd name="connsiteY91" fmla="*/ 126073 h 1147763"/>
                <a:gd name="connsiteX92" fmla="*/ 824589 w 1100138"/>
                <a:gd name="connsiteY92" fmla="*/ 126787 h 1147763"/>
                <a:gd name="connsiteX93" fmla="*/ 823876 w 1100138"/>
                <a:gd name="connsiteY93" fmla="*/ 128215 h 1147763"/>
                <a:gd name="connsiteX94" fmla="*/ 823164 w 1100138"/>
                <a:gd name="connsiteY94" fmla="*/ 128929 h 1147763"/>
                <a:gd name="connsiteX95" fmla="*/ 822451 w 1100138"/>
                <a:gd name="connsiteY95" fmla="*/ 130356 h 1147763"/>
                <a:gd name="connsiteX96" fmla="*/ 822451 w 1100138"/>
                <a:gd name="connsiteY96" fmla="*/ 131070 h 1147763"/>
                <a:gd name="connsiteX97" fmla="*/ 821738 w 1100138"/>
                <a:gd name="connsiteY97" fmla="*/ 132498 h 1147763"/>
                <a:gd name="connsiteX98" fmla="*/ 821025 w 1100138"/>
                <a:gd name="connsiteY98" fmla="*/ 133212 h 1147763"/>
                <a:gd name="connsiteX99" fmla="*/ 820312 w 1100138"/>
                <a:gd name="connsiteY99" fmla="*/ 134639 h 1147763"/>
                <a:gd name="connsiteX100" fmla="*/ 819599 w 1100138"/>
                <a:gd name="connsiteY100" fmla="*/ 135353 h 1147763"/>
                <a:gd name="connsiteX101" fmla="*/ 818886 w 1100138"/>
                <a:gd name="connsiteY101" fmla="*/ 136781 h 1147763"/>
                <a:gd name="connsiteX102" fmla="*/ 818886 w 1100138"/>
                <a:gd name="connsiteY102" fmla="*/ 137495 h 1147763"/>
                <a:gd name="connsiteX103" fmla="*/ 817460 w 1100138"/>
                <a:gd name="connsiteY103" fmla="*/ 139636 h 1147763"/>
                <a:gd name="connsiteX104" fmla="*/ 816748 w 1100138"/>
                <a:gd name="connsiteY104" fmla="*/ 141778 h 1147763"/>
                <a:gd name="connsiteX105" fmla="*/ 815322 w 1100138"/>
                <a:gd name="connsiteY105" fmla="*/ 143919 h 1147763"/>
                <a:gd name="connsiteX106" fmla="*/ 813896 w 1100138"/>
                <a:gd name="connsiteY106" fmla="*/ 146061 h 1147763"/>
                <a:gd name="connsiteX107" fmla="*/ 813183 w 1100138"/>
                <a:gd name="connsiteY107" fmla="*/ 148202 h 1147763"/>
                <a:gd name="connsiteX108" fmla="*/ 811757 w 1100138"/>
                <a:gd name="connsiteY108" fmla="*/ 150344 h 1147763"/>
                <a:gd name="connsiteX109" fmla="*/ 810332 w 1100138"/>
                <a:gd name="connsiteY109" fmla="*/ 153199 h 1147763"/>
                <a:gd name="connsiteX110" fmla="*/ 808906 w 1100138"/>
                <a:gd name="connsiteY110" fmla="*/ 155341 h 1147763"/>
                <a:gd name="connsiteX111" fmla="*/ 807480 w 1100138"/>
                <a:gd name="connsiteY111" fmla="*/ 158196 h 1147763"/>
                <a:gd name="connsiteX112" fmla="*/ 806054 w 1100138"/>
                <a:gd name="connsiteY112" fmla="*/ 160338 h 1147763"/>
                <a:gd name="connsiteX113" fmla="*/ 805341 w 1100138"/>
                <a:gd name="connsiteY113" fmla="*/ 162479 h 1147763"/>
                <a:gd name="connsiteX114" fmla="*/ 803916 w 1100138"/>
                <a:gd name="connsiteY114" fmla="*/ 164621 h 1147763"/>
                <a:gd name="connsiteX115" fmla="*/ 802490 w 1100138"/>
                <a:gd name="connsiteY115" fmla="*/ 166762 h 1147763"/>
                <a:gd name="connsiteX116" fmla="*/ 801777 w 1100138"/>
                <a:gd name="connsiteY116" fmla="*/ 168904 h 1147763"/>
                <a:gd name="connsiteX117" fmla="*/ 800351 w 1100138"/>
                <a:gd name="connsiteY117" fmla="*/ 171045 h 1147763"/>
                <a:gd name="connsiteX118" fmla="*/ 798925 w 1100138"/>
                <a:gd name="connsiteY118" fmla="*/ 173187 h 1147763"/>
                <a:gd name="connsiteX119" fmla="*/ 798212 w 1100138"/>
                <a:gd name="connsiteY119" fmla="*/ 175328 h 1147763"/>
                <a:gd name="connsiteX120" fmla="*/ 796787 w 1100138"/>
                <a:gd name="connsiteY120" fmla="*/ 177470 h 1147763"/>
                <a:gd name="connsiteX121" fmla="*/ 795361 w 1100138"/>
                <a:gd name="connsiteY121" fmla="*/ 180325 h 1147763"/>
                <a:gd name="connsiteX122" fmla="*/ 793935 w 1100138"/>
                <a:gd name="connsiteY122" fmla="*/ 182467 h 1147763"/>
                <a:gd name="connsiteX123" fmla="*/ 793222 w 1100138"/>
                <a:gd name="connsiteY123" fmla="*/ 184608 h 1147763"/>
                <a:gd name="connsiteX124" fmla="*/ 791796 w 1100138"/>
                <a:gd name="connsiteY124" fmla="*/ 186750 h 1147763"/>
                <a:gd name="connsiteX125" fmla="*/ 790371 w 1100138"/>
                <a:gd name="connsiteY125" fmla="*/ 188891 h 1147763"/>
                <a:gd name="connsiteX126" fmla="*/ 789658 w 1100138"/>
                <a:gd name="connsiteY126" fmla="*/ 191033 h 1147763"/>
                <a:gd name="connsiteX127" fmla="*/ 788232 w 1100138"/>
                <a:gd name="connsiteY127" fmla="*/ 193175 h 1147763"/>
                <a:gd name="connsiteX128" fmla="*/ 786806 w 1100138"/>
                <a:gd name="connsiteY128" fmla="*/ 195316 h 1147763"/>
                <a:gd name="connsiteX129" fmla="*/ 786093 w 1100138"/>
                <a:gd name="connsiteY129" fmla="*/ 197458 h 1147763"/>
                <a:gd name="connsiteX130" fmla="*/ 784667 w 1100138"/>
                <a:gd name="connsiteY130" fmla="*/ 199599 h 1147763"/>
                <a:gd name="connsiteX131" fmla="*/ 783242 w 1100138"/>
                <a:gd name="connsiteY131" fmla="*/ 202454 h 1147763"/>
                <a:gd name="connsiteX132" fmla="*/ 782529 w 1100138"/>
                <a:gd name="connsiteY132" fmla="*/ 204596 h 1147763"/>
                <a:gd name="connsiteX133" fmla="*/ 781103 w 1100138"/>
                <a:gd name="connsiteY133" fmla="*/ 206738 h 1147763"/>
                <a:gd name="connsiteX134" fmla="*/ 779677 w 1100138"/>
                <a:gd name="connsiteY134" fmla="*/ 208879 h 1147763"/>
                <a:gd name="connsiteX135" fmla="*/ 778251 w 1100138"/>
                <a:gd name="connsiteY135" fmla="*/ 211021 h 1147763"/>
                <a:gd name="connsiteX136" fmla="*/ 777539 w 1100138"/>
                <a:gd name="connsiteY136" fmla="*/ 213162 h 1147763"/>
                <a:gd name="connsiteX137" fmla="*/ 776113 w 1100138"/>
                <a:gd name="connsiteY137" fmla="*/ 215304 h 1147763"/>
                <a:gd name="connsiteX138" fmla="*/ 774687 w 1100138"/>
                <a:gd name="connsiteY138" fmla="*/ 217445 h 1147763"/>
                <a:gd name="connsiteX139" fmla="*/ 773974 w 1100138"/>
                <a:gd name="connsiteY139" fmla="*/ 219587 h 1147763"/>
                <a:gd name="connsiteX140" fmla="*/ 772548 w 1100138"/>
                <a:gd name="connsiteY140" fmla="*/ 222442 h 1147763"/>
                <a:gd name="connsiteX141" fmla="*/ 771123 w 1100138"/>
                <a:gd name="connsiteY141" fmla="*/ 225297 h 1147763"/>
                <a:gd name="connsiteX142" fmla="*/ 769697 w 1100138"/>
                <a:gd name="connsiteY142" fmla="*/ 227439 h 1147763"/>
                <a:gd name="connsiteX143" fmla="*/ 768271 w 1100138"/>
                <a:gd name="connsiteY143" fmla="*/ 229580 h 1147763"/>
                <a:gd name="connsiteX144" fmla="*/ 767558 w 1100138"/>
                <a:gd name="connsiteY144" fmla="*/ 231722 h 1147763"/>
                <a:gd name="connsiteX145" fmla="*/ 766132 w 1100138"/>
                <a:gd name="connsiteY145" fmla="*/ 233864 h 1147763"/>
                <a:gd name="connsiteX146" fmla="*/ 764707 w 1100138"/>
                <a:gd name="connsiteY146" fmla="*/ 236719 h 1147763"/>
                <a:gd name="connsiteX147" fmla="*/ 763281 w 1100138"/>
                <a:gd name="connsiteY147" fmla="*/ 238860 h 1147763"/>
                <a:gd name="connsiteX148" fmla="*/ 762568 w 1100138"/>
                <a:gd name="connsiteY148" fmla="*/ 241002 h 1147763"/>
                <a:gd name="connsiteX149" fmla="*/ 761142 w 1100138"/>
                <a:gd name="connsiteY149" fmla="*/ 243144 h 1147763"/>
                <a:gd name="connsiteX150" fmla="*/ 759716 w 1100138"/>
                <a:gd name="connsiteY150" fmla="*/ 245285 h 1147763"/>
                <a:gd name="connsiteX151" fmla="*/ 759003 w 1100138"/>
                <a:gd name="connsiteY151" fmla="*/ 247427 h 1147763"/>
                <a:gd name="connsiteX152" fmla="*/ 757578 w 1100138"/>
                <a:gd name="connsiteY152" fmla="*/ 249568 h 1147763"/>
                <a:gd name="connsiteX153" fmla="*/ 756152 w 1100138"/>
                <a:gd name="connsiteY153" fmla="*/ 251710 h 1147763"/>
                <a:gd name="connsiteX154" fmla="*/ 755439 w 1100138"/>
                <a:gd name="connsiteY154" fmla="*/ 253851 h 1147763"/>
                <a:gd name="connsiteX155" fmla="*/ 754013 w 1100138"/>
                <a:gd name="connsiteY155" fmla="*/ 256707 h 1147763"/>
                <a:gd name="connsiteX156" fmla="*/ 752587 w 1100138"/>
                <a:gd name="connsiteY156" fmla="*/ 258848 h 1147763"/>
                <a:gd name="connsiteX157" fmla="*/ 751875 w 1100138"/>
                <a:gd name="connsiteY157" fmla="*/ 260990 h 1147763"/>
                <a:gd name="connsiteX158" fmla="*/ 750449 w 1100138"/>
                <a:gd name="connsiteY158" fmla="*/ 263131 h 1147763"/>
                <a:gd name="connsiteX159" fmla="*/ 749023 w 1100138"/>
                <a:gd name="connsiteY159" fmla="*/ 265273 h 1147763"/>
                <a:gd name="connsiteX160" fmla="*/ 748310 w 1100138"/>
                <a:gd name="connsiteY160" fmla="*/ 267414 h 1147763"/>
                <a:gd name="connsiteX161" fmla="*/ 746884 w 1100138"/>
                <a:gd name="connsiteY161" fmla="*/ 269556 h 1147763"/>
                <a:gd name="connsiteX162" fmla="*/ 745459 w 1100138"/>
                <a:gd name="connsiteY162" fmla="*/ 271697 h 1147763"/>
                <a:gd name="connsiteX163" fmla="*/ 744746 w 1100138"/>
                <a:gd name="connsiteY163" fmla="*/ 273839 h 1147763"/>
                <a:gd name="connsiteX164" fmla="*/ 743320 w 1100138"/>
                <a:gd name="connsiteY164" fmla="*/ 275980 h 1147763"/>
                <a:gd name="connsiteX165" fmla="*/ 741894 w 1100138"/>
                <a:gd name="connsiteY165" fmla="*/ 278836 h 1147763"/>
                <a:gd name="connsiteX166" fmla="*/ 741181 w 1100138"/>
                <a:gd name="connsiteY166" fmla="*/ 280977 h 1147763"/>
                <a:gd name="connsiteX167" fmla="*/ 739755 w 1100138"/>
                <a:gd name="connsiteY167" fmla="*/ 283119 h 1147763"/>
                <a:gd name="connsiteX168" fmla="*/ 738330 w 1100138"/>
                <a:gd name="connsiteY168" fmla="*/ 285260 h 1147763"/>
                <a:gd name="connsiteX169" fmla="*/ 737617 w 1100138"/>
                <a:gd name="connsiteY169" fmla="*/ 287402 h 1147763"/>
                <a:gd name="connsiteX170" fmla="*/ 736191 w 1100138"/>
                <a:gd name="connsiteY170" fmla="*/ 289543 h 1147763"/>
                <a:gd name="connsiteX171" fmla="*/ 734765 w 1100138"/>
                <a:gd name="connsiteY171" fmla="*/ 291685 h 1147763"/>
                <a:gd name="connsiteX172" fmla="*/ 733339 w 1100138"/>
                <a:gd name="connsiteY172" fmla="*/ 293826 h 1147763"/>
                <a:gd name="connsiteX173" fmla="*/ 732627 w 1100138"/>
                <a:gd name="connsiteY173" fmla="*/ 295968 h 1147763"/>
                <a:gd name="connsiteX174" fmla="*/ 731201 w 1100138"/>
                <a:gd name="connsiteY174" fmla="*/ 298823 h 1147763"/>
                <a:gd name="connsiteX175" fmla="*/ 729775 w 1100138"/>
                <a:gd name="connsiteY175" fmla="*/ 300965 h 1147763"/>
                <a:gd name="connsiteX176" fmla="*/ 729062 w 1100138"/>
                <a:gd name="connsiteY176" fmla="*/ 303106 h 1147763"/>
                <a:gd name="connsiteX177" fmla="*/ 726923 w 1100138"/>
                <a:gd name="connsiteY177" fmla="*/ 305962 h 1147763"/>
                <a:gd name="connsiteX178" fmla="*/ 726211 w 1100138"/>
                <a:gd name="connsiteY178" fmla="*/ 308817 h 1147763"/>
                <a:gd name="connsiteX179" fmla="*/ 724785 w 1100138"/>
                <a:gd name="connsiteY179" fmla="*/ 310959 h 1147763"/>
                <a:gd name="connsiteX180" fmla="*/ 723359 w 1100138"/>
                <a:gd name="connsiteY180" fmla="*/ 313100 h 1147763"/>
                <a:gd name="connsiteX181" fmla="*/ 722646 w 1100138"/>
                <a:gd name="connsiteY181" fmla="*/ 315242 h 1147763"/>
                <a:gd name="connsiteX182" fmla="*/ 721220 w 1100138"/>
                <a:gd name="connsiteY182" fmla="*/ 317383 h 1147763"/>
                <a:gd name="connsiteX183" fmla="*/ 719795 w 1100138"/>
                <a:gd name="connsiteY183" fmla="*/ 319525 h 1147763"/>
                <a:gd name="connsiteX184" fmla="*/ 719082 w 1100138"/>
                <a:gd name="connsiteY184" fmla="*/ 321666 h 1147763"/>
                <a:gd name="connsiteX185" fmla="*/ 717656 w 1100138"/>
                <a:gd name="connsiteY185" fmla="*/ 323808 h 1147763"/>
                <a:gd name="connsiteX186" fmla="*/ 716230 w 1100138"/>
                <a:gd name="connsiteY186" fmla="*/ 326663 h 1147763"/>
                <a:gd name="connsiteX187" fmla="*/ 715517 w 1100138"/>
                <a:gd name="connsiteY187" fmla="*/ 328805 h 1147763"/>
                <a:gd name="connsiteX188" fmla="*/ 714091 w 1100138"/>
                <a:gd name="connsiteY188" fmla="*/ 330946 h 1147763"/>
                <a:gd name="connsiteX189" fmla="*/ 712666 w 1100138"/>
                <a:gd name="connsiteY189" fmla="*/ 333088 h 1147763"/>
                <a:gd name="connsiteX190" fmla="*/ 711953 w 1100138"/>
                <a:gd name="connsiteY190" fmla="*/ 335229 h 1147763"/>
                <a:gd name="connsiteX191" fmla="*/ 710527 w 1100138"/>
                <a:gd name="connsiteY191" fmla="*/ 337371 h 1147763"/>
                <a:gd name="connsiteX192" fmla="*/ 709101 w 1100138"/>
                <a:gd name="connsiteY192" fmla="*/ 339512 h 1147763"/>
                <a:gd name="connsiteX193" fmla="*/ 708388 w 1100138"/>
                <a:gd name="connsiteY193" fmla="*/ 341654 h 1147763"/>
                <a:gd name="connsiteX194" fmla="*/ 706963 w 1100138"/>
                <a:gd name="connsiteY194" fmla="*/ 343795 h 1147763"/>
                <a:gd name="connsiteX195" fmla="*/ 705537 w 1100138"/>
                <a:gd name="connsiteY195" fmla="*/ 346651 h 1147763"/>
                <a:gd name="connsiteX196" fmla="*/ 704824 w 1100138"/>
                <a:gd name="connsiteY196" fmla="*/ 348792 h 1147763"/>
                <a:gd name="connsiteX197" fmla="*/ 703398 w 1100138"/>
                <a:gd name="connsiteY197" fmla="*/ 350934 h 1147763"/>
                <a:gd name="connsiteX198" fmla="*/ 701972 w 1100138"/>
                <a:gd name="connsiteY198" fmla="*/ 353075 h 1147763"/>
                <a:gd name="connsiteX199" fmla="*/ 701259 w 1100138"/>
                <a:gd name="connsiteY199" fmla="*/ 355217 h 1147763"/>
                <a:gd name="connsiteX200" fmla="*/ 699834 w 1100138"/>
                <a:gd name="connsiteY200" fmla="*/ 357358 h 1147763"/>
                <a:gd name="connsiteX201" fmla="*/ 698408 w 1100138"/>
                <a:gd name="connsiteY201" fmla="*/ 359500 h 1147763"/>
                <a:gd name="connsiteX202" fmla="*/ 697695 w 1100138"/>
                <a:gd name="connsiteY202" fmla="*/ 361641 h 1147763"/>
                <a:gd name="connsiteX203" fmla="*/ 696269 w 1100138"/>
                <a:gd name="connsiteY203" fmla="*/ 363783 h 1147763"/>
                <a:gd name="connsiteX204" fmla="*/ 694843 w 1100138"/>
                <a:gd name="connsiteY204" fmla="*/ 366638 h 1147763"/>
                <a:gd name="connsiteX205" fmla="*/ 694130 w 1100138"/>
                <a:gd name="connsiteY205" fmla="*/ 368780 h 1147763"/>
                <a:gd name="connsiteX206" fmla="*/ 692705 w 1100138"/>
                <a:gd name="connsiteY206" fmla="*/ 370921 h 1147763"/>
                <a:gd name="connsiteX207" fmla="*/ 691279 w 1100138"/>
                <a:gd name="connsiteY207" fmla="*/ 373063 h 1147763"/>
                <a:gd name="connsiteX208" fmla="*/ 690566 w 1100138"/>
                <a:gd name="connsiteY208" fmla="*/ 375204 h 1147763"/>
                <a:gd name="connsiteX209" fmla="*/ 689140 w 1100138"/>
                <a:gd name="connsiteY209" fmla="*/ 377346 h 1147763"/>
                <a:gd name="connsiteX210" fmla="*/ 687714 w 1100138"/>
                <a:gd name="connsiteY210" fmla="*/ 379488 h 1147763"/>
                <a:gd name="connsiteX211" fmla="*/ 687002 w 1100138"/>
                <a:gd name="connsiteY211" fmla="*/ 381629 h 1147763"/>
                <a:gd name="connsiteX212" fmla="*/ 685576 w 1100138"/>
                <a:gd name="connsiteY212" fmla="*/ 383771 h 1147763"/>
                <a:gd name="connsiteX213" fmla="*/ 684150 w 1100138"/>
                <a:gd name="connsiteY213" fmla="*/ 386626 h 1147763"/>
                <a:gd name="connsiteX214" fmla="*/ 683437 w 1100138"/>
                <a:gd name="connsiteY214" fmla="*/ 388767 h 1147763"/>
                <a:gd name="connsiteX215" fmla="*/ 682011 w 1100138"/>
                <a:gd name="connsiteY215" fmla="*/ 390909 h 1147763"/>
                <a:gd name="connsiteX216" fmla="*/ 680586 w 1100138"/>
                <a:gd name="connsiteY216" fmla="*/ 393051 h 1147763"/>
                <a:gd name="connsiteX217" fmla="*/ 679873 w 1100138"/>
                <a:gd name="connsiteY217" fmla="*/ 395192 h 1147763"/>
                <a:gd name="connsiteX218" fmla="*/ 678447 w 1100138"/>
                <a:gd name="connsiteY218" fmla="*/ 397334 h 1147763"/>
                <a:gd name="connsiteX219" fmla="*/ 676308 w 1100138"/>
                <a:gd name="connsiteY219" fmla="*/ 400903 h 1147763"/>
                <a:gd name="connsiteX220" fmla="*/ 675595 w 1100138"/>
                <a:gd name="connsiteY220" fmla="*/ 403044 h 1147763"/>
                <a:gd name="connsiteX221" fmla="*/ 674170 w 1100138"/>
                <a:gd name="connsiteY221" fmla="*/ 405186 h 1147763"/>
                <a:gd name="connsiteX222" fmla="*/ 672744 w 1100138"/>
                <a:gd name="connsiteY222" fmla="*/ 408041 h 1147763"/>
                <a:gd name="connsiteX223" fmla="*/ 672031 w 1100138"/>
                <a:gd name="connsiteY223" fmla="*/ 410183 h 1147763"/>
                <a:gd name="connsiteX224" fmla="*/ 670605 w 1100138"/>
                <a:gd name="connsiteY224" fmla="*/ 412324 h 1147763"/>
                <a:gd name="connsiteX225" fmla="*/ 669179 w 1100138"/>
                <a:gd name="connsiteY225" fmla="*/ 414466 h 1147763"/>
                <a:gd name="connsiteX226" fmla="*/ 668466 w 1100138"/>
                <a:gd name="connsiteY226" fmla="*/ 416607 h 1147763"/>
                <a:gd name="connsiteX227" fmla="*/ 667041 w 1100138"/>
                <a:gd name="connsiteY227" fmla="*/ 418749 h 1147763"/>
                <a:gd name="connsiteX228" fmla="*/ 665615 w 1100138"/>
                <a:gd name="connsiteY228" fmla="*/ 420890 h 1147763"/>
                <a:gd name="connsiteX229" fmla="*/ 664902 w 1100138"/>
                <a:gd name="connsiteY229" fmla="*/ 423032 h 1147763"/>
                <a:gd name="connsiteX230" fmla="*/ 663476 w 1100138"/>
                <a:gd name="connsiteY230" fmla="*/ 425887 h 1147763"/>
                <a:gd name="connsiteX231" fmla="*/ 662050 w 1100138"/>
                <a:gd name="connsiteY231" fmla="*/ 428029 h 1147763"/>
                <a:gd name="connsiteX232" fmla="*/ 661338 w 1100138"/>
                <a:gd name="connsiteY232" fmla="*/ 430170 h 1147763"/>
                <a:gd name="connsiteX233" fmla="*/ 659912 w 1100138"/>
                <a:gd name="connsiteY233" fmla="*/ 432312 h 1147763"/>
                <a:gd name="connsiteX234" fmla="*/ 658486 w 1100138"/>
                <a:gd name="connsiteY234" fmla="*/ 434453 h 1147763"/>
                <a:gd name="connsiteX235" fmla="*/ 657773 w 1100138"/>
                <a:gd name="connsiteY235" fmla="*/ 436595 h 1147763"/>
                <a:gd name="connsiteX236" fmla="*/ 656347 w 1100138"/>
                <a:gd name="connsiteY236" fmla="*/ 438736 h 1147763"/>
                <a:gd name="connsiteX237" fmla="*/ 654922 w 1100138"/>
                <a:gd name="connsiteY237" fmla="*/ 440878 h 1147763"/>
                <a:gd name="connsiteX238" fmla="*/ 654209 w 1100138"/>
                <a:gd name="connsiteY238" fmla="*/ 443733 h 1147763"/>
                <a:gd name="connsiteX239" fmla="*/ 652783 w 1100138"/>
                <a:gd name="connsiteY239" fmla="*/ 445875 h 1147763"/>
                <a:gd name="connsiteX240" fmla="*/ 651357 w 1100138"/>
                <a:gd name="connsiteY240" fmla="*/ 448016 h 1147763"/>
                <a:gd name="connsiteX241" fmla="*/ 650644 w 1100138"/>
                <a:gd name="connsiteY241" fmla="*/ 450158 h 1147763"/>
                <a:gd name="connsiteX242" fmla="*/ 649218 w 1100138"/>
                <a:gd name="connsiteY242" fmla="*/ 452300 h 1147763"/>
                <a:gd name="connsiteX243" fmla="*/ 647793 w 1100138"/>
                <a:gd name="connsiteY243" fmla="*/ 454441 h 1147763"/>
                <a:gd name="connsiteX244" fmla="*/ 647080 w 1100138"/>
                <a:gd name="connsiteY244" fmla="*/ 456583 h 1147763"/>
                <a:gd name="connsiteX245" fmla="*/ 645654 w 1100138"/>
                <a:gd name="connsiteY245" fmla="*/ 458724 h 1147763"/>
                <a:gd name="connsiteX246" fmla="*/ 644941 w 1100138"/>
                <a:gd name="connsiteY246" fmla="*/ 460866 h 1147763"/>
                <a:gd name="connsiteX247" fmla="*/ 643515 w 1100138"/>
                <a:gd name="connsiteY247" fmla="*/ 463721 h 1147763"/>
                <a:gd name="connsiteX248" fmla="*/ 642090 w 1100138"/>
                <a:gd name="connsiteY248" fmla="*/ 465863 h 1147763"/>
                <a:gd name="connsiteX249" fmla="*/ 641377 w 1100138"/>
                <a:gd name="connsiteY249" fmla="*/ 468004 h 1147763"/>
                <a:gd name="connsiteX250" fmla="*/ 639951 w 1100138"/>
                <a:gd name="connsiteY250" fmla="*/ 470146 h 1147763"/>
                <a:gd name="connsiteX251" fmla="*/ 638525 w 1100138"/>
                <a:gd name="connsiteY251" fmla="*/ 472287 h 1147763"/>
                <a:gd name="connsiteX252" fmla="*/ 637812 w 1100138"/>
                <a:gd name="connsiteY252" fmla="*/ 474429 h 1147763"/>
                <a:gd name="connsiteX253" fmla="*/ 636386 w 1100138"/>
                <a:gd name="connsiteY253" fmla="*/ 476570 h 1147763"/>
                <a:gd name="connsiteX254" fmla="*/ 634961 w 1100138"/>
                <a:gd name="connsiteY254" fmla="*/ 478712 h 1147763"/>
                <a:gd name="connsiteX255" fmla="*/ 634248 w 1100138"/>
                <a:gd name="connsiteY255" fmla="*/ 481567 h 1147763"/>
                <a:gd name="connsiteX256" fmla="*/ 632822 w 1100138"/>
                <a:gd name="connsiteY256" fmla="*/ 483709 h 1147763"/>
                <a:gd name="connsiteX257" fmla="*/ 631396 w 1100138"/>
                <a:gd name="connsiteY257" fmla="*/ 485850 h 1147763"/>
                <a:gd name="connsiteX258" fmla="*/ 630683 w 1100138"/>
                <a:gd name="connsiteY258" fmla="*/ 487992 h 1147763"/>
                <a:gd name="connsiteX259" fmla="*/ 629258 w 1100138"/>
                <a:gd name="connsiteY259" fmla="*/ 490133 h 1147763"/>
                <a:gd name="connsiteX260" fmla="*/ 627832 w 1100138"/>
                <a:gd name="connsiteY260" fmla="*/ 492275 h 1147763"/>
                <a:gd name="connsiteX261" fmla="*/ 627119 w 1100138"/>
                <a:gd name="connsiteY261" fmla="*/ 494416 h 1147763"/>
                <a:gd name="connsiteX262" fmla="*/ 625693 w 1100138"/>
                <a:gd name="connsiteY262" fmla="*/ 496558 h 1147763"/>
                <a:gd name="connsiteX263" fmla="*/ 624267 w 1100138"/>
                <a:gd name="connsiteY263" fmla="*/ 498699 h 1147763"/>
                <a:gd name="connsiteX264" fmla="*/ 623554 w 1100138"/>
                <a:gd name="connsiteY264" fmla="*/ 501555 h 1147763"/>
                <a:gd name="connsiteX265" fmla="*/ 622129 w 1100138"/>
                <a:gd name="connsiteY265" fmla="*/ 503696 h 1147763"/>
                <a:gd name="connsiteX266" fmla="*/ 621416 w 1100138"/>
                <a:gd name="connsiteY266" fmla="*/ 505838 h 1147763"/>
                <a:gd name="connsiteX267" fmla="*/ 619990 w 1100138"/>
                <a:gd name="connsiteY267" fmla="*/ 507979 h 1147763"/>
                <a:gd name="connsiteX268" fmla="*/ 618564 w 1100138"/>
                <a:gd name="connsiteY268" fmla="*/ 510121 h 1147763"/>
                <a:gd name="connsiteX269" fmla="*/ 616426 w 1100138"/>
                <a:gd name="connsiteY269" fmla="*/ 514404 h 1147763"/>
                <a:gd name="connsiteX270" fmla="*/ 615713 w 1100138"/>
                <a:gd name="connsiteY270" fmla="*/ 516545 h 1147763"/>
                <a:gd name="connsiteX271" fmla="*/ 614287 w 1100138"/>
                <a:gd name="connsiteY271" fmla="*/ 518687 h 1147763"/>
                <a:gd name="connsiteX272" fmla="*/ 612861 w 1100138"/>
                <a:gd name="connsiteY272" fmla="*/ 520828 h 1147763"/>
                <a:gd name="connsiteX273" fmla="*/ 612148 w 1100138"/>
                <a:gd name="connsiteY273" fmla="*/ 522970 h 1147763"/>
                <a:gd name="connsiteX274" fmla="*/ 610722 w 1100138"/>
                <a:gd name="connsiteY274" fmla="*/ 525111 h 1147763"/>
                <a:gd name="connsiteX275" fmla="*/ 609297 w 1100138"/>
                <a:gd name="connsiteY275" fmla="*/ 527253 h 1147763"/>
                <a:gd name="connsiteX276" fmla="*/ 608584 w 1100138"/>
                <a:gd name="connsiteY276" fmla="*/ 530108 h 1147763"/>
                <a:gd name="connsiteX277" fmla="*/ 607158 w 1100138"/>
                <a:gd name="connsiteY277" fmla="*/ 532250 h 1147763"/>
                <a:gd name="connsiteX278" fmla="*/ 605732 w 1100138"/>
                <a:gd name="connsiteY278" fmla="*/ 534391 h 1147763"/>
                <a:gd name="connsiteX279" fmla="*/ 605019 w 1100138"/>
                <a:gd name="connsiteY279" fmla="*/ 536533 h 1147763"/>
                <a:gd name="connsiteX280" fmla="*/ 603593 w 1100138"/>
                <a:gd name="connsiteY280" fmla="*/ 538675 h 1147763"/>
                <a:gd name="connsiteX281" fmla="*/ 602881 w 1100138"/>
                <a:gd name="connsiteY281" fmla="*/ 540816 h 1147763"/>
                <a:gd name="connsiteX282" fmla="*/ 601455 w 1100138"/>
                <a:gd name="connsiteY282" fmla="*/ 542958 h 1147763"/>
                <a:gd name="connsiteX283" fmla="*/ 600029 w 1100138"/>
                <a:gd name="connsiteY283" fmla="*/ 545099 h 1147763"/>
                <a:gd name="connsiteX284" fmla="*/ 599316 w 1100138"/>
                <a:gd name="connsiteY284" fmla="*/ 547954 h 1147763"/>
                <a:gd name="connsiteX285" fmla="*/ 597890 w 1100138"/>
                <a:gd name="connsiteY285" fmla="*/ 550096 h 1147763"/>
                <a:gd name="connsiteX286" fmla="*/ 596465 w 1100138"/>
                <a:gd name="connsiteY286" fmla="*/ 552238 h 1147763"/>
                <a:gd name="connsiteX287" fmla="*/ 595752 w 1100138"/>
                <a:gd name="connsiteY287" fmla="*/ 554379 h 1147763"/>
                <a:gd name="connsiteX288" fmla="*/ 594326 w 1100138"/>
                <a:gd name="connsiteY288" fmla="*/ 556521 h 1147763"/>
                <a:gd name="connsiteX289" fmla="*/ 592900 w 1100138"/>
                <a:gd name="connsiteY289" fmla="*/ 558662 h 1147763"/>
                <a:gd name="connsiteX290" fmla="*/ 550127 w 1100138"/>
                <a:gd name="connsiteY290" fmla="*/ 585788 h 1147763"/>
                <a:gd name="connsiteX291" fmla="*/ 501650 w 1100138"/>
                <a:gd name="connsiteY291" fmla="*/ 537247 h 1147763"/>
                <a:gd name="connsiteX292" fmla="*/ 510205 w 1100138"/>
                <a:gd name="connsiteY292" fmla="*/ 510121 h 1147763"/>
                <a:gd name="connsiteX293" fmla="*/ 511631 w 1100138"/>
                <a:gd name="connsiteY293" fmla="*/ 507979 h 1147763"/>
                <a:gd name="connsiteX294" fmla="*/ 513056 w 1100138"/>
                <a:gd name="connsiteY294" fmla="*/ 505838 h 1147763"/>
                <a:gd name="connsiteX295" fmla="*/ 514482 w 1100138"/>
                <a:gd name="connsiteY295" fmla="*/ 503696 h 1147763"/>
                <a:gd name="connsiteX296" fmla="*/ 515908 w 1100138"/>
                <a:gd name="connsiteY296" fmla="*/ 500841 h 1147763"/>
                <a:gd name="connsiteX297" fmla="*/ 517334 w 1100138"/>
                <a:gd name="connsiteY297" fmla="*/ 498699 h 1147763"/>
                <a:gd name="connsiteX298" fmla="*/ 518760 w 1100138"/>
                <a:gd name="connsiteY298" fmla="*/ 496558 h 1147763"/>
                <a:gd name="connsiteX299" fmla="*/ 520185 w 1100138"/>
                <a:gd name="connsiteY299" fmla="*/ 494416 h 1147763"/>
                <a:gd name="connsiteX300" fmla="*/ 521611 w 1100138"/>
                <a:gd name="connsiteY300" fmla="*/ 492275 h 1147763"/>
                <a:gd name="connsiteX301" fmla="*/ 521611 w 1100138"/>
                <a:gd name="connsiteY301" fmla="*/ 491561 h 1147763"/>
                <a:gd name="connsiteX302" fmla="*/ 522324 w 1100138"/>
                <a:gd name="connsiteY302" fmla="*/ 490847 h 1147763"/>
                <a:gd name="connsiteX303" fmla="*/ 523037 w 1100138"/>
                <a:gd name="connsiteY303" fmla="*/ 490133 h 1147763"/>
                <a:gd name="connsiteX304" fmla="*/ 523037 w 1100138"/>
                <a:gd name="connsiteY304" fmla="*/ 489419 h 1147763"/>
                <a:gd name="connsiteX305" fmla="*/ 524463 w 1100138"/>
                <a:gd name="connsiteY305" fmla="*/ 487278 h 1147763"/>
                <a:gd name="connsiteX306" fmla="*/ 525889 w 1100138"/>
                <a:gd name="connsiteY306" fmla="*/ 485136 h 1147763"/>
                <a:gd name="connsiteX307" fmla="*/ 527314 w 1100138"/>
                <a:gd name="connsiteY307" fmla="*/ 482995 h 1147763"/>
                <a:gd name="connsiteX308" fmla="*/ 528740 w 1100138"/>
                <a:gd name="connsiteY308" fmla="*/ 480853 h 1147763"/>
                <a:gd name="connsiteX309" fmla="*/ 530166 w 1100138"/>
                <a:gd name="connsiteY309" fmla="*/ 478712 h 1147763"/>
                <a:gd name="connsiteX310" fmla="*/ 531592 w 1100138"/>
                <a:gd name="connsiteY310" fmla="*/ 476570 h 1147763"/>
                <a:gd name="connsiteX311" fmla="*/ 533017 w 1100138"/>
                <a:gd name="connsiteY311" fmla="*/ 474429 h 1147763"/>
                <a:gd name="connsiteX312" fmla="*/ 534443 w 1100138"/>
                <a:gd name="connsiteY312" fmla="*/ 472287 h 1147763"/>
                <a:gd name="connsiteX313" fmla="*/ 535869 w 1100138"/>
                <a:gd name="connsiteY313" fmla="*/ 470146 h 1147763"/>
                <a:gd name="connsiteX314" fmla="*/ 537295 w 1100138"/>
                <a:gd name="connsiteY314" fmla="*/ 468004 h 1147763"/>
                <a:gd name="connsiteX315" fmla="*/ 538721 w 1100138"/>
                <a:gd name="connsiteY315" fmla="*/ 465863 h 1147763"/>
                <a:gd name="connsiteX316" fmla="*/ 540146 w 1100138"/>
                <a:gd name="connsiteY316" fmla="*/ 463007 h 1147763"/>
                <a:gd name="connsiteX317" fmla="*/ 540859 w 1100138"/>
                <a:gd name="connsiteY317" fmla="*/ 460866 h 1147763"/>
                <a:gd name="connsiteX318" fmla="*/ 542285 w 1100138"/>
                <a:gd name="connsiteY318" fmla="*/ 458724 h 1147763"/>
                <a:gd name="connsiteX319" fmla="*/ 543711 w 1100138"/>
                <a:gd name="connsiteY319" fmla="*/ 456583 h 1147763"/>
                <a:gd name="connsiteX320" fmla="*/ 545137 w 1100138"/>
                <a:gd name="connsiteY320" fmla="*/ 454441 h 1147763"/>
                <a:gd name="connsiteX321" fmla="*/ 546562 w 1100138"/>
                <a:gd name="connsiteY321" fmla="*/ 452300 h 1147763"/>
                <a:gd name="connsiteX322" fmla="*/ 547988 w 1100138"/>
                <a:gd name="connsiteY322" fmla="*/ 450158 h 1147763"/>
                <a:gd name="connsiteX323" fmla="*/ 549414 w 1100138"/>
                <a:gd name="connsiteY323" fmla="*/ 448016 h 1147763"/>
                <a:gd name="connsiteX324" fmla="*/ 550840 w 1100138"/>
                <a:gd name="connsiteY324" fmla="*/ 445875 h 1147763"/>
                <a:gd name="connsiteX325" fmla="*/ 552265 w 1100138"/>
                <a:gd name="connsiteY325" fmla="*/ 443733 h 1147763"/>
                <a:gd name="connsiteX326" fmla="*/ 553691 w 1100138"/>
                <a:gd name="connsiteY326" fmla="*/ 441592 h 1147763"/>
                <a:gd name="connsiteX327" fmla="*/ 555117 w 1100138"/>
                <a:gd name="connsiteY327" fmla="*/ 439450 h 1147763"/>
                <a:gd name="connsiteX328" fmla="*/ 556543 w 1100138"/>
                <a:gd name="connsiteY328" fmla="*/ 437309 h 1147763"/>
                <a:gd name="connsiteX329" fmla="*/ 557969 w 1100138"/>
                <a:gd name="connsiteY329" fmla="*/ 434453 h 1147763"/>
                <a:gd name="connsiteX330" fmla="*/ 559394 w 1100138"/>
                <a:gd name="connsiteY330" fmla="*/ 432312 h 1147763"/>
                <a:gd name="connsiteX331" fmla="*/ 560820 w 1100138"/>
                <a:gd name="connsiteY331" fmla="*/ 430170 h 1147763"/>
                <a:gd name="connsiteX332" fmla="*/ 561533 w 1100138"/>
                <a:gd name="connsiteY332" fmla="*/ 428029 h 1147763"/>
                <a:gd name="connsiteX333" fmla="*/ 562959 w 1100138"/>
                <a:gd name="connsiteY333" fmla="*/ 425887 h 1147763"/>
                <a:gd name="connsiteX334" fmla="*/ 564385 w 1100138"/>
                <a:gd name="connsiteY334" fmla="*/ 423746 h 1147763"/>
                <a:gd name="connsiteX335" fmla="*/ 565810 w 1100138"/>
                <a:gd name="connsiteY335" fmla="*/ 421604 h 1147763"/>
                <a:gd name="connsiteX336" fmla="*/ 567236 w 1100138"/>
                <a:gd name="connsiteY336" fmla="*/ 419463 h 1147763"/>
                <a:gd name="connsiteX337" fmla="*/ 568662 w 1100138"/>
                <a:gd name="connsiteY337" fmla="*/ 417321 h 1147763"/>
                <a:gd name="connsiteX338" fmla="*/ 570088 w 1100138"/>
                <a:gd name="connsiteY338" fmla="*/ 415180 h 1147763"/>
                <a:gd name="connsiteX339" fmla="*/ 571513 w 1100138"/>
                <a:gd name="connsiteY339" fmla="*/ 413038 h 1147763"/>
                <a:gd name="connsiteX340" fmla="*/ 572939 w 1100138"/>
                <a:gd name="connsiteY340" fmla="*/ 410897 h 1147763"/>
                <a:gd name="connsiteX341" fmla="*/ 574365 w 1100138"/>
                <a:gd name="connsiteY341" fmla="*/ 408755 h 1147763"/>
                <a:gd name="connsiteX342" fmla="*/ 575791 w 1100138"/>
                <a:gd name="connsiteY342" fmla="*/ 405900 h 1147763"/>
                <a:gd name="connsiteX343" fmla="*/ 577217 w 1100138"/>
                <a:gd name="connsiteY343" fmla="*/ 403758 h 1147763"/>
                <a:gd name="connsiteX344" fmla="*/ 578642 w 1100138"/>
                <a:gd name="connsiteY344" fmla="*/ 401617 h 1147763"/>
                <a:gd name="connsiteX345" fmla="*/ 579355 w 1100138"/>
                <a:gd name="connsiteY345" fmla="*/ 399475 h 1147763"/>
                <a:gd name="connsiteX346" fmla="*/ 580781 w 1100138"/>
                <a:gd name="connsiteY346" fmla="*/ 397334 h 1147763"/>
                <a:gd name="connsiteX347" fmla="*/ 582207 w 1100138"/>
                <a:gd name="connsiteY347" fmla="*/ 395192 h 1147763"/>
                <a:gd name="connsiteX348" fmla="*/ 583633 w 1100138"/>
                <a:gd name="connsiteY348" fmla="*/ 393051 h 1147763"/>
                <a:gd name="connsiteX349" fmla="*/ 585058 w 1100138"/>
                <a:gd name="connsiteY349" fmla="*/ 390909 h 1147763"/>
                <a:gd name="connsiteX350" fmla="*/ 586484 w 1100138"/>
                <a:gd name="connsiteY350" fmla="*/ 388767 h 1147763"/>
                <a:gd name="connsiteX351" fmla="*/ 587910 w 1100138"/>
                <a:gd name="connsiteY351" fmla="*/ 386626 h 1147763"/>
                <a:gd name="connsiteX352" fmla="*/ 588623 w 1100138"/>
                <a:gd name="connsiteY352" fmla="*/ 385912 h 1147763"/>
                <a:gd name="connsiteX353" fmla="*/ 590049 w 1100138"/>
                <a:gd name="connsiteY353" fmla="*/ 383057 h 1147763"/>
                <a:gd name="connsiteX354" fmla="*/ 591474 w 1100138"/>
                <a:gd name="connsiteY354" fmla="*/ 380915 h 1147763"/>
                <a:gd name="connsiteX355" fmla="*/ 592900 w 1100138"/>
                <a:gd name="connsiteY355" fmla="*/ 378774 h 1147763"/>
                <a:gd name="connsiteX356" fmla="*/ 594326 w 1100138"/>
                <a:gd name="connsiteY356" fmla="*/ 376632 h 1147763"/>
                <a:gd name="connsiteX357" fmla="*/ 595039 w 1100138"/>
                <a:gd name="connsiteY357" fmla="*/ 374491 h 1147763"/>
                <a:gd name="connsiteX358" fmla="*/ 596465 w 1100138"/>
                <a:gd name="connsiteY358" fmla="*/ 372349 h 1147763"/>
                <a:gd name="connsiteX359" fmla="*/ 597890 w 1100138"/>
                <a:gd name="connsiteY359" fmla="*/ 370208 h 1147763"/>
                <a:gd name="connsiteX360" fmla="*/ 599316 w 1100138"/>
                <a:gd name="connsiteY360" fmla="*/ 368066 h 1147763"/>
                <a:gd name="connsiteX361" fmla="*/ 600742 w 1100138"/>
                <a:gd name="connsiteY361" fmla="*/ 365925 h 1147763"/>
                <a:gd name="connsiteX362" fmla="*/ 602168 w 1100138"/>
                <a:gd name="connsiteY362" fmla="*/ 363783 h 1147763"/>
                <a:gd name="connsiteX363" fmla="*/ 603593 w 1100138"/>
                <a:gd name="connsiteY363" fmla="*/ 361641 h 1147763"/>
                <a:gd name="connsiteX364" fmla="*/ 605019 w 1100138"/>
                <a:gd name="connsiteY364" fmla="*/ 359500 h 1147763"/>
                <a:gd name="connsiteX365" fmla="*/ 606445 w 1100138"/>
                <a:gd name="connsiteY365" fmla="*/ 356645 h 1147763"/>
                <a:gd name="connsiteX366" fmla="*/ 607871 w 1100138"/>
                <a:gd name="connsiteY366" fmla="*/ 354503 h 1147763"/>
                <a:gd name="connsiteX367" fmla="*/ 609297 w 1100138"/>
                <a:gd name="connsiteY367" fmla="*/ 352361 h 1147763"/>
                <a:gd name="connsiteX368" fmla="*/ 610722 w 1100138"/>
                <a:gd name="connsiteY368" fmla="*/ 350220 h 1147763"/>
                <a:gd name="connsiteX369" fmla="*/ 612148 w 1100138"/>
                <a:gd name="connsiteY369" fmla="*/ 348078 h 1147763"/>
                <a:gd name="connsiteX370" fmla="*/ 612861 w 1100138"/>
                <a:gd name="connsiteY370" fmla="*/ 345937 h 1147763"/>
                <a:gd name="connsiteX371" fmla="*/ 614287 w 1100138"/>
                <a:gd name="connsiteY371" fmla="*/ 343795 h 1147763"/>
                <a:gd name="connsiteX372" fmla="*/ 615713 w 1100138"/>
                <a:gd name="connsiteY372" fmla="*/ 341654 h 1147763"/>
                <a:gd name="connsiteX373" fmla="*/ 617138 w 1100138"/>
                <a:gd name="connsiteY373" fmla="*/ 339512 h 1147763"/>
                <a:gd name="connsiteX374" fmla="*/ 618564 w 1100138"/>
                <a:gd name="connsiteY374" fmla="*/ 337371 h 1147763"/>
                <a:gd name="connsiteX375" fmla="*/ 619990 w 1100138"/>
                <a:gd name="connsiteY375" fmla="*/ 335229 h 1147763"/>
                <a:gd name="connsiteX376" fmla="*/ 621416 w 1100138"/>
                <a:gd name="connsiteY376" fmla="*/ 333088 h 1147763"/>
                <a:gd name="connsiteX377" fmla="*/ 622842 w 1100138"/>
                <a:gd name="connsiteY377" fmla="*/ 330946 h 1147763"/>
                <a:gd name="connsiteX378" fmla="*/ 624267 w 1100138"/>
                <a:gd name="connsiteY378" fmla="*/ 328091 h 1147763"/>
                <a:gd name="connsiteX379" fmla="*/ 625693 w 1100138"/>
                <a:gd name="connsiteY379" fmla="*/ 325949 h 1147763"/>
                <a:gd name="connsiteX380" fmla="*/ 627119 w 1100138"/>
                <a:gd name="connsiteY380" fmla="*/ 323808 h 1147763"/>
                <a:gd name="connsiteX381" fmla="*/ 628545 w 1100138"/>
                <a:gd name="connsiteY381" fmla="*/ 321666 h 1147763"/>
                <a:gd name="connsiteX382" fmla="*/ 629258 w 1100138"/>
                <a:gd name="connsiteY382" fmla="*/ 319525 h 1147763"/>
                <a:gd name="connsiteX383" fmla="*/ 630683 w 1100138"/>
                <a:gd name="connsiteY383" fmla="*/ 317383 h 1147763"/>
                <a:gd name="connsiteX384" fmla="*/ 632109 w 1100138"/>
                <a:gd name="connsiteY384" fmla="*/ 315242 h 1147763"/>
                <a:gd name="connsiteX385" fmla="*/ 633535 w 1100138"/>
                <a:gd name="connsiteY385" fmla="*/ 313100 h 1147763"/>
                <a:gd name="connsiteX386" fmla="*/ 634961 w 1100138"/>
                <a:gd name="connsiteY386" fmla="*/ 310959 h 1147763"/>
                <a:gd name="connsiteX387" fmla="*/ 636386 w 1100138"/>
                <a:gd name="connsiteY387" fmla="*/ 308817 h 1147763"/>
                <a:gd name="connsiteX388" fmla="*/ 637812 w 1100138"/>
                <a:gd name="connsiteY388" fmla="*/ 306676 h 1147763"/>
                <a:gd name="connsiteX389" fmla="*/ 639238 w 1100138"/>
                <a:gd name="connsiteY389" fmla="*/ 304534 h 1147763"/>
                <a:gd name="connsiteX390" fmla="*/ 640664 w 1100138"/>
                <a:gd name="connsiteY390" fmla="*/ 301679 h 1147763"/>
                <a:gd name="connsiteX391" fmla="*/ 642090 w 1100138"/>
                <a:gd name="connsiteY391" fmla="*/ 299537 h 1147763"/>
                <a:gd name="connsiteX392" fmla="*/ 642802 w 1100138"/>
                <a:gd name="connsiteY392" fmla="*/ 298823 h 1147763"/>
                <a:gd name="connsiteX393" fmla="*/ 642802 w 1100138"/>
                <a:gd name="connsiteY393" fmla="*/ 298109 h 1147763"/>
                <a:gd name="connsiteX394" fmla="*/ 643515 w 1100138"/>
                <a:gd name="connsiteY394" fmla="*/ 297396 h 1147763"/>
                <a:gd name="connsiteX395" fmla="*/ 644228 w 1100138"/>
                <a:gd name="connsiteY395" fmla="*/ 296682 h 1147763"/>
                <a:gd name="connsiteX396" fmla="*/ 645654 w 1100138"/>
                <a:gd name="connsiteY396" fmla="*/ 294540 h 1147763"/>
                <a:gd name="connsiteX397" fmla="*/ 646367 w 1100138"/>
                <a:gd name="connsiteY397" fmla="*/ 291685 h 1147763"/>
                <a:gd name="connsiteX398" fmla="*/ 647793 w 1100138"/>
                <a:gd name="connsiteY398" fmla="*/ 289543 h 1147763"/>
                <a:gd name="connsiteX399" fmla="*/ 649218 w 1100138"/>
                <a:gd name="connsiteY399" fmla="*/ 287402 h 1147763"/>
                <a:gd name="connsiteX400" fmla="*/ 650644 w 1100138"/>
                <a:gd name="connsiteY400" fmla="*/ 285260 h 1147763"/>
                <a:gd name="connsiteX401" fmla="*/ 652070 w 1100138"/>
                <a:gd name="connsiteY401" fmla="*/ 283119 h 1147763"/>
                <a:gd name="connsiteX402" fmla="*/ 653496 w 1100138"/>
                <a:gd name="connsiteY402" fmla="*/ 280977 h 1147763"/>
                <a:gd name="connsiteX403" fmla="*/ 654922 w 1100138"/>
                <a:gd name="connsiteY403" fmla="*/ 278836 h 1147763"/>
                <a:gd name="connsiteX404" fmla="*/ 656347 w 1100138"/>
                <a:gd name="connsiteY404" fmla="*/ 276694 h 1147763"/>
                <a:gd name="connsiteX405" fmla="*/ 657773 w 1100138"/>
                <a:gd name="connsiteY405" fmla="*/ 274553 h 1147763"/>
                <a:gd name="connsiteX406" fmla="*/ 659199 w 1100138"/>
                <a:gd name="connsiteY406" fmla="*/ 272411 h 1147763"/>
                <a:gd name="connsiteX407" fmla="*/ 660625 w 1100138"/>
                <a:gd name="connsiteY407" fmla="*/ 270270 h 1147763"/>
                <a:gd name="connsiteX408" fmla="*/ 661338 w 1100138"/>
                <a:gd name="connsiteY408" fmla="*/ 268128 h 1147763"/>
                <a:gd name="connsiteX409" fmla="*/ 662763 w 1100138"/>
                <a:gd name="connsiteY409" fmla="*/ 265273 h 1147763"/>
                <a:gd name="connsiteX410" fmla="*/ 664189 w 1100138"/>
                <a:gd name="connsiteY410" fmla="*/ 263131 h 1147763"/>
                <a:gd name="connsiteX411" fmla="*/ 665615 w 1100138"/>
                <a:gd name="connsiteY411" fmla="*/ 260990 h 1147763"/>
                <a:gd name="connsiteX412" fmla="*/ 667041 w 1100138"/>
                <a:gd name="connsiteY412" fmla="*/ 258848 h 1147763"/>
                <a:gd name="connsiteX413" fmla="*/ 668466 w 1100138"/>
                <a:gd name="connsiteY413" fmla="*/ 256707 h 1147763"/>
                <a:gd name="connsiteX414" fmla="*/ 669892 w 1100138"/>
                <a:gd name="connsiteY414" fmla="*/ 254565 h 1147763"/>
                <a:gd name="connsiteX415" fmla="*/ 671318 w 1100138"/>
                <a:gd name="connsiteY415" fmla="*/ 252423 h 1147763"/>
                <a:gd name="connsiteX416" fmla="*/ 672744 w 1100138"/>
                <a:gd name="connsiteY416" fmla="*/ 250282 h 1147763"/>
                <a:gd name="connsiteX417" fmla="*/ 674170 w 1100138"/>
                <a:gd name="connsiteY417" fmla="*/ 248140 h 1147763"/>
                <a:gd name="connsiteX418" fmla="*/ 675595 w 1100138"/>
                <a:gd name="connsiteY418" fmla="*/ 245999 h 1147763"/>
                <a:gd name="connsiteX419" fmla="*/ 676308 w 1100138"/>
                <a:gd name="connsiteY419" fmla="*/ 243857 h 1147763"/>
                <a:gd name="connsiteX420" fmla="*/ 677734 w 1100138"/>
                <a:gd name="connsiteY420" fmla="*/ 241716 h 1147763"/>
                <a:gd name="connsiteX421" fmla="*/ 679160 w 1100138"/>
                <a:gd name="connsiteY421" fmla="*/ 238860 h 1147763"/>
                <a:gd name="connsiteX422" fmla="*/ 680586 w 1100138"/>
                <a:gd name="connsiteY422" fmla="*/ 236719 h 1147763"/>
                <a:gd name="connsiteX423" fmla="*/ 682011 w 1100138"/>
                <a:gd name="connsiteY423" fmla="*/ 234577 h 1147763"/>
                <a:gd name="connsiteX424" fmla="*/ 683437 w 1100138"/>
                <a:gd name="connsiteY424" fmla="*/ 232436 h 1147763"/>
                <a:gd name="connsiteX425" fmla="*/ 684863 w 1100138"/>
                <a:gd name="connsiteY425" fmla="*/ 230294 h 1147763"/>
                <a:gd name="connsiteX426" fmla="*/ 686289 w 1100138"/>
                <a:gd name="connsiteY426" fmla="*/ 228153 h 1147763"/>
                <a:gd name="connsiteX427" fmla="*/ 687714 w 1100138"/>
                <a:gd name="connsiteY427" fmla="*/ 226011 h 1147763"/>
                <a:gd name="connsiteX428" fmla="*/ 688427 w 1100138"/>
                <a:gd name="connsiteY428" fmla="*/ 223870 h 1147763"/>
                <a:gd name="connsiteX429" fmla="*/ 689853 w 1100138"/>
                <a:gd name="connsiteY429" fmla="*/ 222442 h 1147763"/>
                <a:gd name="connsiteX430" fmla="*/ 689853 w 1100138"/>
                <a:gd name="connsiteY430" fmla="*/ 221728 h 1147763"/>
                <a:gd name="connsiteX431" fmla="*/ 691279 w 1100138"/>
                <a:gd name="connsiteY431" fmla="*/ 220301 h 1147763"/>
                <a:gd name="connsiteX432" fmla="*/ 691992 w 1100138"/>
                <a:gd name="connsiteY432" fmla="*/ 218159 h 1147763"/>
                <a:gd name="connsiteX433" fmla="*/ 693418 w 1100138"/>
                <a:gd name="connsiteY433" fmla="*/ 216017 h 1147763"/>
                <a:gd name="connsiteX434" fmla="*/ 694843 w 1100138"/>
                <a:gd name="connsiteY434" fmla="*/ 213876 h 1147763"/>
                <a:gd name="connsiteX435" fmla="*/ 696269 w 1100138"/>
                <a:gd name="connsiteY435" fmla="*/ 211734 h 1147763"/>
                <a:gd name="connsiteX436" fmla="*/ 697695 w 1100138"/>
                <a:gd name="connsiteY436" fmla="*/ 208879 h 1147763"/>
                <a:gd name="connsiteX437" fmla="*/ 699121 w 1100138"/>
                <a:gd name="connsiteY437" fmla="*/ 206738 h 1147763"/>
                <a:gd name="connsiteX438" fmla="*/ 700546 w 1100138"/>
                <a:gd name="connsiteY438" fmla="*/ 204596 h 1147763"/>
                <a:gd name="connsiteX439" fmla="*/ 701972 w 1100138"/>
                <a:gd name="connsiteY439" fmla="*/ 202454 h 1147763"/>
                <a:gd name="connsiteX440" fmla="*/ 703398 w 1100138"/>
                <a:gd name="connsiteY440" fmla="*/ 200313 h 1147763"/>
                <a:gd name="connsiteX441" fmla="*/ 704824 w 1100138"/>
                <a:gd name="connsiteY441" fmla="*/ 198171 h 1147763"/>
                <a:gd name="connsiteX442" fmla="*/ 705537 w 1100138"/>
                <a:gd name="connsiteY442" fmla="*/ 196030 h 1147763"/>
                <a:gd name="connsiteX443" fmla="*/ 706963 w 1100138"/>
                <a:gd name="connsiteY443" fmla="*/ 193888 h 1147763"/>
                <a:gd name="connsiteX444" fmla="*/ 708388 w 1100138"/>
                <a:gd name="connsiteY444" fmla="*/ 191747 h 1147763"/>
                <a:gd name="connsiteX445" fmla="*/ 709814 w 1100138"/>
                <a:gd name="connsiteY445" fmla="*/ 189605 h 1147763"/>
                <a:gd name="connsiteX446" fmla="*/ 711240 w 1100138"/>
                <a:gd name="connsiteY446" fmla="*/ 187464 h 1147763"/>
                <a:gd name="connsiteX447" fmla="*/ 712666 w 1100138"/>
                <a:gd name="connsiteY447" fmla="*/ 184608 h 1147763"/>
                <a:gd name="connsiteX448" fmla="*/ 714091 w 1100138"/>
                <a:gd name="connsiteY448" fmla="*/ 182467 h 1147763"/>
                <a:gd name="connsiteX449" fmla="*/ 715517 w 1100138"/>
                <a:gd name="connsiteY449" fmla="*/ 180325 h 1147763"/>
                <a:gd name="connsiteX450" fmla="*/ 716943 w 1100138"/>
                <a:gd name="connsiteY450" fmla="*/ 178184 h 1147763"/>
                <a:gd name="connsiteX451" fmla="*/ 717656 w 1100138"/>
                <a:gd name="connsiteY451" fmla="*/ 176042 h 1147763"/>
                <a:gd name="connsiteX452" fmla="*/ 719082 w 1100138"/>
                <a:gd name="connsiteY452" fmla="*/ 173901 h 1147763"/>
                <a:gd name="connsiteX453" fmla="*/ 720507 w 1100138"/>
                <a:gd name="connsiteY453" fmla="*/ 171759 h 1147763"/>
                <a:gd name="connsiteX454" fmla="*/ 721933 w 1100138"/>
                <a:gd name="connsiteY454" fmla="*/ 169618 h 1147763"/>
                <a:gd name="connsiteX455" fmla="*/ 723359 w 1100138"/>
                <a:gd name="connsiteY455" fmla="*/ 167476 h 1147763"/>
                <a:gd name="connsiteX456" fmla="*/ 724785 w 1100138"/>
                <a:gd name="connsiteY456" fmla="*/ 165335 h 1147763"/>
                <a:gd name="connsiteX457" fmla="*/ 726211 w 1100138"/>
                <a:gd name="connsiteY457" fmla="*/ 163193 h 1147763"/>
                <a:gd name="connsiteX458" fmla="*/ 727636 w 1100138"/>
                <a:gd name="connsiteY458" fmla="*/ 161052 h 1147763"/>
                <a:gd name="connsiteX459" fmla="*/ 729062 w 1100138"/>
                <a:gd name="connsiteY459" fmla="*/ 158196 h 1147763"/>
                <a:gd name="connsiteX460" fmla="*/ 729775 w 1100138"/>
                <a:gd name="connsiteY460" fmla="*/ 156055 h 1147763"/>
                <a:gd name="connsiteX461" fmla="*/ 731201 w 1100138"/>
                <a:gd name="connsiteY461" fmla="*/ 154627 h 1147763"/>
                <a:gd name="connsiteX462" fmla="*/ 731201 w 1100138"/>
                <a:gd name="connsiteY462" fmla="*/ 153913 h 1147763"/>
                <a:gd name="connsiteX463" fmla="*/ 732627 w 1100138"/>
                <a:gd name="connsiteY463" fmla="*/ 152485 h 1147763"/>
                <a:gd name="connsiteX464" fmla="*/ 733339 w 1100138"/>
                <a:gd name="connsiteY464" fmla="*/ 150344 h 1147763"/>
                <a:gd name="connsiteX465" fmla="*/ 734765 w 1100138"/>
                <a:gd name="connsiteY465" fmla="*/ 148202 h 1147763"/>
                <a:gd name="connsiteX466" fmla="*/ 736191 w 1100138"/>
                <a:gd name="connsiteY466" fmla="*/ 146061 h 1147763"/>
                <a:gd name="connsiteX467" fmla="*/ 737617 w 1100138"/>
                <a:gd name="connsiteY467" fmla="*/ 143919 h 1147763"/>
                <a:gd name="connsiteX468" fmla="*/ 739043 w 1100138"/>
                <a:gd name="connsiteY468" fmla="*/ 141778 h 1147763"/>
                <a:gd name="connsiteX469" fmla="*/ 740468 w 1100138"/>
                <a:gd name="connsiteY469" fmla="*/ 139636 h 1147763"/>
                <a:gd name="connsiteX470" fmla="*/ 741894 w 1100138"/>
                <a:gd name="connsiteY470" fmla="*/ 136781 h 1147763"/>
                <a:gd name="connsiteX471" fmla="*/ 743320 w 1100138"/>
                <a:gd name="connsiteY471" fmla="*/ 134639 h 1147763"/>
                <a:gd name="connsiteX472" fmla="*/ 744746 w 1100138"/>
                <a:gd name="connsiteY472" fmla="*/ 132498 h 1147763"/>
                <a:gd name="connsiteX473" fmla="*/ 745459 w 1100138"/>
                <a:gd name="connsiteY473" fmla="*/ 130356 h 1147763"/>
                <a:gd name="connsiteX474" fmla="*/ 746884 w 1100138"/>
                <a:gd name="connsiteY474" fmla="*/ 128215 h 1147763"/>
                <a:gd name="connsiteX475" fmla="*/ 748310 w 1100138"/>
                <a:gd name="connsiteY475" fmla="*/ 126073 h 1147763"/>
                <a:gd name="connsiteX476" fmla="*/ 749736 w 1100138"/>
                <a:gd name="connsiteY476" fmla="*/ 123932 h 1147763"/>
                <a:gd name="connsiteX477" fmla="*/ 751162 w 1100138"/>
                <a:gd name="connsiteY477" fmla="*/ 121790 h 1147763"/>
                <a:gd name="connsiteX478" fmla="*/ 752587 w 1100138"/>
                <a:gd name="connsiteY478" fmla="*/ 119649 h 1147763"/>
                <a:gd name="connsiteX479" fmla="*/ 754013 w 1100138"/>
                <a:gd name="connsiteY479" fmla="*/ 117507 h 1147763"/>
                <a:gd name="connsiteX480" fmla="*/ 755439 w 1100138"/>
                <a:gd name="connsiteY480" fmla="*/ 115366 h 1147763"/>
                <a:gd name="connsiteX481" fmla="*/ 756152 w 1100138"/>
                <a:gd name="connsiteY481" fmla="*/ 112510 h 1147763"/>
                <a:gd name="connsiteX482" fmla="*/ 757578 w 1100138"/>
                <a:gd name="connsiteY482" fmla="*/ 110369 h 1147763"/>
                <a:gd name="connsiteX483" fmla="*/ 759003 w 1100138"/>
                <a:gd name="connsiteY483" fmla="*/ 108227 h 1147763"/>
                <a:gd name="connsiteX484" fmla="*/ 760429 w 1100138"/>
                <a:gd name="connsiteY484" fmla="*/ 106086 h 1147763"/>
                <a:gd name="connsiteX485" fmla="*/ 761855 w 1100138"/>
                <a:gd name="connsiteY485" fmla="*/ 103944 h 1147763"/>
                <a:gd name="connsiteX486" fmla="*/ 763281 w 1100138"/>
                <a:gd name="connsiteY486" fmla="*/ 101803 h 1147763"/>
                <a:gd name="connsiteX487" fmla="*/ 764707 w 1100138"/>
                <a:gd name="connsiteY487" fmla="*/ 99661 h 1147763"/>
                <a:gd name="connsiteX488" fmla="*/ 765419 w 1100138"/>
                <a:gd name="connsiteY488" fmla="*/ 97520 h 1147763"/>
                <a:gd name="connsiteX489" fmla="*/ 766845 w 1100138"/>
                <a:gd name="connsiteY489" fmla="*/ 95378 h 1147763"/>
                <a:gd name="connsiteX490" fmla="*/ 768271 w 1100138"/>
                <a:gd name="connsiteY490" fmla="*/ 93236 h 1147763"/>
                <a:gd name="connsiteX491" fmla="*/ 769697 w 1100138"/>
                <a:gd name="connsiteY491" fmla="*/ 91095 h 1147763"/>
                <a:gd name="connsiteX492" fmla="*/ 770410 w 1100138"/>
                <a:gd name="connsiteY492" fmla="*/ 88953 h 1147763"/>
                <a:gd name="connsiteX493" fmla="*/ 771123 w 1100138"/>
                <a:gd name="connsiteY493" fmla="*/ 88953 h 1147763"/>
                <a:gd name="connsiteX494" fmla="*/ 771835 w 1100138"/>
                <a:gd name="connsiteY494" fmla="*/ 86812 h 1147763"/>
                <a:gd name="connsiteX495" fmla="*/ 772548 w 1100138"/>
                <a:gd name="connsiteY495" fmla="*/ 86812 h 1147763"/>
                <a:gd name="connsiteX496" fmla="*/ 773261 w 1100138"/>
                <a:gd name="connsiteY496" fmla="*/ 84670 h 1147763"/>
                <a:gd name="connsiteX497" fmla="*/ 774687 w 1100138"/>
                <a:gd name="connsiteY497" fmla="*/ 82529 h 1147763"/>
                <a:gd name="connsiteX498" fmla="*/ 774687 w 1100138"/>
                <a:gd name="connsiteY498" fmla="*/ 81815 h 1147763"/>
                <a:gd name="connsiteX499" fmla="*/ 776113 w 1100138"/>
                <a:gd name="connsiteY499" fmla="*/ 80387 h 1147763"/>
                <a:gd name="connsiteX500" fmla="*/ 776113 w 1100138"/>
                <a:gd name="connsiteY500" fmla="*/ 79673 h 1147763"/>
                <a:gd name="connsiteX501" fmla="*/ 777539 w 1100138"/>
                <a:gd name="connsiteY501" fmla="*/ 78246 h 1147763"/>
                <a:gd name="connsiteX502" fmla="*/ 777539 w 1100138"/>
                <a:gd name="connsiteY502" fmla="*/ 77532 h 1147763"/>
                <a:gd name="connsiteX503" fmla="*/ 778964 w 1100138"/>
                <a:gd name="connsiteY503" fmla="*/ 76104 h 1147763"/>
                <a:gd name="connsiteX504" fmla="*/ 778964 w 1100138"/>
                <a:gd name="connsiteY504" fmla="*/ 75390 h 1147763"/>
                <a:gd name="connsiteX505" fmla="*/ 798925 w 1100138"/>
                <a:gd name="connsiteY505" fmla="*/ 59954 h 1147763"/>
                <a:gd name="connsiteX506" fmla="*/ 550727 w 1100138"/>
                <a:gd name="connsiteY506" fmla="*/ 0 h 1147763"/>
                <a:gd name="connsiteX507" fmla="*/ 763588 w 1100138"/>
                <a:gd name="connsiteY507" fmla="*/ 45727 h 1147763"/>
                <a:gd name="connsiteX508" fmla="*/ 717159 w 1100138"/>
                <a:gd name="connsiteY508" fmla="*/ 119319 h 1147763"/>
                <a:gd name="connsiteX509" fmla="*/ 550727 w 1100138"/>
                <a:gd name="connsiteY509" fmla="*/ 85738 h 1147763"/>
                <a:gd name="connsiteX510" fmla="*/ 114291 w 1100138"/>
                <a:gd name="connsiteY510" fmla="*/ 522288 h 1147763"/>
                <a:gd name="connsiteX511" fmla="*/ 28575 w 1100138"/>
                <a:gd name="connsiteY511" fmla="*/ 522288 h 1147763"/>
                <a:gd name="connsiteX512" fmla="*/ 550727 w 1100138"/>
                <a:gd name="connsiteY512" fmla="*/ 0 h 114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Lst>
              <a:rect l="l" t="t" r="r" b="b"/>
              <a:pathLst>
                <a:path w="1100138" h="1147763">
                  <a:moveTo>
                    <a:pt x="0" y="552450"/>
                  </a:moveTo>
                  <a:cubicBezTo>
                    <a:pt x="0" y="552450"/>
                    <a:pt x="0" y="552450"/>
                    <a:pt x="95851" y="552450"/>
                  </a:cubicBezTo>
                  <a:cubicBezTo>
                    <a:pt x="95851" y="552450"/>
                    <a:pt x="95851" y="552450"/>
                    <a:pt x="233189" y="552450"/>
                  </a:cubicBezTo>
                  <a:cubicBezTo>
                    <a:pt x="233189" y="552450"/>
                    <a:pt x="233189" y="552450"/>
                    <a:pt x="238911" y="552450"/>
                  </a:cubicBezTo>
                  <a:cubicBezTo>
                    <a:pt x="238911" y="723763"/>
                    <a:pt x="378396" y="862955"/>
                    <a:pt x="550069" y="862955"/>
                  </a:cubicBezTo>
                  <a:cubicBezTo>
                    <a:pt x="721742" y="862955"/>
                    <a:pt x="861227" y="723763"/>
                    <a:pt x="861227" y="552450"/>
                  </a:cubicBezTo>
                  <a:cubicBezTo>
                    <a:pt x="861227" y="552450"/>
                    <a:pt x="861227" y="552450"/>
                    <a:pt x="866949" y="552450"/>
                  </a:cubicBezTo>
                  <a:cubicBezTo>
                    <a:pt x="866949" y="552450"/>
                    <a:pt x="866949" y="552450"/>
                    <a:pt x="1004287" y="552450"/>
                  </a:cubicBezTo>
                  <a:cubicBezTo>
                    <a:pt x="1004287" y="552450"/>
                    <a:pt x="1004287" y="552450"/>
                    <a:pt x="1100138" y="552450"/>
                  </a:cubicBezTo>
                  <a:cubicBezTo>
                    <a:pt x="1100138" y="552450"/>
                    <a:pt x="1100138" y="552450"/>
                    <a:pt x="1100138" y="644531"/>
                  </a:cubicBezTo>
                  <a:cubicBezTo>
                    <a:pt x="1100138" y="644531"/>
                    <a:pt x="1100138" y="644531"/>
                    <a:pt x="994988" y="644531"/>
                  </a:cubicBezTo>
                  <a:cubicBezTo>
                    <a:pt x="984974" y="690928"/>
                    <a:pt x="968522" y="734470"/>
                    <a:pt x="946348" y="774443"/>
                  </a:cubicBezTo>
                  <a:cubicBezTo>
                    <a:pt x="946348" y="774443"/>
                    <a:pt x="946348" y="774443"/>
                    <a:pt x="1048636" y="833689"/>
                  </a:cubicBezTo>
                  <a:cubicBezTo>
                    <a:pt x="1048636" y="833689"/>
                    <a:pt x="1048636" y="833689"/>
                    <a:pt x="1002142" y="913635"/>
                  </a:cubicBezTo>
                  <a:cubicBezTo>
                    <a:pt x="1002142" y="913635"/>
                    <a:pt x="1002142" y="913635"/>
                    <a:pt x="892700" y="850107"/>
                  </a:cubicBezTo>
                  <a:cubicBezTo>
                    <a:pt x="864088" y="882228"/>
                    <a:pt x="831184" y="910780"/>
                    <a:pt x="794703" y="934336"/>
                  </a:cubicBezTo>
                  <a:cubicBezTo>
                    <a:pt x="794703" y="934336"/>
                    <a:pt x="794703" y="934336"/>
                    <a:pt x="863372" y="1052113"/>
                  </a:cubicBezTo>
                  <a:cubicBezTo>
                    <a:pt x="863372" y="1052113"/>
                    <a:pt x="863372" y="1052113"/>
                    <a:pt x="783258" y="1098511"/>
                  </a:cubicBezTo>
                  <a:cubicBezTo>
                    <a:pt x="783258" y="1098511"/>
                    <a:pt x="783258" y="1098511"/>
                    <a:pt x="712443" y="975736"/>
                  </a:cubicBezTo>
                  <a:cubicBezTo>
                    <a:pt x="675247" y="990012"/>
                    <a:pt x="636621" y="999292"/>
                    <a:pt x="596564" y="1003575"/>
                  </a:cubicBezTo>
                  <a:cubicBezTo>
                    <a:pt x="596564" y="1003575"/>
                    <a:pt x="596564" y="1003575"/>
                    <a:pt x="596564" y="1147763"/>
                  </a:cubicBezTo>
                  <a:cubicBezTo>
                    <a:pt x="596564" y="1147763"/>
                    <a:pt x="596564" y="1147763"/>
                    <a:pt x="503574" y="1147763"/>
                  </a:cubicBezTo>
                  <a:cubicBezTo>
                    <a:pt x="503574" y="1147763"/>
                    <a:pt x="503574" y="1147763"/>
                    <a:pt x="503574" y="1003575"/>
                  </a:cubicBezTo>
                  <a:cubicBezTo>
                    <a:pt x="462086" y="999292"/>
                    <a:pt x="422029" y="989299"/>
                    <a:pt x="384833" y="974309"/>
                  </a:cubicBezTo>
                  <a:cubicBezTo>
                    <a:pt x="384833" y="974309"/>
                    <a:pt x="384833" y="974309"/>
                    <a:pt x="312588" y="1098511"/>
                  </a:cubicBezTo>
                  <a:cubicBezTo>
                    <a:pt x="312588" y="1098511"/>
                    <a:pt x="312588" y="1098511"/>
                    <a:pt x="232474" y="1052113"/>
                  </a:cubicBezTo>
                  <a:cubicBezTo>
                    <a:pt x="232474" y="1052113"/>
                    <a:pt x="232474" y="1052113"/>
                    <a:pt x="302573" y="932194"/>
                  </a:cubicBezTo>
                  <a:cubicBezTo>
                    <a:pt x="266808" y="909352"/>
                    <a:pt x="234620" y="880800"/>
                    <a:pt x="206723" y="849393"/>
                  </a:cubicBezTo>
                  <a:cubicBezTo>
                    <a:pt x="206723" y="849393"/>
                    <a:pt x="206723" y="849393"/>
                    <a:pt x="95135" y="913635"/>
                  </a:cubicBezTo>
                  <a:cubicBezTo>
                    <a:pt x="95135" y="913635"/>
                    <a:pt x="95135" y="913635"/>
                    <a:pt x="49356" y="833689"/>
                  </a:cubicBezTo>
                  <a:cubicBezTo>
                    <a:pt x="49356" y="833689"/>
                    <a:pt x="49356" y="833689"/>
                    <a:pt x="153790" y="773730"/>
                  </a:cubicBezTo>
                  <a:cubicBezTo>
                    <a:pt x="131616" y="733756"/>
                    <a:pt x="115164" y="690214"/>
                    <a:pt x="105149" y="644531"/>
                  </a:cubicBezTo>
                  <a:cubicBezTo>
                    <a:pt x="105149" y="644531"/>
                    <a:pt x="105149" y="644531"/>
                    <a:pt x="0" y="644531"/>
                  </a:cubicBezTo>
                  <a:cubicBezTo>
                    <a:pt x="0" y="644531"/>
                    <a:pt x="0" y="644531"/>
                    <a:pt x="0" y="552450"/>
                  </a:cubicBezTo>
                  <a:close/>
                  <a:moveTo>
                    <a:pt x="892969" y="457200"/>
                  </a:moveTo>
                  <a:cubicBezTo>
                    <a:pt x="910943" y="457200"/>
                    <a:pt x="925513" y="471770"/>
                    <a:pt x="925513" y="489744"/>
                  </a:cubicBezTo>
                  <a:cubicBezTo>
                    <a:pt x="925513" y="507718"/>
                    <a:pt x="910943" y="522288"/>
                    <a:pt x="892969" y="522288"/>
                  </a:cubicBezTo>
                  <a:cubicBezTo>
                    <a:pt x="874995" y="522288"/>
                    <a:pt x="860425" y="507718"/>
                    <a:pt x="860425" y="489744"/>
                  </a:cubicBezTo>
                  <a:cubicBezTo>
                    <a:pt x="860425" y="471770"/>
                    <a:pt x="874995" y="457200"/>
                    <a:pt x="892969" y="457200"/>
                  </a:cubicBezTo>
                  <a:close/>
                  <a:moveTo>
                    <a:pt x="207169" y="457200"/>
                  </a:moveTo>
                  <a:cubicBezTo>
                    <a:pt x="225143" y="457200"/>
                    <a:pt x="239713" y="471770"/>
                    <a:pt x="239713" y="489744"/>
                  </a:cubicBezTo>
                  <a:cubicBezTo>
                    <a:pt x="239713" y="507718"/>
                    <a:pt x="225143" y="522288"/>
                    <a:pt x="207169" y="522288"/>
                  </a:cubicBezTo>
                  <a:cubicBezTo>
                    <a:pt x="189195" y="522288"/>
                    <a:pt x="174625" y="507718"/>
                    <a:pt x="174625" y="489744"/>
                  </a:cubicBezTo>
                  <a:cubicBezTo>
                    <a:pt x="174625" y="471770"/>
                    <a:pt x="189195" y="457200"/>
                    <a:pt x="207169" y="457200"/>
                  </a:cubicBezTo>
                  <a:close/>
                  <a:moveTo>
                    <a:pt x="855451" y="286548"/>
                  </a:moveTo>
                  <a:cubicBezTo>
                    <a:pt x="863612" y="288701"/>
                    <a:pt x="870966" y="293902"/>
                    <a:pt x="875629" y="301794"/>
                  </a:cubicBezTo>
                  <a:cubicBezTo>
                    <a:pt x="884238" y="317577"/>
                    <a:pt x="879216" y="337665"/>
                    <a:pt x="863433" y="346275"/>
                  </a:cubicBezTo>
                  <a:cubicBezTo>
                    <a:pt x="847649" y="355601"/>
                    <a:pt x="827561" y="349862"/>
                    <a:pt x="818952" y="334796"/>
                  </a:cubicBezTo>
                  <a:cubicBezTo>
                    <a:pt x="809625" y="319012"/>
                    <a:pt x="815365" y="298924"/>
                    <a:pt x="830431" y="289597"/>
                  </a:cubicBezTo>
                  <a:cubicBezTo>
                    <a:pt x="838323" y="285293"/>
                    <a:pt x="847290" y="284396"/>
                    <a:pt x="855451" y="286548"/>
                  </a:cubicBezTo>
                  <a:close/>
                  <a:moveTo>
                    <a:pt x="244687" y="286548"/>
                  </a:moveTo>
                  <a:cubicBezTo>
                    <a:pt x="252848" y="284396"/>
                    <a:pt x="261816" y="285293"/>
                    <a:pt x="269707" y="289597"/>
                  </a:cubicBezTo>
                  <a:cubicBezTo>
                    <a:pt x="284773" y="298924"/>
                    <a:pt x="290513" y="319012"/>
                    <a:pt x="281186" y="334796"/>
                  </a:cubicBezTo>
                  <a:cubicBezTo>
                    <a:pt x="272577" y="349862"/>
                    <a:pt x="252489" y="355601"/>
                    <a:pt x="236705" y="346275"/>
                  </a:cubicBezTo>
                  <a:cubicBezTo>
                    <a:pt x="220922" y="337665"/>
                    <a:pt x="215900" y="317577"/>
                    <a:pt x="224509" y="301794"/>
                  </a:cubicBezTo>
                  <a:cubicBezTo>
                    <a:pt x="229172" y="293902"/>
                    <a:pt x="236526" y="288701"/>
                    <a:pt x="244687" y="286548"/>
                  </a:cubicBezTo>
                  <a:close/>
                  <a:moveTo>
                    <a:pt x="387228" y="161584"/>
                  </a:moveTo>
                  <a:cubicBezTo>
                    <a:pt x="395300" y="163826"/>
                    <a:pt x="402653" y="169206"/>
                    <a:pt x="407317" y="177098"/>
                  </a:cubicBezTo>
                  <a:cubicBezTo>
                    <a:pt x="415926" y="192164"/>
                    <a:pt x="410904" y="212252"/>
                    <a:pt x="395120" y="221579"/>
                  </a:cubicBezTo>
                  <a:cubicBezTo>
                    <a:pt x="379337" y="230188"/>
                    <a:pt x="359249" y="225166"/>
                    <a:pt x="350639" y="209383"/>
                  </a:cubicBezTo>
                  <a:cubicBezTo>
                    <a:pt x="341313" y="193599"/>
                    <a:pt x="347052" y="173511"/>
                    <a:pt x="362836" y="164902"/>
                  </a:cubicBezTo>
                  <a:cubicBezTo>
                    <a:pt x="370369" y="160238"/>
                    <a:pt x="379157" y="159342"/>
                    <a:pt x="387228" y="161584"/>
                  </a:cubicBezTo>
                  <a:close/>
                  <a:moveTo>
                    <a:pt x="550069" y="114300"/>
                  </a:moveTo>
                  <a:cubicBezTo>
                    <a:pt x="568043" y="114300"/>
                    <a:pt x="582613" y="128870"/>
                    <a:pt x="582613" y="146844"/>
                  </a:cubicBezTo>
                  <a:cubicBezTo>
                    <a:pt x="582613" y="164818"/>
                    <a:pt x="568043" y="179388"/>
                    <a:pt x="550069" y="179388"/>
                  </a:cubicBezTo>
                  <a:cubicBezTo>
                    <a:pt x="532095" y="179388"/>
                    <a:pt x="517525" y="164818"/>
                    <a:pt x="517525" y="146844"/>
                  </a:cubicBezTo>
                  <a:cubicBezTo>
                    <a:pt x="517525" y="128870"/>
                    <a:pt x="532095" y="114300"/>
                    <a:pt x="550069" y="114300"/>
                  </a:cubicBezTo>
                  <a:close/>
                  <a:moveTo>
                    <a:pt x="870974" y="111125"/>
                  </a:moveTo>
                  <a:cubicBezTo>
                    <a:pt x="993570" y="206778"/>
                    <a:pt x="1073150" y="355253"/>
                    <a:pt x="1073150" y="522288"/>
                  </a:cubicBezTo>
                  <a:cubicBezTo>
                    <a:pt x="1073150" y="522288"/>
                    <a:pt x="1073150" y="522288"/>
                    <a:pt x="987118" y="522288"/>
                  </a:cubicBezTo>
                  <a:cubicBezTo>
                    <a:pt x="987118" y="387375"/>
                    <a:pt x="925462" y="266739"/>
                    <a:pt x="828675" y="186791"/>
                  </a:cubicBezTo>
                  <a:cubicBezTo>
                    <a:pt x="828675" y="186791"/>
                    <a:pt x="828675" y="186791"/>
                    <a:pt x="870974" y="111125"/>
                  </a:cubicBezTo>
                  <a:close/>
                  <a:moveTo>
                    <a:pt x="798925" y="59954"/>
                  </a:moveTo>
                  <a:cubicBezTo>
                    <a:pt x="806945" y="57723"/>
                    <a:pt x="815678" y="58615"/>
                    <a:pt x="823164" y="63255"/>
                  </a:cubicBezTo>
                  <a:cubicBezTo>
                    <a:pt x="838847" y="72535"/>
                    <a:pt x="844550" y="91809"/>
                    <a:pt x="835283" y="107513"/>
                  </a:cubicBezTo>
                  <a:cubicBezTo>
                    <a:pt x="835283" y="108227"/>
                    <a:pt x="835283" y="108227"/>
                    <a:pt x="834570" y="108227"/>
                  </a:cubicBezTo>
                  <a:cubicBezTo>
                    <a:pt x="834570" y="108941"/>
                    <a:pt x="834570" y="109655"/>
                    <a:pt x="833857" y="109655"/>
                  </a:cubicBezTo>
                  <a:cubicBezTo>
                    <a:pt x="833857" y="110369"/>
                    <a:pt x="833857" y="110369"/>
                    <a:pt x="833857" y="110369"/>
                  </a:cubicBezTo>
                  <a:cubicBezTo>
                    <a:pt x="833144" y="111083"/>
                    <a:pt x="833144" y="111796"/>
                    <a:pt x="833144" y="111796"/>
                  </a:cubicBezTo>
                  <a:cubicBezTo>
                    <a:pt x="832431" y="112510"/>
                    <a:pt x="832431" y="112510"/>
                    <a:pt x="832431" y="112510"/>
                  </a:cubicBezTo>
                  <a:cubicBezTo>
                    <a:pt x="832431" y="113224"/>
                    <a:pt x="831718" y="113938"/>
                    <a:pt x="831718" y="113938"/>
                  </a:cubicBezTo>
                  <a:cubicBezTo>
                    <a:pt x="831718" y="114652"/>
                    <a:pt x="831005" y="114652"/>
                    <a:pt x="831005" y="114652"/>
                  </a:cubicBezTo>
                  <a:cubicBezTo>
                    <a:pt x="831005" y="115366"/>
                    <a:pt x="831005" y="116079"/>
                    <a:pt x="830292" y="116079"/>
                  </a:cubicBezTo>
                  <a:cubicBezTo>
                    <a:pt x="830292" y="116793"/>
                    <a:pt x="830292" y="116793"/>
                    <a:pt x="830292" y="117507"/>
                  </a:cubicBezTo>
                  <a:cubicBezTo>
                    <a:pt x="829580" y="117507"/>
                    <a:pt x="829580" y="118221"/>
                    <a:pt x="829580" y="118221"/>
                  </a:cubicBezTo>
                  <a:cubicBezTo>
                    <a:pt x="828867" y="118935"/>
                    <a:pt x="828867" y="118935"/>
                    <a:pt x="828867" y="119649"/>
                  </a:cubicBezTo>
                  <a:cubicBezTo>
                    <a:pt x="828867" y="119649"/>
                    <a:pt x="828867" y="119649"/>
                    <a:pt x="828154" y="120363"/>
                  </a:cubicBezTo>
                  <a:cubicBezTo>
                    <a:pt x="828154" y="121076"/>
                    <a:pt x="827441" y="121076"/>
                    <a:pt x="827441" y="121790"/>
                  </a:cubicBezTo>
                  <a:cubicBezTo>
                    <a:pt x="827441" y="121790"/>
                    <a:pt x="827441" y="122504"/>
                    <a:pt x="826728" y="122504"/>
                  </a:cubicBezTo>
                  <a:cubicBezTo>
                    <a:pt x="826728" y="123218"/>
                    <a:pt x="826728" y="123218"/>
                    <a:pt x="826015" y="123932"/>
                  </a:cubicBezTo>
                  <a:cubicBezTo>
                    <a:pt x="826015" y="123932"/>
                    <a:pt x="826015" y="123932"/>
                    <a:pt x="826015" y="124646"/>
                  </a:cubicBezTo>
                  <a:cubicBezTo>
                    <a:pt x="825302" y="125359"/>
                    <a:pt x="825302" y="125359"/>
                    <a:pt x="825302" y="126073"/>
                  </a:cubicBezTo>
                  <a:cubicBezTo>
                    <a:pt x="824589" y="126073"/>
                    <a:pt x="824589" y="126787"/>
                    <a:pt x="824589" y="126787"/>
                  </a:cubicBezTo>
                  <a:cubicBezTo>
                    <a:pt x="824589" y="127501"/>
                    <a:pt x="823876" y="127501"/>
                    <a:pt x="823876" y="128215"/>
                  </a:cubicBezTo>
                  <a:cubicBezTo>
                    <a:pt x="823876" y="128215"/>
                    <a:pt x="823876" y="128929"/>
                    <a:pt x="823164" y="128929"/>
                  </a:cubicBezTo>
                  <a:cubicBezTo>
                    <a:pt x="823164" y="129642"/>
                    <a:pt x="823164" y="129642"/>
                    <a:pt x="822451" y="130356"/>
                  </a:cubicBezTo>
                  <a:cubicBezTo>
                    <a:pt x="822451" y="130356"/>
                    <a:pt x="822451" y="130356"/>
                    <a:pt x="822451" y="131070"/>
                  </a:cubicBezTo>
                  <a:cubicBezTo>
                    <a:pt x="821738" y="131784"/>
                    <a:pt x="821738" y="132498"/>
                    <a:pt x="821738" y="132498"/>
                  </a:cubicBezTo>
                  <a:cubicBezTo>
                    <a:pt x="821025" y="133212"/>
                    <a:pt x="821025" y="133212"/>
                    <a:pt x="821025" y="133212"/>
                  </a:cubicBezTo>
                  <a:cubicBezTo>
                    <a:pt x="821025" y="133926"/>
                    <a:pt x="820312" y="134639"/>
                    <a:pt x="820312" y="134639"/>
                  </a:cubicBezTo>
                  <a:cubicBezTo>
                    <a:pt x="820312" y="135353"/>
                    <a:pt x="820312" y="135353"/>
                    <a:pt x="819599" y="135353"/>
                  </a:cubicBezTo>
                  <a:cubicBezTo>
                    <a:pt x="819599" y="136067"/>
                    <a:pt x="819599" y="136781"/>
                    <a:pt x="818886" y="136781"/>
                  </a:cubicBezTo>
                  <a:cubicBezTo>
                    <a:pt x="818886" y="137495"/>
                    <a:pt x="818886" y="137495"/>
                    <a:pt x="818886" y="137495"/>
                  </a:cubicBezTo>
                  <a:cubicBezTo>
                    <a:pt x="818173" y="138209"/>
                    <a:pt x="818173" y="138922"/>
                    <a:pt x="817460" y="139636"/>
                  </a:cubicBezTo>
                  <a:cubicBezTo>
                    <a:pt x="817460" y="140350"/>
                    <a:pt x="816748" y="141064"/>
                    <a:pt x="816748" y="141778"/>
                  </a:cubicBezTo>
                  <a:cubicBezTo>
                    <a:pt x="816035" y="142492"/>
                    <a:pt x="816035" y="143205"/>
                    <a:pt x="815322" y="143919"/>
                  </a:cubicBezTo>
                  <a:cubicBezTo>
                    <a:pt x="814609" y="144633"/>
                    <a:pt x="814609" y="145347"/>
                    <a:pt x="813896" y="146061"/>
                  </a:cubicBezTo>
                  <a:cubicBezTo>
                    <a:pt x="813896" y="146775"/>
                    <a:pt x="813183" y="147489"/>
                    <a:pt x="813183" y="148202"/>
                  </a:cubicBezTo>
                  <a:cubicBezTo>
                    <a:pt x="812470" y="148916"/>
                    <a:pt x="811757" y="149630"/>
                    <a:pt x="811757" y="150344"/>
                  </a:cubicBezTo>
                  <a:cubicBezTo>
                    <a:pt x="811044" y="151772"/>
                    <a:pt x="810332" y="152485"/>
                    <a:pt x="810332" y="153199"/>
                  </a:cubicBezTo>
                  <a:cubicBezTo>
                    <a:pt x="809619" y="153913"/>
                    <a:pt x="808906" y="154627"/>
                    <a:pt x="808906" y="155341"/>
                  </a:cubicBezTo>
                  <a:cubicBezTo>
                    <a:pt x="808193" y="156055"/>
                    <a:pt x="808193" y="157482"/>
                    <a:pt x="807480" y="158196"/>
                  </a:cubicBezTo>
                  <a:cubicBezTo>
                    <a:pt x="807480" y="158910"/>
                    <a:pt x="806767" y="159624"/>
                    <a:pt x="806054" y="160338"/>
                  </a:cubicBezTo>
                  <a:cubicBezTo>
                    <a:pt x="806054" y="161052"/>
                    <a:pt x="805341" y="161765"/>
                    <a:pt x="805341" y="162479"/>
                  </a:cubicBezTo>
                  <a:cubicBezTo>
                    <a:pt x="804628" y="163193"/>
                    <a:pt x="804628" y="163907"/>
                    <a:pt x="803916" y="164621"/>
                  </a:cubicBezTo>
                  <a:cubicBezTo>
                    <a:pt x="803916" y="165335"/>
                    <a:pt x="803203" y="166048"/>
                    <a:pt x="802490" y="166762"/>
                  </a:cubicBezTo>
                  <a:cubicBezTo>
                    <a:pt x="802490" y="167476"/>
                    <a:pt x="801777" y="168190"/>
                    <a:pt x="801777" y="168904"/>
                  </a:cubicBezTo>
                  <a:cubicBezTo>
                    <a:pt x="801064" y="169618"/>
                    <a:pt x="801064" y="170332"/>
                    <a:pt x="800351" y="171045"/>
                  </a:cubicBezTo>
                  <a:cubicBezTo>
                    <a:pt x="799638" y="171759"/>
                    <a:pt x="799638" y="172473"/>
                    <a:pt x="798925" y="173187"/>
                  </a:cubicBezTo>
                  <a:cubicBezTo>
                    <a:pt x="798925" y="173901"/>
                    <a:pt x="798212" y="174615"/>
                    <a:pt x="798212" y="175328"/>
                  </a:cubicBezTo>
                  <a:cubicBezTo>
                    <a:pt x="797500" y="176042"/>
                    <a:pt x="796787" y="176756"/>
                    <a:pt x="796787" y="177470"/>
                  </a:cubicBezTo>
                  <a:cubicBezTo>
                    <a:pt x="796074" y="178898"/>
                    <a:pt x="796074" y="179611"/>
                    <a:pt x="795361" y="180325"/>
                  </a:cubicBezTo>
                  <a:cubicBezTo>
                    <a:pt x="795361" y="181039"/>
                    <a:pt x="794648" y="181753"/>
                    <a:pt x="793935" y="182467"/>
                  </a:cubicBezTo>
                  <a:cubicBezTo>
                    <a:pt x="793935" y="183181"/>
                    <a:pt x="793222" y="183895"/>
                    <a:pt x="793222" y="184608"/>
                  </a:cubicBezTo>
                  <a:cubicBezTo>
                    <a:pt x="792509" y="185322"/>
                    <a:pt x="792509" y="186036"/>
                    <a:pt x="791796" y="186750"/>
                  </a:cubicBezTo>
                  <a:cubicBezTo>
                    <a:pt x="791796" y="187464"/>
                    <a:pt x="791083" y="188178"/>
                    <a:pt x="790371" y="188891"/>
                  </a:cubicBezTo>
                  <a:cubicBezTo>
                    <a:pt x="790371" y="189605"/>
                    <a:pt x="789658" y="190319"/>
                    <a:pt x="789658" y="191033"/>
                  </a:cubicBezTo>
                  <a:cubicBezTo>
                    <a:pt x="788945" y="191747"/>
                    <a:pt x="788945" y="192461"/>
                    <a:pt x="788232" y="193175"/>
                  </a:cubicBezTo>
                  <a:cubicBezTo>
                    <a:pt x="787519" y="193888"/>
                    <a:pt x="787519" y="194602"/>
                    <a:pt x="786806" y="195316"/>
                  </a:cubicBezTo>
                  <a:cubicBezTo>
                    <a:pt x="786806" y="196030"/>
                    <a:pt x="786093" y="196744"/>
                    <a:pt x="786093" y="197458"/>
                  </a:cubicBezTo>
                  <a:cubicBezTo>
                    <a:pt x="785380" y="198171"/>
                    <a:pt x="784667" y="198885"/>
                    <a:pt x="784667" y="199599"/>
                  </a:cubicBezTo>
                  <a:cubicBezTo>
                    <a:pt x="783955" y="201027"/>
                    <a:pt x="783955" y="201741"/>
                    <a:pt x="783242" y="202454"/>
                  </a:cubicBezTo>
                  <a:cubicBezTo>
                    <a:pt x="783242" y="203168"/>
                    <a:pt x="782529" y="203882"/>
                    <a:pt x="782529" y="204596"/>
                  </a:cubicBezTo>
                  <a:cubicBezTo>
                    <a:pt x="781816" y="205310"/>
                    <a:pt x="781103" y="206024"/>
                    <a:pt x="781103" y="206738"/>
                  </a:cubicBezTo>
                  <a:cubicBezTo>
                    <a:pt x="780390" y="207451"/>
                    <a:pt x="780390" y="208165"/>
                    <a:pt x="779677" y="208879"/>
                  </a:cubicBezTo>
                  <a:cubicBezTo>
                    <a:pt x="779677" y="209593"/>
                    <a:pt x="778964" y="210307"/>
                    <a:pt x="778251" y="211021"/>
                  </a:cubicBezTo>
                  <a:cubicBezTo>
                    <a:pt x="778251" y="211734"/>
                    <a:pt x="777539" y="212448"/>
                    <a:pt x="777539" y="213162"/>
                  </a:cubicBezTo>
                  <a:cubicBezTo>
                    <a:pt x="776826" y="213876"/>
                    <a:pt x="776826" y="214590"/>
                    <a:pt x="776113" y="215304"/>
                  </a:cubicBezTo>
                  <a:cubicBezTo>
                    <a:pt x="776113" y="216017"/>
                    <a:pt x="775400" y="216731"/>
                    <a:pt x="774687" y="217445"/>
                  </a:cubicBezTo>
                  <a:cubicBezTo>
                    <a:pt x="774687" y="218159"/>
                    <a:pt x="773974" y="218873"/>
                    <a:pt x="773974" y="219587"/>
                  </a:cubicBezTo>
                  <a:cubicBezTo>
                    <a:pt x="773261" y="220301"/>
                    <a:pt x="773261" y="221728"/>
                    <a:pt x="772548" y="222442"/>
                  </a:cubicBezTo>
                  <a:cubicBezTo>
                    <a:pt x="771835" y="223156"/>
                    <a:pt x="771123" y="224584"/>
                    <a:pt x="771123" y="225297"/>
                  </a:cubicBezTo>
                  <a:cubicBezTo>
                    <a:pt x="770410" y="226011"/>
                    <a:pt x="770410" y="226725"/>
                    <a:pt x="769697" y="227439"/>
                  </a:cubicBezTo>
                  <a:cubicBezTo>
                    <a:pt x="768984" y="228153"/>
                    <a:pt x="768984" y="228867"/>
                    <a:pt x="768271" y="229580"/>
                  </a:cubicBezTo>
                  <a:cubicBezTo>
                    <a:pt x="768271" y="230294"/>
                    <a:pt x="767558" y="231008"/>
                    <a:pt x="767558" y="231722"/>
                  </a:cubicBezTo>
                  <a:cubicBezTo>
                    <a:pt x="766845" y="232436"/>
                    <a:pt x="766132" y="233150"/>
                    <a:pt x="766132" y="233864"/>
                  </a:cubicBezTo>
                  <a:cubicBezTo>
                    <a:pt x="765419" y="234577"/>
                    <a:pt x="765419" y="236005"/>
                    <a:pt x="764707" y="236719"/>
                  </a:cubicBezTo>
                  <a:cubicBezTo>
                    <a:pt x="764707" y="237433"/>
                    <a:pt x="763994" y="238147"/>
                    <a:pt x="763281" y="238860"/>
                  </a:cubicBezTo>
                  <a:cubicBezTo>
                    <a:pt x="763281" y="239574"/>
                    <a:pt x="762568" y="240288"/>
                    <a:pt x="762568" y="241002"/>
                  </a:cubicBezTo>
                  <a:cubicBezTo>
                    <a:pt x="761855" y="241716"/>
                    <a:pt x="761855" y="242430"/>
                    <a:pt x="761142" y="243144"/>
                  </a:cubicBezTo>
                  <a:cubicBezTo>
                    <a:pt x="761142" y="243857"/>
                    <a:pt x="760429" y="244571"/>
                    <a:pt x="759716" y="245285"/>
                  </a:cubicBezTo>
                  <a:cubicBezTo>
                    <a:pt x="759716" y="245999"/>
                    <a:pt x="759003" y="246713"/>
                    <a:pt x="759003" y="247427"/>
                  </a:cubicBezTo>
                  <a:cubicBezTo>
                    <a:pt x="758291" y="248140"/>
                    <a:pt x="758291" y="248854"/>
                    <a:pt x="757578" y="249568"/>
                  </a:cubicBezTo>
                  <a:cubicBezTo>
                    <a:pt x="757578" y="250282"/>
                    <a:pt x="756865" y="250996"/>
                    <a:pt x="756152" y="251710"/>
                  </a:cubicBezTo>
                  <a:cubicBezTo>
                    <a:pt x="756152" y="252423"/>
                    <a:pt x="755439" y="253137"/>
                    <a:pt x="755439" y="253851"/>
                  </a:cubicBezTo>
                  <a:cubicBezTo>
                    <a:pt x="754726" y="254565"/>
                    <a:pt x="754726" y="255279"/>
                    <a:pt x="754013" y="256707"/>
                  </a:cubicBezTo>
                  <a:cubicBezTo>
                    <a:pt x="753300" y="257420"/>
                    <a:pt x="753300" y="258134"/>
                    <a:pt x="752587" y="258848"/>
                  </a:cubicBezTo>
                  <a:cubicBezTo>
                    <a:pt x="752587" y="259562"/>
                    <a:pt x="751875" y="260276"/>
                    <a:pt x="751875" y="260990"/>
                  </a:cubicBezTo>
                  <a:cubicBezTo>
                    <a:pt x="751162" y="261703"/>
                    <a:pt x="751162" y="262417"/>
                    <a:pt x="750449" y="263131"/>
                  </a:cubicBezTo>
                  <a:cubicBezTo>
                    <a:pt x="749736" y="263845"/>
                    <a:pt x="749736" y="264559"/>
                    <a:pt x="749023" y="265273"/>
                  </a:cubicBezTo>
                  <a:cubicBezTo>
                    <a:pt x="749023" y="265986"/>
                    <a:pt x="748310" y="266700"/>
                    <a:pt x="748310" y="267414"/>
                  </a:cubicBezTo>
                  <a:cubicBezTo>
                    <a:pt x="747597" y="268128"/>
                    <a:pt x="747597" y="268842"/>
                    <a:pt x="746884" y="269556"/>
                  </a:cubicBezTo>
                  <a:cubicBezTo>
                    <a:pt x="746171" y="270270"/>
                    <a:pt x="746171" y="270983"/>
                    <a:pt x="745459" y="271697"/>
                  </a:cubicBezTo>
                  <a:cubicBezTo>
                    <a:pt x="745459" y="272411"/>
                    <a:pt x="744746" y="273125"/>
                    <a:pt x="744746" y="273839"/>
                  </a:cubicBezTo>
                  <a:cubicBezTo>
                    <a:pt x="744033" y="274553"/>
                    <a:pt x="743320" y="275266"/>
                    <a:pt x="743320" y="275980"/>
                  </a:cubicBezTo>
                  <a:cubicBezTo>
                    <a:pt x="742607" y="277408"/>
                    <a:pt x="742607" y="278122"/>
                    <a:pt x="741894" y="278836"/>
                  </a:cubicBezTo>
                  <a:cubicBezTo>
                    <a:pt x="741894" y="279550"/>
                    <a:pt x="741181" y="280263"/>
                    <a:pt x="741181" y="280977"/>
                  </a:cubicBezTo>
                  <a:cubicBezTo>
                    <a:pt x="740468" y="281691"/>
                    <a:pt x="739755" y="282405"/>
                    <a:pt x="739755" y="283119"/>
                  </a:cubicBezTo>
                  <a:cubicBezTo>
                    <a:pt x="739043" y="283833"/>
                    <a:pt x="739043" y="284546"/>
                    <a:pt x="738330" y="285260"/>
                  </a:cubicBezTo>
                  <a:cubicBezTo>
                    <a:pt x="738330" y="285974"/>
                    <a:pt x="737617" y="286688"/>
                    <a:pt x="737617" y="287402"/>
                  </a:cubicBezTo>
                  <a:cubicBezTo>
                    <a:pt x="736904" y="288116"/>
                    <a:pt x="736191" y="288829"/>
                    <a:pt x="736191" y="289543"/>
                  </a:cubicBezTo>
                  <a:cubicBezTo>
                    <a:pt x="735478" y="290257"/>
                    <a:pt x="735478" y="290971"/>
                    <a:pt x="734765" y="291685"/>
                  </a:cubicBezTo>
                  <a:cubicBezTo>
                    <a:pt x="734765" y="292399"/>
                    <a:pt x="734052" y="293113"/>
                    <a:pt x="733339" y="293826"/>
                  </a:cubicBezTo>
                  <a:cubicBezTo>
                    <a:pt x="733339" y="294540"/>
                    <a:pt x="732627" y="295254"/>
                    <a:pt x="732627" y="295968"/>
                  </a:cubicBezTo>
                  <a:cubicBezTo>
                    <a:pt x="731914" y="297396"/>
                    <a:pt x="731914" y="298109"/>
                    <a:pt x="731201" y="298823"/>
                  </a:cubicBezTo>
                  <a:cubicBezTo>
                    <a:pt x="731201" y="299537"/>
                    <a:pt x="730488" y="300251"/>
                    <a:pt x="729775" y="300965"/>
                  </a:cubicBezTo>
                  <a:cubicBezTo>
                    <a:pt x="729775" y="301679"/>
                    <a:pt x="729062" y="302392"/>
                    <a:pt x="729062" y="303106"/>
                  </a:cubicBezTo>
                  <a:cubicBezTo>
                    <a:pt x="728349" y="303820"/>
                    <a:pt x="727636" y="305248"/>
                    <a:pt x="726923" y="305962"/>
                  </a:cubicBezTo>
                  <a:cubicBezTo>
                    <a:pt x="726923" y="306676"/>
                    <a:pt x="726211" y="308103"/>
                    <a:pt x="726211" y="308817"/>
                  </a:cubicBezTo>
                  <a:cubicBezTo>
                    <a:pt x="725498" y="309531"/>
                    <a:pt x="725498" y="310245"/>
                    <a:pt x="724785" y="310959"/>
                  </a:cubicBezTo>
                  <a:cubicBezTo>
                    <a:pt x="724072" y="311672"/>
                    <a:pt x="724072" y="312386"/>
                    <a:pt x="723359" y="313100"/>
                  </a:cubicBezTo>
                  <a:cubicBezTo>
                    <a:pt x="723359" y="313814"/>
                    <a:pt x="722646" y="314528"/>
                    <a:pt x="722646" y="315242"/>
                  </a:cubicBezTo>
                  <a:cubicBezTo>
                    <a:pt x="721933" y="315955"/>
                    <a:pt x="721933" y="316669"/>
                    <a:pt x="721220" y="317383"/>
                  </a:cubicBezTo>
                  <a:cubicBezTo>
                    <a:pt x="720507" y="318097"/>
                    <a:pt x="720507" y="318811"/>
                    <a:pt x="719795" y="319525"/>
                  </a:cubicBezTo>
                  <a:cubicBezTo>
                    <a:pt x="719795" y="320239"/>
                    <a:pt x="719082" y="320952"/>
                    <a:pt x="719082" y="321666"/>
                  </a:cubicBezTo>
                  <a:cubicBezTo>
                    <a:pt x="718369" y="322380"/>
                    <a:pt x="717656" y="323094"/>
                    <a:pt x="717656" y="323808"/>
                  </a:cubicBezTo>
                  <a:cubicBezTo>
                    <a:pt x="716943" y="324522"/>
                    <a:pt x="716943" y="325949"/>
                    <a:pt x="716230" y="326663"/>
                  </a:cubicBezTo>
                  <a:cubicBezTo>
                    <a:pt x="716230" y="327377"/>
                    <a:pt x="715517" y="328091"/>
                    <a:pt x="715517" y="328805"/>
                  </a:cubicBezTo>
                  <a:cubicBezTo>
                    <a:pt x="714804" y="329519"/>
                    <a:pt x="714091" y="330232"/>
                    <a:pt x="714091" y="330946"/>
                  </a:cubicBezTo>
                  <a:cubicBezTo>
                    <a:pt x="713379" y="331660"/>
                    <a:pt x="713379" y="332374"/>
                    <a:pt x="712666" y="333088"/>
                  </a:cubicBezTo>
                  <a:cubicBezTo>
                    <a:pt x="712666" y="333802"/>
                    <a:pt x="711953" y="334515"/>
                    <a:pt x="711953" y="335229"/>
                  </a:cubicBezTo>
                  <a:cubicBezTo>
                    <a:pt x="711240" y="335943"/>
                    <a:pt x="710527" y="336657"/>
                    <a:pt x="710527" y="337371"/>
                  </a:cubicBezTo>
                  <a:cubicBezTo>
                    <a:pt x="709814" y="338085"/>
                    <a:pt x="709814" y="338798"/>
                    <a:pt x="709101" y="339512"/>
                  </a:cubicBezTo>
                  <a:cubicBezTo>
                    <a:pt x="709101" y="340226"/>
                    <a:pt x="708388" y="340940"/>
                    <a:pt x="708388" y="341654"/>
                  </a:cubicBezTo>
                  <a:cubicBezTo>
                    <a:pt x="707675" y="342368"/>
                    <a:pt x="706963" y="343082"/>
                    <a:pt x="706963" y="343795"/>
                  </a:cubicBezTo>
                  <a:cubicBezTo>
                    <a:pt x="706250" y="345223"/>
                    <a:pt x="706250" y="345937"/>
                    <a:pt x="705537" y="346651"/>
                  </a:cubicBezTo>
                  <a:cubicBezTo>
                    <a:pt x="705537" y="347365"/>
                    <a:pt x="704824" y="348078"/>
                    <a:pt x="704824" y="348792"/>
                  </a:cubicBezTo>
                  <a:cubicBezTo>
                    <a:pt x="704111" y="349506"/>
                    <a:pt x="703398" y="350220"/>
                    <a:pt x="703398" y="350934"/>
                  </a:cubicBezTo>
                  <a:cubicBezTo>
                    <a:pt x="702685" y="351648"/>
                    <a:pt x="702685" y="352361"/>
                    <a:pt x="701972" y="353075"/>
                  </a:cubicBezTo>
                  <a:cubicBezTo>
                    <a:pt x="701972" y="353789"/>
                    <a:pt x="701259" y="354503"/>
                    <a:pt x="701259" y="355217"/>
                  </a:cubicBezTo>
                  <a:cubicBezTo>
                    <a:pt x="700546" y="355931"/>
                    <a:pt x="699834" y="356645"/>
                    <a:pt x="699834" y="357358"/>
                  </a:cubicBezTo>
                  <a:cubicBezTo>
                    <a:pt x="699121" y="358072"/>
                    <a:pt x="699121" y="358786"/>
                    <a:pt x="698408" y="359500"/>
                  </a:cubicBezTo>
                  <a:cubicBezTo>
                    <a:pt x="698408" y="360214"/>
                    <a:pt x="697695" y="360928"/>
                    <a:pt x="697695" y="361641"/>
                  </a:cubicBezTo>
                  <a:cubicBezTo>
                    <a:pt x="696982" y="362355"/>
                    <a:pt x="696269" y="363069"/>
                    <a:pt x="696269" y="363783"/>
                  </a:cubicBezTo>
                  <a:cubicBezTo>
                    <a:pt x="695556" y="365211"/>
                    <a:pt x="695556" y="365925"/>
                    <a:pt x="694843" y="366638"/>
                  </a:cubicBezTo>
                  <a:cubicBezTo>
                    <a:pt x="694843" y="367352"/>
                    <a:pt x="694130" y="368066"/>
                    <a:pt x="694130" y="368780"/>
                  </a:cubicBezTo>
                  <a:cubicBezTo>
                    <a:pt x="693418" y="369494"/>
                    <a:pt x="692705" y="370208"/>
                    <a:pt x="692705" y="370921"/>
                  </a:cubicBezTo>
                  <a:cubicBezTo>
                    <a:pt x="691992" y="371635"/>
                    <a:pt x="691992" y="372349"/>
                    <a:pt x="691279" y="373063"/>
                  </a:cubicBezTo>
                  <a:cubicBezTo>
                    <a:pt x="691279" y="373777"/>
                    <a:pt x="690566" y="374491"/>
                    <a:pt x="690566" y="375204"/>
                  </a:cubicBezTo>
                  <a:cubicBezTo>
                    <a:pt x="689853" y="375918"/>
                    <a:pt x="689140" y="376632"/>
                    <a:pt x="689140" y="377346"/>
                  </a:cubicBezTo>
                  <a:cubicBezTo>
                    <a:pt x="688427" y="378060"/>
                    <a:pt x="688427" y="378774"/>
                    <a:pt x="687714" y="379488"/>
                  </a:cubicBezTo>
                  <a:cubicBezTo>
                    <a:pt x="687714" y="380201"/>
                    <a:pt x="687002" y="380915"/>
                    <a:pt x="687002" y="381629"/>
                  </a:cubicBezTo>
                  <a:cubicBezTo>
                    <a:pt x="686289" y="382343"/>
                    <a:pt x="685576" y="383057"/>
                    <a:pt x="685576" y="383771"/>
                  </a:cubicBezTo>
                  <a:cubicBezTo>
                    <a:pt x="684863" y="385198"/>
                    <a:pt x="684863" y="385912"/>
                    <a:pt x="684150" y="386626"/>
                  </a:cubicBezTo>
                  <a:cubicBezTo>
                    <a:pt x="684150" y="387340"/>
                    <a:pt x="683437" y="388054"/>
                    <a:pt x="683437" y="388767"/>
                  </a:cubicBezTo>
                  <a:cubicBezTo>
                    <a:pt x="682724" y="389481"/>
                    <a:pt x="682724" y="390195"/>
                    <a:pt x="682011" y="390909"/>
                  </a:cubicBezTo>
                  <a:cubicBezTo>
                    <a:pt x="681298" y="391623"/>
                    <a:pt x="681298" y="392337"/>
                    <a:pt x="680586" y="393051"/>
                  </a:cubicBezTo>
                  <a:cubicBezTo>
                    <a:pt x="680586" y="393764"/>
                    <a:pt x="679873" y="394478"/>
                    <a:pt x="679873" y="395192"/>
                  </a:cubicBezTo>
                  <a:cubicBezTo>
                    <a:pt x="679160" y="395906"/>
                    <a:pt x="679160" y="396620"/>
                    <a:pt x="678447" y="397334"/>
                  </a:cubicBezTo>
                  <a:cubicBezTo>
                    <a:pt x="677734" y="398761"/>
                    <a:pt x="677021" y="400189"/>
                    <a:pt x="676308" y="400903"/>
                  </a:cubicBezTo>
                  <a:cubicBezTo>
                    <a:pt x="676308" y="401617"/>
                    <a:pt x="675595" y="402331"/>
                    <a:pt x="675595" y="403044"/>
                  </a:cubicBezTo>
                  <a:cubicBezTo>
                    <a:pt x="674882" y="403758"/>
                    <a:pt x="674882" y="404472"/>
                    <a:pt x="674170" y="405186"/>
                  </a:cubicBezTo>
                  <a:cubicBezTo>
                    <a:pt x="673457" y="406614"/>
                    <a:pt x="673457" y="407327"/>
                    <a:pt x="672744" y="408041"/>
                  </a:cubicBezTo>
                  <a:cubicBezTo>
                    <a:pt x="672744" y="408755"/>
                    <a:pt x="672031" y="409469"/>
                    <a:pt x="672031" y="410183"/>
                  </a:cubicBezTo>
                  <a:cubicBezTo>
                    <a:pt x="671318" y="410897"/>
                    <a:pt x="671318" y="411610"/>
                    <a:pt x="670605" y="412324"/>
                  </a:cubicBezTo>
                  <a:cubicBezTo>
                    <a:pt x="669892" y="413038"/>
                    <a:pt x="669892" y="413752"/>
                    <a:pt x="669179" y="414466"/>
                  </a:cubicBezTo>
                  <a:cubicBezTo>
                    <a:pt x="669179" y="415180"/>
                    <a:pt x="668466" y="415894"/>
                    <a:pt x="668466" y="416607"/>
                  </a:cubicBezTo>
                  <a:cubicBezTo>
                    <a:pt x="667754" y="417321"/>
                    <a:pt x="667754" y="418035"/>
                    <a:pt x="667041" y="418749"/>
                  </a:cubicBezTo>
                  <a:cubicBezTo>
                    <a:pt x="666328" y="419463"/>
                    <a:pt x="666328" y="420177"/>
                    <a:pt x="665615" y="420890"/>
                  </a:cubicBezTo>
                  <a:cubicBezTo>
                    <a:pt x="665615" y="421604"/>
                    <a:pt x="664902" y="422318"/>
                    <a:pt x="664902" y="423032"/>
                  </a:cubicBezTo>
                  <a:cubicBezTo>
                    <a:pt x="664189" y="423746"/>
                    <a:pt x="664189" y="425173"/>
                    <a:pt x="663476" y="425887"/>
                  </a:cubicBezTo>
                  <a:cubicBezTo>
                    <a:pt x="662763" y="426601"/>
                    <a:pt x="662763" y="427315"/>
                    <a:pt x="662050" y="428029"/>
                  </a:cubicBezTo>
                  <a:cubicBezTo>
                    <a:pt x="662050" y="428743"/>
                    <a:pt x="661338" y="429457"/>
                    <a:pt x="661338" y="430170"/>
                  </a:cubicBezTo>
                  <a:cubicBezTo>
                    <a:pt x="660625" y="430884"/>
                    <a:pt x="660625" y="431598"/>
                    <a:pt x="659912" y="432312"/>
                  </a:cubicBezTo>
                  <a:cubicBezTo>
                    <a:pt x="659912" y="433026"/>
                    <a:pt x="659199" y="433740"/>
                    <a:pt x="658486" y="434453"/>
                  </a:cubicBezTo>
                  <a:cubicBezTo>
                    <a:pt x="658486" y="435167"/>
                    <a:pt x="657773" y="435881"/>
                    <a:pt x="657773" y="436595"/>
                  </a:cubicBezTo>
                  <a:cubicBezTo>
                    <a:pt x="657060" y="437309"/>
                    <a:pt x="657060" y="438023"/>
                    <a:pt x="656347" y="438736"/>
                  </a:cubicBezTo>
                  <a:cubicBezTo>
                    <a:pt x="656347" y="439450"/>
                    <a:pt x="655634" y="440164"/>
                    <a:pt x="654922" y="440878"/>
                  </a:cubicBezTo>
                  <a:cubicBezTo>
                    <a:pt x="654922" y="441592"/>
                    <a:pt x="654209" y="442306"/>
                    <a:pt x="654209" y="443733"/>
                  </a:cubicBezTo>
                  <a:cubicBezTo>
                    <a:pt x="653496" y="444447"/>
                    <a:pt x="653496" y="445161"/>
                    <a:pt x="652783" y="445875"/>
                  </a:cubicBezTo>
                  <a:cubicBezTo>
                    <a:pt x="652783" y="446589"/>
                    <a:pt x="652070" y="447303"/>
                    <a:pt x="651357" y="448016"/>
                  </a:cubicBezTo>
                  <a:cubicBezTo>
                    <a:pt x="651357" y="448730"/>
                    <a:pt x="650644" y="449444"/>
                    <a:pt x="650644" y="450158"/>
                  </a:cubicBezTo>
                  <a:cubicBezTo>
                    <a:pt x="649931" y="450872"/>
                    <a:pt x="649931" y="451586"/>
                    <a:pt x="649218" y="452300"/>
                  </a:cubicBezTo>
                  <a:cubicBezTo>
                    <a:pt x="649218" y="453013"/>
                    <a:pt x="648506" y="453727"/>
                    <a:pt x="647793" y="454441"/>
                  </a:cubicBezTo>
                  <a:cubicBezTo>
                    <a:pt x="647793" y="455155"/>
                    <a:pt x="647080" y="455869"/>
                    <a:pt x="647080" y="456583"/>
                  </a:cubicBezTo>
                  <a:cubicBezTo>
                    <a:pt x="646367" y="457296"/>
                    <a:pt x="646367" y="458010"/>
                    <a:pt x="645654" y="458724"/>
                  </a:cubicBezTo>
                  <a:cubicBezTo>
                    <a:pt x="645654" y="459438"/>
                    <a:pt x="644941" y="460152"/>
                    <a:pt x="644941" y="460866"/>
                  </a:cubicBezTo>
                  <a:cubicBezTo>
                    <a:pt x="644228" y="462293"/>
                    <a:pt x="643515" y="463007"/>
                    <a:pt x="643515" y="463721"/>
                  </a:cubicBezTo>
                  <a:cubicBezTo>
                    <a:pt x="642802" y="464435"/>
                    <a:pt x="642802" y="465149"/>
                    <a:pt x="642090" y="465863"/>
                  </a:cubicBezTo>
                  <a:cubicBezTo>
                    <a:pt x="642090" y="466576"/>
                    <a:pt x="641377" y="467290"/>
                    <a:pt x="641377" y="468004"/>
                  </a:cubicBezTo>
                  <a:cubicBezTo>
                    <a:pt x="640664" y="468718"/>
                    <a:pt x="639951" y="469432"/>
                    <a:pt x="639951" y="470146"/>
                  </a:cubicBezTo>
                  <a:cubicBezTo>
                    <a:pt x="639238" y="470859"/>
                    <a:pt x="639238" y="471573"/>
                    <a:pt x="638525" y="472287"/>
                  </a:cubicBezTo>
                  <a:cubicBezTo>
                    <a:pt x="638525" y="473001"/>
                    <a:pt x="637812" y="473715"/>
                    <a:pt x="637812" y="474429"/>
                  </a:cubicBezTo>
                  <a:cubicBezTo>
                    <a:pt x="637099" y="475142"/>
                    <a:pt x="637099" y="475856"/>
                    <a:pt x="636386" y="476570"/>
                  </a:cubicBezTo>
                  <a:cubicBezTo>
                    <a:pt x="635674" y="477284"/>
                    <a:pt x="635674" y="477998"/>
                    <a:pt x="634961" y="478712"/>
                  </a:cubicBezTo>
                  <a:cubicBezTo>
                    <a:pt x="634961" y="479426"/>
                    <a:pt x="634248" y="480853"/>
                    <a:pt x="634248" y="481567"/>
                  </a:cubicBezTo>
                  <a:cubicBezTo>
                    <a:pt x="633535" y="482281"/>
                    <a:pt x="633535" y="482995"/>
                    <a:pt x="632822" y="483709"/>
                  </a:cubicBezTo>
                  <a:cubicBezTo>
                    <a:pt x="632109" y="484422"/>
                    <a:pt x="632109" y="485136"/>
                    <a:pt x="631396" y="485850"/>
                  </a:cubicBezTo>
                  <a:cubicBezTo>
                    <a:pt x="631396" y="486564"/>
                    <a:pt x="630683" y="487278"/>
                    <a:pt x="630683" y="487992"/>
                  </a:cubicBezTo>
                  <a:cubicBezTo>
                    <a:pt x="629970" y="488705"/>
                    <a:pt x="629970" y="489419"/>
                    <a:pt x="629258" y="490133"/>
                  </a:cubicBezTo>
                  <a:cubicBezTo>
                    <a:pt x="629258" y="490847"/>
                    <a:pt x="628545" y="491561"/>
                    <a:pt x="627832" y="492275"/>
                  </a:cubicBezTo>
                  <a:cubicBezTo>
                    <a:pt x="627832" y="492989"/>
                    <a:pt x="627119" y="493702"/>
                    <a:pt x="627119" y="494416"/>
                  </a:cubicBezTo>
                  <a:cubicBezTo>
                    <a:pt x="626406" y="495130"/>
                    <a:pt x="626406" y="495844"/>
                    <a:pt x="625693" y="496558"/>
                  </a:cubicBezTo>
                  <a:cubicBezTo>
                    <a:pt x="625693" y="497272"/>
                    <a:pt x="624980" y="497985"/>
                    <a:pt x="624267" y="498699"/>
                  </a:cubicBezTo>
                  <a:cubicBezTo>
                    <a:pt x="624267" y="500127"/>
                    <a:pt x="623554" y="500841"/>
                    <a:pt x="623554" y="501555"/>
                  </a:cubicBezTo>
                  <a:cubicBezTo>
                    <a:pt x="622842" y="502269"/>
                    <a:pt x="622842" y="502982"/>
                    <a:pt x="622129" y="503696"/>
                  </a:cubicBezTo>
                  <a:cubicBezTo>
                    <a:pt x="622129" y="504410"/>
                    <a:pt x="621416" y="505124"/>
                    <a:pt x="621416" y="505838"/>
                  </a:cubicBezTo>
                  <a:cubicBezTo>
                    <a:pt x="620703" y="506552"/>
                    <a:pt x="619990" y="507265"/>
                    <a:pt x="619990" y="507979"/>
                  </a:cubicBezTo>
                  <a:cubicBezTo>
                    <a:pt x="619277" y="508693"/>
                    <a:pt x="619277" y="509407"/>
                    <a:pt x="618564" y="510121"/>
                  </a:cubicBezTo>
                  <a:cubicBezTo>
                    <a:pt x="617851" y="511548"/>
                    <a:pt x="617138" y="512976"/>
                    <a:pt x="616426" y="514404"/>
                  </a:cubicBezTo>
                  <a:cubicBezTo>
                    <a:pt x="616426" y="515118"/>
                    <a:pt x="615713" y="515832"/>
                    <a:pt x="615713" y="516545"/>
                  </a:cubicBezTo>
                  <a:cubicBezTo>
                    <a:pt x="615000" y="517259"/>
                    <a:pt x="615000" y="517973"/>
                    <a:pt x="614287" y="518687"/>
                  </a:cubicBezTo>
                  <a:cubicBezTo>
                    <a:pt x="613574" y="519401"/>
                    <a:pt x="613574" y="520115"/>
                    <a:pt x="612861" y="520828"/>
                  </a:cubicBezTo>
                  <a:cubicBezTo>
                    <a:pt x="612861" y="521542"/>
                    <a:pt x="612148" y="522256"/>
                    <a:pt x="612148" y="522970"/>
                  </a:cubicBezTo>
                  <a:cubicBezTo>
                    <a:pt x="611435" y="523684"/>
                    <a:pt x="611435" y="524398"/>
                    <a:pt x="610722" y="525111"/>
                  </a:cubicBezTo>
                  <a:cubicBezTo>
                    <a:pt x="610722" y="525825"/>
                    <a:pt x="610009" y="526539"/>
                    <a:pt x="609297" y="527253"/>
                  </a:cubicBezTo>
                  <a:cubicBezTo>
                    <a:pt x="609297" y="527967"/>
                    <a:pt x="608584" y="529395"/>
                    <a:pt x="608584" y="530108"/>
                  </a:cubicBezTo>
                  <a:cubicBezTo>
                    <a:pt x="607871" y="530822"/>
                    <a:pt x="607871" y="531536"/>
                    <a:pt x="607158" y="532250"/>
                  </a:cubicBezTo>
                  <a:cubicBezTo>
                    <a:pt x="607158" y="532964"/>
                    <a:pt x="606445" y="533678"/>
                    <a:pt x="605732" y="534391"/>
                  </a:cubicBezTo>
                  <a:cubicBezTo>
                    <a:pt x="605732" y="535105"/>
                    <a:pt x="605019" y="535819"/>
                    <a:pt x="605019" y="536533"/>
                  </a:cubicBezTo>
                  <a:cubicBezTo>
                    <a:pt x="604306" y="537247"/>
                    <a:pt x="604306" y="537961"/>
                    <a:pt x="603593" y="538675"/>
                  </a:cubicBezTo>
                  <a:cubicBezTo>
                    <a:pt x="603593" y="539388"/>
                    <a:pt x="602881" y="540102"/>
                    <a:pt x="602881" y="540816"/>
                  </a:cubicBezTo>
                  <a:cubicBezTo>
                    <a:pt x="602168" y="541530"/>
                    <a:pt x="601455" y="542244"/>
                    <a:pt x="601455" y="542958"/>
                  </a:cubicBezTo>
                  <a:cubicBezTo>
                    <a:pt x="600742" y="543671"/>
                    <a:pt x="600742" y="544385"/>
                    <a:pt x="600029" y="545099"/>
                  </a:cubicBezTo>
                  <a:cubicBezTo>
                    <a:pt x="600029" y="545813"/>
                    <a:pt x="599316" y="547241"/>
                    <a:pt x="599316" y="547954"/>
                  </a:cubicBezTo>
                  <a:cubicBezTo>
                    <a:pt x="598603" y="548668"/>
                    <a:pt x="597890" y="549382"/>
                    <a:pt x="597890" y="550096"/>
                  </a:cubicBezTo>
                  <a:cubicBezTo>
                    <a:pt x="597177" y="550810"/>
                    <a:pt x="597177" y="551524"/>
                    <a:pt x="596465" y="552238"/>
                  </a:cubicBezTo>
                  <a:cubicBezTo>
                    <a:pt x="596465" y="552951"/>
                    <a:pt x="595752" y="553665"/>
                    <a:pt x="595752" y="554379"/>
                  </a:cubicBezTo>
                  <a:cubicBezTo>
                    <a:pt x="595039" y="555093"/>
                    <a:pt x="595039" y="555807"/>
                    <a:pt x="594326" y="556521"/>
                  </a:cubicBezTo>
                  <a:cubicBezTo>
                    <a:pt x="593613" y="557234"/>
                    <a:pt x="593613" y="557948"/>
                    <a:pt x="592900" y="558662"/>
                  </a:cubicBezTo>
                  <a:cubicBezTo>
                    <a:pt x="585058" y="574367"/>
                    <a:pt x="568662" y="585788"/>
                    <a:pt x="550127" y="585788"/>
                  </a:cubicBezTo>
                  <a:cubicBezTo>
                    <a:pt x="523750" y="585788"/>
                    <a:pt x="501650" y="563659"/>
                    <a:pt x="501650" y="537247"/>
                  </a:cubicBezTo>
                  <a:cubicBezTo>
                    <a:pt x="501650" y="527253"/>
                    <a:pt x="505215" y="517973"/>
                    <a:pt x="510205" y="510121"/>
                  </a:cubicBezTo>
                  <a:cubicBezTo>
                    <a:pt x="510918" y="509407"/>
                    <a:pt x="511631" y="508693"/>
                    <a:pt x="511631" y="507979"/>
                  </a:cubicBezTo>
                  <a:cubicBezTo>
                    <a:pt x="512344" y="507265"/>
                    <a:pt x="513056" y="506552"/>
                    <a:pt x="513056" y="505838"/>
                  </a:cubicBezTo>
                  <a:cubicBezTo>
                    <a:pt x="513769" y="505124"/>
                    <a:pt x="514482" y="504410"/>
                    <a:pt x="514482" y="503696"/>
                  </a:cubicBezTo>
                  <a:cubicBezTo>
                    <a:pt x="515195" y="502982"/>
                    <a:pt x="515195" y="501555"/>
                    <a:pt x="515908" y="500841"/>
                  </a:cubicBezTo>
                  <a:cubicBezTo>
                    <a:pt x="516621" y="500127"/>
                    <a:pt x="516621" y="499413"/>
                    <a:pt x="517334" y="498699"/>
                  </a:cubicBezTo>
                  <a:cubicBezTo>
                    <a:pt x="518047" y="497985"/>
                    <a:pt x="518047" y="497272"/>
                    <a:pt x="518760" y="496558"/>
                  </a:cubicBezTo>
                  <a:cubicBezTo>
                    <a:pt x="519472" y="495844"/>
                    <a:pt x="519472" y="495130"/>
                    <a:pt x="520185" y="494416"/>
                  </a:cubicBezTo>
                  <a:cubicBezTo>
                    <a:pt x="520898" y="493702"/>
                    <a:pt x="520898" y="492989"/>
                    <a:pt x="521611" y="492275"/>
                  </a:cubicBezTo>
                  <a:cubicBezTo>
                    <a:pt x="521611" y="492275"/>
                    <a:pt x="521611" y="492275"/>
                    <a:pt x="521611" y="491561"/>
                  </a:cubicBezTo>
                  <a:cubicBezTo>
                    <a:pt x="522324" y="491561"/>
                    <a:pt x="522324" y="490847"/>
                    <a:pt x="522324" y="490847"/>
                  </a:cubicBezTo>
                  <a:cubicBezTo>
                    <a:pt x="522324" y="490847"/>
                    <a:pt x="522324" y="490847"/>
                    <a:pt x="523037" y="490133"/>
                  </a:cubicBezTo>
                  <a:cubicBezTo>
                    <a:pt x="523037" y="490133"/>
                    <a:pt x="523037" y="490133"/>
                    <a:pt x="523037" y="489419"/>
                  </a:cubicBezTo>
                  <a:cubicBezTo>
                    <a:pt x="523750" y="488705"/>
                    <a:pt x="524463" y="487992"/>
                    <a:pt x="524463" y="487278"/>
                  </a:cubicBezTo>
                  <a:cubicBezTo>
                    <a:pt x="525176" y="486564"/>
                    <a:pt x="525889" y="485850"/>
                    <a:pt x="525889" y="485136"/>
                  </a:cubicBezTo>
                  <a:cubicBezTo>
                    <a:pt x="526601" y="484422"/>
                    <a:pt x="526601" y="483709"/>
                    <a:pt x="527314" y="482995"/>
                  </a:cubicBezTo>
                  <a:cubicBezTo>
                    <a:pt x="528027" y="482281"/>
                    <a:pt x="528027" y="481567"/>
                    <a:pt x="528740" y="480853"/>
                  </a:cubicBezTo>
                  <a:cubicBezTo>
                    <a:pt x="529453" y="480139"/>
                    <a:pt x="529453" y="479426"/>
                    <a:pt x="530166" y="478712"/>
                  </a:cubicBezTo>
                  <a:cubicBezTo>
                    <a:pt x="530879" y="477998"/>
                    <a:pt x="530879" y="477284"/>
                    <a:pt x="531592" y="476570"/>
                  </a:cubicBezTo>
                  <a:cubicBezTo>
                    <a:pt x="532305" y="475856"/>
                    <a:pt x="532305" y="475142"/>
                    <a:pt x="533017" y="474429"/>
                  </a:cubicBezTo>
                  <a:cubicBezTo>
                    <a:pt x="533017" y="473715"/>
                    <a:pt x="533730" y="473001"/>
                    <a:pt x="534443" y="472287"/>
                  </a:cubicBezTo>
                  <a:cubicBezTo>
                    <a:pt x="534443" y="471573"/>
                    <a:pt x="535156" y="470859"/>
                    <a:pt x="535869" y="470146"/>
                  </a:cubicBezTo>
                  <a:cubicBezTo>
                    <a:pt x="535869" y="469432"/>
                    <a:pt x="536582" y="468718"/>
                    <a:pt x="537295" y="468004"/>
                  </a:cubicBezTo>
                  <a:cubicBezTo>
                    <a:pt x="537295" y="467290"/>
                    <a:pt x="538008" y="466576"/>
                    <a:pt x="538721" y="465863"/>
                  </a:cubicBezTo>
                  <a:cubicBezTo>
                    <a:pt x="538721" y="464435"/>
                    <a:pt x="539433" y="463721"/>
                    <a:pt x="540146" y="463007"/>
                  </a:cubicBezTo>
                  <a:cubicBezTo>
                    <a:pt x="540146" y="462293"/>
                    <a:pt x="540859" y="461579"/>
                    <a:pt x="540859" y="460866"/>
                  </a:cubicBezTo>
                  <a:cubicBezTo>
                    <a:pt x="541572" y="460152"/>
                    <a:pt x="542285" y="459438"/>
                    <a:pt x="542285" y="458724"/>
                  </a:cubicBezTo>
                  <a:cubicBezTo>
                    <a:pt x="542998" y="458010"/>
                    <a:pt x="543711" y="457296"/>
                    <a:pt x="543711" y="456583"/>
                  </a:cubicBezTo>
                  <a:cubicBezTo>
                    <a:pt x="544424" y="455869"/>
                    <a:pt x="545137" y="455155"/>
                    <a:pt x="545137" y="454441"/>
                  </a:cubicBezTo>
                  <a:cubicBezTo>
                    <a:pt x="545849" y="453727"/>
                    <a:pt x="546562" y="453013"/>
                    <a:pt x="546562" y="452300"/>
                  </a:cubicBezTo>
                  <a:cubicBezTo>
                    <a:pt x="547275" y="451586"/>
                    <a:pt x="547275" y="450872"/>
                    <a:pt x="547988" y="450158"/>
                  </a:cubicBezTo>
                  <a:cubicBezTo>
                    <a:pt x="548701" y="449444"/>
                    <a:pt x="548701" y="448730"/>
                    <a:pt x="549414" y="448016"/>
                  </a:cubicBezTo>
                  <a:cubicBezTo>
                    <a:pt x="550127" y="447303"/>
                    <a:pt x="550127" y="446589"/>
                    <a:pt x="550840" y="445875"/>
                  </a:cubicBezTo>
                  <a:cubicBezTo>
                    <a:pt x="551553" y="445161"/>
                    <a:pt x="551553" y="444447"/>
                    <a:pt x="552265" y="443733"/>
                  </a:cubicBezTo>
                  <a:cubicBezTo>
                    <a:pt x="552978" y="443020"/>
                    <a:pt x="552978" y="442306"/>
                    <a:pt x="553691" y="441592"/>
                  </a:cubicBezTo>
                  <a:cubicBezTo>
                    <a:pt x="553691" y="440878"/>
                    <a:pt x="554404" y="440164"/>
                    <a:pt x="555117" y="439450"/>
                  </a:cubicBezTo>
                  <a:cubicBezTo>
                    <a:pt x="555117" y="438736"/>
                    <a:pt x="555830" y="438023"/>
                    <a:pt x="556543" y="437309"/>
                  </a:cubicBezTo>
                  <a:cubicBezTo>
                    <a:pt x="556543" y="435881"/>
                    <a:pt x="557256" y="435167"/>
                    <a:pt x="557969" y="434453"/>
                  </a:cubicBezTo>
                  <a:cubicBezTo>
                    <a:pt x="557969" y="433740"/>
                    <a:pt x="558681" y="433026"/>
                    <a:pt x="559394" y="432312"/>
                  </a:cubicBezTo>
                  <a:cubicBezTo>
                    <a:pt x="559394" y="431598"/>
                    <a:pt x="560107" y="430884"/>
                    <a:pt x="560820" y="430170"/>
                  </a:cubicBezTo>
                  <a:cubicBezTo>
                    <a:pt x="560820" y="429457"/>
                    <a:pt x="561533" y="428743"/>
                    <a:pt x="561533" y="428029"/>
                  </a:cubicBezTo>
                  <a:cubicBezTo>
                    <a:pt x="562246" y="427315"/>
                    <a:pt x="562959" y="426601"/>
                    <a:pt x="562959" y="425887"/>
                  </a:cubicBezTo>
                  <a:cubicBezTo>
                    <a:pt x="563672" y="425173"/>
                    <a:pt x="564385" y="424460"/>
                    <a:pt x="564385" y="423746"/>
                  </a:cubicBezTo>
                  <a:cubicBezTo>
                    <a:pt x="565097" y="423032"/>
                    <a:pt x="565810" y="422318"/>
                    <a:pt x="565810" y="421604"/>
                  </a:cubicBezTo>
                  <a:cubicBezTo>
                    <a:pt x="566523" y="420890"/>
                    <a:pt x="566523" y="420177"/>
                    <a:pt x="567236" y="419463"/>
                  </a:cubicBezTo>
                  <a:cubicBezTo>
                    <a:pt x="567949" y="418749"/>
                    <a:pt x="567949" y="418035"/>
                    <a:pt x="568662" y="417321"/>
                  </a:cubicBezTo>
                  <a:cubicBezTo>
                    <a:pt x="569375" y="416607"/>
                    <a:pt x="569375" y="415894"/>
                    <a:pt x="570088" y="415180"/>
                  </a:cubicBezTo>
                  <a:cubicBezTo>
                    <a:pt x="570801" y="414466"/>
                    <a:pt x="570801" y="413752"/>
                    <a:pt x="571513" y="413038"/>
                  </a:cubicBezTo>
                  <a:cubicBezTo>
                    <a:pt x="572226" y="412324"/>
                    <a:pt x="572226" y="411610"/>
                    <a:pt x="572939" y="410897"/>
                  </a:cubicBezTo>
                  <a:cubicBezTo>
                    <a:pt x="572939" y="410183"/>
                    <a:pt x="573652" y="409469"/>
                    <a:pt x="574365" y="408755"/>
                  </a:cubicBezTo>
                  <a:cubicBezTo>
                    <a:pt x="574365" y="407327"/>
                    <a:pt x="575078" y="406614"/>
                    <a:pt x="575791" y="405900"/>
                  </a:cubicBezTo>
                  <a:cubicBezTo>
                    <a:pt x="575791" y="405186"/>
                    <a:pt x="576504" y="404472"/>
                    <a:pt x="577217" y="403758"/>
                  </a:cubicBezTo>
                  <a:cubicBezTo>
                    <a:pt x="577217" y="403044"/>
                    <a:pt x="577929" y="402331"/>
                    <a:pt x="578642" y="401617"/>
                  </a:cubicBezTo>
                  <a:cubicBezTo>
                    <a:pt x="578642" y="400903"/>
                    <a:pt x="579355" y="400189"/>
                    <a:pt x="579355" y="399475"/>
                  </a:cubicBezTo>
                  <a:cubicBezTo>
                    <a:pt x="580068" y="398761"/>
                    <a:pt x="580781" y="398047"/>
                    <a:pt x="580781" y="397334"/>
                  </a:cubicBezTo>
                  <a:cubicBezTo>
                    <a:pt x="581494" y="396620"/>
                    <a:pt x="582207" y="395906"/>
                    <a:pt x="582207" y="395192"/>
                  </a:cubicBezTo>
                  <a:cubicBezTo>
                    <a:pt x="582920" y="394478"/>
                    <a:pt x="583633" y="393764"/>
                    <a:pt x="583633" y="393051"/>
                  </a:cubicBezTo>
                  <a:cubicBezTo>
                    <a:pt x="584345" y="392337"/>
                    <a:pt x="584345" y="391623"/>
                    <a:pt x="585058" y="390909"/>
                  </a:cubicBezTo>
                  <a:cubicBezTo>
                    <a:pt x="585771" y="390195"/>
                    <a:pt x="585771" y="389481"/>
                    <a:pt x="586484" y="388767"/>
                  </a:cubicBezTo>
                  <a:cubicBezTo>
                    <a:pt x="587197" y="388054"/>
                    <a:pt x="587197" y="387340"/>
                    <a:pt x="587910" y="386626"/>
                  </a:cubicBezTo>
                  <a:cubicBezTo>
                    <a:pt x="587910" y="385912"/>
                    <a:pt x="588623" y="385912"/>
                    <a:pt x="588623" y="385912"/>
                  </a:cubicBezTo>
                  <a:cubicBezTo>
                    <a:pt x="588623" y="384484"/>
                    <a:pt x="589336" y="383771"/>
                    <a:pt x="590049" y="383057"/>
                  </a:cubicBezTo>
                  <a:cubicBezTo>
                    <a:pt x="590049" y="382343"/>
                    <a:pt x="590761" y="381629"/>
                    <a:pt x="591474" y="380915"/>
                  </a:cubicBezTo>
                  <a:cubicBezTo>
                    <a:pt x="591474" y="380201"/>
                    <a:pt x="592187" y="379488"/>
                    <a:pt x="592900" y="378774"/>
                  </a:cubicBezTo>
                  <a:cubicBezTo>
                    <a:pt x="592900" y="378060"/>
                    <a:pt x="593613" y="377346"/>
                    <a:pt x="594326" y="376632"/>
                  </a:cubicBezTo>
                  <a:cubicBezTo>
                    <a:pt x="594326" y="375918"/>
                    <a:pt x="595039" y="375204"/>
                    <a:pt x="595039" y="374491"/>
                  </a:cubicBezTo>
                  <a:cubicBezTo>
                    <a:pt x="595752" y="373777"/>
                    <a:pt x="596465" y="373063"/>
                    <a:pt x="596465" y="372349"/>
                  </a:cubicBezTo>
                  <a:cubicBezTo>
                    <a:pt x="597177" y="371635"/>
                    <a:pt x="597890" y="370921"/>
                    <a:pt x="597890" y="370208"/>
                  </a:cubicBezTo>
                  <a:cubicBezTo>
                    <a:pt x="598603" y="369494"/>
                    <a:pt x="599316" y="368780"/>
                    <a:pt x="599316" y="368066"/>
                  </a:cubicBezTo>
                  <a:cubicBezTo>
                    <a:pt x="600029" y="367352"/>
                    <a:pt x="600029" y="366638"/>
                    <a:pt x="600742" y="365925"/>
                  </a:cubicBezTo>
                  <a:cubicBezTo>
                    <a:pt x="601455" y="365211"/>
                    <a:pt x="601455" y="364497"/>
                    <a:pt x="602168" y="363783"/>
                  </a:cubicBezTo>
                  <a:cubicBezTo>
                    <a:pt x="602881" y="363069"/>
                    <a:pt x="602881" y="362355"/>
                    <a:pt x="603593" y="361641"/>
                  </a:cubicBezTo>
                  <a:cubicBezTo>
                    <a:pt x="604306" y="360928"/>
                    <a:pt x="604306" y="360214"/>
                    <a:pt x="605019" y="359500"/>
                  </a:cubicBezTo>
                  <a:cubicBezTo>
                    <a:pt x="605732" y="358072"/>
                    <a:pt x="605732" y="357358"/>
                    <a:pt x="606445" y="356645"/>
                  </a:cubicBezTo>
                  <a:cubicBezTo>
                    <a:pt x="606445" y="355931"/>
                    <a:pt x="607158" y="355217"/>
                    <a:pt x="607871" y="354503"/>
                  </a:cubicBezTo>
                  <a:cubicBezTo>
                    <a:pt x="607871" y="353789"/>
                    <a:pt x="608584" y="353075"/>
                    <a:pt x="609297" y="352361"/>
                  </a:cubicBezTo>
                  <a:cubicBezTo>
                    <a:pt x="609297" y="351648"/>
                    <a:pt x="610009" y="350934"/>
                    <a:pt x="610722" y="350220"/>
                  </a:cubicBezTo>
                  <a:cubicBezTo>
                    <a:pt x="610722" y="349506"/>
                    <a:pt x="611435" y="348792"/>
                    <a:pt x="612148" y="348078"/>
                  </a:cubicBezTo>
                  <a:cubicBezTo>
                    <a:pt x="612148" y="347365"/>
                    <a:pt x="612861" y="346651"/>
                    <a:pt x="612861" y="345937"/>
                  </a:cubicBezTo>
                  <a:cubicBezTo>
                    <a:pt x="613574" y="345223"/>
                    <a:pt x="614287" y="344509"/>
                    <a:pt x="614287" y="343795"/>
                  </a:cubicBezTo>
                  <a:cubicBezTo>
                    <a:pt x="615000" y="343082"/>
                    <a:pt x="615713" y="342368"/>
                    <a:pt x="615713" y="341654"/>
                  </a:cubicBezTo>
                  <a:cubicBezTo>
                    <a:pt x="616426" y="340940"/>
                    <a:pt x="617138" y="340226"/>
                    <a:pt x="617138" y="339512"/>
                  </a:cubicBezTo>
                  <a:cubicBezTo>
                    <a:pt x="617851" y="338798"/>
                    <a:pt x="617851" y="338085"/>
                    <a:pt x="618564" y="337371"/>
                  </a:cubicBezTo>
                  <a:cubicBezTo>
                    <a:pt x="619277" y="336657"/>
                    <a:pt x="619277" y="335943"/>
                    <a:pt x="619990" y="335229"/>
                  </a:cubicBezTo>
                  <a:cubicBezTo>
                    <a:pt x="620703" y="334515"/>
                    <a:pt x="620703" y="333802"/>
                    <a:pt x="621416" y="333088"/>
                  </a:cubicBezTo>
                  <a:cubicBezTo>
                    <a:pt x="622129" y="332374"/>
                    <a:pt x="622129" y="331660"/>
                    <a:pt x="622842" y="330946"/>
                  </a:cubicBezTo>
                  <a:cubicBezTo>
                    <a:pt x="622842" y="329519"/>
                    <a:pt x="623554" y="328805"/>
                    <a:pt x="624267" y="328091"/>
                  </a:cubicBezTo>
                  <a:cubicBezTo>
                    <a:pt x="624267" y="327377"/>
                    <a:pt x="624980" y="326663"/>
                    <a:pt x="625693" y="325949"/>
                  </a:cubicBezTo>
                  <a:cubicBezTo>
                    <a:pt x="625693" y="325235"/>
                    <a:pt x="626406" y="324522"/>
                    <a:pt x="627119" y="323808"/>
                  </a:cubicBezTo>
                  <a:cubicBezTo>
                    <a:pt x="627119" y="323094"/>
                    <a:pt x="627832" y="322380"/>
                    <a:pt x="628545" y="321666"/>
                  </a:cubicBezTo>
                  <a:cubicBezTo>
                    <a:pt x="628545" y="320952"/>
                    <a:pt x="629258" y="320239"/>
                    <a:pt x="629258" y="319525"/>
                  </a:cubicBezTo>
                  <a:cubicBezTo>
                    <a:pt x="629970" y="318811"/>
                    <a:pt x="630683" y="318097"/>
                    <a:pt x="630683" y="317383"/>
                  </a:cubicBezTo>
                  <a:cubicBezTo>
                    <a:pt x="631396" y="316669"/>
                    <a:pt x="632109" y="315955"/>
                    <a:pt x="632109" y="315242"/>
                  </a:cubicBezTo>
                  <a:cubicBezTo>
                    <a:pt x="632822" y="314528"/>
                    <a:pt x="633535" y="313814"/>
                    <a:pt x="633535" y="313100"/>
                  </a:cubicBezTo>
                  <a:cubicBezTo>
                    <a:pt x="634248" y="312386"/>
                    <a:pt x="634248" y="311672"/>
                    <a:pt x="634961" y="310959"/>
                  </a:cubicBezTo>
                  <a:cubicBezTo>
                    <a:pt x="635674" y="310245"/>
                    <a:pt x="635674" y="309531"/>
                    <a:pt x="636386" y="308817"/>
                  </a:cubicBezTo>
                  <a:cubicBezTo>
                    <a:pt x="637099" y="308103"/>
                    <a:pt x="637099" y="307389"/>
                    <a:pt x="637812" y="306676"/>
                  </a:cubicBezTo>
                  <a:cubicBezTo>
                    <a:pt x="638525" y="305962"/>
                    <a:pt x="638525" y="305248"/>
                    <a:pt x="639238" y="304534"/>
                  </a:cubicBezTo>
                  <a:cubicBezTo>
                    <a:pt x="639238" y="303820"/>
                    <a:pt x="639951" y="302392"/>
                    <a:pt x="640664" y="301679"/>
                  </a:cubicBezTo>
                  <a:cubicBezTo>
                    <a:pt x="640664" y="300965"/>
                    <a:pt x="641377" y="300251"/>
                    <a:pt x="642090" y="299537"/>
                  </a:cubicBezTo>
                  <a:cubicBezTo>
                    <a:pt x="642090" y="299537"/>
                    <a:pt x="642090" y="298823"/>
                    <a:pt x="642802" y="298823"/>
                  </a:cubicBezTo>
                  <a:cubicBezTo>
                    <a:pt x="642802" y="298109"/>
                    <a:pt x="642802" y="298109"/>
                    <a:pt x="642802" y="298109"/>
                  </a:cubicBezTo>
                  <a:cubicBezTo>
                    <a:pt x="642802" y="298109"/>
                    <a:pt x="642802" y="297396"/>
                    <a:pt x="643515" y="297396"/>
                  </a:cubicBezTo>
                  <a:cubicBezTo>
                    <a:pt x="643515" y="297396"/>
                    <a:pt x="643515" y="296682"/>
                    <a:pt x="644228" y="296682"/>
                  </a:cubicBezTo>
                  <a:cubicBezTo>
                    <a:pt x="644228" y="295968"/>
                    <a:pt x="644941" y="295254"/>
                    <a:pt x="645654" y="294540"/>
                  </a:cubicBezTo>
                  <a:cubicBezTo>
                    <a:pt x="645654" y="293826"/>
                    <a:pt x="646367" y="293113"/>
                    <a:pt x="646367" y="291685"/>
                  </a:cubicBezTo>
                  <a:cubicBezTo>
                    <a:pt x="647080" y="290971"/>
                    <a:pt x="647793" y="290257"/>
                    <a:pt x="647793" y="289543"/>
                  </a:cubicBezTo>
                  <a:cubicBezTo>
                    <a:pt x="648506" y="288829"/>
                    <a:pt x="649218" y="288116"/>
                    <a:pt x="649218" y="287402"/>
                  </a:cubicBezTo>
                  <a:cubicBezTo>
                    <a:pt x="649931" y="286688"/>
                    <a:pt x="650644" y="285974"/>
                    <a:pt x="650644" y="285260"/>
                  </a:cubicBezTo>
                  <a:cubicBezTo>
                    <a:pt x="651357" y="284546"/>
                    <a:pt x="651357" y="283833"/>
                    <a:pt x="652070" y="283119"/>
                  </a:cubicBezTo>
                  <a:cubicBezTo>
                    <a:pt x="652783" y="282405"/>
                    <a:pt x="652783" y="281691"/>
                    <a:pt x="653496" y="280977"/>
                  </a:cubicBezTo>
                  <a:cubicBezTo>
                    <a:pt x="654209" y="280263"/>
                    <a:pt x="654209" y="279550"/>
                    <a:pt x="654922" y="278836"/>
                  </a:cubicBezTo>
                  <a:cubicBezTo>
                    <a:pt x="655634" y="278122"/>
                    <a:pt x="655634" y="277408"/>
                    <a:pt x="656347" y="276694"/>
                  </a:cubicBezTo>
                  <a:cubicBezTo>
                    <a:pt x="656347" y="275980"/>
                    <a:pt x="657060" y="275266"/>
                    <a:pt x="657773" y="274553"/>
                  </a:cubicBezTo>
                  <a:cubicBezTo>
                    <a:pt x="657773" y="273839"/>
                    <a:pt x="658486" y="273125"/>
                    <a:pt x="659199" y="272411"/>
                  </a:cubicBezTo>
                  <a:cubicBezTo>
                    <a:pt x="659199" y="271697"/>
                    <a:pt x="659912" y="270983"/>
                    <a:pt x="660625" y="270270"/>
                  </a:cubicBezTo>
                  <a:cubicBezTo>
                    <a:pt x="660625" y="269556"/>
                    <a:pt x="661338" y="268842"/>
                    <a:pt x="661338" y="268128"/>
                  </a:cubicBezTo>
                  <a:cubicBezTo>
                    <a:pt x="662050" y="267414"/>
                    <a:pt x="662763" y="265986"/>
                    <a:pt x="662763" y="265273"/>
                  </a:cubicBezTo>
                  <a:cubicBezTo>
                    <a:pt x="663476" y="264559"/>
                    <a:pt x="664189" y="263845"/>
                    <a:pt x="664189" y="263131"/>
                  </a:cubicBezTo>
                  <a:cubicBezTo>
                    <a:pt x="664902" y="262417"/>
                    <a:pt x="665615" y="261703"/>
                    <a:pt x="665615" y="260990"/>
                  </a:cubicBezTo>
                  <a:cubicBezTo>
                    <a:pt x="666328" y="260276"/>
                    <a:pt x="666328" y="259562"/>
                    <a:pt x="667041" y="258848"/>
                  </a:cubicBezTo>
                  <a:cubicBezTo>
                    <a:pt x="667754" y="258134"/>
                    <a:pt x="667754" y="257420"/>
                    <a:pt x="668466" y="256707"/>
                  </a:cubicBezTo>
                  <a:cubicBezTo>
                    <a:pt x="669179" y="255993"/>
                    <a:pt x="669179" y="255279"/>
                    <a:pt x="669892" y="254565"/>
                  </a:cubicBezTo>
                  <a:cubicBezTo>
                    <a:pt x="669892" y="253851"/>
                    <a:pt x="670605" y="253137"/>
                    <a:pt x="671318" y="252423"/>
                  </a:cubicBezTo>
                  <a:cubicBezTo>
                    <a:pt x="671318" y="251710"/>
                    <a:pt x="672031" y="250996"/>
                    <a:pt x="672744" y="250282"/>
                  </a:cubicBezTo>
                  <a:cubicBezTo>
                    <a:pt x="672744" y="249568"/>
                    <a:pt x="673457" y="248854"/>
                    <a:pt x="674170" y="248140"/>
                  </a:cubicBezTo>
                  <a:cubicBezTo>
                    <a:pt x="674170" y="247427"/>
                    <a:pt x="674882" y="246713"/>
                    <a:pt x="675595" y="245999"/>
                  </a:cubicBezTo>
                  <a:cubicBezTo>
                    <a:pt x="675595" y="245285"/>
                    <a:pt x="676308" y="244571"/>
                    <a:pt x="676308" y="243857"/>
                  </a:cubicBezTo>
                  <a:cubicBezTo>
                    <a:pt x="677021" y="243144"/>
                    <a:pt x="677734" y="242430"/>
                    <a:pt x="677734" y="241716"/>
                  </a:cubicBezTo>
                  <a:cubicBezTo>
                    <a:pt x="678447" y="241002"/>
                    <a:pt x="679160" y="239574"/>
                    <a:pt x="679160" y="238860"/>
                  </a:cubicBezTo>
                  <a:cubicBezTo>
                    <a:pt x="679873" y="238147"/>
                    <a:pt x="679873" y="237433"/>
                    <a:pt x="680586" y="236719"/>
                  </a:cubicBezTo>
                  <a:cubicBezTo>
                    <a:pt x="681298" y="236005"/>
                    <a:pt x="681298" y="235291"/>
                    <a:pt x="682011" y="234577"/>
                  </a:cubicBezTo>
                  <a:cubicBezTo>
                    <a:pt x="682724" y="233864"/>
                    <a:pt x="682724" y="233150"/>
                    <a:pt x="683437" y="232436"/>
                  </a:cubicBezTo>
                  <a:cubicBezTo>
                    <a:pt x="684150" y="231722"/>
                    <a:pt x="684150" y="231008"/>
                    <a:pt x="684863" y="230294"/>
                  </a:cubicBezTo>
                  <a:cubicBezTo>
                    <a:pt x="684863" y="229580"/>
                    <a:pt x="685576" y="228867"/>
                    <a:pt x="686289" y="228153"/>
                  </a:cubicBezTo>
                  <a:cubicBezTo>
                    <a:pt x="686289" y="227439"/>
                    <a:pt x="687002" y="226725"/>
                    <a:pt x="687714" y="226011"/>
                  </a:cubicBezTo>
                  <a:cubicBezTo>
                    <a:pt x="687714" y="225297"/>
                    <a:pt x="688427" y="224584"/>
                    <a:pt x="688427" y="223870"/>
                  </a:cubicBezTo>
                  <a:cubicBezTo>
                    <a:pt x="689140" y="223156"/>
                    <a:pt x="689140" y="223156"/>
                    <a:pt x="689853" y="222442"/>
                  </a:cubicBezTo>
                  <a:cubicBezTo>
                    <a:pt x="689853" y="222442"/>
                    <a:pt x="689853" y="222442"/>
                    <a:pt x="689853" y="221728"/>
                  </a:cubicBezTo>
                  <a:cubicBezTo>
                    <a:pt x="690566" y="221014"/>
                    <a:pt x="690566" y="221014"/>
                    <a:pt x="691279" y="220301"/>
                  </a:cubicBezTo>
                  <a:cubicBezTo>
                    <a:pt x="691279" y="219587"/>
                    <a:pt x="691992" y="218873"/>
                    <a:pt x="691992" y="218159"/>
                  </a:cubicBezTo>
                  <a:cubicBezTo>
                    <a:pt x="692705" y="217445"/>
                    <a:pt x="693418" y="216731"/>
                    <a:pt x="693418" y="216017"/>
                  </a:cubicBezTo>
                  <a:cubicBezTo>
                    <a:pt x="694130" y="215304"/>
                    <a:pt x="694843" y="214590"/>
                    <a:pt x="694843" y="213876"/>
                  </a:cubicBezTo>
                  <a:cubicBezTo>
                    <a:pt x="695556" y="213162"/>
                    <a:pt x="696269" y="212448"/>
                    <a:pt x="696269" y="211734"/>
                  </a:cubicBezTo>
                  <a:cubicBezTo>
                    <a:pt x="696982" y="210307"/>
                    <a:pt x="696982" y="209593"/>
                    <a:pt x="697695" y="208879"/>
                  </a:cubicBezTo>
                  <a:cubicBezTo>
                    <a:pt x="698408" y="208165"/>
                    <a:pt x="698408" y="207451"/>
                    <a:pt x="699121" y="206738"/>
                  </a:cubicBezTo>
                  <a:cubicBezTo>
                    <a:pt x="699834" y="206024"/>
                    <a:pt x="699834" y="205310"/>
                    <a:pt x="700546" y="204596"/>
                  </a:cubicBezTo>
                  <a:cubicBezTo>
                    <a:pt x="700546" y="203882"/>
                    <a:pt x="701259" y="203168"/>
                    <a:pt x="701972" y="202454"/>
                  </a:cubicBezTo>
                  <a:cubicBezTo>
                    <a:pt x="701972" y="201741"/>
                    <a:pt x="702685" y="201027"/>
                    <a:pt x="703398" y="200313"/>
                  </a:cubicBezTo>
                  <a:cubicBezTo>
                    <a:pt x="703398" y="199599"/>
                    <a:pt x="704111" y="198885"/>
                    <a:pt x="704824" y="198171"/>
                  </a:cubicBezTo>
                  <a:cubicBezTo>
                    <a:pt x="704824" y="197458"/>
                    <a:pt x="705537" y="196744"/>
                    <a:pt x="705537" y="196030"/>
                  </a:cubicBezTo>
                  <a:cubicBezTo>
                    <a:pt x="706250" y="195316"/>
                    <a:pt x="706963" y="194602"/>
                    <a:pt x="706963" y="193888"/>
                  </a:cubicBezTo>
                  <a:cubicBezTo>
                    <a:pt x="707675" y="193175"/>
                    <a:pt x="708388" y="192461"/>
                    <a:pt x="708388" y="191747"/>
                  </a:cubicBezTo>
                  <a:cubicBezTo>
                    <a:pt x="709101" y="191033"/>
                    <a:pt x="709101" y="190319"/>
                    <a:pt x="709814" y="189605"/>
                  </a:cubicBezTo>
                  <a:cubicBezTo>
                    <a:pt x="710527" y="188891"/>
                    <a:pt x="710527" y="188178"/>
                    <a:pt x="711240" y="187464"/>
                  </a:cubicBezTo>
                  <a:cubicBezTo>
                    <a:pt x="711953" y="186750"/>
                    <a:pt x="711953" y="185322"/>
                    <a:pt x="712666" y="184608"/>
                  </a:cubicBezTo>
                  <a:cubicBezTo>
                    <a:pt x="713379" y="183895"/>
                    <a:pt x="713379" y="183181"/>
                    <a:pt x="714091" y="182467"/>
                  </a:cubicBezTo>
                  <a:cubicBezTo>
                    <a:pt x="714091" y="181753"/>
                    <a:pt x="714804" y="181039"/>
                    <a:pt x="715517" y="180325"/>
                  </a:cubicBezTo>
                  <a:cubicBezTo>
                    <a:pt x="715517" y="179611"/>
                    <a:pt x="716230" y="178898"/>
                    <a:pt x="716943" y="178184"/>
                  </a:cubicBezTo>
                  <a:cubicBezTo>
                    <a:pt x="716943" y="177470"/>
                    <a:pt x="717656" y="176756"/>
                    <a:pt x="717656" y="176042"/>
                  </a:cubicBezTo>
                  <a:cubicBezTo>
                    <a:pt x="718369" y="175328"/>
                    <a:pt x="719082" y="174615"/>
                    <a:pt x="719082" y="173901"/>
                  </a:cubicBezTo>
                  <a:cubicBezTo>
                    <a:pt x="719795" y="173187"/>
                    <a:pt x="720507" y="172473"/>
                    <a:pt x="720507" y="171759"/>
                  </a:cubicBezTo>
                  <a:cubicBezTo>
                    <a:pt x="721220" y="171045"/>
                    <a:pt x="721220" y="170332"/>
                    <a:pt x="721933" y="169618"/>
                  </a:cubicBezTo>
                  <a:cubicBezTo>
                    <a:pt x="722646" y="168904"/>
                    <a:pt x="722646" y="168190"/>
                    <a:pt x="723359" y="167476"/>
                  </a:cubicBezTo>
                  <a:cubicBezTo>
                    <a:pt x="724072" y="166762"/>
                    <a:pt x="724072" y="166048"/>
                    <a:pt x="724785" y="165335"/>
                  </a:cubicBezTo>
                  <a:cubicBezTo>
                    <a:pt x="724785" y="164621"/>
                    <a:pt x="725498" y="163907"/>
                    <a:pt x="726211" y="163193"/>
                  </a:cubicBezTo>
                  <a:cubicBezTo>
                    <a:pt x="726211" y="162479"/>
                    <a:pt x="726923" y="161765"/>
                    <a:pt x="727636" y="161052"/>
                  </a:cubicBezTo>
                  <a:cubicBezTo>
                    <a:pt x="727636" y="159624"/>
                    <a:pt x="728349" y="158910"/>
                    <a:pt x="729062" y="158196"/>
                  </a:cubicBezTo>
                  <a:cubicBezTo>
                    <a:pt x="729062" y="157482"/>
                    <a:pt x="729775" y="156769"/>
                    <a:pt x="729775" y="156055"/>
                  </a:cubicBezTo>
                  <a:cubicBezTo>
                    <a:pt x="730488" y="156055"/>
                    <a:pt x="730488" y="155341"/>
                    <a:pt x="731201" y="154627"/>
                  </a:cubicBezTo>
                  <a:cubicBezTo>
                    <a:pt x="731201" y="154627"/>
                    <a:pt x="731201" y="154627"/>
                    <a:pt x="731201" y="153913"/>
                  </a:cubicBezTo>
                  <a:cubicBezTo>
                    <a:pt x="731914" y="153913"/>
                    <a:pt x="731914" y="153199"/>
                    <a:pt x="732627" y="152485"/>
                  </a:cubicBezTo>
                  <a:cubicBezTo>
                    <a:pt x="732627" y="151772"/>
                    <a:pt x="733339" y="151058"/>
                    <a:pt x="733339" y="150344"/>
                  </a:cubicBezTo>
                  <a:cubicBezTo>
                    <a:pt x="734052" y="149630"/>
                    <a:pt x="734765" y="148916"/>
                    <a:pt x="734765" y="148202"/>
                  </a:cubicBezTo>
                  <a:cubicBezTo>
                    <a:pt x="735478" y="147489"/>
                    <a:pt x="736191" y="146775"/>
                    <a:pt x="736191" y="146061"/>
                  </a:cubicBezTo>
                  <a:cubicBezTo>
                    <a:pt x="736904" y="145347"/>
                    <a:pt x="736904" y="144633"/>
                    <a:pt x="737617" y="143919"/>
                  </a:cubicBezTo>
                  <a:cubicBezTo>
                    <a:pt x="738330" y="143205"/>
                    <a:pt x="738330" y="142492"/>
                    <a:pt x="739043" y="141778"/>
                  </a:cubicBezTo>
                  <a:cubicBezTo>
                    <a:pt x="739755" y="141064"/>
                    <a:pt x="739755" y="140350"/>
                    <a:pt x="740468" y="139636"/>
                  </a:cubicBezTo>
                  <a:cubicBezTo>
                    <a:pt x="740468" y="138922"/>
                    <a:pt x="741181" y="137495"/>
                    <a:pt x="741894" y="136781"/>
                  </a:cubicBezTo>
                  <a:cubicBezTo>
                    <a:pt x="741894" y="136067"/>
                    <a:pt x="742607" y="135353"/>
                    <a:pt x="743320" y="134639"/>
                  </a:cubicBezTo>
                  <a:cubicBezTo>
                    <a:pt x="743320" y="133926"/>
                    <a:pt x="744033" y="133212"/>
                    <a:pt x="744746" y="132498"/>
                  </a:cubicBezTo>
                  <a:cubicBezTo>
                    <a:pt x="744746" y="131784"/>
                    <a:pt x="745459" y="131070"/>
                    <a:pt x="745459" y="130356"/>
                  </a:cubicBezTo>
                  <a:cubicBezTo>
                    <a:pt x="746171" y="129642"/>
                    <a:pt x="746884" y="128929"/>
                    <a:pt x="746884" y="128215"/>
                  </a:cubicBezTo>
                  <a:cubicBezTo>
                    <a:pt x="747597" y="127501"/>
                    <a:pt x="748310" y="126787"/>
                    <a:pt x="748310" y="126073"/>
                  </a:cubicBezTo>
                  <a:cubicBezTo>
                    <a:pt x="749023" y="125359"/>
                    <a:pt x="749023" y="124646"/>
                    <a:pt x="749736" y="123932"/>
                  </a:cubicBezTo>
                  <a:cubicBezTo>
                    <a:pt x="750449" y="123218"/>
                    <a:pt x="750449" y="122504"/>
                    <a:pt x="751162" y="121790"/>
                  </a:cubicBezTo>
                  <a:cubicBezTo>
                    <a:pt x="751875" y="121076"/>
                    <a:pt x="751875" y="120363"/>
                    <a:pt x="752587" y="119649"/>
                  </a:cubicBezTo>
                  <a:cubicBezTo>
                    <a:pt x="752587" y="118935"/>
                    <a:pt x="753300" y="118221"/>
                    <a:pt x="754013" y="117507"/>
                  </a:cubicBezTo>
                  <a:cubicBezTo>
                    <a:pt x="754013" y="116793"/>
                    <a:pt x="754726" y="116079"/>
                    <a:pt x="755439" y="115366"/>
                  </a:cubicBezTo>
                  <a:cubicBezTo>
                    <a:pt x="755439" y="114652"/>
                    <a:pt x="756152" y="113224"/>
                    <a:pt x="756152" y="112510"/>
                  </a:cubicBezTo>
                  <a:cubicBezTo>
                    <a:pt x="756865" y="111796"/>
                    <a:pt x="757578" y="111083"/>
                    <a:pt x="757578" y="110369"/>
                  </a:cubicBezTo>
                  <a:cubicBezTo>
                    <a:pt x="758291" y="109655"/>
                    <a:pt x="758291" y="108941"/>
                    <a:pt x="759003" y="108227"/>
                  </a:cubicBezTo>
                  <a:cubicBezTo>
                    <a:pt x="759716" y="107513"/>
                    <a:pt x="759716" y="106800"/>
                    <a:pt x="760429" y="106086"/>
                  </a:cubicBezTo>
                  <a:cubicBezTo>
                    <a:pt x="761142" y="105372"/>
                    <a:pt x="761142" y="104658"/>
                    <a:pt x="761855" y="103944"/>
                  </a:cubicBezTo>
                  <a:cubicBezTo>
                    <a:pt x="761855" y="103230"/>
                    <a:pt x="762568" y="102516"/>
                    <a:pt x="763281" y="101803"/>
                  </a:cubicBezTo>
                  <a:cubicBezTo>
                    <a:pt x="763281" y="101089"/>
                    <a:pt x="763994" y="100375"/>
                    <a:pt x="764707" y="99661"/>
                  </a:cubicBezTo>
                  <a:cubicBezTo>
                    <a:pt x="764707" y="98947"/>
                    <a:pt x="765419" y="98233"/>
                    <a:pt x="765419" y="97520"/>
                  </a:cubicBezTo>
                  <a:cubicBezTo>
                    <a:pt x="766132" y="96806"/>
                    <a:pt x="766845" y="96092"/>
                    <a:pt x="766845" y="95378"/>
                  </a:cubicBezTo>
                  <a:cubicBezTo>
                    <a:pt x="767558" y="94664"/>
                    <a:pt x="767558" y="93950"/>
                    <a:pt x="768271" y="93236"/>
                  </a:cubicBezTo>
                  <a:cubicBezTo>
                    <a:pt x="768984" y="92523"/>
                    <a:pt x="768984" y="91809"/>
                    <a:pt x="769697" y="91095"/>
                  </a:cubicBezTo>
                  <a:cubicBezTo>
                    <a:pt x="769697" y="90381"/>
                    <a:pt x="770410" y="89667"/>
                    <a:pt x="770410" y="88953"/>
                  </a:cubicBezTo>
                  <a:cubicBezTo>
                    <a:pt x="770410" y="88953"/>
                    <a:pt x="770410" y="88953"/>
                    <a:pt x="771123" y="88953"/>
                  </a:cubicBezTo>
                  <a:cubicBezTo>
                    <a:pt x="771123" y="88240"/>
                    <a:pt x="771835" y="87526"/>
                    <a:pt x="771835" y="86812"/>
                  </a:cubicBezTo>
                  <a:cubicBezTo>
                    <a:pt x="771835" y="86812"/>
                    <a:pt x="771835" y="86812"/>
                    <a:pt x="772548" y="86812"/>
                  </a:cubicBezTo>
                  <a:cubicBezTo>
                    <a:pt x="772548" y="86098"/>
                    <a:pt x="773261" y="85384"/>
                    <a:pt x="773261" y="84670"/>
                  </a:cubicBezTo>
                  <a:cubicBezTo>
                    <a:pt x="773974" y="83957"/>
                    <a:pt x="774687" y="83243"/>
                    <a:pt x="774687" y="82529"/>
                  </a:cubicBezTo>
                  <a:cubicBezTo>
                    <a:pt x="774687" y="82529"/>
                    <a:pt x="774687" y="82529"/>
                    <a:pt x="774687" y="81815"/>
                  </a:cubicBezTo>
                  <a:cubicBezTo>
                    <a:pt x="775400" y="81815"/>
                    <a:pt x="775400" y="81101"/>
                    <a:pt x="776113" y="80387"/>
                  </a:cubicBezTo>
                  <a:cubicBezTo>
                    <a:pt x="776113" y="80387"/>
                    <a:pt x="776113" y="80387"/>
                    <a:pt x="776113" y="79673"/>
                  </a:cubicBezTo>
                  <a:cubicBezTo>
                    <a:pt x="776826" y="78960"/>
                    <a:pt x="776826" y="78960"/>
                    <a:pt x="777539" y="78246"/>
                  </a:cubicBezTo>
                  <a:cubicBezTo>
                    <a:pt x="777539" y="78246"/>
                    <a:pt x="777539" y="78246"/>
                    <a:pt x="777539" y="77532"/>
                  </a:cubicBezTo>
                  <a:cubicBezTo>
                    <a:pt x="778251" y="76818"/>
                    <a:pt x="778251" y="76104"/>
                    <a:pt x="778964" y="76104"/>
                  </a:cubicBezTo>
                  <a:cubicBezTo>
                    <a:pt x="778964" y="75390"/>
                    <a:pt x="778964" y="75390"/>
                    <a:pt x="778964" y="75390"/>
                  </a:cubicBezTo>
                  <a:cubicBezTo>
                    <a:pt x="783598" y="67538"/>
                    <a:pt x="790905" y="62184"/>
                    <a:pt x="798925" y="59954"/>
                  </a:cubicBezTo>
                  <a:close/>
                  <a:moveTo>
                    <a:pt x="550727" y="0"/>
                  </a:moveTo>
                  <a:cubicBezTo>
                    <a:pt x="626443" y="0"/>
                    <a:pt x="698587" y="16433"/>
                    <a:pt x="763588" y="45727"/>
                  </a:cubicBezTo>
                  <a:cubicBezTo>
                    <a:pt x="717159" y="119319"/>
                    <a:pt x="717159" y="119319"/>
                    <a:pt x="717159" y="119319"/>
                  </a:cubicBezTo>
                  <a:cubicBezTo>
                    <a:pt x="666444" y="97884"/>
                    <a:pt x="610014" y="85738"/>
                    <a:pt x="550727" y="85738"/>
                  </a:cubicBezTo>
                  <a:cubicBezTo>
                    <a:pt x="310008" y="85738"/>
                    <a:pt x="114291" y="281507"/>
                    <a:pt x="114291" y="522288"/>
                  </a:cubicBezTo>
                  <a:cubicBezTo>
                    <a:pt x="28575" y="522288"/>
                    <a:pt x="28575" y="522288"/>
                    <a:pt x="28575" y="522288"/>
                  </a:cubicBezTo>
                  <a:cubicBezTo>
                    <a:pt x="28575" y="234351"/>
                    <a:pt x="262865" y="0"/>
                    <a:pt x="55072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62500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4070096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27" name="think-cell Slide" r:id="rId8" imgW="270" imgH="270" progId="TCLayout.ActiveDocument.1">
                  <p:embed/>
                </p:oleObj>
              </mc:Choice>
              <mc:Fallback>
                <p:oleObj name="think-cell Slide" r:id="rId8" imgW="270" imgH="270" progId="TCLayout.ActiveDocument.1">
                  <p:embed/>
                  <p:pic>
                    <p:nvPicPr>
                      <p:cNvPr id="55" name="Object 54" hidden="1"/>
                      <p:cNvPicPr/>
                      <p:nvPr/>
                    </p:nvPicPr>
                    <p:blipFill>
                      <a:blip r:embed="rId9"/>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02A5949E-4C54-42CA-81EE-37FD5C75D04C}"/>
              </a:ext>
            </a:extLst>
          </p:cNvPr>
          <p:cNvGrpSpPr/>
          <p:nvPr/>
        </p:nvGrpSpPr>
        <p:grpSpPr>
          <a:xfrm>
            <a:off x="-24232" y="0"/>
            <a:ext cx="2069318" cy="6862552"/>
            <a:chOff x="-24232" y="0"/>
            <a:chExt cx="2069318" cy="6862552"/>
          </a:xfrm>
        </p:grpSpPr>
        <p:pic>
          <p:nvPicPr>
            <p:cNvPr id="50" name="Picture 49">
              <a:extLst>
                <a:ext uri="{FF2B5EF4-FFF2-40B4-BE49-F238E27FC236}">
                  <a16:creationId xmlns:a16="http://schemas.microsoft.com/office/drawing/2014/main" id="{86BBD0EA-5EB8-454E-B4B7-45B0A7EFA4A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4232" y="4552"/>
              <a:ext cx="2069318" cy="6858000"/>
            </a:xfrm>
            <a:prstGeom prst="rect">
              <a:avLst/>
            </a:prstGeom>
          </p:spPr>
        </p:pic>
        <p:sp>
          <p:nvSpPr>
            <p:cNvPr id="5" name="Rectangle 4">
              <a:extLst>
                <a:ext uri="{FF2B5EF4-FFF2-40B4-BE49-F238E27FC236}">
                  <a16:creationId xmlns:a16="http://schemas.microsoft.com/office/drawing/2014/main" id="{DEF34A80-AA80-4161-A961-4CEAEA9EFAED}"/>
                </a:ext>
              </a:extLst>
            </p:cNvPr>
            <p:cNvSpPr/>
            <p:nvPr/>
          </p:nvSpPr>
          <p:spPr>
            <a:xfrm>
              <a:off x="-18671" y="0"/>
              <a:ext cx="2037671" cy="6853448"/>
            </a:xfrm>
            <a:prstGeom prst="rect">
              <a:avLst/>
            </a:prstGeom>
            <a:solidFill>
              <a:srgbClr val="6E6F73">
                <a:alpha val="53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Title 21"/>
          <p:cNvSpPr>
            <a:spLocks noGrp="1"/>
          </p:cNvSpPr>
          <p:nvPr>
            <p:ph type="title"/>
          </p:nvPr>
        </p:nvSpPr>
        <p:spPr>
          <a:xfrm>
            <a:off x="2372191" y="508169"/>
            <a:ext cx="8534773" cy="332399"/>
          </a:xfrm>
        </p:spPr>
        <p:txBody>
          <a:bodyPr vert="horz" wrap="square">
            <a:spAutoFit/>
          </a:bodyPr>
          <a:lstStyle/>
          <a:p>
            <a:pPr>
              <a:buSzPts val="2400"/>
            </a:pPr>
            <a:r>
              <a:rPr lang="en-US" dirty="0">
                <a:solidFill>
                  <a:srgbClr val="295E7E"/>
                </a:solidFill>
              </a:rPr>
              <a:t>What's new this quarter?</a:t>
            </a:r>
            <a:endParaRPr lang="en-US" sz="1600" dirty="0">
              <a:solidFill>
                <a:srgbClr val="295E7E"/>
              </a:solidFill>
            </a:endParaRPr>
          </a:p>
        </p:txBody>
      </p:sp>
      <p:sp>
        <p:nvSpPr>
          <p:cNvPr id="74" name="Rectangle 73"/>
          <p:cNvSpPr/>
          <p:nvPr/>
        </p:nvSpPr>
        <p:spPr>
          <a:xfrm>
            <a:off x="2890487" y="1192135"/>
            <a:ext cx="9123341" cy="1731838"/>
          </a:xfrm>
          <a:prstGeom prst="rect">
            <a:avLst/>
          </a:prstGeom>
          <a:noFill/>
          <a:ln w="190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0" numCol="1" spcCol="0" rtlCol="0" fromWordArt="0" anchor="t" anchorCtr="0" forceAA="0" compatLnSpc="1">
            <a:prstTxWarp prst="textNoShape">
              <a:avLst/>
            </a:prstTxWarp>
            <a:noAutofit/>
          </a:bodyPr>
          <a:lstStyle/>
          <a:p>
            <a:pPr>
              <a:lnSpc>
                <a:spcPct val="110000"/>
              </a:lnSpc>
              <a:spcBef>
                <a:spcPts val="600"/>
              </a:spcBef>
              <a:spcAft>
                <a:spcPts val="300"/>
              </a:spcAft>
              <a:buClr>
                <a:schemeClr val="tx2">
                  <a:lumMod val="100000"/>
                </a:schemeClr>
              </a:buClr>
              <a:buSzPct val="100000"/>
            </a:pPr>
            <a:r>
              <a:rPr lang="en-US" dirty="0">
                <a:solidFill>
                  <a:srgbClr val="295E7E"/>
                </a:solidFill>
                <a:latin typeface="Trebuchet MS" panose="020B0603020202020204" pitchFamily="34" charset="0"/>
                <a:sym typeface="Trebuchet MS" panose="020B0603020202020204" pitchFamily="34" charset="0"/>
              </a:rPr>
              <a:t>The Survey…</a:t>
            </a:r>
            <a:endParaRPr lang="en-US" dirty="0">
              <a:solidFill>
                <a:schemeClr val="tx1">
                  <a:lumMod val="100000"/>
                </a:schemeClr>
              </a:solidFill>
              <a:latin typeface="Trebuchet MS" panose="020B0603020202020204" pitchFamily="34" charset="0"/>
            </a:endParaRPr>
          </a:p>
          <a:p>
            <a:pPr marL="285750" indent="-285750">
              <a:lnSpc>
                <a:spcPct val="120000"/>
              </a:lnSpc>
              <a:buClr>
                <a:schemeClr val="accent6"/>
              </a:buClr>
              <a:buFont typeface="Arial" panose="020B0604020202020204" pitchFamily="34" charset="0"/>
              <a:buChar char="•"/>
              <a:tabLst>
                <a:tab pos="914400" algn="l"/>
              </a:tabLst>
            </a:pPr>
            <a:r>
              <a:rPr lang="en-US" sz="1600" dirty="0">
                <a:solidFill>
                  <a:schemeClr val="tx1">
                    <a:lumMod val="100000"/>
                  </a:schemeClr>
                </a:solidFill>
                <a:latin typeface="Trebuchet MS" panose="020B0603020202020204" pitchFamily="34" charset="0"/>
              </a:rPr>
              <a:t>New questions –</a:t>
            </a:r>
          </a:p>
          <a:p>
            <a:pPr marL="742950" lvl="1" indent="-285750">
              <a:lnSpc>
                <a:spcPct val="120000"/>
              </a:lnSpc>
              <a:buClr>
                <a:schemeClr val="accent6"/>
              </a:buClr>
              <a:buFont typeface="Arial" panose="020B0604020202020204" pitchFamily="34" charset="0"/>
              <a:buChar char="•"/>
              <a:tabLst>
                <a:tab pos="914400" algn="l"/>
              </a:tabLst>
            </a:pPr>
            <a:r>
              <a:rPr lang="en-US" sz="1600" dirty="0">
                <a:solidFill>
                  <a:schemeClr val="tx1">
                    <a:lumMod val="100000"/>
                  </a:schemeClr>
                </a:solidFill>
                <a:latin typeface="Trebuchet MS" panose="020B0603020202020204" pitchFamily="34" charset="0"/>
              </a:rPr>
              <a:t>E-SAT for tools &amp; services provided for 'on-the-go' </a:t>
            </a:r>
            <a:r>
              <a:rPr lang="en-US" sz="1600" dirty="0">
                <a:solidFill>
                  <a:srgbClr val="30C1D7"/>
                </a:solidFill>
                <a:latin typeface="Trebuchet MS" panose="020B0603020202020204" pitchFamily="34" charset="0"/>
              </a:rPr>
              <a:t>(slide 44)</a:t>
            </a:r>
          </a:p>
          <a:p>
            <a:pPr marL="742950" lvl="1" indent="-285750">
              <a:lnSpc>
                <a:spcPct val="120000"/>
              </a:lnSpc>
              <a:buClr>
                <a:schemeClr val="accent6"/>
              </a:buClr>
              <a:buFont typeface="Arial" panose="020B0604020202020204" pitchFamily="34" charset="0"/>
              <a:buChar char="•"/>
              <a:tabLst>
                <a:tab pos="914400" algn="l"/>
              </a:tabLst>
            </a:pPr>
            <a:r>
              <a:rPr lang="en-US" sz="1600" dirty="0">
                <a:solidFill>
                  <a:schemeClr val="tx1">
                    <a:lumMod val="100000"/>
                  </a:schemeClr>
                </a:solidFill>
                <a:latin typeface="Trebuchet MS" panose="020B0603020202020204" pitchFamily="34" charset="0"/>
              </a:rPr>
              <a:t>E-SAT for OneDrive &amp; MyCases </a:t>
            </a:r>
            <a:r>
              <a:rPr lang="en-US" sz="1600" dirty="0">
                <a:solidFill>
                  <a:srgbClr val="30C1D7"/>
                </a:solidFill>
                <a:latin typeface="Trebuchet MS" panose="020B0603020202020204" pitchFamily="34" charset="0"/>
              </a:rPr>
              <a:t>(slide 70 &amp; 133)</a:t>
            </a:r>
          </a:p>
          <a:p>
            <a:pPr marL="742950" lvl="1" indent="-285750">
              <a:lnSpc>
                <a:spcPct val="120000"/>
              </a:lnSpc>
              <a:buClr>
                <a:schemeClr val="accent6"/>
              </a:buClr>
              <a:buFont typeface="Arial" panose="020B0604020202020204" pitchFamily="34" charset="0"/>
              <a:buChar char="•"/>
              <a:tabLst>
                <a:tab pos="914400" algn="l"/>
              </a:tabLst>
            </a:pPr>
            <a:r>
              <a:rPr lang="en-US" sz="1600" dirty="0">
                <a:solidFill>
                  <a:schemeClr val="tx1"/>
                </a:solidFill>
                <a:latin typeface="Trebuchet MS" panose="020B0603020202020204" pitchFamily="34" charset="0"/>
              </a:rPr>
              <a:t>Finer granularity &amp; targeted questions for Knowledge Navigator </a:t>
            </a:r>
            <a:r>
              <a:rPr lang="en-US" sz="1600" dirty="0">
                <a:solidFill>
                  <a:srgbClr val="30C1D7"/>
                </a:solidFill>
                <a:latin typeface="Trebuchet MS" panose="020B0603020202020204" pitchFamily="34" charset="0"/>
              </a:rPr>
              <a:t>(slide 80)</a:t>
            </a:r>
          </a:p>
          <a:p>
            <a:pPr marL="742950" lvl="1" indent="-285750">
              <a:lnSpc>
                <a:spcPct val="120000"/>
              </a:lnSpc>
              <a:buClr>
                <a:schemeClr val="accent6"/>
              </a:buClr>
              <a:buFont typeface="Arial" panose="020B0604020202020204" pitchFamily="34" charset="0"/>
              <a:buChar char="•"/>
              <a:tabLst>
                <a:tab pos="914400" algn="l"/>
              </a:tabLst>
            </a:pPr>
            <a:endParaRPr lang="en-US" sz="1600" i="1" dirty="0">
              <a:solidFill>
                <a:srgbClr val="30C1D7"/>
              </a:solidFill>
              <a:latin typeface="Trebuchet MS" panose="020B0603020202020204" pitchFamily="34" charset="0"/>
            </a:endParaRPr>
          </a:p>
        </p:txBody>
      </p:sp>
      <p:sp>
        <p:nvSpPr>
          <p:cNvPr id="95" name="Rectangle 94"/>
          <p:cNvSpPr/>
          <p:nvPr/>
        </p:nvSpPr>
        <p:spPr>
          <a:xfrm>
            <a:off x="2890487" y="3032490"/>
            <a:ext cx="9033889" cy="1406992"/>
          </a:xfrm>
          <a:prstGeom prst="rect">
            <a:avLst/>
          </a:prstGeom>
          <a:noFill/>
          <a:ln w="190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0" numCol="1" spcCol="0" rtlCol="0" fromWordArt="0" anchor="t" anchorCtr="0" forceAA="0" compatLnSpc="1">
            <a:prstTxWarp prst="textNoShape">
              <a:avLst/>
            </a:prstTxWarp>
            <a:noAutofit/>
          </a:bodyPr>
          <a:lstStyle/>
          <a:p>
            <a:pPr>
              <a:lnSpc>
                <a:spcPct val="120000"/>
              </a:lnSpc>
              <a:spcBef>
                <a:spcPts val="600"/>
              </a:spcBef>
              <a:spcAft>
                <a:spcPts val="300"/>
              </a:spcAft>
              <a:buClr>
                <a:schemeClr val="tx2">
                  <a:lumMod val="100000"/>
                </a:schemeClr>
              </a:buClr>
              <a:buSzPct val="100000"/>
            </a:pPr>
            <a:r>
              <a:rPr lang="en-US" dirty="0">
                <a:solidFill>
                  <a:srgbClr val="295E7E"/>
                </a:solidFill>
                <a:latin typeface="+mj-lt"/>
                <a:sym typeface="Trebuchet MS" panose="020B0603020202020204" pitchFamily="34" charset="0"/>
              </a:rPr>
              <a:t>This Presentation…</a:t>
            </a:r>
            <a:endParaRPr lang="en-US" dirty="0">
              <a:solidFill>
                <a:schemeClr val="tx1">
                  <a:lumMod val="100000"/>
                </a:schemeClr>
              </a:solidFill>
              <a:latin typeface="+mj-lt"/>
            </a:endParaRPr>
          </a:p>
          <a:p>
            <a:pPr marL="285750" indent="-285750">
              <a:lnSpc>
                <a:spcPct val="120000"/>
              </a:lnSpc>
              <a:buClr>
                <a:schemeClr val="accent6"/>
              </a:buClr>
              <a:buFont typeface="Arial" panose="020B0604020202020204" pitchFamily="34" charset="0"/>
              <a:buChar char="•"/>
              <a:tabLst>
                <a:tab pos="914400" algn="l"/>
              </a:tabLst>
            </a:pPr>
            <a:r>
              <a:rPr lang="en-GB" sz="1600" dirty="0">
                <a:solidFill>
                  <a:srgbClr val="575757"/>
                </a:solidFill>
                <a:latin typeface="+mj-lt"/>
              </a:rPr>
              <a:t>New data across the entire presentation showing 3-year trending </a:t>
            </a:r>
            <a:r>
              <a:rPr lang="en-GB" sz="1600" dirty="0">
                <a:solidFill>
                  <a:srgbClr val="30C1D7"/>
                </a:solidFill>
                <a:latin typeface="Trebuchet MS" panose="020B0603020202020204" pitchFamily="34" charset="0"/>
              </a:rPr>
              <a:t>(example slide 7)</a:t>
            </a:r>
          </a:p>
          <a:p>
            <a:pPr marL="285750" indent="-285750">
              <a:lnSpc>
                <a:spcPct val="120000"/>
              </a:lnSpc>
              <a:buClr>
                <a:schemeClr val="accent6"/>
              </a:buClr>
              <a:buFont typeface="Arial" panose="020B0604020202020204" pitchFamily="34" charset="0"/>
              <a:buChar char="•"/>
              <a:tabLst>
                <a:tab pos="914400" algn="l"/>
              </a:tabLst>
            </a:pPr>
            <a:r>
              <a:rPr lang="en-GB" sz="1600" dirty="0">
                <a:solidFill>
                  <a:srgbClr val="575757"/>
                </a:solidFill>
                <a:latin typeface="+mj-lt"/>
              </a:rPr>
              <a:t>Extended summary chart data available showing all areas measured in Pulse (in addition to the E-SAT for core products &amp; services) </a:t>
            </a:r>
            <a:r>
              <a:rPr lang="en-US" sz="1600" dirty="0">
                <a:solidFill>
                  <a:srgbClr val="30C1D7"/>
                </a:solidFill>
                <a:latin typeface="Trebuchet MS" panose="020B0603020202020204" pitchFamily="34" charset="0"/>
              </a:rPr>
              <a:t>(slides 29 – 30)</a:t>
            </a:r>
          </a:p>
        </p:txBody>
      </p:sp>
      <p:sp>
        <p:nvSpPr>
          <p:cNvPr id="63" name="Oval 62"/>
          <p:cNvSpPr>
            <a:spLocks noChangeAspect="1"/>
          </p:cNvSpPr>
          <p:nvPr/>
        </p:nvSpPr>
        <p:spPr>
          <a:xfrm>
            <a:off x="1251433" y="5083250"/>
            <a:ext cx="1468130" cy="1468130"/>
          </a:xfrm>
          <a:prstGeom prst="ellipse">
            <a:avLst/>
          </a:prstGeom>
          <a:solidFill>
            <a:srgbClr val="FFFFFF"/>
          </a:solidFill>
          <a:ln w="38100">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Trebuchet MS" panose="020B0603020202020204" pitchFamily="34" charset="0"/>
            </a:endParaRPr>
          </a:p>
        </p:txBody>
      </p:sp>
      <p:sp>
        <p:nvSpPr>
          <p:cNvPr id="98" name="Rectangle 97"/>
          <p:cNvSpPr/>
          <p:nvPr/>
        </p:nvSpPr>
        <p:spPr>
          <a:xfrm>
            <a:off x="2890486" y="5277783"/>
            <a:ext cx="9033889" cy="1468130"/>
          </a:xfrm>
          <a:prstGeom prst="rect">
            <a:avLst/>
          </a:prstGeom>
          <a:noFill/>
          <a:ln w="190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0" numCol="1" spcCol="0" rtlCol="0" fromWordArt="0" anchor="t" anchorCtr="0" forceAA="0" compatLnSpc="1">
            <a:prstTxWarp prst="textNoShape">
              <a:avLst/>
            </a:prstTxWarp>
            <a:noAutofit/>
          </a:bodyPr>
          <a:lstStyle/>
          <a:p>
            <a:pPr>
              <a:lnSpc>
                <a:spcPct val="110000"/>
              </a:lnSpc>
              <a:spcBef>
                <a:spcPts val="600"/>
              </a:spcBef>
              <a:spcAft>
                <a:spcPts val="300"/>
              </a:spcAft>
              <a:buClr>
                <a:schemeClr val="tx2">
                  <a:lumMod val="100000"/>
                </a:schemeClr>
              </a:buClr>
              <a:buSzPct val="100000"/>
            </a:pPr>
            <a:r>
              <a:rPr lang="en-US" dirty="0">
                <a:solidFill>
                  <a:srgbClr val="295E7E"/>
                </a:solidFill>
                <a:latin typeface="+mj-lt"/>
                <a:sym typeface="Trebuchet MS" panose="020B0603020202020204" pitchFamily="34" charset="0"/>
              </a:rPr>
              <a:t>Tableau Dashboard…</a:t>
            </a:r>
            <a:endParaRPr lang="en-US" dirty="0">
              <a:solidFill>
                <a:schemeClr val="tx1">
                  <a:lumMod val="100000"/>
                </a:schemeClr>
              </a:solidFill>
              <a:latin typeface="+mj-lt"/>
            </a:endParaRPr>
          </a:p>
          <a:p>
            <a:pPr marL="285750" indent="-285750">
              <a:lnSpc>
                <a:spcPct val="120000"/>
              </a:lnSpc>
              <a:buClr>
                <a:schemeClr val="accent6"/>
              </a:buClr>
              <a:buFont typeface="Arial" panose="020B0604020202020204" pitchFamily="34" charset="0"/>
              <a:buChar char="•"/>
              <a:tabLst>
                <a:tab pos="914400" algn="l"/>
              </a:tabLst>
            </a:pPr>
            <a:r>
              <a:rPr lang="en-GB" sz="1600" b="0" i="0" dirty="0">
                <a:solidFill>
                  <a:srgbClr val="575757"/>
                </a:solidFill>
                <a:effectLst/>
                <a:latin typeface="+mj-lt"/>
              </a:rPr>
              <a:t>New 3-year trending dashboard </a:t>
            </a:r>
            <a:r>
              <a:rPr lang="en-US" sz="1600" dirty="0">
                <a:solidFill>
                  <a:srgbClr val="30C1D7"/>
                </a:solidFill>
                <a:latin typeface="Trebuchet MS" panose="020B0603020202020204" pitchFamily="34" charset="0"/>
              </a:rPr>
              <a:t>(</a:t>
            </a:r>
            <a:r>
              <a:rPr lang="en-US" sz="1600" dirty="0">
                <a:solidFill>
                  <a:srgbClr val="30C1D7"/>
                </a:solidFill>
                <a:latin typeface="Trebuchet MS" panose="020B0603020202020204" pitchFamily="34" charset="0"/>
                <a:hlinkClick r:id="rId11">
                  <a:extLst>
                    <a:ext uri="{A12FA001-AC4F-418D-AE19-62706E023703}">
                      <ahyp:hlinkClr xmlns:ahyp="http://schemas.microsoft.com/office/drawing/2018/hyperlinkcolor" val="tx"/>
                    </a:ext>
                  </a:extLst>
                </a:hlinkClick>
              </a:rPr>
              <a:t>link to dashboard</a:t>
            </a:r>
            <a:r>
              <a:rPr lang="en-US" sz="1600" dirty="0">
                <a:solidFill>
                  <a:srgbClr val="30C1D7"/>
                </a:solidFill>
                <a:latin typeface="Trebuchet MS" panose="020B0603020202020204" pitchFamily="34" charset="0"/>
              </a:rPr>
              <a:t>)</a:t>
            </a:r>
          </a:p>
        </p:txBody>
      </p:sp>
      <p:sp>
        <p:nvSpPr>
          <p:cNvPr id="7" name="Oval 6">
            <a:extLst>
              <a:ext uri="{FF2B5EF4-FFF2-40B4-BE49-F238E27FC236}">
                <a16:creationId xmlns:a16="http://schemas.microsoft.com/office/drawing/2014/main" id="{E20A1F70-0C8C-4BF8-A4E8-8816FDBDBDF6}"/>
              </a:ext>
            </a:extLst>
          </p:cNvPr>
          <p:cNvSpPr/>
          <p:nvPr>
            <p:custDataLst>
              <p:tags r:id="rId4"/>
            </p:custDataLst>
          </p:nvPr>
        </p:nvSpPr>
        <p:spPr>
          <a:xfrm>
            <a:off x="1177275" y="3097317"/>
            <a:ext cx="1616447" cy="1617945"/>
          </a:xfrm>
          <a:prstGeom prst="ellipse">
            <a:avLst/>
          </a:prstGeom>
          <a:solidFill>
            <a:srgbClr val="FFFFFF"/>
          </a:solidFill>
          <a:ln w="38100">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sp>
        <p:nvSpPr>
          <p:cNvPr id="64" name="Oval 63">
            <a:extLst>
              <a:ext uri="{FF2B5EF4-FFF2-40B4-BE49-F238E27FC236}">
                <a16:creationId xmlns:a16="http://schemas.microsoft.com/office/drawing/2014/main" id="{740EF970-ED7B-44E9-B6A4-DC6472FBADB6}"/>
              </a:ext>
            </a:extLst>
          </p:cNvPr>
          <p:cNvSpPr/>
          <p:nvPr>
            <p:custDataLst>
              <p:tags r:id="rId5"/>
            </p:custDataLst>
          </p:nvPr>
        </p:nvSpPr>
        <p:spPr>
          <a:xfrm>
            <a:off x="1177276" y="1117186"/>
            <a:ext cx="1616447" cy="1617945"/>
          </a:xfrm>
          <a:prstGeom prst="ellipse">
            <a:avLst/>
          </a:prstGeom>
          <a:solidFill>
            <a:srgbClr val="FFFFFF"/>
          </a:solidFill>
          <a:ln w="38100">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43" name="bcgBugs_QuestionMark">
            <a:extLst>
              <a:ext uri="{FF2B5EF4-FFF2-40B4-BE49-F238E27FC236}">
                <a16:creationId xmlns:a16="http://schemas.microsoft.com/office/drawing/2014/main" id="{52481E88-2717-4C6A-9D23-0C492E649A16}"/>
              </a:ext>
            </a:extLst>
          </p:cNvPr>
          <p:cNvGrpSpPr>
            <a:grpSpLocks noChangeAspect="1"/>
          </p:cNvGrpSpPr>
          <p:nvPr/>
        </p:nvGrpSpPr>
        <p:grpSpPr bwMode="auto">
          <a:xfrm>
            <a:off x="1562794" y="1470332"/>
            <a:ext cx="845407" cy="846234"/>
            <a:chOff x="2818" y="1137"/>
            <a:chExt cx="2044" cy="2046"/>
          </a:xfrm>
        </p:grpSpPr>
        <p:sp>
          <p:nvSpPr>
            <p:cNvPr id="44" name="AutoShape 35">
              <a:extLst>
                <a:ext uri="{FF2B5EF4-FFF2-40B4-BE49-F238E27FC236}">
                  <a16:creationId xmlns:a16="http://schemas.microsoft.com/office/drawing/2014/main" id="{83A73B2F-09B4-4E6D-BDEB-158174F4B615}"/>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7">
              <a:extLst>
                <a:ext uri="{FF2B5EF4-FFF2-40B4-BE49-F238E27FC236}">
                  <a16:creationId xmlns:a16="http://schemas.microsoft.com/office/drawing/2014/main" id="{84461C48-838F-4FD1-B2D3-2E133C439245}"/>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6" name="bcgBugs_GrowthChart">
            <a:extLst>
              <a:ext uri="{FF2B5EF4-FFF2-40B4-BE49-F238E27FC236}">
                <a16:creationId xmlns:a16="http://schemas.microsoft.com/office/drawing/2014/main" id="{EE72FDF7-18C8-457E-8B16-94AE205442F9}"/>
              </a:ext>
            </a:extLst>
          </p:cNvPr>
          <p:cNvGrpSpPr>
            <a:grpSpLocks noChangeAspect="1"/>
          </p:cNvGrpSpPr>
          <p:nvPr/>
        </p:nvGrpSpPr>
        <p:grpSpPr bwMode="auto">
          <a:xfrm>
            <a:off x="1550290" y="3444133"/>
            <a:ext cx="804018" cy="804805"/>
            <a:chOff x="2818" y="1137"/>
            <a:chExt cx="2044" cy="2046"/>
          </a:xfrm>
        </p:grpSpPr>
        <p:sp>
          <p:nvSpPr>
            <p:cNvPr id="47" name="AutoShape 3">
              <a:extLst>
                <a:ext uri="{FF2B5EF4-FFF2-40B4-BE49-F238E27FC236}">
                  <a16:creationId xmlns:a16="http://schemas.microsoft.com/office/drawing/2014/main" id="{D9D7C691-76EC-4105-AD06-DC49A61288B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
              <a:extLst>
                <a:ext uri="{FF2B5EF4-FFF2-40B4-BE49-F238E27FC236}">
                  <a16:creationId xmlns:a16="http://schemas.microsoft.com/office/drawing/2014/main" id="{F0BC5B9E-A8F8-4F73-9010-06D54FDB6875}"/>
                </a:ext>
              </a:extLst>
            </p:cNvPr>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9">
            <a:extLst>
              <a:ext uri="{FF2B5EF4-FFF2-40B4-BE49-F238E27FC236}">
                <a16:creationId xmlns:a16="http://schemas.microsoft.com/office/drawing/2014/main" id="{8B51C362-81B8-469C-9B6E-7816D8EFCDE4}"/>
              </a:ext>
            </a:extLst>
          </p:cNvPr>
          <p:cNvGrpSpPr/>
          <p:nvPr/>
        </p:nvGrpSpPr>
        <p:grpSpPr>
          <a:xfrm>
            <a:off x="1439705" y="5278637"/>
            <a:ext cx="1091583" cy="1083075"/>
            <a:chOff x="7340927" y="-37257"/>
            <a:chExt cx="1645920" cy="1645920"/>
          </a:xfrm>
        </p:grpSpPr>
        <p:sp>
          <p:nvSpPr>
            <p:cNvPr id="58" name="AutoShape 3">
              <a:extLst>
                <a:ext uri="{FF2B5EF4-FFF2-40B4-BE49-F238E27FC236}">
                  <a16:creationId xmlns:a16="http://schemas.microsoft.com/office/drawing/2014/main" id="{B3DA65D7-7A07-4B73-9A2D-21DBCD2F233C}"/>
                </a:ext>
              </a:extLst>
            </p:cNvPr>
            <p:cNvSpPr>
              <a:spLocks noChangeAspect="1" noChangeArrowheads="1" noTextEdit="1"/>
            </p:cNvSpPr>
            <p:nvPr/>
          </p:nvSpPr>
          <p:spPr bwMode="auto">
            <a:xfrm>
              <a:off x="7340927" y="-37257"/>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3">
              <a:extLst>
                <a:ext uri="{FF2B5EF4-FFF2-40B4-BE49-F238E27FC236}">
                  <a16:creationId xmlns:a16="http://schemas.microsoft.com/office/drawing/2014/main" id="{B5BB08F6-2648-4B30-AD96-309A5ECBEFF7}"/>
                </a:ext>
              </a:extLst>
            </p:cNvPr>
            <p:cNvSpPr>
              <a:spLocks/>
            </p:cNvSpPr>
            <p:nvPr/>
          </p:nvSpPr>
          <p:spPr bwMode="auto">
            <a:xfrm>
              <a:off x="7714688" y="234777"/>
              <a:ext cx="1101471" cy="1101852"/>
            </a:xfrm>
            <a:custGeom>
              <a:avLst/>
              <a:gdLst>
                <a:gd name="connsiteX0" fmla="*/ 3666859 w 4589463"/>
                <a:gd name="connsiteY0" fmla="*/ 2782888 h 4591051"/>
                <a:gd name="connsiteX1" fmla="*/ 4589463 w 4589463"/>
                <a:gd name="connsiteY1" fmla="*/ 2782888 h 4591051"/>
                <a:gd name="connsiteX2" fmla="*/ 4515059 w 4589463"/>
                <a:gd name="connsiteY2" fmla="*/ 3357807 h 4591051"/>
                <a:gd name="connsiteX3" fmla="*/ 4482322 w 4589463"/>
                <a:gd name="connsiteY3" fmla="*/ 3479940 h 4591051"/>
                <a:gd name="connsiteX4" fmla="*/ 4443632 w 4589463"/>
                <a:gd name="connsiteY4" fmla="*/ 3599094 h 4591051"/>
                <a:gd name="connsiteX5" fmla="*/ 4351372 w 4589463"/>
                <a:gd name="connsiteY5" fmla="*/ 3831444 h 4591051"/>
                <a:gd name="connsiteX6" fmla="*/ 4300777 w 4589463"/>
                <a:gd name="connsiteY6" fmla="*/ 3941662 h 4591051"/>
                <a:gd name="connsiteX7" fmla="*/ 4241254 w 4589463"/>
                <a:gd name="connsiteY7" fmla="*/ 4051879 h 4591051"/>
                <a:gd name="connsiteX8" fmla="*/ 4178755 w 4589463"/>
                <a:gd name="connsiteY8" fmla="*/ 4159118 h 4591051"/>
                <a:gd name="connsiteX9" fmla="*/ 4074591 w 4589463"/>
                <a:gd name="connsiteY9" fmla="*/ 4308060 h 4591051"/>
                <a:gd name="connsiteX10" fmla="*/ 3842452 w 4589463"/>
                <a:gd name="connsiteY10" fmla="*/ 4591051 h 4591051"/>
                <a:gd name="connsiteX11" fmla="*/ 3187700 w 4589463"/>
                <a:gd name="connsiteY11" fmla="*/ 3938683 h 4591051"/>
                <a:gd name="connsiteX12" fmla="*/ 3422815 w 4589463"/>
                <a:gd name="connsiteY12" fmla="*/ 3625903 h 4591051"/>
                <a:gd name="connsiteX13" fmla="*/ 3461505 w 4589463"/>
                <a:gd name="connsiteY13" fmla="*/ 3557390 h 4591051"/>
                <a:gd name="connsiteX14" fmla="*/ 3494243 w 4589463"/>
                <a:gd name="connsiteY14" fmla="*/ 3485897 h 4591051"/>
                <a:gd name="connsiteX15" fmla="*/ 3541861 w 4589463"/>
                <a:gd name="connsiteY15" fmla="*/ 3375680 h 4591051"/>
                <a:gd name="connsiteX16" fmla="*/ 3657931 w 4589463"/>
                <a:gd name="connsiteY16" fmla="*/ 2905021 h 4591051"/>
                <a:gd name="connsiteX17" fmla="*/ 3666859 w 4589463"/>
                <a:gd name="connsiteY17" fmla="*/ 2782888 h 4591051"/>
                <a:gd name="connsiteX18" fmla="*/ 3842452 w 4589463"/>
                <a:gd name="connsiteY18" fmla="*/ 839788 h 4591051"/>
                <a:gd name="connsiteX19" fmla="*/ 3961497 w 4589463"/>
                <a:gd name="connsiteY19" fmla="*/ 976725 h 4591051"/>
                <a:gd name="connsiteX20" fmla="*/ 4038877 w 4589463"/>
                <a:gd name="connsiteY20" fmla="*/ 1071985 h 4591051"/>
                <a:gd name="connsiteX21" fmla="*/ 4146018 w 4589463"/>
                <a:gd name="connsiteY21" fmla="*/ 1223807 h 4591051"/>
                <a:gd name="connsiteX22" fmla="*/ 4271016 w 4589463"/>
                <a:gd name="connsiteY22" fmla="*/ 1435166 h 4591051"/>
                <a:gd name="connsiteX23" fmla="*/ 4482322 w 4589463"/>
                <a:gd name="connsiteY23" fmla="*/ 1956121 h 4591051"/>
                <a:gd name="connsiteX24" fmla="*/ 4562678 w 4589463"/>
                <a:gd name="connsiteY24" fmla="*/ 2328232 h 4591051"/>
                <a:gd name="connsiteX25" fmla="*/ 4589463 w 4589463"/>
                <a:gd name="connsiteY25" fmla="*/ 2652713 h 4591051"/>
                <a:gd name="connsiteX26" fmla="*/ 3666859 w 4589463"/>
                <a:gd name="connsiteY26" fmla="*/ 2652713 h 4591051"/>
                <a:gd name="connsiteX27" fmla="*/ 3660907 w 4589463"/>
                <a:gd name="connsiteY27" fmla="*/ 2569360 h 4591051"/>
                <a:gd name="connsiteX28" fmla="*/ 3640074 w 4589463"/>
                <a:gd name="connsiteY28" fmla="*/ 2405631 h 4591051"/>
                <a:gd name="connsiteX29" fmla="*/ 3607336 w 4589463"/>
                <a:gd name="connsiteY29" fmla="*/ 2247856 h 4591051"/>
                <a:gd name="connsiteX30" fmla="*/ 3595432 w 4589463"/>
                <a:gd name="connsiteY30" fmla="*/ 2209157 h 4591051"/>
                <a:gd name="connsiteX31" fmla="*/ 3571623 w 4589463"/>
                <a:gd name="connsiteY31" fmla="*/ 2131758 h 4591051"/>
                <a:gd name="connsiteX32" fmla="*/ 3526980 w 4589463"/>
                <a:gd name="connsiteY32" fmla="*/ 2021613 h 4591051"/>
                <a:gd name="connsiteX33" fmla="*/ 3479362 w 4589463"/>
                <a:gd name="connsiteY33" fmla="*/ 1911468 h 4591051"/>
                <a:gd name="connsiteX34" fmla="*/ 3187700 w 4589463"/>
                <a:gd name="connsiteY34" fmla="*/ 1494704 h 4591051"/>
                <a:gd name="connsiteX35" fmla="*/ 3842452 w 4589463"/>
                <a:gd name="connsiteY35" fmla="*/ 839788 h 4591051"/>
                <a:gd name="connsiteX36" fmla="*/ 1936750 w 4589463"/>
                <a:gd name="connsiteY36" fmla="*/ 0 h 4591051"/>
                <a:gd name="connsiteX37" fmla="*/ 2755395 w 4589463"/>
                <a:gd name="connsiteY37" fmla="*/ 145831 h 4591051"/>
                <a:gd name="connsiteX38" fmla="*/ 2871493 w 4589463"/>
                <a:gd name="connsiteY38" fmla="*/ 187497 h 4591051"/>
                <a:gd name="connsiteX39" fmla="*/ 3097737 w 4589463"/>
                <a:gd name="connsiteY39" fmla="*/ 288686 h 4591051"/>
                <a:gd name="connsiteX40" fmla="*/ 3207882 w 4589463"/>
                <a:gd name="connsiteY40" fmla="*/ 348209 h 4591051"/>
                <a:gd name="connsiteX41" fmla="*/ 3416264 w 4589463"/>
                <a:gd name="connsiteY41" fmla="*/ 479159 h 4591051"/>
                <a:gd name="connsiteX42" fmla="*/ 3514501 w 4589463"/>
                <a:gd name="connsiteY42" fmla="*/ 547610 h 4591051"/>
                <a:gd name="connsiteX43" fmla="*/ 3565108 w 4589463"/>
                <a:gd name="connsiteY43" fmla="*/ 586300 h 4591051"/>
                <a:gd name="connsiteX44" fmla="*/ 3657392 w 4589463"/>
                <a:gd name="connsiteY44" fmla="*/ 663680 h 4591051"/>
                <a:gd name="connsiteX45" fmla="*/ 3749675 w 4589463"/>
                <a:gd name="connsiteY45" fmla="*/ 747012 h 4591051"/>
                <a:gd name="connsiteX46" fmla="*/ 3094760 w 4589463"/>
                <a:gd name="connsiteY46" fmla="*/ 1401763 h 4591051"/>
                <a:gd name="connsiteX47" fmla="*/ 2782187 w 4589463"/>
                <a:gd name="connsiteY47" fmla="*/ 1166648 h 4591051"/>
                <a:gd name="connsiteX48" fmla="*/ 2710741 w 4589463"/>
                <a:gd name="connsiteY48" fmla="*/ 1127958 h 4591051"/>
                <a:gd name="connsiteX49" fmla="*/ 2567851 w 4589463"/>
                <a:gd name="connsiteY49" fmla="*/ 1062483 h 4591051"/>
                <a:gd name="connsiteX50" fmla="*/ 2457706 w 4589463"/>
                <a:gd name="connsiteY50" fmla="*/ 1017841 h 4591051"/>
                <a:gd name="connsiteX51" fmla="*/ 2419006 w 4589463"/>
                <a:gd name="connsiteY51" fmla="*/ 1005936 h 4591051"/>
                <a:gd name="connsiteX52" fmla="*/ 2341607 w 4589463"/>
                <a:gd name="connsiteY52" fmla="*/ 982127 h 4591051"/>
                <a:gd name="connsiteX53" fmla="*/ 2225508 w 4589463"/>
                <a:gd name="connsiteY53" fmla="*/ 955342 h 4591051"/>
                <a:gd name="connsiteX54" fmla="*/ 2103456 w 4589463"/>
                <a:gd name="connsiteY54" fmla="*/ 934509 h 4591051"/>
                <a:gd name="connsiteX55" fmla="*/ 1936750 w 4589463"/>
                <a:gd name="connsiteY55" fmla="*/ 922604 h 4591051"/>
                <a:gd name="connsiteX56" fmla="*/ 1936750 w 4589463"/>
                <a:gd name="connsiteY56" fmla="*/ 0 h 4591051"/>
                <a:gd name="connsiteX57" fmla="*/ 1803400 w 4589463"/>
                <a:gd name="connsiteY57" fmla="*/ 0 h 4591051"/>
                <a:gd name="connsiteX58" fmla="*/ 1803400 w 4589463"/>
                <a:gd name="connsiteY58" fmla="*/ 922604 h 4591051"/>
                <a:gd name="connsiteX59" fmla="*/ 651724 w 4589463"/>
                <a:gd name="connsiteY59" fmla="*/ 1401763 h 4591051"/>
                <a:gd name="connsiteX60" fmla="*/ 0 w 4589463"/>
                <a:gd name="connsiteY60" fmla="*/ 747012 h 4591051"/>
                <a:gd name="connsiteX61" fmla="*/ 136892 w 4589463"/>
                <a:gd name="connsiteY61" fmla="*/ 624990 h 4591051"/>
                <a:gd name="connsiteX62" fmla="*/ 330326 w 4589463"/>
                <a:gd name="connsiteY62" fmla="*/ 479159 h 4591051"/>
                <a:gd name="connsiteX63" fmla="*/ 431507 w 4589463"/>
                <a:gd name="connsiteY63" fmla="*/ 410708 h 4591051"/>
                <a:gd name="connsiteX64" fmla="*/ 702314 w 4589463"/>
                <a:gd name="connsiteY64" fmla="*/ 261901 h 4591051"/>
                <a:gd name="connsiteX65" fmla="*/ 1050496 w 4589463"/>
                <a:gd name="connsiteY65" fmla="*/ 124998 h 4591051"/>
                <a:gd name="connsiteX66" fmla="*/ 1110014 w 4589463"/>
                <a:gd name="connsiteY66" fmla="*/ 107141 h 4591051"/>
                <a:gd name="connsiteX67" fmla="*/ 1232026 w 4589463"/>
                <a:gd name="connsiteY67" fmla="*/ 74404 h 4591051"/>
                <a:gd name="connsiteX68" fmla="*/ 1357014 w 4589463"/>
                <a:gd name="connsiteY68" fmla="*/ 47618 h 4591051"/>
                <a:gd name="connsiteX69" fmla="*/ 1672460 w 4589463"/>
                <a:gd name="connsiteY69" fmla="*/ 5952 h 4591051"/>
                <a:gd name="connsiteX70" fmla="*/ 1803400 w 4589463"/>
                <a:gd name="connsiteY70" fmla="*/ 0 h 459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589463" h="4591051">
                  <a:moveTo>
                    <a:pt x="3666859" y="2782888"/>
                  </a:moveTo>
                  <a:cubicBezTo>
                    <a:pt x="4589463" y="2782888"/>
                    <a:pt x="4589463" y="2782888"/>
                    <a:pt x="4589463" y="2782888"/>
                  </a:cubicBezTo>
                  <a:cubicBezTo>
                    <a:pt x="4583511" y="2979492"/>
                    <a:pt x="4559702" y="3170139"/>
                    <a:pt x="4515059" y="3357807"/>
                  </a:cubicBezTo>
                  <a:cubicBezTo>
                    <a:pt x="4506131" y="3396532"/>
                    <a:pt x="4494227" y="3438236"/>
                    <a:pt x="4482322" y="3479940"/>
                  </a:cubicBezTo>
                  <a:cubicBezTo>
                    <a:pt x="4470417" y="3518665"/>
                    <a:pt x="4458513" y="3560369"/>
                    <a:pt x="4443632" y="3599094"/>
                  </a:cubicBezTo>
                  <a:cubicBezTo>
                    <a:pt x="4416847" y="3676544"/>
                    <a:pt x="4387085" y="3753994"/>
                    <a:pt x="4351372" y="3831444"/>
                  </a:cubicBezTo>
                  <a:cubicBezTo>
                    <a:pt x="4336491" y="3867190"/>
                    <a:pt x="4318634" y="3905915"/>
                    <a:pt x="4300777" y="3941662"/>
                  </a:cubicBezTo>
                  <a:cubicBezTo>
                    <a:pt x="4279944" y="3980387"/>
                    <a:pt x="4262087" y="4016133"/>
                    <a:pt x="4241254" y="4051879"/>
                  </a:cubicBezTo>
                  <a:cubicBezTo>
                    <a:pt x="4220421" y="4087625"/>
                    <a:pt x="4199588" y="4123371"/>
                    <a:pt x="4178755" y="4159118"/>
                  </a:cubicBezTo>
                  <a:cubicBezTo>
                    <a:pt x="4146018" y="4206779"/>
                    <a:pt x="4110304" y="4257420"/>
                    <a:pt x="4074591" y="4308060"/>
                  </a:cubicBezTo>
                  <a:cubicBezTo>
                    <a:pt x="4003163" y="4409341"/>
                    <a:pt x="3922807" y="4501686"/>
                    <a:pt x="3842452" y="4591051"/>
                  </a:cubicBezTo>
                  <a:cubicBezTo>
                    <a:pt x="3842452" y="4591051"/>
                    <a:pt x="3842452" y="4591051"/>
                    <a:pt x="3187700" y="3938683"/>
                  </a:cubicBezTo>
                  <a:cubicBezTo>
                    <a:pt x="3276985" y="3843359"/>
                    <a:pt x="3354364" y="3739100"/>
                    <a:pt x="3422815" y="3625903"/>
                  </a:cubicBezTo>
                  <a:cubicBezTo>
                    <a:pt x="3434720" y="3602072"/>
                    <a:pt x="3446625" y="3578242"/>
                    <a:pt x="3461505" y="3557390"/>
                  </a:cubicBezTo>
                  <a:cubicBezTo>
                    <a:pt x="3473410" y="3533559"/>
                    <a:pt x="3485314" y="3509728"/>
                    <a:pt x="3494243" y="3485897"/>
                  </a:cubicBezTo>
                  <a:cubicBezTo>
                    <a:pt x="3512100" y="3450151"/>
                    <a:pt x="3526980" y="3414405"/>
                    <a:pt x="3541861" y="3375680"/>
                  </a:cubicBezTo>
                  <a:cubicBezTo>
                    <a:pt x="3601384" y="3229716"/>
                    <a:pt x="3640074" y="3071837"/>
                    <a:pt x="3657931" y="2905021"/>
                  </a:cubicBezTo>
                  <a:cubicBezTo>
                    <a:pt x="3663883" y="2866296"/>
                    <a:pt x="3666859" y="2824592"/>
                    <a:pt x="3666859" y="2782888"/>
                  </a:cubicBezTo>
                  <a:close/>
                  <a:moveTo>
                    <a:pt x="3842452" y="839788"/>
                  </a:moveTo>
                  <a:cubicBezTo>
                    <a:pt x="3881141" y="884441"/>
                    <a:pt x="3922807" y="929095"/>
                    <a:pt x="3961497" y="976725"/>
                  </a:cubicBezTo>
                  <a:cubicBezTo>
                    <a:pt x="3988282" y="1009471"/>
                    <a:pt x="4012092" y="1042217"/>
                    <a:pt x="4038877" y="1071985"/>
                  </a:cubicBezTo>
                  <a:cubicBezTo>
                    <a:pt x="4074591" y="1122593"/>
                    <a:pt x="4110304" y="1173200"/>
                    <a:pt x="4146018" y="1223807"/>
                  </a:cubicBezTo>
                  <a:cubicBezTo>
                    <a:pt x="4190660" y="1292275"/>
                    <a:pt x="4232326" y="1363720"/>
                    <a:pt x="4271016" y="1435166"/>
                  </a:cubicBezTo>
                  <a:cubicBezTo>
                    <a:pt x="4357324" y="1598895"/>
                    <a:pt x="4428751" y="1774531"/>
                    <a:pt x="4482322" y="1956121"/>
                  </a:cubicBezTo>
                  <a:cubicBezTo>
                    <a:pt x="4518036" y="2075197"/>
                    <a:pt x="4544821" y="2200226"/>
                    <a:pt x="4562678" y="2328232"/>
                  </a:cubicBezTo>
                  <a:cubicBezTo>
                    <a:pt x="4577558" y="2432423"/>
                    <a:pt x="4586487" y="2542568"/>
                    <a:pt x="4589463" y="2652713"/>
                  </a:cubicBezTo>
                  <a:cubicBezTo>
                    <a:pt x="4589463" y="2652713"/>
                    <a:pt x="4589463" y="2652713"/>
                    <a:pt x="3666859" y="2652713"/>
                  </a:cubicBezTo>
                  <a:cubicBezTo>
                    <a:pt x="3666859" y="2622944"/>
                    <a:pt x="3663883" y="2596152"/>
                    <a:pt x="3660907" y="2569360"/>
                  </a:cubicBezTo>
                  <a:cubicBezTo>
                    <a:pt x="3657931" y="2512799"/>
                    <a:pt x="3649002" y="2459215"/>
                    <a:pt x="3640074" y="2405631"/>
                  </a:cubicBezTo>
                  <a:cubicBezTo>
                    <a:pt x="3631145" y="2352047"/>
                    <a:pt x="3619241" y="2298463"/>
                    <a:pt x="3607336" y="2247856"/>
                  </a:cubicBezTo>
                  <a:cubicBezTo>
                    <a:pt x="3601384" y="2232972"/>
                    <a:pt x="3598408" y="2221064"/>
                    <a:pt x="3595432" y="2209157"/>
                  </a:cubicBezTo>
                  <a:cubicBezTo>
                    <a:pt x="3586503" y="2182365"/>
                    <a:pt x="3580551" y="2158550"/>
                    <a:pt x="3571623" y="2131758"/>
                  </a:cubicBezTo>
                  <a:cubicBezTo>
                    <a:pt x="3556742" y="2093058"/>
                    <a:pt x="3541861" y="2057336"/>
                    <a:pt x="3526980" y="2021613"/>
                  </a:cubicBezTo>
                  <a:cubicBezTo>
                    <a:pt x="3512100" y="1982913"/>
                    <a:pt x="3497219" y="1947191"/>
                    <a:pt x="3479362" y="1911468"/>
                  </a:cubicBezTo>
                  <a:cubicBezTo>
                    <a:pt x="3401982" y="1759647"/>
                    <a:pt x="3303770" y="1619733"/>
                    <a:pt x="3187700" y="1494704"/>
                  </a:cubicBezTo>
                  <a:cubicBezTo>
                    <a:pt x="3187700" y="1494704"/>
                    <a:pt x="3187700" y="1494704"/>
                    <a:pt x="3842452" y="839788"/>
                  </a:cubicBezTo>
                  <a:close/>
                  <a:moveTo>
                    <a:pt x="1936750" y="0"/>
                  </a:moveTo>
                  <a:cubicBezTo>
                    <a:pt x="2222532" y="5952"/>
                    <a:pt x="2496405" y="56547"/>
                    <a:pt x="2755395" y="145831"/>
                  </a:cubicBezTo>
                  <a:cubicBezTo>
                    <a:pt x="2794094" y="157736"/>
                    <a:pt x="2832794" y="172616"/>
                    <a:pt x="2871493" y="187497"/>
                  </a:cubicBezTo>
                  <a:cubicBezTo>
                    <a:pt x="2948892" y="217259"/>
                    <a:pt x="3023314" y="252972"/>
                    <a:pt x="3097737" y="288686"/>
                  </a:cubicBezTo>
                  <a:cubicBezTo>
                    <a:pt x="3136436" y="309519"/>
                    <a:pt x="3172159" y="327376"/>
                    <a:pt x="3207882" y="348209"/>
                  </a:cubicBezTo>
                  <a:cubicBezTo>
                    <a:pt x="3279327" y="389875"/>
                    <a:pt x="3347795" y="431541"/>
                    <a:pt x="3416264" y="479159"/>
                  </a:cubicBezTo>
                  <a:cubicBezTo>
                    <a:pt x="3449009" y="502968"/>
                    <a:pt x="3481755" y="523801"/>
                    <a:pt x="3514501" y="547610"/>
                  </a:cubicBezTo>
                  <a:cubicBezTo>
                    <a:pt x="3532362" y="559515"/>
                    <a:pt x="3547247" y="571419"/>
                    <a:pt x="3565108" y="586300"/>
                  </a:cubicBezTo>
                  <a:cubicBezTo>
                    <a:pt x="3597854" y="610109"/>
                    <a:pt x="3627623" y="636895"/>
                    <a:pt x="3657392" y="663680"/>
                  </a:cubicBezTo>
                  <a:cubicBezTo>
                    <a:pt x="3690137" y="690465"/>
                    <a:pt x="3719906" y="717250"/>
                    <a:pt x="3749675" y="747012"/>
                  </a:cubicBezTo>
                  <a:cubicBezTo>
                    <a:pt x="3749675" y="747012"/>
                    <a:pt x="3749675" y="747012"/>
                    <a:pt x="3094760" y="1401763"/>
                  </a:cubicBezTo>
                  <a:cubicBezTo>
                    <a:pt x="2999499" y="1312479"/>
                    <a:pt x="2895308" y="1235099"/>
                    <a:pt x="2782187" y="1166648"/>
                  </a:cubicBezTo>
                  <a:cubicBezTo>
                    <a:pt x="2758371" y="1154743"/>
                    <a:pt x="2734556" y="1142839"/>
                    <a:pt x="2710741" y="1127958"/>
                  </a:cubicBezTo>
                  <a:cubicBezTo>
                    <a:pt x="2666088" y="1104149"/>
                    <a:pt x="2618458" y="1083316"/>
                    <a:pt x="2567851" y="1062483"/>
                  </a:cubicBezTo>
                  <a:cubicBezTo>
                    <a:pt x="2532128" y="1044626"/>
                    <a:pt x="2496405" y="1032722"/>
                    <a:pt x="2457706" y="1017841"/>
                  </a:cubicBezTo>
                  <a:cubicBezTo>
                    <a:pt x="2445798" y="1014865"/>
                    <a:pt x="2430914" y="1008912"/>
                    <a:pt x="2419006" y="1005936"/>
                  </a:cubicBezTo>
                  <a:cubicBezTo>
                    <a:pt x="2395191" y="997008"/>
                    <a:pt x="2368399" y="991056"/>
                    <a:pt x="2341607" y="982127"/>
                  </a:cubicBezTo>
                  <a:cubicBezTo>
                    <a:pt x="2302908" y="973199"/>
                    <a:pt x="2264208" y="964270"/>
                    <a:pt x="2225508" y="955342"/>
                  </a:cubicBezTo>
                  <a:cubicBezTo>
                    <a:pt x="2183832" y="946413"/>
                    <a:pt x="2145132" y="940461"/>
                    <a:pt x="2103456" y="934509"/>
                  </a:cubicBezTo>
                  <a:cubicBezTo>
                    <a:pt x="2049872" y="928557"/>
                    <a:pt x="1993311" y="925580"/>
                    <a:pt x="1936750" y="922604"/>
                  </a:cubicBezTo>
                  <a:cubicBezTo>
                    <a:pt x="1936750" y="922604"/>
                    <a:pt x="1936750" y="922604"/>
                    <a:pt x="1936750" y="0"/>
                  </a:cubicBezTo>
                  <a:close/>
                  <a:moveTo>
                    <a:pt x="1803400" y="0"/>
                  </a:moveTo>
                  <a:cubicBezTo>
                    <a:pt x="1803400" y="922604"/>
                    <a:pt x="1803400" y="922604"/>
                    <a:pt x="1803400" y="922604"/>
                  </a:cubicBezTo>
                  <a:cubicBezTo>
                    <a:pt x="1359990" y="937485"/>
                    <a:pt x="955267" y="1116054"/>
                    <a:pt x="651724" y="1401763"/>
                  </a:cubicBezTo>
                  <a:cubicBezTo>
                    <a:pt x="651724" y="1401763"/>
                    <a:pt x="651724" y="1401763"/>
                    <a:pt x="0" y="747012"/>
                  </a:cubicBezTo>
                  <a:cubicBezTo>
                    <a:pt x="44639" y="705346"/>
                    <a:pt x="89277" y="663680"/>
                    <a:pt x="136892" y="624990"/>
                  </a:cubicBezTo>
                  <a:cubicBezTo>
                    <a:pt x="199386" y="571419"/>
                    <a:pt x="261880" y="523801"/>
                    <a:pt x="330326" y="479159"/>
                  </a:cubicBezTo>
                  <a:cubicBezTo>
                    <a:pt x="363061" y="455350"/>
                    <a:pt x="398772" y="431541"/>
                    <a:pt x="431507" y="410708"/>
                  </a:cubicBezTo>
                  <a:cubicBezTo>
                    <a:pt x="517808" y="357137"/>
                    <a:pt x="610061" y="306543"/>
                    <a:pt x="702314" y="261901"/>
                  </a:cubicBezTo>
                  <a:cubicBezTo>
                    <a:pt x="815399" y="208330"/>
                    <a:pt x="931459" y="163688"/>
                    <a:pt x="1050496" y="124998"/>
                  </a:cubicBezTo>
                  <a:cubicBezTo>
                    <a:pt x="1071327" y="119046"/>
                    <a:pt x="1092158" y="113093"/>
                    <a:pt x="1110014" y="107141"/>
                  </a:cubicBezTo>
                  <a:cubicBezTo>
                    <a:pt x="1151676" y="95237"/>
                    <a:pt x="1193339" y="83332"/>
                    <a:pt x="1232026" y="74404"/>
                  </a:cubicBezTo>
                  <a:cubicBezTo>
                    <a:pt x="1273689" y="65475"/>
                    <a:pt x="1315351" y="56547"/>
                    <a:pt x="1357014" y="47618"/>
                  </a:cubicBezTo>
                  <a:cubicBezTo>
                    <a:pt x="1461171" y="26785"/>
                    <a:pt x="1568303" y="14881"/>
                    <a:pt x="1672460" y="5952"/>
                  </a:cubicBezTo>
                  <a:cubicBezTo>
                    <a:pt x="1717099" y="2976"/>
                    <a:pt x="1761737" y="0"/>
                    <a:pt x="1803400"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30C1D7"/>
                </a:solidFill>
              </a:endParaRPr>
            </a:p>
          </p:txBody>
        </p:sp>
        <p:sp>
          <p:nvSpPr>
            <p:cNvPr id="61" name="Freeform 22">
              <a:extLst>
                <a:ext uri="{FF2B5EF4-FFF2-40B4-BE49-F238E27FC236}">
                  <a16:creationId xmlns:a16="http://schemas.microsoft.com/office/drawing/2014/main" id="{2FDB3ADF-D8B9-4C80-8634-5CE3F5283D5A}"/>
                </a:ext>
              </a:extLst>
            </p:cNvPr>
            <p:cNvSpPr>
              <a:spLocks/>
            </p:cNvSpPr>
            <p:nvPr/>
          </p:nvSpPr>
          <p:spPr bwMode="auto">
            <a:xfrm>
              <a:off x="7511615" y="435564"/>
              <a:ext cx="738409" cy="901065"/>
            </a:xfrm>
            <a:custGeom>
              <a:avLst/>
              <a:gdLst>
                <a:gd name="connsiteX0" fmla="*/ 0 w 3076704"/>
                <a:gd name="connsiteY0" fmla="*/ 1949450 h 3754438"/>
                <a:gd name="connsiteX1" fmla="*/ 928949 w 3076704"/>
                <a:gd name="connsiteY1" fmla="*/ 1949450 h 3754438"/>
                <a:gd name="connsiteX2" fmla="*/ 931926 w 3076704"/>
                <a:gd name="connsiteY2" fmla="*/ 2032849 h 3754438"/>
                <a:gd name="connsiteX3" fmla="*/ 946813 w 3076704"/>
                <a:gd name="connsiteY3" fmla="*/ 2154969 h 3754438"/>
                <a:gd name="connsiteX4" fmla="*/ 970632 w 3076704"/>
                <a:gd name="connsiteY4" fmla="*/ 2274110 h 3754438"/>
                <a:gd name="connsiteX5" fmla="*/ 988497 w 3076704"/>
                <a:gd name="connsiteY5" fmla="*/ 2351552 h 3754438"/>
                <a:gd name="connsiteX6" fmla="*/ 1012316 w 3076704"/>
                <a:gd name="connsiteY6" fmla="*/ 2428993 h 3754438"/>
                <a:gd name="connsiteX7" fmla="*/ 1039113 w 3076704"/>
                <a:gd name="connsiteY7" fmla="*/ 2506435 h 3754438"/>
                <a:gd name="connsiteX8" fmla="*/ 1098661 w 3076704"/>
                <a:gd name="connsiteY8" fmla="*/ 2652383 h 3754438"/>
                <a:gd name="connsiteX9" fmla="*/ 1134390 w 3076704"/>
                <a:gd name="connsiteY9" fmla="*/ 2720889 h 3754438"/>
                <a:gd name="connsiteX10" fmla="*/ 1152254 w 3076704"/>
                <a:gd name="connsiteY10" fmla="*/ 2753653 h 3754438"/>
                <a:gd name="connsiteX11" fmla="*/ 1193938 w 3076704"/>
                <a:gd name="connsiteY11" fmla="*/ 2822159 h 3754438"/>
                <a:gd name="connsiteX12" fmla="*/ 1411288 w 3076704"/>
                <a:gd name="connsiteY12" fmla="*/ 3102141 h 3754438"/>
                <a:gd name="connsiteX13" fmla="*/ 753282 w 3076704"/>
                <a:gd name="connsiteY13" fmla="*/ 3754438 h 3754438"/>
                <a:gd name="connsiteX14" fmla="*/ 348356 w 3076704"/>
                <a:gd name="connsiteY14" fmla="*/ 3215325 h 3754438"/>
                <a:gd name="connsiteX15" fmla="*/ 318582 w 3076704"/>
                <a:gd name="connsiteY15" fmla="*/ 3161711 h 3754438"/>
                <a:gd name="connsiteX16" fmla="*/ 262011 w 3076704"/>
                <a:gd name="connsiteY16" fmla="*/ 3051506 h 3754438"/>
                <a:gd name="connsiteX17" fmla="*/ 235215 w 3076704"/>
                <a:gd name="connsiteY17" fmla="*/ 2994914 h 3754438"/>
                <a:gd name="connsiteX18" fmla="*/ 187576 w 3076704"/>
                <a:gd name="connsiteY18" fmla="*/ 2878751 h 3754438"/>
                <a:gd name="connsiteX19" fmla="*/ 125051 w 3076704"/>
                <a:gd name="connsiteY19" fmla="*/ 2703018 h 3754438"/>
                <a:gd name="connsiteX20" fmla="*/ 89322 w 3076704"/>
                <a:gd name="connsiteY20" fmla="*/ 2583877 h 3754438"/>
                <a:gd name="connsiteX21" fmla="*/ 74435 w 3076704"/>
                <a:gd name="connsiteY21" fmla="*/ 2524306 h 3754438"/>
                <a:gd name="connsiteX22" fmla="*/ 47638 w 3076704"/>
                <a:gd name="connsiteY22" fmla="*/ 2399208 h 3754438"/>
                <a:gd name="connsiteX23" fmla="*/ 26796 w 3076704"/>
                <a:gd name="connsiteY23" fmla="*/ 2271131 h 3754438"/>
                <a:gd name="connsiteX24" fmla="*/ 11909 w 3076704"/>
                <a:gd name="connsiteY24" fmla="*/ 2143054 h 3754438"/>
                <a:gd name="connsiteX25" fmla="*/ 5955 w 3076704"/>
                <a:gd name="connsiteY25" fmla="*/ 2080505 h 3754438"/>
                <a:gd name="connsiteX26" fmla="*/ 0 w 3076704"/>
                <a:gd name="connsiteY26" fmla="*/ 1949450 h 3754438"/>
                <a:gd name="connsiteX27" fmla="*/ 1976438 w 3076704"/>
                <a:gd name="connsiteY27" fmla="*/ 1568450 h 3754438"/>
                <a:gd name="connsiteX28" fmla="*/ 2536032 w 3076704"/>
                <a:gd name="connsiteY28" fmla="*/ 2041724 h 3754438"/>
                <a:gd name="connsiteX29" fmla="*/ 2541985 w 3076704"/>
                <a:gd name="connsiteY29" fmla="*/ 2047677 h 3754438"/>
                <a:gd name="connsiteX30" fmla="*/ 2571751 w 3076704"/>
                <a:gd name="connsiteY30" fmla="*/ 2071490 h 3754438"/>
                <a:gd name="connsiteX31" fmla="*/ 2616399 w 3076704"/>
                <a:gd name="connsiteY31" fmla="*/ 2098279 h 3754438"/>
                <a:gd name="connsiteX32" fmla="*/ 2708673 w 3076704"/>
                <a:gd name="connsiteY32" fmla="*/ 2116138 h 3754438"/>
                <a:gd name="connsiteX33" fmla="*/ 2925962 w 3076704"/>
                <a:gd name="connsiteY33" fmla="*/ 1973263 h 3754438"/>
                <a:gd name="connsiteX34" fmla="*/ 2800946 w 3076704"/>
                <a:gd name="connsiteY34" fmla="*/ 1660724 h 3754438"/>
                <a:gd name="connsiteX35" fmla="*/ 2756298 w 3076704"/>
                <a:gd name="connsiteY35" fmla="*/ 1645841 h 3754438"/>
                <a:gd name="connsiteX36" fmla="*/ 2702719 w 3076704"/>
                <a:gd name="connsiteY36" fmla="*/ 1639888 h 3754438"/>
                <a:gd name="connsiteX37" fmla="*/ 1976438 w 3076704"/>
                <a:gd name="connsiteY37" fmla="*/ 1568450 h 3754438"/>
                <a:gd name="connsiteX38" fmla="*/ 1568450 w 3076704"/>
                <a:gd name="connsiteY38" fmla="*/ 1393825 h 3754438"/>
                <a:gd name="connsiteX39" fmla="*/ 2717843 w 3076704"/>
                <a:gd name="connsiteY39" fmla="*/ 1509911 h 3754438"/>
                <a:gd name="connsiteX40" fmla="*/ 2777397 w 3076704"/>
                <a:gd name="connsiteY40" fmla="*/ 1515864 h 3754438"/>
                <a:gd name="connsiteX41" fmla="*/ 2851840 w 3076704"/>
                <a:gd name="connsiteY41" fmla="*/ 1539677 h 3754438"/>
                <a:gd name="connsiteX42" fmla="*/ 3048368 w 3076704"/>
                <a:gd name="connsiteY42" fmla="*/ 2024856 h 3754438"/>
                <a:gd name="connsiteX43" fmla="*/ 2708910 w 3076704"/>
                <a:gd name="connsiteY43" fmla="*/ 2251075 h 3754438"/>
                <a:gd name="connsiteX44" fmla="*/ 2565980 w 3076704"/>
                <a:gd name="connsiteY44" fmla="*/ 2221310 h 3754438"/>
                <a:gd name="connsiteX45" fmla="*/ 2497493 w 3076704"/>
                <a:gd name="connsiteY45" fmla="*/ 2179638 h 3754438"/>
                <a:gd name="connsiteX46" fmla="*/ 2449850 w 3076704"/>
                <a:gd name="connsiteY46" fmla="*/ 2140942 h 3754438"/>
                <a:gd name="connsiteX47" fmla="*/ 1568450 w 3076704"/>
                <a:gd name="connsiteY47" fmla="*/ 1393825 h 3754438"/>
                <a:gd name="connsiteX48" fmla="*/ 753282 w 3076704"/>
                <a:gd name="connsiteY48" fmla="*/ 0 h 3754438"/>
                <a:gd name="connsiteX49" fmla="*/ 1411288 w 3076704"/>
                <a:gd name="connsiteY49" fmla="*/ 658035 h 3754438"/>
                <a:gd name="connsiteX50" fmla="*/ 1098661 w 3076704"/>
                <a:gd name="connsiteY50" fmla="*/ 1110621 h 3754438"/>
                <a:gd name="connsiteX51" fmla="*/ 1065909 w 3076704"/>
                <a:gd name="connsiteY51" fmla="*/ 1185059 h 3754438"/>
                <a:gd name="connsiteX52" fmla="*/ 1039113 w 3076704"/>
                <a:gd name="connsiteY52" fmla="*/ 1256520 h 3754438"/>
                <a:gd name="connsiteX53" fmla="*/ 1012316 w 3076704"/>
                <a:gd name="connsiteY53" fmla="*/ 1333936 h 3754438"/>
                <a:gd name="connsiteX54" fmla="*/ 1000406 w 3076704"/>
                <a:gd name="connsiteY54" fmla="*/ 1372644 h 3754438"/>
                <a:gd name="connsiteX55" fmla="*/ 979565 w 3076704"/>
                <a:gd name="connsiteY55" fmla="*/ 1450061 h 3754438"/>
                <a:gd name="connsiteX56" fmla="*/ 952768 w 3076704"/>
                <a:gd name="connsiteY56" fmla="*/ 1569162 h 3754438"/>
                <a:gd name="connsiteX57" fmla="*/ 946813 w 3076704"/>
                <a:gd name="connsiteY57" fmla="*/ 1607870 h 3754438"/>
                <a:gd name="connsiteX58" fmla="*/ 931926 w 3076704"/>
                <a:gd name="connsiteY58" fmla="*/ 1732927 h 3754438"/>
                <a:gd name="connsiteX59" fmla="*/ 928949 w 3076704"/>
                <a:gd name="connsiteY59" fmla="*/ 1819275 h 3754438"/>
                <a:gd name="connsiteX60" fmla="*/ 0 w 3076704"/>
                <a:gd name="connsiteY60" fmla="*/ 1819275 h 3754438"/>
                <a:gd name="connsiteX61" fmla="*/ 35729 w 3076704"/>
                <a:gd name="connsiteY61" fmla="*/ 1426240 h 3754438"/>
                <a:gd name="connsiteX62" fmla="*/ 59548 w 3076704"/>
                <a:gd name="connsiteY62" fmla="*/ 1301183 h 3754438"/>
                <a:gd name="connsiteX63" fmla="*/ 74435 w 3076704"/>
                <a:gd name="connsiteY63" fmla="*/ 1241633 h 3754438"/>
                <a:gd name="connsiteX64" fmla="*/ 107186 w 3076704"/>
                <a:gd name="connsiteY64" fmla="*/ 1119554 h 3754438"/>
                <a:gd name="connsiteX65" fmla="*/ 262011 w 3076704"/>
                <a:gd name="connsiteY65" fmla="*/ 708654 h 3754438"/>
                <a:gd name="connsiteX66" fmla="*/ 318582 w 3076704"/>
                <a:gd name="connsiteY66" fmla="*/ 598485 h 3754438"/>
                <a:gd name="connsiteX67" fmla="*/ 753282 w 3076704"/>
                <a:gd name="connsiteY67" fmla="*/ 0 h 3754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76704" h="3754438">
                  <a:moveTo>
                    <a:pt x="0" y="1949450"/>
                  </a:moveTo>
                  <a:cubicBezTo>
                    <a:pt x="0" y="1949450"/>
                    <a:pt x="0" y="1949450"/>
                    <a:pt x="928949" y="1949450"/>
                  </a:cubicBezTo>
                  <a:cubicBezTo>
                    <a:pt x="928949" y="1976257"/>
                    <a:pt x="931926" y="2003064"/>
                    <a:pt x="931926" y="2032849"/>
                  </a:cubicBezTo>
                  <a:cubicBezTo>
                    <a:pt x="934904" y="2071570"/>
                    <a:pt x="940858" y="2113269"/>
                    <a:pt x="946813" y="2154969"/>
                  </a:cubicBezTo>
                  <a:cubicBezTo>
                    <a:pt x="952768" y="2193689"/>
                    <a:pt x="961700" y="2235389"/>
                    <a:pt x="970632" y="2274110"/>
                  </a:cubicBezTo>
                  <a:cubicBezTo>
                    <a:pt x="976587" y="2300917"/>
                    <a:pt x="982542" y="2327723"/>
                    <a:pt x="988497" y="2351552"/>
                  </a:cubicBezTo>
                  <a:cubicBezTo>
                    <a:pt x="994452" y="2378358"/>
                    <a:pt x="1003384" y="2405165"/>
                    <a:pt x="1012316" y="2428993"/>
                  </a:cubicBezTo>
                  <a:cubicBezTo>
                    <a:pt x="1021248" y="2455800"/>
                    <a:pt x="1027203" y="2479628"/>
                    <a:pt x="1039113" y="2506435"/>
                  </a:cubicBezTo>
                  <a:cubicBezTo>
                    <a:pt x="1056977" y="2557070"/>
                    <a:pt x="1077819" y="2604726"/>
                    <a:pt x="1098661" y="2652383"/>
                  </a:cubicBezTo>
                  <a:cubicBezTo>
                    <a:pt x="1110570" y="2673233"/>
                    <a:pt x="1122480" y="2697061"/>
                    <a:pt x="1134390" y="2720889"/>
                  </a:cubicBezTo>
                  <a:cubicBezTo>
                    <a:pt x="1140344" y="2732803"/>
                    <a:pt x="1146299" y="2741739"/>
                    <a:pt x="1152254" y="2753653"/>
                  </a:cubicBezTo>
                  <a:cubicBezTo>
                    <a:pt x="1167141" y="2777481"/>
                    <a:pt x="1179051" y="2801309"/>
                    <a:pt x="1193938" y="2822159"/>
                  </a:cubicBezTo>
                  <a:cubicBezTo>
                    <a:pt x="1256463" y="2923429"/>
                    <a:pt x="1327921" y="3015763"/>
                    <a:pt x="1411288" y="3102141"/>
                  </a:cubicBezTo>
                  <a:cubicBezTo>
                    <a:pt x="1411288" y="3102141"/>
                    <a:pt x="1411288" y="3102141"/>
                    <a:pt x="753282" y="3754438"/>
                  </a:cubicBezTo>
                  <a:cubicBezTo>
                    <a:pt x="598457" y="3590619"/>
                    <a:pt x="458520" y="3411907"/>
                    <a:pt x="348356" y="3215325"/>
                  </a:cubicBezTo>
                  <a:cubicBezTo>
                    <a:pt x="336446" y="3197453"/>
                    <a:pt x="327514" y="3179582"/>
                    <a:pt x="318582" y="3161711"/>
                  </a:cubicBezTo>
                  <a:cubicBezTo>
                    <a:pt x="297740" y="3125969"/>
                    <a:pt x="279876" y="3087248"/>
                    <a:pt x="262011" y="3051506"/>
                  </a:cubicBezTo>
                  <a:cubicBezTo>
                    <a:pt x="253079" y="3030656"/>
                    <a:pt x="244147" y="3012785"/>
                    <a:pt x="235215" y="2994914"/>
                  </a:cubicBezTo>
                  <a:cubicBezTo>
                    <a:pt x="220328" y="2956193"/>
                    <a:pt x="202463" y="2917472"/>
                    <a:pt x="187576" y="2878751"/>
                  </a:cubicBezTo>
                  <a:cubicBezTo>
                    <a:pt x="163757" y="2822159"/>
                    <a:pt x="142915" y="2762588"/>
                    <a:pt x="125051" y="2703018"/>
                  </a:cubicBezTo>
                  <a:cubicBezTo>
                    <a:pt x="113141" y="2661318"/>
                    <a:pt x="101231" y="2625576"/>
                    <a:pt x="89322" y="2583877"/>
                  </a:cubicBezTo>
                  <a:cubicBezTo>
                    <a:pt x="83367" y="2563027"/>
                    <a:pt x="77412" y="2542177"/>
                    <a:pt x="74435" y="2524306"/>
                  </a:cubicBezTo>
                  <a:cubicBezTo>
                    <a:pt x="62525" y="2482607"/>
                    <a:pt x="53593" y="2440907"/>
                    <a:pt x="47638" y="2399208"/>
                  </a:cubicBezTo>
                  <a:cubicBezTo>
                    <a:pt x="38706" y="2357509"/>
                    <a:pt x="32751" y="2315809"/>
                    <a:pt x="26796" y="2271131"/>
                  </a:cubicBezTo>
                  <a:cubicBezTo>
                    <a:pt x="20842" y="2229432"/>
                    <a:pt x="14887" y="2187732"/>
                    <a:pt x="11909" y="2143054"/>
                  </a:cubicBezTo>
                  <a:cubicBezTo>
                    <a:pt x="8932" y="2122205"/>
                    <a:pt x="5955" y="2101355"/>
                    <a:pt x="5955" y="2080505"/>
                  </a:cubicBezTo>
                  <a:cubicBezTo>
                    <a:pt x="2977" y="2035827"/>
                    <a:pt x="0" y="1991150"/>
                    <a:pt x="0" y="1949450"/>
                  </a:cubicBezTo>
                  <a:close/>
                  <a:moveTo>
                    <a:pt x="1976438" y="1568450"/>
                  </a:moveTo>
                  <a:cubicBezTo>
                    <a:pt x="1976438" y="1568450"/>
                    <a:pt x="1976438" y="1568450"/>
                    <a:pt x="2536032" y="2041724"/>
                  </a:cubicBezTo>
                  <a:cubicBezTo>
                    <a:pt x="2539009" y="2041724"/>
                    <a:pt x="2539009" y="2044701"/>
                    <a:pt x="2541985" y="2047677"/>
                  </a:cubicBezTo>
                  <a:cubicBezTo>
                    <a:pt x="2550915" y="2056607"/>
                    <a:pt x="2562821" y="2065537"/>
                    <a:pt x="2571751" y="2071490"/>
                  </a:cubicBezTo>
                  <a:cubicBezTo>
                    <a:pt x="2586634" y="2083396"/>
                    <a:pt x="2601516" y="2092326"/>
                    <a:pt x="2616399" y="2098279"/>
                  </a:cubicBezTo>
                  <a:cubicBezTo>
                    <a:pt x="2646165" y="2110185"/>
                    <a:pt x="2678907" y="2116138"/>
                    <a:pt x="2708673" y="2116138"/>
                  </a:cubicBezTo>
                  <a:cubicBezTo>
                    <a:pt x="2803923" y="2116138"/>
                    <a:pt x="2890243" y="2059583"/>
                    <a:pt x="2925962" y="1973263"/>
                  </a:cubicBezTo>
                  <a:cubicBezTo>
                    <a:pt x="2976563" y="1851224"/>
                    <a:pt x="2920009" y="1711325"/>
                    <a:pt x="2800946" y="1660724"/>
                  </a:cubicBezTo>
                  <a:cubicBezTo>
                    <a:pt x="2786063" y="1654771"/>
                    <a:pt x="2771180" y="1648817"/>
                    <a:pt x="2756298" y="1645841"/>
                  </a:cubicBezTo>
                  <a:cubicBezTo>
                    <a:pt x="2756298" y="1645841"/>
                    <a:pt x="2756298" y="1645841"/>
                    <a:pt x="2702719" y="1639888"/>
                  </a:cubicBezTo>
                  <a:cubicBezTo>
                    <a:pt x="2702719" y="1639888"/>
                    <a:pt x="2702719" y="1639888"/>
                    <a:pt x="1976438" y="1568450"/>
                  </a:cubicBezTo>
                  <a:close/>
                  <a:moveTo>
                    <a:pt x="1568450" y="1393825"/>
                  </a:moveTo>
                  <a:cubicBezTo>
                    <a:pt x="1568450" y="1393825"/>
                    <a:pt x="1568450" y="1393825"/>
                    <a:pt x="2717843" y="1509911"/>
                  </a:cubicBezTo>
                  <a:cubicBezTo>
                    <a:pt x="2717843" y="1509911"/>
                    <a:pt x="2717843" y="1509911"/>
                    <a:pt x="2777397" y="1515864"/>
                  </a:cubicBezTo>
                  <a:cubicBezTo>
                    <a:pt x="2801219" y="1521817"/>
                    <a:pt x="2828018" y="1530747"/>
                    <a:pt x="2851840" y="1539677"/>
                  </a:cubicBezTo>
                  <a:cubicBezTo>
                    <a:pt x="3039435" y="1620044"/>
                    <a:pt x="3125788" y="1837333"/>
                    <a:pt x="3048368" y="2024856"/>
                  </a:cubicBezTo>
                  <a:cubicBezTo>
                    <a:pt x="2988814" y="2164755"/>
                    <a:pt x="2851840" y="2251075"/>
                    <a:pt x="2708910" y="2251075"/>
                  </a:cubicBezTo>
                  <a:cubicBezTo>
                    <a:pt x="2661267" y="2251075"/>
                    <a:pt x="2613624" y="2242146"/>
                    <a:pt x="2565980" y="2221310"/>
                  </a:cubicBezTo>
                  <a:cubicBezTo>
                    <a:pt x="2542159" y="2212380"/>
                    <a:pt x="2518337" y="2194520"/>
                    <a:pt x="2497493" y="2179638"/>
                  </a:cubicBezTo>
                  <a:cubicBezTo>
                    <a:pt x="2479627" y="2167731"/>
                    <a:pt x="2464738" y="2155825"/>
                    <a:pt x="2449850" y="2140942"/>
                  </a:cubicBezTo>
                  <a:cubicBezTo>
                    <a:pt x="2449850" y="2140942"/>
                    <a:pt x="2449850" y="2140942"/>
                    <a:pt x="1568450" y="1393825"/>
                  </a:cubicBezTo>
                  <a:close/>
                  <a:moveTo>
                    <a:pt x="753282" y="0"/>
                  </a:moveTo>
                  <a:cubicBezTo>
                    <a:pt x="753282" y="0"/>
                    <a:pt x="753282" y="0"/>
                    <a:pt x="1411288" y="658035"/>
                  </a:cubicBezTo>
                  <a:cubicBezTo>
                    <a:pt x="1283260" y="792025"/>
                    <a:pt x="1179051" y="943879"/>
                    <a:pt x="1098661" y="1110621"/>
                  </a:cubicBezTo>
                  <a:cubicBezTo>
                    <a:pt x="1086751" y="1134441"/>
                    <a:pt x="1077819" y="1158262"/>
                    <a:pt x="1065909" y="1185059"/>
                  </a:cubicBezTo>
                  <a:cubicBezTo>
                    <a:pt x="1056977" y="1208880"/>
                    <a:pt x="1048045" y="1232700"/>
                    <a:pt x="1039113" y="1256520"/>
                  </a:cubicBezTo>
                  <a:cubicBezTo>
                    <a:pt x="1027203" y="1283318"/>
                    <a:pt x="1021248" y="1307138"/>
                    <a:pt x="1012316" y="1333936"/>
                  </a:cubicBezTo>
                  <a:cubicBezTo>
                    <a:pt x="1006361" y="1345846"/>
                    <a:pt x="1003384" y="1357757"/>
                    <a:pt x="1000406" y="1372644"/>
                  </a:cubicBezTo>
                  <a:cubicBezTo>
                    <a:pt x="991474" y="1396465"/>
                    <a:pt x="985519" y="1423263"/>
                    <a:pt x="979565" y="1450061"/>
                  </a:cubicBezTo>
                  <a:cubicBezTo>
                    <a:pt x="970632" y="1488769"/>
                    <a:pt x="961700" y="1527477"/>
                    <a:pt x="952768" y="1569162"/>
                  </a:cubicBezTo>
                  <a:cubicBezTo>
                    <a:pt x="952768" y="1581072"/>
                    <a:pt x="949791" y="1595960"/>
                    <a:pt x="946813" y="1607870"/>
                  </a:cubicBezTo>
                  <a:cubicBezTo>
                    <a:pt x="940858" y="1649556"/>
                    <a:pt x="934904" y="1691241"/>
                    <a:pt x="931926" y="1732927"/>
                  </a:cubicBezTo>
                  <a:cubicBezTo>
                    <a:pt x="931926" y="1759724"/>
                    <a:pt x="928949" y="1789500"/>
                    <a:pt x="928949" y="1819275"/>
                  </a:cubicBezTo>
                  <a:cubicBezTo>
                    <a:pt x="928949" y="1819275"/>
                    <a:pt x="928949" y="1819275"/>
                    <a:pt x="0" y="1819275"/>
                  </a:cubicBezTo>
                  <a:cubicBezTo>
                    <a:pt x="2977" y="1682308"/>
                    <a:pt x="14887" y="1554274"/>
                    <a:pt x="35729" y="1426240"/>
                  </a:cubicBezTo>
                  <a:cubicBezTo>
                    <a:pt x="41683" y="1384554"/>
                    <a:pt x="50616" y="1342869"/>
                    <a:pt x="59548" y="1301183"/>
                  </a:cubicBezTo>
                  <a:cubicBezTo>
                    <a:pt x="65503" y="1280341"/>
                    <a:pt x="68480" y="1262475"/>
                    <a:pt x="74435" y="1241633"/>
                  </a:cubicBezTo>
                  <a:cubicBezTo>
                    <a:pt x="83367" y="1199947"/>
                    <a:pt x="95277" y="1158262"/>
                    <a:pt x="107186" y="1119554"/>
                  </a:cubicBezTo>
                  <a:cubicBezTo>
                    <a:pt x="145893" y="976632"/>
                    <a:pt x="199486" y="839665"/>
                    <a:pt x="262011" y="708654"/>
                  </a:cubicBezTo>
                  <a:cubicBezTo>
                    <a:pt x="279876" y="672923"/>
                    <a:pt x="297740" y="637193"/>
                    <a:pt x="318582" y="598485"/>
                  </a:cubicBezTo>
                  <a:cubicBezTo>
                    <a:pt x="434700" y="381125"/>
                    <a:pt x="583570" y="181630"/>
                    <a:pt x="753282" y="0"/>
                  </a:cubicBezTo>
                  <a:close/>
                </a:path>
              </a:pathLst>
            </a:custGeom>
            <a:solidFill>
              <a:srgbClr val="295E7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796674970"/>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86703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076" name="think-cell Slide" r:id="rId13" imgW="473" imgH="473" progId="TCLayout.ActiveDocument.1">
                  <p:embed/>
                </p:oleObj>
              </mc:Choice>
              <mc:Fallback>
                <p:oleObj name="think-cell Slide" r:id="rId13" imgW="473" imgH="473"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50307" y="0"/>
            <a:ext cx="2923705"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Whilst Q4 2021 E-SAT is -4% lower than Q4 2020, at 85% this is +2% over target</a:t>
            </a:r>
          </a:p>
          <a:p>
            <a:endParaRPr lang="en-GB" dirty="0">
              <a:solidFill>
                <a:srgbClr val="FFFFFF"/>
              </a:solidFill>
              <a:cs typeface="Arial" pitchFamily="34" charset="0"/>
            </a:endParaRPr>
          </a:p>
          <a:p>
            <a:r>
              <a:rPr lang="en-GB" dirty="0">
                <a:solidFill>
                  <a:srgbClr val="FFFFFF"/>
                </a:solidFill>
                <a:cs typeface="Arial" pitchFamily="34" charset="0"/>
              </a:rPr>
              <a:t>The 2021 average is also 85%, again +2% over target &amp; +2% better than the 2020 average </a:t>
            </a:r>
            <a:r>
              <a:rPr lang="en-GB" sz="1400" i="1" dirty="0">
                <a:solidFill>
                  <a:srgbClr val="FFFFFF"/>
                </a:solidFill>
                <a:cs typeface="Arial" pitchFamily="34" charset="0"/>
              </a:rPr>
              <a:t>(next slide)</a:t>
            </a:r>
          </a:p>
        </p:txBody>
      </p:sp>
      <p:sp>
        <p:nvSpPr>
          <p:cNvPr id="3" name="Title 2"/>
          <p:cNvSpPr>
            <a:spLocks noGrp="1"/>
          </p:cNvSpPr>
          <p:nvPr>
            <p:ph type="title"/>
          </p:nvPr>
        </p:nvSpPr>
        <p:spPr/>
        <p:txBody>
          <a:bodyPr vert="horz"/>
          <a:lstStyle/>
          <a:p>
            <a:r>
              <a:rPr lang="en-US" dirty="0">
                <a:solidFill>
                  <a:srgbClr val="295E7E"/>
                </a:solidFill>
              </a:rPr>
              <a:t>IT Satisfaction - Overall</a:t>
            </a:r>
          </a:p>
        </p:txBody>
      </p:sp>
      <p:graphicFrame>
        <p:nvGraphicFramePr>
          <p:cNvPr id="31" name="Chart 30">
            <a:extLst>
              <a:ext uri="{FF2B5EF4-FFF2-40B4-BE49-F238E27FC236}">
                <a16:creationId xmlns:a16="http://schemas.microsoft.com/office/drawing/2014/main" id="{0772F496-7969-46ED-8F94-92483209A066}"/>
              </a:ext>
            </a:extLst>
          </p:cNvPr>
          <p:cNvGraphicFramePr/>
          <p:nvPr>
            <p:custDataLst>
              <p:tags r:id="rId5"/>
            </p:custDataLst>
            <p:extLst>
              <p:ext uri="{D42A27DB-BD31-4B8C-83A1-F6EECF244321}">
                <p14:modId xmlns:p14="http://schemas.microsoft.com/office/powerpoint/2010/main" val="1415948869"/>
              </p:ext>
            </p:extLst>
          </p:nvPr>
        </p:nvGraphicFramePr>
        <p:xfrm>
          <a:off x="2744788" y="2433638"/>
          <a:ext cx="3400425" cy="3400425"/>
        </p:xfrm>
        <a:graphic>
          <a:graphicData uri="http://schemas.openxmlformats.org/drawingml/2006/chart">
            <c:chart xmlns:c="http://schemas.openxmlformats.org/drawingml/2006/chart" xmlns:r="http://schemas.openxmlformats.org/officeDocument/2006/relationships" r:id="rId15"/>
          </a:graphicData>
        </a:graphic>
      </p:graphicFrame>
      <p:sp>
        <p:nvSpPr>
          <p:cNvPr id="73" name="Text Placeholder 3"/>
          <p:cNvSpPr>
            <a:spLocks noGrp="1"/>
          </p:cNvSpPr>
          <p:nvPr>
            <p:custDataLst>
              <p:tags r:id="rId6"/>
            </p:custDataLst>
          </p:nvPr>
        </p:nvSpPr>
        <p:spPr bwMode="gray">
          <a:xfrm>
            <a:off x="5410200" y="3228975"/>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4E09ABC-3593-4FD6-8544-2950611D358E}" type="datetime'''''''''''''''''''''''''''3''''''''''''''''1'''''''''''''''">
              <a:rPr lang="en-US" altLang="en-US" sz="1600" smtClean="0">
                <a:solidFill>
                  <a:schemeClr val="bg1"/>
                </a:solidFill>
              </a:rPr>
              <a:pPr/>
              <a:t>31</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7"/>
            </p:custDataLst>
          </p:nvPr>
        </p:nvSpPr>
        <p:spPr bwMode="gray">
          <a:xfrm>
            <a:off x="4278313" y="283368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3434D2D-FA72-4DB0-8E95-98B0B58FE822}"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8"/>
            </p:custDataLst>
          </p:nvPr>
        </p:nvSpPr>
        <p:spPr bwMode="gray">
          <a:xfrm>
            <a:off x="4076700" y="2565400"/>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8D7C820-F4C3-43A2-8514-1D43523F8194}" type="datetime'''''''''4'''''''''''''''''''''">
              <a:rPr lang="en-US" altLang="en-US" sz="1600" smtClean="0">
                <a:solidFill>
                  <a:schemeClr val="bg1"/>
                </a:solidFill>
              </a:rPr>
              <a:pPr/>
              <a:t>4</a:t>
            </a:fld>
            <a:r>
              <a:rPr lang="en-US" altLang="en-US" sz="1600">
                <a:solidFill>
                  <a:schemeClr val="bg1"/>
                </a:solidFill>
              </a:rPr>
              <a:t>%</a:t>
            </a:r>
            <a:endParaRPr lang="en-US" sz="1600" dirty="0">
              <a:solidFill>
                <a:schemeClr val="bg1"/>
              </a:solidFill>
              <a:sym typeface="+mn-lt"/>
            </a:endParaRPr>
          </a:p>
        </p:txBody>
      </p:sp>
      <p:sp>
        <p:nvSpPr>
          <p:cNvPr id="33" name="Text Placeholder 3"/>
          <p:cNvSpPr>
            <a:spLocks noGrp="1"/>
          </p:cNvSpPr>
          <p:nvPr>
            <p:custDataLst>
              <p:tags r:id="rId9"/>
            </p:custDataLst>
          </p:nvPr>
        </p:nvSpPr>
        <p:spPr bwMode="gray">
          <a:xfrm>
            <a:off x="3565525" y="5224463"/>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49DD433-DEFB-43E6-A5F4-3749144348E4}" type="datetime'''5''''''''''''''''''''''''''''''''''''''4'''''''''">
              <a:rPr lang="en-US" altLang="en-US" sz="1600" smtClean="0">
                <a:solidFill>
                  <a:schemeClr val="bg1"/>
                </a:solidFill>
              </a:rPr>
              <a:pPr/>
              <a:t>54</a:t>
            </a:fld>
            <a:r>
              <a:rPr lang="en-US" altLang="en-US" sz="1600">
                <a:solidFill>
                  <a:schemeClr val="bg1"/>
                </a:solidFill>
              </a:rPr>
              <a:t>%</a:t>
            </a:r>
            <a:endParaRPr lang="en-US" sz="1600" dirty="0">
              <a:solidFill>
                <a:schemeClr val="bg1"/>
              </a:solidFill>
              <a:sym typeface="+mn-lt"/>
            </a:endParaRPr>
          </a:p>
        </p:txBody>
      </p:sp>
      <p:sp>
        <p:nvSpPr>
          <p:cNvPr id="53" name="Text Placeholder 3"/>
          <p:cNvSpPr>
            <a:spLocks noGrp="1"/>
          </p:cNvSpPr>
          <p:nvPr>
            <p:custDataLst>
              <p:tags r:id="rId10"/>
            </p:custDataLst>
          </p:nvPr>
        </p:nvSpPr>
        <p:spPr bwMode="gray">
          <a:xfrm>
            <a:off x="3455988" y="2849563"/>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C86620F-02AA-4C02-AD50-D1832B9BA0BE}" type="datetime'''''''''''''''''''''''''1''''''1'''''''''''''''''''''''''''''">
              <a:rPr lang="en-US" altLang="en-US" sz="1600" smtClean="0"/>
              <a:pPr/>
              <a:t>11</a:t>
            </a:fld>
            <a:r>
              <a:rPr lang="en-US" altLang="en-US" sz="1600"/>
              <a:t>%</a:t>
            </a:r>
            <a:endParaRPr lang="en-US" sz="1600" dirty="0">
              <a:sym typeface="+mn-lt"/>
            </a:endParaRPr>
          </a:p>
        </p:txBody>
      </p:sp>
      <p:sp>
        <p:nvSpPr>
          <p:cNvPr id="96" name="Rectangle 95"/>
          <p:cNvSpPr/>
          <p:nvPr/>
        </p:nvSpPr>
        <p:spPr>
          <a:xfrm>
            <a:off x="2752421" y="1392248"/>
            <a:ext cx="5584756"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5% </a:t>
            </a:r>
            <a:r>
              <a:rPr lang="en-US" dirty="0">
                <a:solidFill>
                  <a:srgbClr val="575757"/>
                </a:solidFill>
              </a:rPr>
              <a:t>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rPr>
              <a:t>1% vs Q3 '21  | </a:t>
            </a:r>
            <a:r>
              <a:rPr lang="en-US" sz="1400" dirty="0">
                <a:solidFill>
                  <a:srgbClr val="E71C57"/>
                </a:solidFill>
                <a:latin typeface="Wingdings 3" panose="05040102010807070707" pitchFamily="18" charset="2"/>
              </a:rPr>
              <a:t>q</a:t>
            </a:r>
            <a:r>
              <a:rPr lang="en-US" sz="1400" dirty="0">
                <a:solidFill>
                  <a:srgbClr val="575757"/>
                </a:solidFill>
                <a:latin typeface="+mj-lt"/>
              </a:rPr>
              <a:t>4</a:t>
            </a:r>
            <a:r>
              <a:rPr lang="en-US" sz="1400" dirty="0">
                <a:solidFill>
                  <a:srgbClr val="575757"/>
                </a:solidFill>
              </a:rPr>
              <a:t>% vs Q4 '20  | </a:t>
            </a:r>
            <a:r>
              <a:rPr lang="en-US" sz="1400" dirty="0">
                <a:solidFill>
                  <a:srgbClr val="29BA74"/>
                </a:solidFill>
                <a:latin typeface="Wingdings 3" panose="05040102010807070707" pitchFamily="18" charset="2"/>
              </a:rPr>
              <a:t>p</a:t>
            </a:r>
            <a:r>
              <a:rPr lang="en-US" sz="1400" dirty="0">
                <a:solidFill>
                  <a:srgbClr val="575757"/>
                </a:solidFill>
              </a:rPr>
              <a:t>2% vs 2021 Target</a:t>
            </a:r>
          </a:p>
        </p:txBody>
      </p:sp>
      <p:sp>
        <p:nvSpPr>
          <p:cNvPr id="113" name="Rectangle 112"/>
          <p:cNvSpPr/>
          <p:nvPr/>
        </p:nvSpPr>
        <p:spPr>
          <a:xfrm>
            <a:off x="1443131" y="1392248"/>
            <a:ext cx="1301658" cy="60649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6" name="Rectangle 5"/>
          <p:cNvSpPr/>
          <p:nvPr/>
        </p:nvSpPr>
        <p:spPr>
          <a:xfrm>
            <a:off x="629999" y="1392247"/>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0" name="Rectangle 29"/>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pSp>
        <p:nvGrpSpPr>
          <p:cNvPr id="36" name="Group 35">
            <a:extLst>
              <a:ext uri="{FF2B5EF4-FFF2-40B4-BE49-F238E27FC236}">
                <a16:creationId xmlns:a16="http://schemas.microsoft.com/office/drawing/2014/main" id="{DD2E8C23-7714-469B-A154-DF7126B2D225}"/>
              </a:ext>
            </a:extLst>
          </p:cNvPr>
          <p:cNvGrpSpPr>
            <a:grpSpLocks noChangeAspect="1"/>
          </p:cNvGrpSpPr>
          <p:nvPr/>
        </p:nvGrpSpPr>
        <p:grpSpPr>
          <a:xfrm>
            <a:off x="599640" y="864696"/>
            <a:ext cx="457200" cy="457200"/>
            <a:chOff x="5867400" y="3200400"/>
            <a:chExt cx="457200" cy="457200"/>
          </a:xfrm>
        </p:grpSpPr>
        <p:sp>
          <p:nvSpPr>
            <p:cNvPr id="37" name="AutoShape 43">
              <a:extLst>
                <a:ext uri="{FF2B5EF4-FFF2-40B4-BE49-F238E27FC236}">
                  <a16:creationId xmlns:a16="http://schemas.microsoft.com/office/drawing/2014/main" id="{C5D6A7FA-29BF-4B6D-B7AE-38A5B199C7E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7">
              <a:extLst>
                <a:ext uri="{FF2B5EF4-FFF2-40B4-BE49-F238E27FC236}">
                  <a16:creationId xmlns:a16="http://schemas.microsoft.com/office/drawing/2014/main" id="{F9B9F2B9-524A-4D9F-8A13-F913EDC9705F}"/>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37173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663" name="think-cell Slide" r:id="rId9" imgW="498" imgH="499" progId="TCLayout.ActiveDocument.1">
                  <p:embed/>
                </p:oleObj>
              </mc:Choice>
              <mc:Fallback>
                <p:oleObj name="think-cell Slide" r:id="rId9" imgW="498" imgH="499" progId="TCLayout.ActiveDocument.1">
                  <p:embed/>
                  <p:pic>
                    <p:nvPicPr>
                      <p:cNvPr id="4" name="Object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Title 1"/>
          <p:cNvSpPr>
            <a:spLocks noGrp="1"/>
          </p:cNvSpPr>
          <p:nvPr>
            <p:ph type="title"/>
          </p:nvPr>
        </p:nvSpPr>
        <p:spPr>
          <a:xfrm>
            <a:off x="630000" y="622800"/>
            <a:ext cx="10933350" cy="332399"/>
          </a:xfrm>
        </p:spPr>
        <p:txBody>
          <a:bodyPr vert="horz"/>
          <a:lstStyle/>
          <a:p>
            <a:r>
              <a:rPr lang="en-US" dirty="0">
                <a:solidFill>
                  <a:srgbClr val="295E7E"/>
                </a:solidFill>
              </a:rPr>
              <a:t>Overall IT Satisfaction Journey…</a:t>
            </a:r>
          </a:p>
        </p:txBody>
      </p:sp>
      <p:sp>
        <p:nvSpPr>
          <p:cNvPr id="52" name="ee4pHeader1">
            <a:extLst>
              <a:ext uri="{FF2B5EF4-FFF2-40B4-BE49-F238E27FC236}">
                <a16:creationId xmlns:a16="http://schemas.microsoft.com/office/drawing/2014/main" id="{82434627-944D-46C3-B850-D241FD3600D3}"/>
              </a:ext>
            </a:extLst>
          </p:cNvPr>
          <p:cNvSpPr>
            <a:spLocks noChangeArrowheads="1"/>
          </p:cNvSpPr>
          <p:nvPr>
            <p:custDataLst>
              <p:tags r:id="rId4"/>
            </p:custDataLst>
          </p:nvPr>
        </p:nvSpPr>
        <p:spPr bwMode="gray">
          <a:xfrm>
            <a:off x="630000" y="1392410"/>
            <a:ext cx="3688600" cy="390921"/>
          </a:xfrm>
          <a:prstGeom prst="homePlate">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19</a:t>
            </a:r>
          </a:p>
        </p:txBody>
      </p:sp>
      <p:sp>
        <p:nvSpPr>
          <p:cNvPr id="53" name="ee4pHeader2">
            <a:extLst>
              <a:ext uri="{FF2B5EF4-FFF2-40B4-BE49-F238E27FC236}">
                <a16:creationId xmlns:a16="http://schemas.microsoft.com/office/drawing/2014/main" id="{889E45EE-3C3E-4F67-9EA1-AF22FD0E0DA4}"/>
              </a:ext>
            </a:extLst>
          </p:cNvPr>
          <p:cNvSpPr>
            <a:spLocks noChangeArrowheads="1"/>
          </p:cNvSpPr>
          <p:nvPr>
            <p:custDataLst>
              <p:tags r:id="rId5"/>
            </p:custDataLst>
          </p:nvPr>
        </p:nvSpPr>
        <p:spPr bwMode="gray">
          <a:xfrm>
            <a:off x="4328539" y="1392409"/>
            <a:ext cx="3667116" cy="390921"/>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20</a:t>
            </a:r>
          </a:p>
        </p:txBody>
      </p:sp>
      <p:sp>
        <p:nvSpPr>
          <p:cNvPr id="76" name="Rectangle 75">
            <a:extLst>
              <a:ext uri="{FF2B5EF4-FFF2-40B4-BE49-F238E27FC236}">
                <a16:creationId xmlns:a16="http://schemas.microsoft.com/office/drawing/2014/main" id="{1A7A5744-DADC-43AE-9ACE-98D7E6679B9C}"/>
              </a:ext>
            </a:extLst>
          </p:cNvPr>
          <p:cNvSpPr>
            <a:spLocks noChangeAspect="1"/>
          </p:cNvSpPr>
          <p:nvPr/>
        </p:nvSpPr>
        <p:spPr>
          <a:xfrm>
            <a:off x="1670583"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1%</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77" name="Rectangle 76">
            <a:extLst>
              <a:ext uri="{FF2B5EF4-FFF2-40B4-BE49-F238E27FC236}">
                <a16:creationId xmlns:a16="http://schemas.microsoft.com/office/drawing/2014/main" id="{9AF07B8A-FE5F-4F52-872A-BF136045D93D}"/>
              </a:ext>
            </a:extLst>
          </p:cNvPr>
          <p:cNvSpPr>
            <a:spLocks/>
          </p:cNvSpPr>
          <p:nvPr/>
        </p:nvSpPr>
        <p:spPr>
          <a:xfrm>
            <a:off x="856031" y="6086178"/>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78" name="Rectangle 77">
            <a:extLst>
              <a:ext uri="{FF2B5EF4-FFF2-40B4-BE49-F238E27FC236}">
                <a16:creationId xmlns:a16="http://schemas.microsoft.com/office/drawing/2014/main" id="{448E2C6C-D84C-49A0-8002-F20B57EA41D5}"/>
              </a:ext>
            </a:extLst>
          </p:cNvPr>
          <p:cNvSpPr>
            <a:spLocks noChangeAspect="1"/>
          </p:cNvSpPr>
          <p:nvPr/>
        </p:nvSpPr>
        <p:spPr>
          <a:xfrm>
            <a:off x="856977"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3%</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79" name="Rectangle 78">
            <a:extLst>
              <a:ext uri="{FF2B5EF4-FFF2-40B4-BE49-F238E27FC236}">
                <a16:creationId xmlns:a16="http://schemas.microsoft.com/office/drawing/2014/main" id="{550B4B9A-114E-4411-94D7-DEABCCC5DD2F}"/>
              </a:ext>
            </a:extLst>
          </p:cNvPr>
          <p:cNvSpPr>
            <a:spLocks noChangeAspect="1"/>
          </p:cNvSpPr>
          <p:nvPr/>
        </p:nvSpPr>
        <p:spPr>
          <a:xfrm>
            <a:off x="2489361"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1%</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81" name="Rectangle 80">
            <a:extLst>
              <a:ext uri="{FF2B5EF4-FFF2-40B4-BE49-F238E27FC236}">
                <a16:creationId xmlns:a16="http://schemas.microsoft.com/office/drawing/2014/main" id="{4681AC77-2D9B-45E0-BF58-4029EDACD94B}"/>
              </a:ext>
            </a:extLst>
          </p:cNvPr>
          <p:cNvSpPr>
            <a:spLocks noChangeAspect="1"/>
          </p:cNvSpPr>
          <p:nvPr/>
        </p:nvSpPr>
        <p:spPr>
          <a:xfrm>
            <a:off x="3314408"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8%</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83" name="Rectangle 82">
            <a:extLst>
              <a:ext uri="{FF2B5EF4-FFF2-40B4-BE49-F238E27FC236}">
                <a16:creationId xmlns:a16="http://schemas.microsoft.com/office/drawing/2014/main" id="{EBEB7CA4-EED9-4DAD-A33B-026DE996FAB1}"/>
              </a:ext>
            </a:extLst>
          </p:cNvPr>
          <p:cNvSpPr>
            <a:spLocks/>
          </p:cNvSpPr>
          <p:nvPr/>
        </p:nvSpPr>
        <p:spPr>
          <a:xfrm>
            <a:off x="856977" y="638349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2%</a:t>
            </a:r>
          </a:p>
        </p:txBody>
      </p:sp>
      <p:sp>
        <p:nvSpPr>
          <p:cNvPr id="84" name="Rectangle 83">
            <a:extLst>
              <a:ext uri="{FF2B5EF4-FFF2-40B4-BE49-F238E27FC236}">
                <a16:creationId xmlns:a16="http://schemas.microsoft.com/office/drawing/2014/main" id="{AD0A6A4C-1E27-4078-A0A2-E967FEC0D308}"/>
              </a:ext>
            </a:extLst>
          </p:cNvPr>
          <p:cNvSpPr>
            <a:spLocks/>
          </p:cNvSpPr>
          <p:nvPr/>
        </p:nvSpPr>
        <p:spPr>
          <a:xfrm>
            <a:off x="1670542" y="6383496"/>
            <a:ext cx="76845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4%</a:t>
            </a:r>
          </a:p>
        </p:txBody>
      </p:sp>
      <p:sp>
        <p:nvSpPr>
          <p:cNvPr id="85" name="Rectangle 84">
            <a:extLst>
              <a:ext uri="{FF2B5EF4-FFF2-40B4-BE49-F238E27FC236}">
                <a16:creationId xmlns:a16="http://schemas.microsoft.com/office/drawing/2014/main" id="{5752C0C0-7A05-4792-8065-E581065EEA9E}"/>
              </a:ext>
            </a:extLst>
          </p:cNvPr>
          <p:cNvSpPr>
            <a:spLocks/>
          </p:cNvSpPr>
          <p:nvPr/>
        </p:nvSpPr>
        <p:spPr>
          <a:xfrm>
            <a:off x="2484107" y="6383496"/>
            <a:ext cx="777690"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4%</a:t>
            </a:r>
          </a:p>
        </p:txBody>
      </p:sp>
      <p:sp>
        <p:nvSpPr>
          <p:cNvPr id="86" name="Rectangle 85">
            <a:extLst>
              <a:ext uri="{FF2B5EF4-FFF2-40B4-BE49-F238E27FC236}">
                <a16:creationId xmlns:a16="http://schemas.microsoft.com/office/drawing/2014/main" id="{7371E700-9C60-4BD7-899A-334624CE60A3}"/>
              </a:ext>
            </a:extLst>
          </p:cNvPr>
          <p:cNvSpPr>
            <a:spLocks/>
          </p:cNvSpPr>
          <p:nvPr/>
        </p:nvSpPr>
        <p:spPr>
          <a:xfrm>
            <a:off x="3306903" y="6383496"/>
            <a:ext cx="77768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3%</a:t>
            </a:r>
          </a:p>
        </p:txBody>
      </p:sp>
      <p:sp>
        <p:nvSpPr>
          <p:cNvPr id="87" name="Flowchart: Connector 86">
            <a:extLst>
              <a:ext uri="{FF2B5EF4-FFF2-40B4-BE49-F238E27FC236}">
                <a16:creationId xmlns:a16="http://schemas.microsoft.com/office/drawing/2014/main" id="{F8DC08D9-68BD-4F7D-AED7-6B45001B6557}"/>
              </a:ext>
            </a:extLst>
          </p:cNvPr>
          <p:cNvSpPr>
            <a:spLocks/>
          </p:cNvSpPr>
          <p:nvPr/>
        </p:nvSpPr>
        <p:spPr>
          <a:xfrm>
            <a:off x="2542062" y="1947515"/>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sp>
        <p:nvSpPr>
          <p:cNvPr id="88" name="Rectangle 87">
            <a:extLst>
              <a:ext uri="{FF2B5EF4-FFF2-40B4-BE49-F238E27FC236}">
                <a16:creationId xmlns:a16="http://schemas.microsoft.com/office/drawing/2014/main" id="{7E1644F1-6636-4D4E-825A-44462D8A9C6C}"/>
              </a:ext>
            </a:extLst>
          </p:cNvPr>
          <p:cNvSpPr>
            <a:spLocks/>
          </p:cNvSpPr>
          <p:nvPr/>
        </p:nvSpPr>
        <p:spPr>
          <a:xfrm>
            <a:off x="762402" y="2291156"/>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grpSp>
        <p:nvGrpSpPr>
          <p:cNvPr id="89" name="Group 88">
            <a:extLst>
              <a:ext uri="{FF2B5EF4-FFF2-40B4-BE49-F238E27FC236}">
                <a16:creationId xmlns:a16="http://schemas.microsoft.com/office/drawing/2014/main" id="{B7510D20-0071-4A9B-BE74-4B13D51D08BE}"/>
              </a:ext>
            </a:extLst>
          </p:cNvPr>
          <p:cNvGrpSpPr>
            <a:grpSpLocks noChangeAspect="1"/>
          </p:cNvGrpSpPr>
          <p:nvPr/>
        </p:nvGrpSpPr>
        <p:grpSpPr>
          <a:xfrm>
            <a:off x="2572434" y="1942082"/>
            <a:ext cx="976497" cy="976497"/>
            <a:chOff x="5867400" y="3200400"/>
            <a:chExt cx="457200" cy="457200"/>
          </a:xfrm>
        </p:grpSpPr>
        <p:sp>
          <p:nvSpPr>
            <p:cNvPr id="90" name="AutoShape 98">
              <a:extLst>
                <a:ext uri="{FF2B5EF4-FFF2-40B4-BE49-F238E27FC236}">
                  <a16:creationId xmlns:a16="http://schemas.microsoft.com/office/drawing/2014/main" id="{76FA5A4C-26E2-4B8C-8144-1222F4CDD26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A1D1FBE3-D182-4FCF-8222-C4280DF4F4E9}"/>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92" name="Rectangle 91">
            <a:extLst>
              <a:ext uri="{FF2B5EF4-FFF2-40B4-BE49-F238E27FC236}">
                <a16:creationId xmlns:a16="http://schemas.microsoft.com/office/drawing/2014/main" id="{805AC220-8204-4FD7-BC98-643DBCA1B091}"/>
              </a:ext>
            </a:extLst>
          </p:cNvPr>
          <p:cNvSpPr>
            <a:spLocks/>
          </p:cNvSpPr>
          <p:nvPr/>
        </p:nvSpPr>
        <p:spPr>
          <a:xfrm>
            <a:off x="2550849" y="2161847"/>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75%</a:t>
            </a:r>
            <a:endParaRPr lang="en-US" sz="3200" kern="0" dirty="0">
              <a:solidFill>
                <a:srgbClr val="295E7E"/>
              </a:solidFill>
            </a:endParaRPr>
          </a:p>
        </p:txBody>
      </p:sp>
      <p:sp>
        <p:nvSpPr>
          <p:cNvPr id="93" name="Rectangle 92">
            <a:extLst>
              <a:ext uri="{FF2B5EF4-FFF2-40B4-BE49-F238E27FC236}">
                <a16:creationId xmlns:a16="http://schemas.microsoft.com/office/drawing/2014/main" id="{A54EA8AE-795D-4E34-8870-3CD836635A0E}"/>
              </a:ext>
            </a:extLst>
          </p:cNvPr>
          <p:cNvSpPr/>
          <p:nvPr/>
        </p:nvSpPr>
        <p:spPr>
          <a:xfrm>
            <a:off x="2482631" y="4528931"/>
            <a:ext cx="1230028" cy="3906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94" name="Rectangle 93">
            <a:extLst>
              <a:ext uri="{FF2B5EF4-FFF2-40B4-BE49-F238E27FC236}">
                <a16:creationId xmlns:a16="http://schemas.microsoft.com/office/drawing/2014/main" id="{3C2B764B-0A79-490B-BDD4-8898A928C3D7}"/>
              </a:ext>
            </a:extLst>
          </p:cNvPr>
          <p:cNvSpPr>
            <a:spLocks noChangeAspect="1"/>
          </p:cNvSpPr>
          <p:nvPr/>
        </p:nvSpPr>
        <p:spPr>
          <a:xfrm>
            <a:off x="2499405" y="3320490"/>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kumimoji="0" lang="en-US" sz="4000" b="1" i="0" u="none" strike="noStrike" kern="0" cap="none" spc="0" normalizeH="0" baseline="0" noProof="0" dirty="0">
                <a:ln>
                  <a:noFill/>
                </a:ln>
                <a:solidFill>
                  <a:srgbClr val="295E7E"/>
                </a:solidFill>
                <a:effectLst/>
                <a:uLnTx/>
                <a:uFillTx/>
              </a:rPr>
              <a:t>74%</a:t>
            </a:r>
            <a:endParaRPr lang="en-US" sz="1200" kern="0" dirty="0">
              <a:solidFill>
                <a:srgbClr val="295E7E"/>
              </a:solidFill>
            </a:endParaRPr>
          </a:p>
        </p:txBody>
      </p:sp>
      <p:sp>
        <p:nvSpPr>
          <p:cNvPr id="95" name="Rectangle 94">
            <a:extLst>
              <a:ext uri="{FF2B5EF4-FFF2-40B4-BE49-F238E27FC236}">
                <a16:creationId xmlns:a16="http://schemas.microsoft.com/office/drawing/2014/main" id="{A7D4C7D0-C38B-49C8-BBF9-DE8EF9853FF2}"/>
              </a:ext>
            </a:extLst>
          </p:cNvPr>
          <p:cNvSpPr/>
          <p:nvPr/>
        </p:nvSpPr>
        <p:spPr>
          <a:xfrm>
            <a:off x="839753" y="3617903"/>
            <a:ext cx="1234944" cy="79084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Annual Average</a:t>
            </a:r>
          </a:p>
        </p:txBody>
      </p:sp>
      <p:sp>
        <p:nvSpPr>
          <p:cNvPr id="96" name="Rectangle 95">
            <a:extLst>
              <a:ext uri="{FF2B5EF4-FFF2-40B4-BE49-F238E27FC236}">
                <a16:creationId xmlns:a16="http://schemas.microsoft.com/office/drawing/2014/main" id="{9E74BE38-5D5F-4B74-8775-8CC706EA0F15}"/>
              </a:ext>
            </a:extLst>
          </p:cNvPr>
          <p:cNvSpPr/>
          <p:nvPr/>
        </p:nvSpPr>
        <p:spPr>
          <a:xfrm>
            <a:off x="718369" y="4382933"/>
            <a:ext cx="1379392"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E71C57"/>
                </a:solidFill>
                <a:latin typeface="Wingdings 3" panose="05040102010807070707" pitchFamily="18" charset="2"/>
              </a:rPr>
              <a:t>q </a:t>
            </a:r>
            <a:r>
              <a:rPr lang="en-US" dirty="0">
                <a:solidFill>
                  <a:srgbClr val="575757"/>
                </a:solidFill>
              </a:rPr>
              <a:t>1% target</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cxnSp>
        <p:nvCxnSpPr>
          <p:cNvPr id="8" name="Straight Connector 7">
            <a:extLst>
              <a:ext uri="{FF2B5EF4-FFF2-40B4-BE49-F238E27FC236}">
                <a16:creationId xmlns:a16="http://schemas.microsoft.com/office/drawing/2014/main" id="{6706D919-D519-4037-BCDB-2462A6C576F9}"/>
              </a:ext>
            </a:extLst>
          </p:cNvPr>
          <p:cNvCxnSpPr>
            <a:cxnSpLocks/>
          </p:cNvCxnSpPr>
          <p:nvPr/>
        </p:nvCxnSpPr>
        <p:spPr>
          <a:xfrm>
            <a:off x="666944" y="3083420"/>
            <a:ext cx="10896406"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9" name="Flowchart: Connector 118">
            <a:extLst>
              <a:ext uri="{FF2B5EF4-FFF2-40B4-BE49-F238E27FC236}">
                <a16:creationId xmlns:a16="http://schemas.microsoft.com/office/drawing/2014/main" id="{00656176-58BA-49A7-9E32-F19369E5E98F}"/>
              </a:ext>
            </a:extLst>
          </p:cNvPr>
          <p:cNvSpPr>
            <a:spLocks/>
          </p:cNvSpPr>
          <p:nvPr/>
        </p:nvSpPr>
        <p:spPr>
          <a:xfrm>
            <a:off x="6323039" y="1952777"/>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grpSp>
        <p:nvGrpSpPr>
          <p:cNvPr id="120" name="Group 119">
            <a:extLst>
              <a:ext uri="{FF2B5EF4-FFF2-40B4-BE49-F238E27FC236}">
                <a16:creationId xmlns:a16="http://schemas.microsoft.com/office/drawing/2014/main" id="{B78C8033-FDF7-43ED-90CC-922A3B14E9E3}"/>
              </a:ext>
            </a:extLst>
          </p:cNvPr>
          <p:cNvGrpSpPr>
            <a:grpSpLocks noChangeAspect="1"/>
          </p:cNvGrpSpPr>
          <p:nvPr/>
        </p:nvGrpSpPr>
        <p:grpSpPr>
          <a:xfrm>
            <a:off x="6353411" y="1947344"/>
            <a:ext cx="976497" cy="976497"/>
            <a:chOff x="5867400" y="3200400"/>
            <a:chExt cx="457200" cy="457200"/>
          </a:xfrm>
        </p:grpSpPr>
        <p:sp>
          <p:nvSpPr>
            <p:cNvPr id="121" name="AutoShape 98">
              <a:extLst>
                <a:ext uri="{FF2B5EF4-FFF2-40B4-BE49-F238E27FC236}">
                  <a16:creationId xmlns:a16="http://schemas.microsoft.com/office/drawing/2014/main" id="{15D7C86D-D6AB-4B48-BB5E-3E53F010D5F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7">
              <a:extLst>
                <a:ext uri="{FF2B5EF4-FFF2-40B4-BE49-F238E27FC236}">
                  <a16:creationId xmlns:a16="http://schemas.microsoft.com/office/drawing/2014/main" id="{6A8136F7-04AE-48EC-A6AB-768FFAE7AE30}"/>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123" name="Rectangle 122">
            <a:extLst>
              <a:ext uri="{FF2B5EF4-FFF2-40B4-BE49-F238E27FC236}">
                <a16:creationId xmlns:a16="http://schemas.microsoft.com/office/drawing/2014/main" id="{893AACEB-0F73-46BE-AC0D-9A24CFDB9879}"/>
              </a:ext>
            </a:extLst>
          </p:cNvPr>
          <p:cNvSpPr>
            <a:spLocks/>
          </p:cNvSpPr>
          <p:nvPr/>
        </p:nvSpPr>
        <p:spPr>
          <a:xfrm>
            <a:off x="5353352" y="6091320"/>
            <a:ext cx="800482"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24" name="Rectangle 123">
            <a:extLst>
              <a:ext uri="{FF2B5EF4-FFF2-40B4-BE49-F238E27FC236}">
                <a16:creationId xmlns:a16="http://schemas.microsoft.com/office/drawing/2014/main" id="{FE67E99E-1FD1-4805-949D-7CEE28AB2E2A}"/>
              </a:ext>
            </a:extLst>
          </p:cNvPr>
          <p:cNvSpPr>
            <a:spLocks noChangeAspect="1"/>
          </p:cNvSpPr>
          <p:nvPr/>
        </p:nvSpPr>
        <p:spPr>
          <a:xfrm>
            <a:off x="5359544"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lang="en-US" sz="2560" b="1" kern="0" dirty="0">
                <a:solidFill>
                  <a:srgbClr val="295E7E"/>
                </a:solidFill>
              </a:rPr>
              <a:t>81</a:t>
            </a:r>
            <a:r>
              <a:rPr kumimoji="0" lang="en-US" sz="2560" b="1" i="0" u="none" strike="noStrike" kern="0" cap="none" spc="0" normalizeH="0" baseline="0" noProof="0" dirty="0">
                <a:ln>
                  <a:noFill/>
                </a:ln>
                <a:solidFill>
                  <a:srgbClr val="295E7E"/>
                </a:solidFill>
                <a:effectLst/>
                <a:uLnTx/>
                <a:uFillTx/>
              </a:rPr>
              <a:t>%</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126" name="Rectangle 125">
            <a:extLst>
              <a:ext uri="{FF2B5EF4-FFF2-40B4-BE49-F238E27FC236}">
                <a16:creationId xmlns:a16="http://schemas.microsoft.com/office/drawing/2014/main" id="{31FAA47C-EF85-433D-ADC9-3CEA6CECD24B}"/>
              </a:ext>
            </a:extLst>
          </p:cNvPr>
          <p:cNvSpPr>
            <a:spLocks noChangeAspect="1"/>
          </p:cNvSpPr>
          <p:nvPr/>
        </p:nvSpPr>
        <p:spPr>
          <a:xfrm>
            <a:off x="454593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127" name="Rectangle 126">
            <a:extLst>
              <a:ext uri="{FF2B5EF4-FFF2-40B4-BE49-F238E27FC236}">
                <a16:creationId xmlns:a16="http://schemas.microsoft.com/office/drawing/2014/main" id="{8B0D5C68-5D82-490F-9329-039D7A58E110}"/>
              </a:ext>
            </a:extLst>
          </p:cNvPr>
          <p:cNvSpPr>
            <a:spLocks noChangeAspect="1"/>
          </p:cNvSpPr>
          <p:nvPr/>
        </p:nvSpPr>
        <p:spPr>
          <a:xfrm>
            <a:off x="6178322"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128" name="Rectangle 127">
            <a:extLst>
              <a:ext uri="{FF2B5EF4-FFF2-40B4-BE49-F238E27FC236}">
                <a16:creationId xmlns:a16="http://schemas.microsoft.com/office/drawing/2014/main" id="{9F6FCD50-82FA-4E1D-836C-52783641156B}"/>
              </a:ext>
            </a:extLst>
          </p:cNvPr>
          <p:cNvSpPr>
            <a:spLocks noChangeAspect="1"/>
          </p:cNvSpPr>
          <p:nvPr/>
        </p:nvSpPr>
        <p:spPr>
          <a:xfrm>
            <a:off x="700336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9%</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129" name="Rectangle 128">
            <a:extLst>
              <a:ext uri="{FF2B5EF4-FFF2-40B4-BE49-F238E27FC236}">
                <a16:creationId xmlns:a16="http://schemas.microsoft.com/office/drawing/2014/main" id="{B0EAFEA6-9AC9-4A0F-A6BE-CB1F5AE5233D}"/>
              </a:ext>
            </a:extLst>
          </p:cNvPr>
          <p:cNvSpPr>
            <a:spLocks/>
          </p:cNvSpPr>
          <p:nvPr/>
        </p:nvSpPr>
        <p:spPr>
          <a:xfrm>
            <a:off x="4536852" y="6395076"/>
            <a:ext cx="777691"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3%</a:t>
            </a:r>
          </a:p>
        </p:txBody>
      </p:sp>
      <p:sp>
        <p:nvSpPr>
          <p:cNvPr id="130" name="Rectangle 129">
            <a:extLst>
              <a:ext uri="{FF2B5EF4-FFF2-40B4-BE49-F238E27FC236}">
                <a16:creationId xmlns:a16="http://schemas.microsoft.com/office/drawing/2014/main" id="{B5845815-73BA-43B7-B106-60727C439D59}"/>
              </a:ext>
            </a:extLst>
          </p:cNvPr>
          <p:cNvSpPr>
            <a:spLocks/>
          </p:cNvSpPr>
          <p:nvPr/>
        </p:nvSpPr>
        <p:spPr>
          <a:xfrm>
            <a:off x="5323775"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4%</a:t>
            </a:r>
          </a:p>
        </p:txBody>
      </p:sp>
      <p:sp>
        <p:nvSpPr>
          <p:cNvPr id="131" name="Rectangle 130">
            <a:extLst>
              <a:ext uri="{FF2B5EF4-FFF2-40B4-BE49-F238E27FC236}">
                <a16:creationId xmlns:a16="http://schemas.microsoft.com/office/drawing/2014/main" id="{5F00E80E-A3E1-4019-879D-02B6E2C61EFF}"/>
              </a:ext>
            </a:extLst>
          </p:cNvPr>
          <p:cNvSpPr>
            <a:spLocks/>
          </p:cNvSpPr>
          <p:nvPr/>
        </p:nvSpPr>
        <p:spPr>
          <a:xfrm>
            <a:off x="6177971" y="6099055"/>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32" name="Rectangle 131">
            <a:extLst>
              <a:ext uri="{FF2B5EF4-FFF2-40B4-BE49-F238E27FC236}">
                <a16:creationId xmlns:a16="http://schemas.microsoft.com/office/drawing/2014/main" id="{35A3AD6C-E3D5-48C1-9BFA-84911A66A847}"/>
              </a:ext>
            </a:extLst>
          </p:cNvPr>
          <p:cNvSpPr>
            <a:spLocks/>
          </p:cNvSpPr>
          <p:nvPr/>
        </p:nvSpPr>
        <p:spPr>
          <a:xfrm>
            <a:off x="6137340"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7%</a:t>
            </a:r>
          </a:p>
        </p:txBody>
      </p:sp>
      <p:sp>
        <p:nvSpPr>
          <p:cNvPr id="133" name="Rectangle 132">
            <a:extLst>
              <a:ext uri="{FF2B5EF4-FFF2-40B4-BE49-F238E27FC236}">
                <a16:creationId xmlns:a16="http://schemas.microsoft.com/office/drawing/2014/main" id="{E015D624-587E-4FEB-99F4-834CBFE2CA9A}"/>
              </a:ext>
            </a:extLst>
          </p:cNvPr>
          <p:cNvSpPr>
            <a:spLocks/>
          </p:cNvSpPr>
          <p:nvPr/>
        </p:nvSpPr>
        <p:spPr>
          <a:xfrm>
            <a:off x="6995520" y="6091319"/>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34" name="Rectangle 133">
            <a:extLst>
              <a:ext uri="{FF2B5EF4-FFF2-40B4-BE49-F238E27FC236}">
                <a16:creationId xmlns:a16="http://schemas.microsoft.com/office/drawing/2014/main" id="{E4288FD3-BD0B-42B0-9AC0-6252E685967B}"/>
              </a:ext>
            </a:extLst>
          </p:cNvPr>
          <p:cNvSpPr>
            <a:spLocks/>
          </p:cNvSpPr>
          <p:nvPr/>
        </p:nvSpPr>
        <p:spPr>
          <a:xfrm>
            <a:off x="6960136"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2%</a:t>
            </a:r>
          </a:p>
        </p:txBody>
      </p:sp>
      <p:sp>
        <p:nvSpPr>
          <p:cNvPr id="135" name="Rectangle 134">
            <a:extLst>
              <a:ext uri="{FF2B5EF4-FFF2-40B4-BE49-F238E27FC236}">
                <a16:creationId xmlns:a16="http://schemas.microsoft.com/office/drawing/2014/main" id="{9544E588-6E11-430C-B288-57A089F91ACF}"/>
              </a:ext>
            </a:extLst>
          </p:cNvPr>
          <p:cNvSpPr>
            <a:spLocks/>
          </p:cNvSpPr>
          <p:nvPr/>
        </p:nvSpPr>
        <p:spPr>
          <a:xfrm>
            <a:off x="4787554" y="2282613"/>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sp>
        <p:nvSpPr>
          <p:cNvPr id="136" name="Rectangle 135">
            <a:extLst>
              <a:ext uri="{FF2B5EF4-FFF2-40B4-BE49-F238E27FC236}">
                <a16:creationId xmlns:a16="http://schemas.microsoft.com/office/drawing/2014/main" id="{B09CEE87-9977-4EC5-B110-203B552EE43B}"/>
              </a:ext>
            </a:extLst>
          </p:cNvPr>
          <p:cNvSpPr>
            <a:spLocks/>
          </p:cNvSpPr>
          <p:nvPr/>
        </p:nvSpPr>
        <p:spPr>
          <a:xfrm>
            <a:off x="6345256" y="2167110"/>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77%</a:t>
            </a:r>
            <a:endParaRPr lang="en-US" sz="3200" kern="0" dirty="0">
              <a:solidFill>
                <a:srgbClr val="295E7E"/>
              </a:solidFill>
            </a:endParaRPr>
          </a:p>
        </p:txBody>
      </p:sp>
      <p:sp>
        <p:nvSpPr>
          <p:cNvPr id="137" name="Rectangle 136">
            <a:extLst>
              <a:ext uri="{FF2B5EF4-FFF2-40B4-BE49-F238E27FC236}">
                <a16:creationId xmlns:a16="http://schemas.microsoft.com/office/drawing/2014/main" id="{7D16CCEF-3A39-4482-A542-F1E16EEE2FF5}"/>
              </a:ext>
            </a:extLst>
          </p:cNvPr>
          <p:cNvSpPr/>
          <p:nvPr/>
        </p:nvSpPr>
        <p:spPr>
          <a:xfrm>
            <a:off x="6207652" y="4528977"/>
            <a:ext cx="1227732" cy="390658"/>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138" name="Rectangle 137">
            <a:extLst>
              <a:ext uri="{FF2B5EF4-FFF2-40B4-BE49-F238E27FC236}">
                <a16:creationId xmlns:a16="http://schemas.microsoft.com/office/drawing/2014/main" id="{4BDBBF18-2BBE-43E6-AAF7-71FA88BBFB19}"/>
              </a:ext>
            </a:extLst>
          </p:cNvPr>
          <p:cNvSpPr>
            <a:spLocks noChangeAspect="1"/>
          </p:cNvSpPr>
          <p:nvPr/>
        </p:nvSpPr>
        <p:spPr>
          <a:xfrm>
            <a:off x="6207652" y="3320490"/>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lang="en-US" sz="4000" b="1" kern="0" dirty="0">
                <a:solidFill>
                  <a:srgbClr val="295E7E"/>
                </a:solidFill>
              </a:rPr>
              <a:t>83</a:t>
            </a:r>
            <a:r>
              <a:rPr kumimoji="0" lang="en-US" sz="4000" b="1" i="0" u="none" strike="noStrike" kern="0" cap="none" spc="0" normalizeH="0" baseline="0" noProof="0" dirty="0">
                <a:ln>
                  <a:noFill/>
                </a:ln>
                <a:solidFill>
                  <a:srgbClr val="295E7E"/>
                </a:solidFill>
                <a:effectLst/>
                <a:uLnTx/>
                <a:uFillTx/>
              </a:rPr>
              <a:t>%</a:t>
            </a:r>
            <a:endParaRPr lang="en-US" sz="1200" kern="0" dirty="0">
              <a:solidFill>
                <a:srgbClr val="295E7E"/>
              </a:solidFill>
            </a:endParaRPr>
          </a:p>
        </p:txBody>
      </p:sp>
      <p:sp>
        <p:nvSpPr>
          <p:cNvPr id="139" name="Rectangle 138">
            <a:extLst>
              <a:ext uri="{FF2B5EF4-FFF2-40B4-BE49-F238E27FC236}">
                <a16:creationId xmlns:a16="http://schemas.microsoft.com/office/drawing/2014/main" id="{F79B8610-7769-400D-A0DB-9544417CA1B7}"/>
              </a:ext>
            </a:extLst>
          </p:cNvPr>
          <p:cNvSpPr/>
          <p:nvPr/>
        </p:nvSpPr>
        <p:spPr>
          <a:xfrm>
            <a:off x="4617849" y="3531055"/>
            <a:ext cx="1234944"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Annual Average</a:t>
            </a:r>
          </a:p>
        </p:txBody>
      </p:sp>
      <p:sp>
        <p:nvSpPr>
          <p:cNvPr id="140" name="Rectangle 139">
            <a:extLst>
              <a:ext uri="{FF2B5EF4-FFF2-40B4-BE49-F238E27FC236}">
                <a16:creationId xmlns:a16="http://schemas.microsoft.com/office/drawing/2014/main" id="{EB9BFEA6-C53A-4779-A671-C94FDC8953E4}"/>
              </a:ext>
            </a:extLst>
          </p:cNvPr>
          <p:cNvSpPr/>
          <p:nvPr/>
        </p:nvSpPr>
        <p:spPr>
          <a:xfrm>
            <a:off x="4428192" y="4394513"/>
            <a:ext cx="1499441"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29BA74"/>
                </a:solidFill>
                <a:latin typeface="Wingdings 3" panose="05040102010807070707" pitchFamily="18" charset="2"/>
              </a:rPr>
              <a:t>p</a:t>
            </a:r>
            <a:r>
              <a:rPr lang="en-US" dirty="0">
                <a:solidFill>
                  <a:srgbClr val="E71C57"/>
                </a:solidFill>
                <a:latin typeface="Wingdings 3" panose="05040102010807070707" pitchFamily="18" charset="2"/>
              </a:rPr>
              <a:t> </a:t>
            </a:r>
            <a:r>
              <a:rPr lang="en-US" dirty="0">
                <a:solidFill>
                  <a:srgbClr val="575757"/>
                </a:solidFill>
              </a:rPr>
              <a:t>6% target</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cxnSp>
        <p:nvCxnSpPr>
          <p:cNvPr id="141" name="Straight Connector 140">
            <a:extLst>
              <a:ext uri="{FF2B5EF4-FFF2-40B4-BE49-F238E27FC236}">
                <a16:creationId xmlns:a16="http://schemas.microsoft.com/office/drawing/2014/main" id="{9AF0E0C8-F590-40A1-965F-F0C4953D1FB6}"/>
              </a:ext>
            </a:extLst>
          </p:cNvPr>
          <p:cNvCxnSpPr>
            <a:cxnSpLocks/>
          </p:cNvCxnSpPr>
          <p:nvPr/>
        </p:nvCxnSpPr>
        <p:spPr>
          <a:xfrm>
            <a:off x="4308661" y="1783924"/>
            <a:ext cx="0" cy="4907479"/>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6" name="ee4pHeader2">
            <a:extLst>
              <a:ext uri="{FF2B5EF4-FFF2-40B4-BE49-F238E27FC236}">
                <a16:creationId xmlns:a16="http://schemas.microsoft.com/office/drawing/2014/main" id="{6FB6F580-6946-4468-8C7C-08D0A57EB208}"/>
              </a:ext>
            </a:extLst>
          </p:cNvPr>
          <p:cNvSpPr>
            <a:spLocks noChangeArrowheads="1"/>
          </p:cNvSpPr>
          <p:nvPr>
            <p:custDataLst>
              <p:tags r:id="rId6"/>
            </p:custDataLst>
          </p:nvPr>
        </p:nvSpPr>
        <p:spPr bwMode="gray">
          <a:xfrm>
            <a:off x="8007200" y="1388165"/>
            <a:ext cx="3667116" cy="390921"/>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21</a:t>
            </a:r>
          </a:p>
        </p:txBody>
      </p:sp>
      <p:cxnSp>
        <p:nvCxnSpPr>
          <p:cNvPr id="60" name="Straight Connector 59">
            <a:extLst>
              <a:ext uri="{FF2B5EF4-FFF2-40B4-BE49-F238E27FC236}">
                <a16:creationId xmlns:a16="http://schemas.microsoft.com/office/drawing/2014/main" id="{8DA1244E-E647-46E3-BE82-25D4226A602D}"/>
              </a:ext>
            </a:extLst>
          </p:cNvPr>
          <p:cNvCxnSpPr>
            <a:cxnSpLocks/>
          </p:cNvCxnSpPr>
          <p:nvPr/>
        </p:nvCxnSpPr>
        <p:spPr>
          <a:xfrm>
            <a:off x="7975777" y="1779086"/>
            <a:ext cx="0" cy="4907479"/>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63" name="Flowchart: Connector 62">
            <a:extLst>
              <a:ext uri="{FF2B5EF4-FFF2-40B4-BE49-F238E27FC236}">
                <a16:creationId xmlns:a16="http://schemas.microsoft.com/office/drawing/2014/main" id="{0C079EDA-576F-4BDC-AB05-E297B26FE515}"/>
              </a:ext>
            </a:extLst>
          </p:cNvPr>
          <p:cNvSpPr>
            <a:spLocks/>
          </p:cNvSpPr>
          <p:nvPr/>
        </p:nvSpPr>
        <p:spPr>
          <a:xfrm>
            <a:off x="10089320" y="1956171"/>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grpSp>
        <p:nvGrpSpPr>
          <p:cNvPr id="64" name="Group 63">
            <a:extLst>
              <a:ext uri="{FF2B5EF4-FFF2-40B4-BE49-F238E27FC236}">
                <a16:creationId xmlns:a16="http://schemas.microsoft.com/office/drawing/2014/main" id="{5B880953-CF19-416F-A5CA-EEC7982EFE8D}"/>
              </a:ext>
            </a:extLst>
          </p:cNvPr>
          <p:cNvGrpSpPr>
            <a:grpSpLocks noChangeAspect="1"/>
          </p:cNvGrpSpPr>
          <p:nvPr/>
        </p:nvGrpSpPr>
        <p:grpSpPr>
          <a:xfrm>
            <a:off x="10119692" y="1950738"/>
            <a:ext cx="976497" cy="976497"/>
            <a:chOff x="5867400" y="3200400"/>
            <a:chExt cx="457200" cy="457200"/>
          </a:xfrm>
        </p:grpSpPr>
        <p:sp>
          <p:nvSpPr>
            <p:cNvPr id="65" name="AutoShape 98">
              <a:extLst>
                <a:ext uri="{FF2B5EF4-FFF2-40B4-BE49-F238E27FC236}">
                  <a16:creationId xmlns:a16="http://schemas.microsoft.com/office/drawing/2014/main" id="{10C62BFF-FF0B-4367-81FE-84EAEE3DB78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7">
              <a:extLst>
                <a:ext uri="{FF2B5EF4-FFF2-40B4-BE49-F238E27FC236}">
                  <a16:creationId xmlns:a16="http://schemas.microsoft.com/office/drawing/2014/main" id="{51353C82-EB67-4EA7-ACB7-E6201A9F16A6}"/>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67" name="Rectangle 66">
            <a:extLst>
              <a:ext uri="{FF2B5EF4-FFF2-40B4-BE49-F238E27FC236}">
                <a16:creationId xmlns:a16="http://schemas.microsoft.com/office/drawing/2014/main" id="{14CFD350-7C3C-4058-A85B-11B719DE0BEC}"/>
              </a:ext>
            </a:extLst>
          </p:cNvPr>
          <p:cNvSpPr>
            <a:spLocks/>
          </p:cNvSpPr>
          <p:nvPr/>
        </p:nvSpPr>
        <p:spPr>
          <a:xfrm>
            <a:off x="10111537" y="2170504"/>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83%</a:t>
            </a:r>
            <a:endParaRPr lang="en-US" sz="3200" kern="0" dirty="0">
              <a:solidFill>
                <a:srgbClr val="295E7E"/>
              </a:solidFill>
            </a:endParaRPr>
          </a:p>
        </p:txBody>
      </p:sp>
      <p:sp>
        <p:nvSpPr>
          <p:cNvPr id="68" name="Rectangle 67">
            <a:extLst>
              <a:ext uri="{FF2B5EF4-FFF2-40B4-BE49-F238E27FC236}">
                <a16:creationId xmlns:a16="http://schemas.microsoft.com/office/drawing/2014/main" id="{711D60F7-A315-4D3D-8E37-75962E78F882}"/>
              </a:ext>
            </a:extLst>
          </p:cNvPr>
          <p:cNvSpPr>
            <a:spLocks/>
          </p:cNvSpPr>
          <p:nvPr/>
        </p:nvSpPr>
        <p:spPr>
          <a:xfrm>
            <a:off x="8408737" y="2258726"/>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sp>
        <p:nvSpPr>
          <p:cNvPr id="69" name="Rectangle 68">
            <a:extLst>
              <a:ext uri="{FF2B5EF4-FFF2-40B4-BE49-F238E27FC236}">
                <a16:creationId xmlns:a16="http://schemas.microsoft.com/office/drawing/2014/main" id="{5BF40261-E169-491E-9E61-6E858DE7D68E}"/>
              </a:ext>
            </a:extLst>
          </p:cNvPr>
          <p:cNvSpPr/>
          <p:nvPr/>
        </p:nvSpPr>
        <p:spPr>
          <a:xfrm>
            <a:off x="9993469" y="4537045"/>
            <a:ext cx="1227732" cy="390658"/>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70" name="Rectangle 69">
            <a:extLst>
              <a:ext uri="{FF2B5EF4-FFF2-40B4-BE49-F238E27FC236}">
                <a16:creationId xmlns:a16="http://schemas.microsoft.com/office/drawing/2014/main" id="{3818A682-E793-4C81-9ACD-40F01C9556D7}"/>
              </a:ext>
            </a:extLst>
          </p:cNvPr>
          <p:cNvSpPr>
            <a:spLocks noChangeAspect="1"/>
          </p:cNvSpPr>
          <p:nvPr/>
        </p:nvSpPr>
        <p:spPr>
          <a:xfrm>
            <a:off x="9993469" y="3328558"/>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lang="en-US" sz="4000" b="1" kern="0" dirty="0">
                <a:solidFill>
                  <a:srgbClr val="295E7E"/>
                </a:solidFill>
              </a:rPr>
              <a:t>85</a:t>
            </a:r>
            <a:r>
              <a:rPr kumimoji="0" lang="en-US" sz="4000" b="1" i="0" u="none" strike="noStrike" kern="0" cap="none" spc="0" normalizeH="0" baseline="0" noProof="0" dirty="0">
                <a:ln>
                  <a:noFill/>
                </a:ln>
                <a:solidFill>
                  <a:srgbClr val="295E7E"/>
                </a:solidFill>
                <a:effectLst/>
                <a:uLnTx/>
                <a:uFillTx/>
              </a:rPr>
              <a:t>%</a:t>
            </a:r>
            <a:endParaRPr lang="en-US" sz="1200" kern="0" dirty="0">
              <a:solidFill>
                <a:srgbClr val="295E7E"/>
              </a:solidFill>
            </a:endParaRPr>
          </a:p>
        </p:txBody>
      </p:sp>
      <p:sp>
        <p:nvSpPr>
          <p:cNvPr id="71" name="Rectangle 70">
            <a:extLst>
              <a:ext uri="{FF2B5EF4-FFF2-40B4-BE49-F238E27FC236}">
                <a16:creationId xmlns:a16="http://schemas.microsoft.com/office/drawing/2014/main" id="{B7E3F857-188F-4B85-820A-1427DB65C886}"/>
              </a:ext>
            </a:extLst>
          </p:cNvPr>
          <p:cNvSpPr/>
          <p:nvPr/>
        </p:nvSpPr>
        <p:spPr>
          <a:xfrm>
            <a:off x="8214009" y="3539123"/>
            <a:ext cx="1591139"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Year-to-Date Average</a:t>
            </a:r>
          </a:p>
        </p:txBody>
      </p:sp>
      <p:sp>
        <p:nvSpPr>
          <p:cNvPr id="72" name="Rectangle 71">
            <a:extLst>
              <a:ext uri="{FF2B5EF4-FFF2-40B4-BE49-F238E27FC236}">
                <a16:creationId xmlns:a16="http://schemas.microsoft.com/office/drawing/2014/main" id="{77003FF3-80CA-42D4-883D-C055F20A006E}"/>
              </a:ext>
            </a:extLst>
          </p:cNvPr>
          <p:cNvSpPr/>
          <p:nvPr/>
        </p:nvSpPr>
        <p:spPr>
          <a:xfrm>
            <a:off x="8214009" y="4402581"/>
            <a:ext cx="1499441"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29BA74"/>
                </a:solidFill>
                <a:latin typeface="Wingdings 3" panose="05040102010807070707" pitchFamily="18" charset="2"/>
              </a:rPr>
              <a:t>p</a:t>
            </a:r>
            <a:r>
              <a:rPr lang="en-US" dirty="0">
                <a:solidFill>
                  <a:srgbClr val="E71C57"/>
                </a:solidFill>
                <a:latin typeface="Wingdings 3" panose="05040102010807070707" pitchFamily="18" charset="2"/>
              </a:rPr>
              <a:t> </a:t>
            </a:r>
            <a:r>
              <a:rPr lang="en-US" dirty="0">
                <a:solidFill>
                  <a:srgbClr val="575757"/>
                </a:solidFill>
                <a:latin typeface="+mj-lt"/>
              </a:rPr>
              <a:t>2</a:t>
            </a:r>
            <a:r>
              <a:rPr lang="en-US" dirty="0">
                <a:solidFill>
                  <a:srgbClr val="575757"/>
                </a:solidFill>
              </a:rPr>
              <a:t>% target</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sp>
        <p:nvSpPr>
          <p:cNvPr id="74" name="Rectangle 73">
            <a:extLst>
              <a:ext uri="{FF2B5EF4-FFF2-40B4-BE49-F238E27FC236}">
                <a16:creationId xmlns:a16="http://schemas.microsoft.com/office/drawing/2014/main" id="{3918B989-FD08-4660-ABBA-E13DC788C3DB}"/>
              </a:ext>
            </a:extLst>
          </p:cNvPr>
          <p:cNvSpPr>
            <a:spLocks/>
          </p:cNvSpPr>
          <p:nvPr/>
        </p:nvSpPr>
        <p:spPr>
          <a:xfrm>
            <a:off x="1671576" y="6086178"/>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97" name="Rectangle 96">
            <a:extLst>
              <a:ext uri="{FF2B5EF4-FFF2-40B4-BE49-F238E27FC236}">
                <a16:creationId xmlns:a16="http://schemas.microsoft.com/office/drawing/2014/main" id="{7A6FE685-F009-428F-9003-C44A8B5C0AC9}"/>
              </a:ext>
            </a:extLst>
          </p:cNvPr>
          <p:cNvSpPr>
            <a:spLocks/>
          </p:cNvSpPr>
          <p:nvPr/>
        </p:nvSpPr>
        <p:spPr>
          <a:xfrm>
            <a:off x="2489362" y="6086178"/>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98" name="Rectangle 97">
            <a:extLst>
              <a:ext uri="{FF2B5EF4-FFF2-40B4-BE49-F238E27FC236}">
                <a16:creationId xmlns:a16="http://schemas.microsoft.com/office/drawing/2014/main" id="{5F6DBE0F-F111-4EC2-890C-F27208C33852}"/>
              </a:ext>
            </a:extLst>
          </p:cNvPr>
          <p:cNvSpPr>
            <a:spLocks/>
          </p:cNvSpPr>
          <p:nvPr/>
        </p:nvSpPr>
        <p:spPr>
          <a:xfrm>
            <a:off x="3313833" y="6086516"/>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99" name="Rectangle 98">
            <a:extLst>
              <a:ext uri="{FF2B5EF4-FFF2-40B4-BE49-F238E27FC236}">
                <a16:creationId xmlns:a16="http://schemas.microsoft.com/office/drawing/2014/main" id="{5ADF5A0C-B0B9-4610-8373-FE43DC838655}"/>
              </a:ext>
            </a:extLst>
          </p:cNvPr>
          <p:cNvSpPr>
            <a:spLocks/>
          </p:cNvSpPr>
          <p:nvPr/>
        </p:nvSpPr>
        <p:spPr>
          <a:xfrm>
            <a:off x="4545259" y="6099056"/>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100" name="Rectangle 99">
            <a:extLst>
              <a:ext uri="{FF2B5EF4-FFF2-40B4-BE49-F238E27FC236}">
                <a16:creationId xmlns:a16="http://schemas.microsoft.com/office/drawing/2014/main" id="{C910F952-C247-4B10-B3CE-CCA3B292D2A8}"/>
              </a:ext>
            </a:extLst>
          </p:cNvPr>
          <p:cNvSpPr>
            <a:spLocks noChangeAspect="1"/>
          </p:cNvSpPr>
          <p:nvPr/>
        </p:nvSpPr>
        <p:spPr>
          <a:xfrm>
            <a:off x="8991625"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102" name="Rectangle 101">
            <a:extLst>
              <a:ext uri="{FF2B5EF4-FFF2-40B4-BE49-F238E27FC236}">
                <a16:creationId xmlns:a16="http://schemas.microsoft.com/office/drawing/2014/main" id="{86F9ADE5-8831-4F35-8CC8-5534BC1C7BE2}"/>
              </a:ext>
            </a:extLst>
          </p:cNvPr>
          <p:cNvSpPr>
            <a:spLocks noChangeAspect="1"/>
          </p:cNvSpPr>
          <p:nvPr/>
        </p:nvSpPr>
        <p:spPr>
          <a:xfrm>
            <a:off x="817801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8%</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103" name="Rectangle 102">
            <a:extLst>
              <a:ext uri="{FF2B5EF4-FFF2-40B4-BE49-F238E27FC236}">
                <a16:creationId xmlns:a16="http://schemas.microsoft.com/office/drawing/2014/main" id="{D6C439E6-2F4E-4AF9-9859-45BCBCE8B73C}"/>
              </a:ext>
            </a:extLst>
          </p:cNvPr>
          <p:cNvSpPr>
            <a:spLocks noChangeAspect="1"/>
          </p:cNvSpPr>
          <p:nvPr/>
        </p:nvSpPr>
        <p:spPr>
          <a:xfrm>
            <a:off x="9810403"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104" name="Rectangle 103">
            <a:extLst>
              <a:ext uri="{FF2B5EF4-FFF2-40B4-BE49-F238E27FC236}">
                <a16:creationId xmlns:a16="http://schemas.microsoft.com/office/drawing/2014/main" id="{61B704F1-2860-447C-AD1C-305449A6B755}"/>
              </a:ext>
            </a:extLst>
          </p:cNvPr>
          <p:cNvSpPr>
            <a:spLocks noChangeAspect="1"/>
          </p:cNvSpPr>
          <p:nvPr/>
        </p:nvSpPr>
        <p:spPr>
          <a:xfrm>
            <a:off x="10635450" y="5314161"/>
            <a:ext cx="774044" cy="772505"/>
          </a:xfrm>
          <a:prstGeom prst="rect">
            <a:avLst/>
          </a:prstGeom>
          <a:solidFill>
            <a:sysClr val="window" lastClr="FFFFFF"/>
          </a:solidFill>
          <a:ln w="12192" cap="rnd" cmpd="sng" algn="ctr">
            <a:solidFill>
              <a:schemeClr val="accent4"/>
            </a:solidFill>
            <a:prstDash val="soli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5%</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105" name="Rectangle 104">
            <a:extLst>
              <a:ext uri="{FF2B5EF4-FFF2-40B4-BE49-F238E27FC236}">
                <a16:creationId xmlns:a16="http://schemas.microsoft.com/office/drawing/2014/main" id="{90456FB9-1D42-4234-98C3-32117CBD1C48}"/>
              </a:ext>
            </a:extLst>
          </p:cNvPr>
          <p:cNvSpPr>
            <a:spLocks/>
          </p:cNvSpPr>
          <p:nvPr/>
        </p:nvSpPr>
        <p:spPr>
          <a:xfrm>
            <a:off x="8178019" y="639507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5%</a:t>
            </a:r>
          </a:p>
        </p:txBody>
      </p:sp>
      <p:sp>
        <p:nvSpPr>
          <p:cNvPr id="112" name="Rectangle 111">
            <a:extLst>
              <a:ext uri="{FF2B5EF4-FFF2-40B4-BE49-F238E27FC236}">
                <a16:creationId xmlns:a16="http://schemas.microsoft.com/office/drawing/2014/main" id="{EA3A75C5-2DB4-42C3-B82B-4365ADDD6878}"/>
              </a:ext>
            </a:extLst>
          </p:cNvPr>
          <p:cNvSpPr>
            <a:spLocks/>
          </p:cNvSpPr>
          <p:nvPr/>
        </p:nvSpPr>
        <p:spPr>
          <a:xfrm>
            <a:off x="8171994" y="6089407"/>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80" name="Rectangle 79">
            <a:extLst>
              <a:ext uri="{FF2B5EF4-FFF2-40B4-BE49-F238E27FC236}">
                <a16:creationId xmlns:a16="http://schemas.microsoft.com/office/drawing/2014/main" id="{BB4D1E5E-D906-4FB5-845B-802FA0F13979}"/>
              </a:ext>
            </a:extLst>
          </p:cNvPr>
          <p:cNvSpPr>
            <a:spLocks/>
          </p:cNvSpPr>
          <p:nvPr/>
        </p:nvSpPr>
        <p:spPr>
          <a:xfrm>
            <a:off x="8993595" y="6097758"/>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82" name="Rectangle 81">
            <a:extLst>
              <a:ext uri="{FF2B5EF4-FFF2-40B4-BE49-F238E27FC236}">
                <a16:creationId xmlns:a16="http://schemas.microsoft.com/office/drawing/2014/main" id="{E90A958F-C34C-4048-8ADA-E45E30D666B2}"/>
              </a:ext>
            </a:extLst>
          </p:cNvPr>
          <p:cNvSpPr>
            <a:spLocks/>
          </p:cNvSpPr>
          <p:nvPr/>
        </p:nvSpPr>
        <p:spPr>
          <a:xfrm>
            <a:off x="8951115" y="6403427"/>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a:t>
            </a:r>
          </a:p>
        </p:txBody>
      </p:sp>
      <p:sp>
        <p:nvSpPr>
          <p:cNvPr id="101" name="Rectangle 100">
            <a:extLst>
              <a:ext uri="{FF2B5EF4-FFF2-40B4-BE49-F238E27FC236}">
                <a16:creationId xmlns:a16="http://schemas.microsoft.com/office/drawing/2014/main" id="{D48178AE-4C46-45B8-BE9B-67788A6EEE8E}"/>
              </a:ext>
            </a:extLst>
          </p:cNvPr>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pSp>
        <p:nvGrpSpPr>
          <p:cNvPr id="106" name="Group 105">
            <a:extLst>
              <a:ext uri="{FF2B5EF4-FFF2-40B4-BE49-F238E27FC236}">
                <a16:creationId xmlns:a16="http://schemas.microsoft.com/office/drawing/2014/main" id="{20F8F9AB-2DD7-41E4-986F-526228332989}"/>
              </a:ext>
            </a:extLst>
          </p:cNvPr>
          <p:cNvGrpSpPr>
            <a:grpSpLocks noChangeAspect="1"/>
          </p:cNvGrpSpPr>
          <p:nvPr/>
        </p:nvGrpSpPr>
        <p:grpSpPr>
          <a:xfrm>
            <a:off x="599640" y="864696"/>
            <a:ext cx="457200" cy="457200"/>
            <a:chOff x="5867400" y="3200400"/>
            <a:chExt cx="457200" cy="457200"/>
          </a:xfrm>
        </p:grpSpPr>
        <p:sp>
          <p:nvSpPr>
            <p:cNvPr id="109" name="AutoShape 43">
              <a:extLst>
                <a:ext uri="{FF2B5EF4-FFF2-40B4-BE49-F238E27FC236}">
                  <a16:creationId xmlns:a16="http://schemas.microsoft.com/office/drawing/2014/main" id="{C2711B3A-F940-4399-8EF8-7991C552172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7">
              <a:extLst>
                <a:ext uri="{FF2B5EF4-FFF2-40B4-BE49-F238E27FC236}">
                  <a16:creationId xmlns:a16="http://schemas.microsoft.com/office/drawing/2014/main" id="{E9B27B5C-679B-4732-8A8C-5DAED5CFAE2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14" name="Rectangle 113">
            <a:extLst>
              <a:ext uri="{FF2B5EF4-FFF2-40B4-BE49-F238E27FC236}">
                <a16:creationId xmlns:a16="http://schemas.microsoft.com/office/drawing/2014/main" id="{7069445F-565C-4F30-AC87-6B65B275C977}"/>
              </a:ext>
            </a:extLst>
          </p:cNvPr>
          <p:cNvSpPr>
            <a:spLocks/>
          </p:cNvSpPr>
          <p:nvPr/>
        </p:nvSpPr>
        <p:spPr>
          <a:xfrm>
            <a:off x="9816971" y="6097758"/>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10" name="Rectangle 109">
            <a:extLst>
              <a:ext uri="{FF2B5EF4-FFF2-40B4-BE49-F238E27FC236}">
                <a16:creationId xmlns:a16="http://schemas.microsoft.com/office/drawing/2014/main" id="{A816610C-097C-4433-A025-AFD44DD99B93}"/>
              </a:ext>
            </a:extLst>
          </p:cNvPr>
          <p:cNvSpPr>
            <a:spLocks/>
          </p:cNvSpPr>
          <p:nvPr/>
        </p:nvSpPr>
        <p:spPr>
          <a:xfrm>
            <a:off x="9810877" y="637873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a:t>
            </a:r>
          </a:p>
        </p:txBody>
      </p:sp>
      <p:sp>
        <p:nvSpPr>
          <p:cNvPr id="107" name="Rectangle 106">
            <a:extLst>
              <a:ext uri="{FF2B5EF4-FFF2-40B4-BE49-F238E27FC236}">
                <a16:creationId xmlns:a16="http://schemas.microsoft.com/office/drawing/2014/main" id="{99953B68-DB88-4F55-8D05-63283ADF30CF}"/>
              </a:ext>
            </a:extLst>
          </p:cNvPr>
          <p:cNvSpPr>
            <a:spLocks/>
          </p:cNvSpPr>
          <p:nvPr/>
        </p:nvSpPr>
        <p:spPr>
          <a:xfrm>
            <a:off x="10636295" y="6110189"/>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15" name="Rectangle 114">
            <a:extLst>
              <a:ext uri="{FF2B5EF4-FFF2-40B4-BE49-F238E27FC236}">
                <a16:creationId xmlns:a16="http://schemas.microsoft.com/office/drawing/2014/main" id="{3ECFF686-5D86-4808-BDD2-62E7F9A4020A}"/>
              </a:ext>
            </a:extLst>
          </p:cNvPr>
          <p:cNvSpPr>
            <a:spLocks/>
          </p:cNvSpPr>
          <p:nvPr/>
        </p:nvSpPr>
        <p:spPr>
          <a:xfrm>
            <a:off x="10607335" y="637873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2%</a:t>
            </a:r>
          </a:p>
        </p:txBody>
      </p:sp>
    </p:spTree>
    <p:extLst>
      <p:ext uri="{BB962C8B-B14F-4D97-AF65-F5344CB8AC3E}">
        <p14:creationId xmlns:p14="http://schemas.microsoft.com/office/powerpoint/2010/main" val="3219373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687" name="think-cell Slide" r:id="rId9" imgW="498" imgH="499" progId="TCLayout.ActiveDocument.1">
                  <p:embed/>
                </p:oleObj>
              </mc:Choice>
              <mc:Fallback>
                <p:oleObj name="think-cell Slide" r:id="rId9" imgW="498" imgH="499" progId="TCLayout.ActiveDocument.1">
                  <p:embed/>
                  <p:pic>
                    <p:nvPicPr>
                      <p:cNvPr id="4" name="Object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Title 1"/>
          <p:cNvSpPr>
            <a:spLocks noGrp="1"/>
          </p:cNvSpPr>
          <p:nvPr>
            <p:ph type="title"/>
          </p:nvPr>
        </p:nvSpPr>
        <p:spPr>
          <a:xfrm>
            <a:off x="630000" y="622800"/>
            <a:ext cx="10933350" cy="332399"/>
          </a:xfrm>
        </p:spPr>
        <p:txBody>
          <a:bodyPr vert="horz"/>
          <a:lstStyle/>
          <a:p>
            <a:r>
              <a:rPr lang="en-US" dirty="0">
                <a:solidFill>
                  <a:srgbClr val="295E7E"/>
                </a:solidFill>
              </a:rPr>
              <a:t>Overall IT Satisfaction Journey…</a:t>
            </a:r>
          </a:p>
        </p:txBody>
      </p:sp>
      <p:sp>
        <p:nvSpPr>
          <p:cNvPr id="52" name="ee4pHeader1">
            <a:extLst>
              <a:ext uri="{FF2B5EF4-FFF2-40B4-BE49-F238E27FC236}">
                <a16:creationId xmlns:a16="http://schemas.microsoft.com/office/drawing/2014/main" id="{82434627-944D-46C3-B850-D241FD3600D3}"/>
              </a:ext>
            </a:extLst>
          </p:cNvPr>
          <p:cNvSpPr>
            <a:spLocks noChangeArrowheads="1"/>
          </p:cNvSpPr>
          <p:nvPr>
            <p:custDataLst>
              <p:tags r:id="rId4"/>
            </p:custDataLst>
          </p:nvPr>
        </p:nvSpPr>
        <p:spPr bwMode="gray">
          <a:xfrm>
            <a:off x="630000" y="1392410"/>
            <a:ext cx="3688600" cy="390921"/>
          </a:xfrm>
          <a:prstGeom prst="homePlate">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19</a:t>
            </a:r>
          </a:p>
        </p:txBody>
      </p:sp>
      <p:sp>
        <p:nvSpPr>
          <p:cNvPr id="53" name="ee4pHeader2">
            <a:extLst>
              <a:ext uri="{FF2B5EF4-FFF2-40B4-BE49-F238E27FC236}">
                <a16:creationId xmlns:a16="http://schemas.microsoft.com/office/drawing/2014/main" id="{889E45EE-3C3E-4F67-9EA1-AF22FD0E0DA4}"/>
              </a:ext>
            </a:extLst>
          </p:cNvPr>
          <p:cNvSpPr>
            <a:spLocks noChangeArrowheads="1"/>
          </p:cNvSpPr>
          <p:nvPr>
            <p:custDataLst>
              <p:tags r:id="rId5"/>
            </p:custDataLst>
          </p:nvPr>
        </p:nvSpPr>
        <p:spPr bwMode="gray">
          <a:xfrm>
            <a:off x="4328539" y="1392409"/>
            <a:ext cx="3667116" cy="390921"/>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20</a:t>
            </a:r>
          </a:p>
        </p:txBody>
      </p:sp>
      <p:sp>
        <p:nvSpPr>
          <p:cNvPr id="76" name="Rectangle 75">
            <a:extLst>
              <a:ext uri="{FF2B5EF4-FFF2-40B4-BE49-F238E27FC236}">
                <a16:creationId xmlns:a16="http://schemas.microsoft.com/office/drawing/2014/main" id="{1A7A5744-DADC-43AE-9ACE-98D7E6679B9C}"/>
              </a:ext>
            </a:extLst>
          </p:cNvPr>
          <p:cNvSpPr>
            <a:spLocks noChangeAspect="1"/>
          </p:cNvSpPr>
          <p:nvPr/>
        </p:nvSpPr>
        <p:spPr>
          <a:xfrm>
            <a:off x="1670583"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63%</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77" name="Rectangle 76">
            <a:extLst>
              <a:ext uri="{FF2B5EF4-FFF2-40B4-BE49-F238E27FC236}">
                <a16:creationId xmlns:a16="http://schemas.microsoft.com/office/drawing/2014/main" id="{9AF07B8A-FE5F-4F52-872A-BF136045D93D}"/>
              </a:ext>
            </a:extLst>
          </p:cNvPr>
          <p:cNvSpPr>
            <a:spLocks/>
          </p:cNvSpPr>
          <p:nvPr/>
        </p:nvSpPr>
        <p:spPr>
          <a:xfrm>
            <a:off x="856031" y="6086178"/>
            <a:ext cx="774042" cy="25002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verage</a:t>
            </a:r>
          </a:p>
        </p:txBody>
      </p:sp>
      <p:sp>
        <p:nvSpPr>
          <p:cNvPr id="78" name="Rectangle 77">
            <a:extLst>
              <a:ext uri="{FF2B5EF4-FFF2-40B4-BE49-F238E27FC236}">
                <a16:creationId xmlns:a16="http://schemas.microsoft.com/office/drawing/2014/main" id="{448E2C6C-D84C-49A0-8002-F20B57EA41D5}"/>
              </a:ext>
            </a:extLst>
          </p:cNvPr>
          <p:cNvSpPr>
            <a:spLocks noChangeAspect="1"/>
          </p:cNvSpPr>
          <p:nvPr/>
        </p:nvSpPr>
        <p:spPr>
          <a:xfrm>
            <a:off x="856977"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67%</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79" name="Rectangle 78">
            <a:extLst>
              <a:ext uri="{FF2B5EF4-FFF2-40B4-BE49-F238E27FC236}">
                <a16:creationId xmlns:a16="http://schemas.microsoft.com/office/drawing/2014/main" id="{550B4B9A-114E-4411-94D7-DEABCCC5DD2F}"/>
              </a:ext>
            </a:extLst>
          </p:cNvPr>
          <p:cNvSpPr>
            <a:spLocks noChangeAspect="1"/>
          </p:cNvSpPr>
          <p:nvPr/>
        </p:nvSpPr>
        <p:spPr>
          <a:xfrm>
            <a:off x="2489361"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62%</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81" name="Rectangle 80">
            <a:extLst>
              <a:ext uri="{FF2B5EF4-FFF2-40B4-BE49-F238E27FC236}">
                <a16:creationId xmlns:a16="http://schemas.microsoft.com/office/drawing/2014/main" id="{4681AC77-2D9B-45E0-BF58-4029EDACD94B}"/>
              </a:ext>
            </a:extLst>
          </p:cNvPr>
          <p:cNvSpPr>
            <a:spLocks noChangeAspect="1"/>
          </p:cNvSpPr>
          <p:nvPr/>
        </p:nvSpPr>
        <p:spPr>
          <a:xfrm>
            <a:off x="3314408" y="530258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83" name="Rectangle 82">
            <a:extLst>
              <a:ext uri="{FF2B5EF4-FFF2-40B4-BE49-F238E27FC236}">
                <a16:creationId xmlns:a16="http://schemas.microsoft.com/office/drawing/2014/main" id="{EBEB7CA4-EED9-4DAD-A33B-026DE996FAB1}"/>
              </a:ext>
            </a:extLst>
          </p:cNvPr>
          <p:cNvSpPr>
            <a:spLocks/>
          </p:cNvSpPr>
          <p:nvPr/>
        </p:nvSpPr>
        <p:spPr>
          <a:xfrm>
            <a:off x="856977" y="638349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latin typeface="+mj-lt"/>
              </a:rPr>
              <a:t>8</a:t>
            </a:r>
            <a:r>
              <a:rPr lang="en-US" sz="1152" dirty="0">
                <a:solidFill>
                  <a:srgbClr val="575757"/>
                </a:solidFill>
              </a:rPr>
              <a:t>%</a:t>
            </a:r>
          </a:p>
        </p:txBody>
      </p:sp>
      <p:sp>
        <p:nvSpPr>
          <p:cNvPr id="84" name="Rectangle 83">
            <a:extLst>
              <a:ext uri="{FF2B5EF4-FFF2-40B4-BE49-F238E27FC236}">
                <a16:creationId xmlns:a16="http://schemas.microsoft.com/office/drawing/2014/main" id="{AD0A6A4C-1E27-4078-A0A2-E967FEC0D308}"/>
              </a:ext>
            </a:extLst>
          </p:cNvPr>
          <p:cNvSpPr>
            <a:spLocks/>
          </p:cNvSpPr>
          <p:nvPr/>
        </p:nvSpPr>
        <p:spPr>
          <a:xfrm>
            <a:off x="1670542" y="6383496"/>
            <a:ext cx="76845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12%</a:t>
            </a:r>
          </a:p>
        </p:txBody>
      </p:sp>
      <p:sp>
        <p:nvSpPr>
          <p:cNvPr id="85" name="Rectangle 84">
            <a:extLst>
              <a:ext uri="{FF2B5EF4-FFF2-40B4-BE49-F238E27FC236}">
                <a16:creationId xmlns:a16="http://schemas.microsoft.com/office/drawing/2014/main" id="{5752C0C0-7A05-4792-8065-E581065EEA9E}"/>
              </a:ext>
            </a:extLst>
          </p:cNvPr>
          <p:cNvSpPr>
            <a:spLocks/>
          </p:cNvSpPr>
          <p:nvPr/>
        </p:nvSpPr>
        <p:spPr>
          <a:xfrm>
            <a:off x="2484107" y="6383496"/>
            <a:ext cx="777690"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13%</a:t>
            </a:r>
          </a:p>
        </p:txBody>
      </p:sp>
      <p:sp>
        <p:nvSpPr>
          <p:cNvPr id="86" name="Rectangle 85">
            <a:extLst>
              <a:ext uri="{FF2B5EF4-FFF2-40B4-BE49-F238E27FC236}">
                <a16:creationId xmlns:a16="http://schemas.microsoft.com/office/drawing/2014/main" id="{7371E700-9C60-4BD7-899A-334624CE60A3}"/>
              </a:ext>
            </a:extLst>
          </p:cNvPr>
          <p:cNvSpPr>
            <a:spLocks/>
          </p:cNvSpPr>
          <p:nvPr/>
        </p:nvSpPr>
        <p:spPr>
          <a:xfrm>
            <a:off x="3306903" y="6383496"/>
            <a:ext cx="777689"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1%</a:t>
            </a:r>
          </a:p>
        </p:txBody>
      </p:sp>
      <p:sp>
        <p:nvSpPr>
          <p:cNvPr id="87" name="Flowchart: Connector 86">
            <a:extLst>
              <a:ext uri="{FF2B5EF4-FFF2-40B4-BE49-F238E27FC236}">
                <a16:creationId xmlns:a16="http://schemas.microsoft.com/office/drawing/2014/main" id="{F8DC08D9-68BD-4F7D-AED7-6B45001B6557}"/>
              </a:ext>
            </a:extLst>
          </p:cNvPr>
          <p:cNvSpPr>
            <a:spLocks/>
          </p:cNvSpPr>
          <p:nvPr/>
        </p:nvSpPr>
        <p:spPr>
          <a:xfrm>
            <a:off x="2542062" y="1947515"/>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sp>
        <p:nvSpPr>
          <p:cNvPr id="88" name="Rectangle 87">
            <a:extLst>
              <a:ext uri="{FF2B5EF4-FFF2-40B4-BE49-F238E27FC236}">
                <a16:creationId xmlns:a16="http://schemas.microsoft.com/office/drawing/2014/main" id="{7E1644F1-6636-4D4E-825A-44462D8A9C6C}"/>
              </a:ext>
            </a:extLst>
          </p:cNvPr>
          <p:cNvSpPr>
            <a:spLocks/>
          </p:cNvSpPr>
          <p:nvPr/>
        </p:nvSpPr>
        <p:spPr>
          <a:xfrm>
            <a:off x="762402" y="2291156"/>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grpSp>
        <p:nvGrpSpPr>
          <p:cNvPr id="89" name="Group 88">
            <a:extLst>
              <a:ext uri="{FF2B5EF4-FFF2-40B4-BE49-F238E27FC236}">
                <a16:creationId xmlns:a16="http://schemas.microsoft.com/office/drawing/2014/main" id="{B7510D20-0071-4A9B-BE74-4B13D51D08BE}"/>
              </a:ext>
            </a:extLst>
          </p:cNvPr>
          <p:cNvGrpSpPr>
            <a:grpSpLocks noChangeAspect="1"/>
          </p:cNvGrpSpPr>
          <p:nvPr/>
        </p:nvGrpSpPr>
        <p:grpSpPr>
          <a:xfrm>
            <a:off x="2572434" y="1942082"/>
            <a:ext cx="976497" cy="976497"/>
            <a:chOff x="5867400" y="3200400"/>
            <a:chExt cx="457200" cy="457200"/>
          </a:xfrm>
        </p:grpSpPr>
        <p:sp>
          <p:nvSpPr>
            <p:cNvPr id="90" name="AutoShape 98">
              <a:extLst>
                <a:ext uri="{FF2B5EF4-FFF2-40B4-BE49-F238E27FC236}">
                  <a16:creationId xmlns:a16="http://schemas.microsoft.com/office/drawing/2014/main" id="{76FA5A4C-26E2-4B8C-8144-1222F4CDD26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A1D1FBE3-D182-4FCF-8222-C4280DF4F4E9}"/>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92" name="Rectangle 91">
            <a:extLst>
              <a:ext uri="{FF2B5EF4-FFF2-40B4-BE49-F238E27FC236}">
                <a16:creationId xmlns:a16="http://schemas.microsoft.com/office/drawing/2014/main" id="{805AC220-8204-4FD7-BC98-643DBCA1B091}"/>
              </a:ext>
            </a:extLst>
          </p:cNvPr>
          <p:cNvSpPr>
            <a:spLocks/>
          </p:cNvSpPr>
          <p:nvPr/>
        </p:nvSpPr>
        <p:spPr>
          <a:xfrm>
            <a:off x="2550849" y="2161847"/>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75%</a:t>
            </a:r>
            <a:endParaRPr lang="en-US" sz="3200" kern="0" dirty="0">
              <a:solidFill>
                <a:srgbClr val="295E7E"/>
              </a:solidFill>
            </a:endParaRPr>
          </a:p>
        </p:txBody>
      </p:sp>
      <p:sp>
        <p:nvSpPr>
          <p:cNvPr id="93" name="Rectangle 92">
            <a:extLst>
              <a:ext uri="{FF2B5EF4-FFF2-40B4-BE49-F238E27FC236}">
                <a16:creationId xmlns:a16="http://schemas.microsoft.com/office/drawing/2014/main" id="{A54EA8AE-795D-4E34-8870-3CD836635A0E}"/>
              </a:ext>
            </a:extLst>
          </p:cNvPr>
          <p:cNvSpPr/>
          <p:nvPr/>
        </p:nvSpPr>
        <p:spPr>
          <a:xfrm>
            <a:off x="2482631" y="4528931"/>
            <a:ext cx="1230028" cy="390658"/>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sp>
        <p:nvSpPr>
          <p:cNvPr id="94" name="Rectangle 93">
            <a:extLst>
              <a:ext uri="{FF2B5EF4-FFF2-40B4-BE49-F238E27FC236}">
                <a16:creationId xmlns:a16="http://schemas.microsoft.com/office/drawing/2014/main" id="{3C2B764B-0A79-490B-BDD4-8898A928C3D7}"/>
              </a:ext>
            </a:extLst>
          </p:cNvPr>
          <p:cNvSpPr>
            <a:spLocks noChangeAspect="1"/>
          </p:cNvSpPr>
          <p:nvPr/>
        </p:nvSpPr>
        <p:spPr>
          <a:xfrm>
            <a:off x="2499405" y="3320490"/>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kumimoji="0" lang="en-US" sz="4000" b="1" i="0" u="none" strike="noStrike" kern="0" cap="none" spc="0" normalizeH="0" baseline="0" noProof="0" dirty="0">
                <a:ln>
                  <a:noFill/>
                </a:ln>
                <a:solidFill>
                  <a:srgbClr val="295E7E"/>
                </a:solidFill>
                <a:effectLst/>
                <a:uLnTx/>
                <a:uFillTx/>
              </a:rPr>
              <a:t>68%</a:t>
            </a:r>
            <a:endParaRPr lang="en-US" sz="1200" kern="0" dirty="0">
              <a:solidFill>
                <a:srgbClr val="295E7E"/>
              </a:solidFill>
            </a:endParaRPr>
          </a:p>
        </p:txBody>
      </p:sp>
      <p:sp>
        <p:nvSpPr>
          <p:cNvPr id="95" name="Rectangle 94">
            <a:extLst>
              <a:ext uri="{FF2B5EF4-FFF2-40B4-BE49-F238E27FC236}">
                <a16:creationId xmlns:a16="http://schemas.microsoft.com/office/drawing/2014/main" id="{A7D4C7D0-C38B-49C8-BBF9-DE8EF9853FF2}"/>
              </a:ext>
            </a:extLst>
          </p:cNvPr>
          <p:cNvSpPr/>
          <p:nvPr/>
        </p:nvSpPr>
        <p:spPr>
          <a:xfrm>
            <a:off x="839753" y="3617903"/>
            <a:ext cx="1234944" cy="79084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Annual Average</a:t>
            </a:r>
          </a:p>
        </p:txBody>
      </p:sp>
      <p:sp>
        <p:nvSpPr>
          <p:cNvPr id="96" name="Rectangle 95">
            <a:extLst>
              <a:ext uri="{FF2B5EF4-FFF2-40B4-BE49-F238E27FC236}">
                <a16:creationId xmlns:a16="http://schemas.microsoft.com/office/drawing/2014/main" id="{9E74BE38-5D5F-4B74-8775-8CC706EA0F15}"/>
              </a:ext>
            </a:extLst>
          </p:cNvPr>
          <p:cNvSpPr/>
          <p:nvPr/>
        </p:nvSpPr>
        <p:spPr>
          <a:xfrm>
            <a:off x="718369" y="4382933"/>
            <a:ext cx="1379392"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E71C57"/>
                </a:solidFill>
                <a:latin typeface="Wingdings 3" panose="05040102010807070707" pitchFamily="18" charset="2"/>
              </a:rPr>
              <a:t>q </a:t>
            </a:r>
            <a:r>
              <a:rPr lang="en-US" dirty="0">
                <a:solidFill>
                  <a:srgbClr val="575757"/>
                </a:solidFill>
              </a:rPr>
              <a:t>7% target</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cxnSp>
        <p:nvCxnSpPr>
          <p:cNvPr id="8" name="Straight Connector 7">
            <a:extLst>
              <a:ext uri="{FF2B5EF4-FFF2-40B4-BE49-F238E27FC236}">
                <a16:creationId xmlns:a16="http://schemas.microsoft.com/office/drawing/2014/main" id="{6706D919-D519-4037-BCDB-2462A6C576F9}"/>
              </a:ext>
            </a:extLst>
          </p:cNvPr>
          <p:cNvCxnSpPr>
            <a:cxnSpLocks/>
          </p:cNvCxnSpPr>
          <p:nvPr/>
        </p:nvCxnSpPr>
        <p:spPr>
          <a:xfrm>
            <a:off x="666944" y="3083420"/>
            <a:ext cx="10896406"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9" name="Flowchart: Connector 118">
            <a:extLst>
              <a:ext uri="{FF2B5EF4-FFF2-40B4-BE49-F238E27FC236}">
                <a16:creationId xmlns:a16="http://schemas.microsoft.com/office/drawing/2014/main" id="{00656176-58BA-49A7-9E32-F19369E5E98F}"/>
              </a:ext>
            </a:extLst>
          </p:cNvPr>
          <p:cNvSpPr>
            <a:spLocks/>
          </p:cNvSpPr>
          <p:nvPr/>
        </p:nvSpPr>
        <p:spPr>
          <a:xfrm>
            <a:off x="6323039" y="1952777"/>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grpSp>
        <p:nvGrpSpPr>
          <p:cNvPr id="120" name="Group 119">
            <a:extLst>
              <a:ext uri="{FF2B5EF4-FFF2-40B4-BE49-F238E27FC236}">
                <a16:creationId xmlns:a16="http://schemas.microsoft.com/office/drawing/2014/main" id="{B78C8033-FDF7-43ED-90CC-922A3B14E9E3}"/>
              </a:ext>
            </a:extLst>
          </p:cNvPr>
          <p:cNvGrpSpPr>
            <a:grpSpLocks noChangeAspect="1"/>
          </p:cNvGrpSpPr>
          <p:nvPr/>
        </p:nvGrpSpPr>
        <p:grpSpPr>
          <a:xfrm>
            <a:off x="6353411" y="1947344"/>
            <a:ext cx="976497" cy="976497"/>
            <a:chOff x="5867400" y="3200400"/>
            <a:chExt cx="457200" cy="457200"/>
          </a:xfrm>
        </p:grpSpPr>
        <p:sp>
          <p:nvSpPr>
            <p:cNvPr id="121" name="AutoShape 98">
              <a:extLst>
                <a:ext uri="{FF2B5EF4-FFF2-40B4-BE49-F238E27FC236}">
                  <a16:creationId xmlns:a16="http://schemas.microsoft.com/office/drawing/2014/main" id="{15D7C86D-D6AB-4B48-BB5E-3E53F010D5F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7">
              <a:extLst>
                <a:ext uri="{FF2B5EF4-FFF2-40B4-BE49-F238E27FC236}">
                  <a16:creationId xmlns:a16="http://schemas.microsoft.com/office/drawing/2014/main" id="{6A8136F7-04AE-48EC-A6AB-768FFAE7AE30}"/>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123" name="Rectangle 122">
            <a:extLst>
              <a:ext uri="{FF2B5EF4-FFF2-40B4-BE49-F238E27FC236}">
                <a16:creationId xmlns:a16="http://schemas.microsoft.com/office/drawing/2014/main" id="{893AACEB-0F73-46BE-AC0D-9A24CFDB9879}"/>
              </a:ext>
            </a:extLst>
          </p:cNvPr>
          <p:cNvSpPr>
            <a:spLocks/>
          </p:cNvSpPr>
          <p:nvPr/>
        </p:nvSpPr>
        <p:spPr>
          <a:xfrm>
            <a:off x="5353352" y="6091320"/>
            <a:ext cx="80048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124" name="Rectangle 123">
            <a:extLst>
              <a:ext uri="{FF2B5EF4-FFF2-40B4-BE49-F238E27FC236}">
                <a16:creationId xmlns:a16="http://schemas.microsoft.com/office/drawing/2014/main" id="{FE67E99E-1FD1-4805-949D-7CEE28AB2E2A}"/>
              </a:ext>
            </a:extLst>
          </p:cNvPr>
          <p:cNvSpPr>
            <a:spLocks noChangeAspect="1"/>
          </p:cNvSpPr>
          <p:nvPr/>
        </p:nvSpPr>
        <p:spPr>
          <a:xfrm>
            <a:off x="5359544"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lang="en-US" sz="2560" b="1" kern="0" dirty="0">
                <a:solidFill>
                  <a:srgbClr val="295E7E"/>
                </a:solidFill>
              </a:rPr>
              <a:t>72</a:t>
            </a:r>
            <a:r>
              <a:rPr kumimoji="0" lang="en-US" sz="2560" b="1" i="0" u="none" strike="noStrike" kern="0" cap="none" spc="0" normalizeH="0" baseline="0" noProof="0" dirty="0">
                <a:ln>
                  <a:noFill/>
                </a:ln>
                <a:solidFill>
                  <a:srgbClr val="295E7E"/>
                </a:solidFill>
                <a:effectLst/>
                <a:uLnTx/>
                <a:uFillTx/>
              </a:rPr>
              <a:t>%</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126" name="Rectangle 125">
            <a:extLst>
              <a:ext uri="{FF2B5EF4-FFF2-40B4-BE49-F238E27FC236}">
                <a16:creationId xmlns:a16="http://schemas.microsoft.com/office/drawing/2014/main" id="{31FAA47C-EF85-433D-ADC9-3CEA6CECD24B}"/>
              </a:ext>
            </a:extLst>
          </p:cNvPr>
          <p:cNvSpPr>
            <a:spLocks noChangeAspect="1"/>
          </p:cNvSpPr>
          <p:nvPr/>
        </p:nvSpPr>
        <p:spPr>
          <a:xfrm>
            <a:off x="454593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68%</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127" name="Rectangle 126">
            <a:extLst>
              <a:ext uri="{FF2B5EF4-FFF2-40B4-BE49-F238E27FC236}">
                <a16:creationId xmlns:a16="http://schemas.microsoft.com/office/drawing/2014/main" id="{8B0D5C68-5D82-490F-9329-039D7A58E110}"/>
              </a:ext>
            </a:extLst>
          </p:cNvPr>
          <p:cNvSpPr>
            <a:spLocks noChangeAspect="1"/>
          </p:cNvSpPr>
          <p:nvPr/>
        </p:nvSpPr>
        <p:spPr>
          <a:xfrm>
            <a:off x="6178322"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7%</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128" name="Rectangle 127">
            <a:extLst>
              <a:ext uri="{FF2B5EF4-FFF2-40B4-BE49-F238E27FC236}">
                <a16:creationId xmlns:a16="http://schemas.microsoft.com/office/drawing/2014/main" id="{9F6FCD50-82FA-4E1D-836C-52783641156B}"/>
              </a:ext>
            </a:extLst>
          </p:cNvPr>
          <p:cNvSpPr>
            <a:spLocks noChangeAspect="1"/>
          </p:cNvSpPr>
          <p:nvPr/>
        </p:nvSpPr>
        <p:spPr>
          <a:xfrm>
            <a:off x="700336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5%</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129" name="Rectangle 128">
            <a:extLst>
              <a:ext uri="{FF2B5EF4-FFF2-40B4-BE49-F238E27FC236}">
                <a16:creationId xmlns:a16="http://schemas.microsoft.com/office/drawing/2014/main" id="{B0EAFEA6-9AC9-4A0F-A6BE-CB1F5AE5233D}"/>
              </a:ext>
            </a:extLst>
          </p:cNvPr>
          <p:cNvSpPr>
            <a:spLocks/>
          </p:cNvSpPr>
          <p:nvPr/>
        </p:nvSpPr>
        <p:spPr>
          <a:xfrm>
            <a:off x="4536852" y="6395076"/>
            <a:ext cx="777691"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9%</a:t>
            </a:r>
          </a:p>
        </p:txBody>
      </p:sp>
      <p:sp>
        <p:nvSpPr>
          <p:cNvPr id="130" name="Rectangle 129">
            <a:extLst>
              <a:ext uri="{FF2B5EF4-FFF2-40B4-BE49-F238E27FC236}">
                <a16:creationId xmlns:a16="http://schemas.microsoft.com/office/drawing/2014/main" id="{B5845815-73BA-43B7-B106-60727C439D59}"/>
              </a:ext>
            </a:extLst>
          </p:cNvPr>
          <p:cNvSpPr>
            <a:spLocks/>
          </p:cNvSpPr>
          <p:nvPr/>
        </p:nvSpPr>
        <p:spPr>
          <a:xfrm>
            <a:off x="5323775"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5%</a:t>
            </a:r>
          </a:p>
        </p:txBody>
      </p:sp>
      <p:sp>
        <p:nvSpPr>
          <p:cNvPr id="131" name="Rectangle 130">
            <a:extLst>
              <a:ext uri="{FF2B5EF4-FFF2-40B4-BE49-F238E27FC236}">
                <a16:creationId xmlns:a16="http://schemas.microsoft.com/office/drawing/2014/main" id="{5F00E80E-A3E1-4019-879D-02B6E2C61EFF}"/>
              </a:ext>
            </a:extLst>
          </p:cNvPr>
          <p:cNvSpPr>
            <a:spLocks/>
          </p:cNvSpPr>
          <p:nvPr/>
        </p:nvSpPr>
        <p:spPr>
          <a:xfrm>
            <a:off x="6177971" y="6099055"/>
            <a:ext cx="790364"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132" name="Rectangle 131">
            <a:extLst>
              <a:ext uri="{FF2B5EF4-FFF2-40B4-BE49-F238E27FC236}">
                <a16:creationId xmlns:a16="http://schemas.microsoft.com/office/drawing/2014/main" id="{35A3AD6C-E3D5-48C1-9BFA-84911A66A847}"/>
              </a:ext>
            </a:extLst>
          </p:cNvPr>
          <p:cNvSpPr>
            <a:spLocks/>
          </p:cNvSpPr>
          <p:nvPr/>
        </p:nvSpPr>
        <p:spPr>
          <a:xfrm>
            <a:off x="6137340"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a:t>
            </a:r>
          </a:p>
        </p:txBody>
      </p:sp>
      <p:sp>
        <p:nvSpPr>
          <p:cNvPr id="133" name="Rectangle 132">
            <a:extLst>
              <a:ext uri="{FF2B5EF4-FFF2-40B4-BE49-F238E27FC236}">
                <a16:creationId xmlns:a16="http://schemas.microsoft.com/office/drawing/2014/main" id="{E015D624-587E-4FEB-99F4-834CBFE2CA9A}"/>
              </a:ext>
            </a:extLst>
          </p:cNvPr>
          <p:cNvSpPr>
            <a:spLocks/>
          </p:cNvSpPr>
          <p:nvPr/>
        </p:nvSpPr>
        <p:spPr>
          <a:xfrm>
            <a:off x="6995520" y="6092120"/>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134" name="Rectangle 133">
            <a:extLst>
              <a:ext uri="{FF2B5EF4-FFF2-40B4-BE49-F238E27FC236}">
                <a16:creationId xmlns:a16="http://schemas.microsoft.com/office/drawing/2014/main" id="{E4288FD3-BD0B-42B0-9AC0-6252E685967B}"/>
              </a:ext>
            </a:extLst>
          </p:cNvPr>
          <p:cNvSpPr>
            <a:spLocks/>
          </p:cNvSpPr>
          <p:nvPr/>
        </p:nvSpPr>
        <p:spPr>
          <a:xfrm>
            <a:off x="6960136" y="6395076"/>
            <a:ext cx="843154"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8%</a:t>
            </a:r>
          </a:p>
        </p:txBody>
      </p:sp>
      <p:sp>
        <p:nvSpPr>
          <p:cNvPr id="135" name="Rectangle 134">
            <a:extLst>
              <a:ext uri="{FF2B5EF4-FFF2-40B4-BE49-F238E27FC236}">
                <a16:creationId xmlns:a16="http://schemas.microsoft.com/office/drawing/2014/main" id="{9544E588-6E11-430C-B288-57A089F91ACF}"/>
              </a:ext>
            </a:extLst>
          </p:cNvPr>
          <p:cNvSpPr>
            <a:spLocks/>
          </p:cNvSpPr>
          <p:nvPr/>
        </p:nvSpPr>
        <p:spPr>
          <a:xfrm>
            <a:off x="4787554" y="2282613"/>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sp>
        <p:nvSpPr>
          <p:cNvPr id="136" name="Rectangle 135">
            <a:extLst>
              <a:ext uri="{FF2B5EF4-FFF2-40B4-BE49-F238E27FC236}">
                <a16:creationId xmlns:a16="http://schemas.microsoft.com/office/drawing/2014/main" id="{B09CEE87-9977-4EC5-B110-203B552EE43B}"/>
              </a:ext>
            </a:extLst>
          </p:cNvPr>
          <p:cNvSpPr>
            <a:spLocks/>
          </p:cNvSpPr>
          <p:nvPr/>
        </p:nvSpPr>
        <p:spPr>
          <a:xfrm>
            <a:off x="6345256" y="2167110"/>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77%</a:t>
            </a:r>
            <a:endParaRPr lang="en-US" sz="3200" kern="0" dirty="0">
              <a:solidFill>
                <a:srgbClr val="295E7E"/>
              </a:solidFill>
            </a:endParaRPr>
          </a:p>
        </p:txBody>
      </p:sp>
      <p:sp>
        <p:nvSpPr>
          <p:cNvPr id="137" name="Rectangle 136">
            <a:extLst>
              <a:ext uri="{FF2B5EF4-FFF2-40B4-BE49-F238E27FC236}">
                <a16:creationId xmlns:a16="http://schemas.microsoft.com/office/drawing/2014/main" id="{7D16CCEF-3A39-4482-A542-F1E16EEE2FF5}"/>
              </a:ext>
            </a:extLst>
          </p:cNvPr>
          <p:cNvSpPr/>
          <p:nvPr/>
        </p:nvSpPr>
        <p:spPr>
          <a:xfrm>
            <a:off x="6207652" y="4528977"/>
            <a:ext cx="1227732" cy="3906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138" name="Rectangle 137">
            <a:extLst>
              <a:ext uri="{FF2B5EF4-FFF2-40B4-BE49-F238E27FC236}">
                <a16:creationId xmlns:a16="http://schemas.microsoft.com/office/drawing/2014/main" id="{4BDBBF18-2BBE-43E6-AAF7-71FA88BBFB19}"/>
              </a:ext>
            </a:extLst>
          </p:cNvPr>
          <p:cNvSpPr>
            <a:spLocks noChangeAspect="1"/>
          </p:cNvSpPr>
          <p:nvPr/>
        </p:nvSpPr>
        <p:spPr>
          <a:xfrm>
            <a:off x="6207652" y="3320490"/>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lang="en-US" sz="4000" b="1" kern="0" dirty="0">
                <a:solidFill>
                  <a:srgbClr val="295E7E"/>
                </a:solidFill>
              </a:rPr>
              <a:t>76</a:t>
            </a:r>
            <a:r>
              <a:rPr kumimoji="0" lang="en-US" sz="4000" b="1" i="0" u="none" strike="noStrike" kern="0" cap="none" spc="0" normalizeH="0" baseline="0" noProof="0" dirty="0">
                <a:ln>
                  <a:noFill/>
                </a:ln>
                <a:solidFill>
                  <a:srgbClr val="295E7E"/>
                </a:solidFill>
                <a:effectLst/>
                <a:uLnTx/>
                <a:uFillTx/>
              </a:rPr>
              <a:t>%</a:t>
            </a:r>
            <a:endParaRPr lang="en-US" sz="1200" kern="0" dirty="0">
              <a:solidFill>
                <a:srgbClr val="295E7E"/>
              </a:solidFill>
            </a:endParaRPr>
          </a:p>
        </p:txBody>
      </p:sp>
      <p:sp>
        <p:nvSpPr>
          <p:cNvPr id="139" name="Rectangle 138">
            <a:extLst>
              <a:ext uri="{FF2B5EF4-FFF2-40B4-BE49-F238E27FC236}">
                <a16:creationId xmlns:a16="http://schemas.microsoft.com/office/drawing/2014/main" id="{F79B8610-7769-400D-A0DB-9544417CA1B7}"/>
              </a:ext>
            </a:extLst>
          </p:cNvPr>
          <p:cNvSpPr/>
          <p:nvPr/>
        </p:nvSpPr>
        <p:spPr>
          <a:xfrm>
            <a:off x="4617849" y="3531055"/>
            <a:ext cx="1234944"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Annual Average</a:t>
            </a:r>
          </a:p>
        </p:txBody>
      </p:sp>
      <p:sp>
        <p:nvSpPr>
          <p:cNvPr id="140" name="Rectangle 139">
            <a:extLst>
              <a:ext uri="{FF2B5EF4-FFF2-40B4-BE49-F238E27FC236}">
                <a16:creationId xmlns:a16="http://schemas.microsoft.com/office/drawing/2014/main" id="{EB9BFEA6-C53A-4779-A671-C94FDC8953E4}"/>
              </a:ext>
            </a:extLst>
          </p:cNvPr>
          <p:cNvSpPr/>
          <p:nvPr/>
        </p:nvSpPr>
        <p:spPr>
          <a:xfrm>
            <a:off x="4428192" y="4394513"/>
            <a:ext cx="1499441"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dirty="0">
                <a:solidFill>
                  <a:srgbClr val="E71C57"/>
                </a:solidFill>
                <a:latin typeface="Wingdings 3" panose="05040102010807070707" pitchFamily="18" charset="2"/>
              </a:rPr>
              <a:t>q </a:t>
            </a:r>
            <a:r>
              <a:rPr lang="en-US" dirty="0">
                <a:solidFill>
                  <a:srgbClr val="575757"/>
                </a:solidFill>
              </a:rPr>
              <a:t>1% target</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cxnSp>
        <p:nvCxnSpPr>
          <p:cNvPr id="141" name="Straight Connector 140">
            <a:extLst>
              <a:ext uri="{FF2B5EF4-FFF2-40B4-BE49-F238E27FC236}">
                <a16:creationId xmlns:a16="http://schemas.microsoft.com/office/drawing/2014/main" id="{9AF0E0C8-F590-40A1-965F-F0C4953D1FB6}"/>
              </a:ext>
            </a:extLst>
          </p:cNvPr>
          <p:cNvCxnSpPr>
            <a:cxnSpLocks/>
          </p:cNvCxnSpPr>
          <p:nvPr/>
        </p:nvCxnSpPr>
        <p:spPr>
          <a:xfrm>
            <a:off x="4308661" y="1783924"/>
            <a:ext cx="0" cy="4907479"/>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6" name="ee4pHeader2">
            <a:extLst>
              <a:ext uri="{FF2B5EF4-FFF2-40B4-BE49-F238E27FC236}">
                <a16:creationId xmlns:a16="http://schemas.microsoft.com/office/drawing/2014/main" id="{6FB6F580-6946-4468-8C7C-08D0A57EB208}"/>
              </a:ext>
            </a:extLst>
          </p:cNvPr>
          <p:cNvSpPr>
            <a:spLocks noChangeArrowheads="1"/>
          </p:cNvSpPr>
          <p:nvPr>
            <p:custDataLst>
              <p:tags r:id="rId6"/>
            </p:custDataLst>
          </p:nvPr>
        </p:nvSpPr>
        <p:spPr bwMode="gray">
          <a:xfrm>
            <a:off x="8007200" y="1388165"/>
            <a:ext cx="3667116" cy="390921"/>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2021</a:t>
            </a:r>
          </a:p>
        </p:txBody>
      </p:sp>
      <p:cxnSp>
        <p:nvCxnSpPr>
          <p:cNvPr id="60" name="Straight Connector 59">
            <a:extLst>
              <a:ext uri="{FF2B5EF4-FFF2-40B4-BE49-F238E27FC236}">
                <a16:creationId xmlns:a16="http://schemas.microsoft.com/office/drawing/2014/main" id="{8DA1244E-E647-46E3-BE82-25D4226A602D}"/>
              </a:ext>
            </a:extLst>
          </p:cNvPr>
          <p:cNvCxnSpPr>
            <a:cxnSpLocks/>
          </p:cNvCxnSpPr>
          <p:nvPr/>
        </p:nvCxnSpPr>
        <p:spPr>
          <a:xfrm>
            <a:off x="7975777" y="1779086"/>
            <a:ext cx="0" cy="4907479"/>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63" name="Flowchart: Connector 62">
            <a:extLst>
              <a:ext uri="{FF2B5EF4-FFF2-40B4-BE49-F238E27FC236}">
                <a16:creationId xmlns:a16="http://schemas.microsoft.com/office/drawing/2014/main" id="{0C079EDA-576F-4BDC-AB05-E297B26FE515}"/>
              </a:ext>
            </a:extLst>
          </p:cNvPr>
          <p:cNvSpPr>
            <a:spLocks/>
          </p:cNvSpPr>
          <p:nvPr/>
        </p:nvSpPr>
        <p:spPr>
          <a:xfrm>
            <a:off x="10089320" y="1956171"/>
            <a:ext cx="1019669" cy="965631"/>
          </a:xfrm>
          <a:prstGeom prst="flowChartConnector">
            <a:avLst/>
          </a:prstGeom>
          <a:solidFill>
            <a:srgbClr val="C8C8C8"/>
          </a:solidFill>
          <a:ln w="762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lvl="0" algn="ctr">
              <a:defRPr/>
            </a:pPr>
            <a:endParaRPr lang="en-US" sz="4000" kern="0" dirty="0"/>
          </a:p>
        </p:txBody>
      </p:sp>
      <p:grpSp>
        <p:nvGrpSpPr>
          <p:cNvPr id="64" name="Group 63">
            <a:extLst>
              <a:ext uri="{FF2B5EF4-FFF2-40B4-BE49-F238E27FC236}">
                <a16:creationId xmlns:a16="http://schemas.microsoft.com/office/drawing/2014/main" id="{5B880953-CF19-416F-A5CA-EEC7982EFE8D}"/>
              </a:ext>
            </a:extLst>
          </p:cNvPr>
          <p:cNvGrpSpPr>
            <a:grpSpLocks noChangeAspect="1"/>
          </p:cNvGrpSpPr>
          <p:nvPr/>
        </p:nvGrpSpPr>
        <p:grpSpPr>
          <a:xfrm>
            <a:off x="10119692" y="1950738"/>
            <a:ext cx="976497" cy="976497"/>
            <a:chOff x="5867400" y="3200400"/>
            <a:chExt cx="457200" cy="457200"/>
          </a:xfrm>
        </p:grpSpPr>
        <p:sp>
          <p:nvSpPr>
            <p:cNvPr id="65" name="AutoShape 98">
              <a:extLst>
                <a:ext uri="{FF2B5EF4-FFF2-40B4-BE49-F238E27FC236}">
                  <a16:creationId xmlns:a16="http://schemas.microsoft.com/office/drawing/2014/main" id="{10C62BFF-FF0B-4367-81FE-84EAEE3DB78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7">
              <a:extLst>
                <a:ext uri="{FF2B5EF4-FFF2-40B4-BE49-F238E27FC236}">
                  <a16:creationId xmlns:a16="http://schemas.microsoft.com/office/drawing/2014/main" id="{51353C82-EB67-4EA7-ACB7-E6201A9F16A6}"/>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sp>
        <p:nvSpPr>
          <p:cNvPr id="67" name="Rectangle 66">
            <a:extLst>
              <a:ext uri="{FF2B5EF4-FFF2-40B4-BE49-F238E27FC236}">
                <a16:creationId xmlns:a16="http://schemas.microsoft.com/office/drawing/2014/main" id="{14CFD350-7C3C-4058-A85B-11B719DE0BEC}"/>
              </a:ext>
            </a:extLst>
          </p:cNvPr>
          <p:cNvSpPr>
            <a:spLocks/>
          </p:cNvSpPr>
          <p:nvPr/>
        </p:nvSpPr>
        <p:spPr>
          <a:xfrm>
            <a:off x="10111537" y="2170504"/>
            <a:ext cx="1040070" cy="536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3200" b="1" kern="0" dirty="0">
                <a:solidFill>
                  <a:srgbClr val="295E7E"/>
                </a:solidFill>
              </a:rPr>
              <a:t>83%</a:t>
            </a:r>
            <a:endParaRPr lang="en-US" sz="3200" kern="0" dirty="0">
              <a:solidFill>
                <a:srgbClr val="295E7E"/>
              </a:solidFill>
            </a:endParaRPr>
          </a:p>
        </p:txBody>
      </p:sp>
      <p:sp>
        <p:nvSpPr>
          <p:cNvPr id="68" name="Rectangle 67">
            <a:extLst>
              <a:ext uri="{FF2B5EF4-FFF2-40B4-BE49-F238E27FC236}">
                <a16:creationId xmlns:a16="http://schemas.microsoft.com/office/drawing/2014/main" id="{711D60F7-A315-4D3D-8E37-75962E78F882}"/>
              </a:ext>
            </a:extLst>
          </p:cNvPr>
          <p:cNvSpPr>
            <a:spLocks/>
          </p:cNvSpPr>
          <p:nvPr/>
        </p:nvSpPr>
        <p:spPr>
          <a:xfrm>
            <a:off x="8408737" y="2258726"/>
            <a:ext cx="1019669" cy="3125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r>
              <a:rPr lang="en-US" sz="1600" b="1" dirty="0">
                <a:solidFill>
                  <a:srgbClr val="575757"/>
                </a:solidFill>
              </a:rPr>
              <a:t>Target</a:t>
            </a:r>
          </a:p>
        </p:txBody>
      </p:sp>
      <p:sp>
        <p:nvSpPr>
          <p:cNvPr id="69" name="Rectangle 68">
            <a:extLst>
              <a:ext uri="{FF2B5EF4-FFF2-40B4-BE49-F238E27FC236}">
                <a16:creationId xmlns:a16="http://schemas.microsoft.com/office/drawing/2014/main" id="{5BF40261-E169-491E-9E61-6E858DE7D68E}"/>
              </a:ext>
            </a:extLst>
          </p:cNvPr>
          <p:cNvSpPr/>
          <p:nvPr/>
        </p:nvSpPr>
        <p:spPr>
          <a:xfrm>
            <a:off x="9993469" y="4537045"/>
            <a:ext cx="1227732" cy="3906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70" name="Rectangle 69">
            <a:extLst>
              <a:ext uri="{FF2B5EF4-FFF2-40B4-BE49-F238E27FC236}">
                <a16:creationId xmlns:a16="http://schemas.microsoft.com/office/drawing/2014/main" id="{3818A682-E793-4C81-9ACD-40F01C9556D7}"/>
              </a:ext>
            </a:extLst>
          </p:cNvPr>
          <p:cNvSpPr>
            <a:spLocks noChangeAspect="1"/>
          </p:cNvSpPr>
          <p:nvPr/>
        </p:nvSpPr>
        <p:spPr>
          <a:xfrm>
            <a:off x="9993469" y="3328558"/>
            <a:ext cx="1209444" cy="1200373"/>
          </a:xfrm>
          <a:prstGeom prst="rect">
            <a:avLst/>
          </a:prstGeom>
          <a:solidFill>
            <a:sysClr val="window" lastClr="FFFFFF"/>
          </a:solidFill>
          <a:ln w="19050" cap="rnd" cmpd="sng" algn="ctr">
            <a:solidFill>
              <a:srgbClr val="9A9A9A"/>
            </a:solidFill>
            <a:prstDash val="solid"/>
            <a:round/>
            <a:headEnd type="none" w="med" len="med"/>
            <a:tailEnd type="none" w="med" len="med"/>
          </a:ln>
          <a:effectLst/>
        </p:spPr>
        <p:txBody>
          <a:bodyPr rtlCol="0" anchor="ctr" anchorCtr="0"/>
          <a:lstStyle/>
          <a:p>
            <a:pPr lvl="0" algn="ctr">
              <a:defRPr/>
            </a:pPr>
            <a:r>
              <a:rPr kumimoji="0" lang="en-US" sz="4000" b="1" i="0" u="none" strike="noStrike" kern="0" cap="none" spc="0" normalizeH="0" baseline="0" noProof="0" dirty="0">
                <a:ln>
                  <a:noFill/>
                </a:ln>
                <a:solidFill>
                  <a:srgbClr val="295E7E"/>
                </a:solidFill>
                <a:effectLst/>
                <a:uLnTx/>
                <a:uFillTx/>
              </a:rPr>
              <a:t>79%</a:t>
            </a:r>
            <a:endParaRPr lang="en-US" sz="1200" kern="0" dirty="0">
              <a:solidFill>
                <a:srgbClr val="295E7E"/>
              </a:solidFill>
            </a:endParaRPr>
          </a:p>
        </p:txBody>
      </p:sp>
      <p:sp>
        <p:nvSpPr>
          <p:cNvPr id="72" name="Rectangle 71">
            <a:extLst>
              <a:ext uri="{FF2B5EF4-FFF2-40B4-BE49-F238E27FC236}">
                <a16:creationId xmlns:a16="http://schemas.microsoft.com/office/drawing/2014/main" id="{77003FF3-80CA-42D4-883D-C055F20A006E}"/>
              </a:ext>
            </a:extLst>
          </p:cNvPr>
          <p:cNvSpPr/>
          <p:nvPr/>
        </p:nvSpPr>
        <p:spPr>
          <a:xfrm>
            <a:off x="8214009" y="4402581"/>
            <a:ext cx="1499441"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t">
              <a:defRPr/>
            </a:pPr>
            <a:r>
              <a:rPr lang="en-US" sz="1800" dirty="0">
                <a:solidFill>
                  <a:srgbClr val="E71C57"/>
                </a:solidFill>
                <a:latin typeface="Wingdings 3" panose="05040102010807070707" pitchFamily="18" charset="2"/>
              </a:rPr>
              <a:t>q</a:t>
            </a:r>
            <a:r>
              <a:rPr lang="en-US" dirty="0">
                <a:solidFill>
                  <a:srgbClr val="E71C57"/>
                </a:solidFill>
                <a:latin typeface="Wingdings 3" panose="05040102010807070707" pitchFamily="18" charset="2"/>
              </a:rPr>
              <a:t> </a:t>
            </a:r>
            <a:r>
              <a:rPr lang="en-US" dirty="0">
                <a:solidFill>
                  <a:srgbClr val="575757"/>
                </a:solidFill>
                <a:latin typeface="+mj-lt"/>
              </a:rPr>
              <a:t>4</a:t>
            </a:r>
            <a:r>
              <a:rPr lang="en-US" dirty="0">
                <a:solidFill>
                  <a:srgbClr val="575757"/>
                </a:solidFill>
              </a:rPr>
              <a:t>% target</a:t>
            </a:r>
          </a:p>
          <a:p>
            <a:pPr lvl="0" algn="ctr" fontAlgn="t">
              <a:defRPr/>
            </a:pPr>
            <a:endParaRPr lang="en-US" sz="1000" b="1" dirty="0">
              <a:solidFill>
                <a:srgbClr val="575757"/>
              </a:solidFill>
              <a:latin typeface="Trebuchet MS" panose="020B0603020202020204" pitchFamily="34" charset="0"/>
            </a:endParaRPr>
          </a:p>
          <a:p>
            <a:pPr lvl="0" algn="ctr" fontAlgn="t">
              <a:defRPr/>
            </a:pPr>
            <a:endParaRPr lang="en-US" sz="1400" b="1" dirty="0">
              <a:solidFill>
                <a:srgbClr val="575757"/>
              </a:solidFill>
              <a:latin typeface="Trebuchet MS" panose="020B0603020202020204" pitchFamily="34" charset="0"/>
            </a:endParaRPr>
          </a:p>
        </p:txBody>
      </p:sp>
      <p:sp>
        <p:nvSpPr>
          <p:cNvPr id="74" name="Rectangle 73">
            <a:extLst>
              <a:ext uri="{FF2B5EF4-FFF2-40B4-BE49-F238E27FC236}">
                <a16:creationId xmlns:a16="http://schemas.microsoft.com/office/drawing/2014/main" id="{3918B989-FD08-4660-ABBA-E13DC788C3DB}"/>
              </a:ext>
            </a:extLst>
          </p:cNvPr>
          <p:cNvSpPr>
            <a:spLocks/>
          </p:cNvSpPr>
          <p:nvPr/>
        </p:nvSpPr>
        <p:spPr>
          <a:xfrm>
            <a:off x="1671576" y="6086178"/>
            <a:ext cx="774042" cy="25002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verage</a:t>
            </a:r>
          </a:p>
        </p:txBody>
      </p:sp>
      <p:sp>
        <p:nvSpPr>
          <p:cNvPr id="97" name="Rectangle 96">
            <a:extLst>
              <a:ext uri="{FF2B5EF4-FFF2-40B4-BE49-F238E27FC236}">
                <a16:creationId xmlns:a16="http://schemas.microsoft.com/office/drawing/2014/main" id="{7A6FE685-F009-428F-9003-C44A8B5C0AC9}"/>
              </a:ext>
            </a:extLst>
          </p:cNvPr>
          <p:cNvSpPr>
            <a:spLocks/>
          </p:cNvSpPr>
          <p:nvPr/>
        </p:nvSpPr>
        <p:spPr>
          <a:xfrm>
            <a:off x="2489362" y="6086178"/>
            <a:ext cx="774042" cy="25002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verage</a:t>
            </a:r>
          </a:p>
        </p:txBody>
      </p:sp>
      <p:sp>
        <p:nvSpPr>
          <p:cNvPr id="98" name="Rectangle 97">
            <a:extLst>
              <a:ext uri="{FF2B5EF4-FFF2-40B4-BE49-F238E27FC236}">
                <a16:creationId xmlns:a16="http://schemas.microsoft.com/office/drawing/2014/main" id="{5F6DBE0F-F111-4EC2-890C-F27208C33852}"/>
              </a:ext>
            </a:extLst>
          </p:cNvPr>
          <p:cNvSpPr>
            <a:spLocks/>
          </p:cNvSpPr>
          <p:nvPr/>
        </p:nvSpPr>
        <p:spPr>
          <a:xfrm>
            <a:off x="3324466" y="6086516"/>
            <a:ext cx="774042"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99" name="Rectangle 98">
            <a:extLst>
              <a:ext uri="{FF2B5EF4-FFF2-40B4-BE49-F238E27FC236}">
                <a16:creationId xmlns:a16="http://schemas.microsoft.com/office/drawing/2014/main" id="{5ADF5A0C-B0B9-4610-8373-FE43DC838655}"/>
              </a:ext>
            </a:extLst>
          </p:cNvPr>
          <p:cNvSpPr>
            <a:spLocks/>
          </p:cNvSpPr>
          <p:nvPr/>
        </p:nvSpPr>
        <p:spPr>
          <a:xfrm>
            <a:off x="4545259" y="6099056"/>
            <a:ext cx="774042" cy="25002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Average</a:t>
            </a:r>
          </a:p>
        </p:txBody>
      </p:sp>
      <p:sp>
        <p:nvSpPr>
          <p:cNvPr id="100" name="Rectangle 99">
            <a:extLst>
              <a:ext uri="{FF2B5EF4-FFF2-40B4-BE49-F238E27FC236}">
                <a16:creationId xmlns:a16="http://schemas.microsoft.com/office/drawing/2014/main" id="{C910F952-C247-4B10-B3CE-CCA3B292D2A8}"/>
              </a:ext>
            </a:extLst>
          </p:cNvPr>
          <p:cNvSpPr>
            <a:spLocks noChangeAspect="1"/>
          </p:cNvSpPr>
          <p:nvPr/>
        </p:nvSpPr>
        <p:spPr>
          <a:xfrm>
            <a:off x="8991625"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8%</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2</a:t>
            </a:r>
          </a:p>
        </p:txBody>
      </p:sp>
      <p:sp>
        <p:nvSpPr>
          <p:cNvPr id="102" name="Rectangle 101">
            <a:extLst>
              <a:ext uri="{FF2B5EF4-FFF2-40B4-BE49-F238E27FC236}">
                <a16:creationId xmlns:a16="http://schemas.microsoft.com/office/drawing/2014/main" id="{86F9ADE5-8831-4F35-8CC8-5534BC1C7BE2}"/>
              </a:ext>
            </a:extLst>
          </p:cNvPr>
          <p:cNvSpPr>
            <a:spLocks noChangeAspect="1"/>
          </p:cNvSpPr>
          <p:nvPr/>
        </p:nvSpPr>
        <p:spPr>
          <a:xfrm>
            <a:off x="8178019"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84%</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1</a:t>
            </a:r>
          </a:p>
        </p:txBody>
      </p:sp>
      <p:sp>
        <p:nvSpPr>
          <p:cNvPr id="103" name="Rectangle 102">
            <a:extLst>
              <a:ext uri="{FF2B5EF4-FFF2-40B4-BE49-F238E27FC236}">
                <a16:creationId xmlns:a16="http://schemas.microsoft.com/office/drawing/2014/main" id="{D6C439E6-2F4E-4AF9-9859-45BCBCE8B73C}"/>
              </a:ext>
            </a:extLst>
          </p:cNvPr>
          <p:cNvSpPr>
            <a:spLocks noChangeAspect="1"/>
          </p:cNvSpPr>
          <p:nvPr/>
        </p:nvSpPr>
        <p:spPr>
          <a:xfrm>
            <a:off x="9810403" y="5314161"/>
            <a:ext cx="774044" cy="772505"/>
          </a:xfrm>
          <a:prstGeom prst="rect">
            <a:avLst/>
          </a:prstGeom>
          <a:solidFill>
            <a:sysClr val="window" lastClr="FFFFFF"/>
          </a:solidFill>
          <a:ln w="12192" cap="rnd" cmpd="sng" algn="ctr">
            <a:solidFill>
              <a:srgbClr val="6E6F73"/>
            </a:solidFill>
            <a:prstDash val="solid"/>
            <a:round/>
            <a:headEnd type="none" w="med" len="med"/>
            <a:tailEnd type="none" w="med" len="me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7%</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3</a:t>
            </a:r>
          </a:p>
        </p:txBody>
      </p:sp>
      <p:sp>
        <p:nvSpPr>
          <p:cNvPr id="104" name="Rectangle 103">
            <a:extLst>
              <a:ext uri="{FF2B5EF4-FFF2-40B4-BE49-F238E27FC236}">
                <a16:creationId xmlns:a16="http://schemas.microsoft.com/office/drawing/2014/main" id="{61B704F1-2860-447C-AD1C-305449A6B755}"/>
              </a:ext>
            </a:extLst>
          </p:cNvPr>
          <p:cNvSpPr>
            <a:spLocks noChangeAspect="1"/>
          </p:cNvSpPr>
          <p:nvPr/>
        </p:nvSpPr>
        <p:spPr>
          <a:xfrm>
            <a:off x="10635450" y="5314161"/>
            <a:ext cx="774044" cy="772505"/>
          </a:xfrm>
          <a:prstGeom prst="rect">
            <a:avLst/>
          </a:prstGeom>
          <a:solidFill>
            <a:sysClr val="window" lastClr="FFFFFF"/>
          </a:solidFill>
          <a:ln w="12192" cap="rnd" cmpd="sng" algn="ctr">
            <a:solidFill>
              <a:schemeClr val="accent4"/>
            </a:solidFill>
            <a:prstDash val="solid"/>
          </a:ln>
          <a:effectLst/>
        </p:spPr>
        <p:txBody>
          <a:bodyPr lIns="58522" tIns="29261" rIns="58522" bIns="29261" rtlCol="0" anchor="ctr" anchorCtr="0"/>
          <a:lstStyle/>
          <a:p>
            <a:pPr marR="0" lvl="0" algn="ctr" defTabSz="914400" eaLnBrk="1" fontAlgn="auto" latinLnBrk="0" hangingPunct="1">
              <a:lnSpc>
                <a:spcPct val="100000"/>
              </a:lnSpc>
              <a:spcBef>
                <a:spcPts val="0"/>
              </a:spcBef>
              <a:spcAft>
                <a:spcPts val="0"/>
              </a:spcAft>
              <a:buClrTx/>
              <a:buSzTx/>
              <a:buFontTx/>
              <a:buNone/>
              <a:tabLst/>
              <a:defRPr/>
            </a:pPr>
            <a:r>
              <a:rPr kumimoji="0" lang="en-US" sz="2560" b="1" i="0" u="none" strike="noStrike" kern="0" cap="none" spc="0" normalizeH="0" baseline="0" noProof="0" dirty="0">
                <a:ln>
                  <a:noFill/>
                </a:ln>
                <a:solidFill>
                  <a:srgbClr val="295E7E"/>
                </a:solidFill>
                <a:effectLst/>
                <a:uLnTx/>
                <a:uFillTx/>
              </a:rPr>
              <a:t>79%</a:t>
            </a:r>
            <a:br>
              <a:rPr kumimoji="0" lang="en-US" sz="672" b="0" i="0" u="none" strike="noStrike" kern="0" cap="none" spc="0" normalizeH="0" baseline="0" noProof="0" dirty="0">
                <a:ln>
                  <a:noFill/>
                </a:ln>
                <a:solidFill>
                  <a:srgbClr val="3EAD92">
                    <a:lumMod val="100000"/>
                  </a:srgbClr>
                </a:solidFill>
                <a:effectLst/>
                <a:uLnTx/>
                <a:uFillTx/>
              </a:rPr>
            </a:br>
            <a:r>
              <a:rPr kumimoji="0" lang="en-US" sz="1024" b="0" i="0" u="none" strike="noStrike" kern="0" cap="none" spc="0" normalizeH="0" baseline="0" noProof="0" dirty="0">
                <a:ln>
                  <a:noFill/>
                </a:ln>
                <a:effectLst/>
                <a:uLnTx/>
                <a:uFillTx/>
              </a:rPr>
              <a:t>Q4</a:t>
            </a:r>
          </a:p>
        </p:txBody>
      </p:sp>
      <p:sp>
        <p:nvSpPr>
          <p:cNvPr id="105" name="Rectangle 104">
            <a:extLst>
              <a:ext uri="{FF2B5EF4-FFF2-40B4-BE49-F238E27FC236}">
                <a16:creationId xmlns:a16="http://schemas.microsoft.com/office/drawing/2014/main" id="{90456FB9-1D42-4234-98C3-32117CBD1C48}"/>
              </a:ext>
            </a:extLst>
          </p:cNvPr>
          <p:cNvSpPr>
            <a:spLocks/>
          </p:cNvSpPr>
          <p:nvPr/>
        </p:nvSpPr>
        <p:spPr>
          <a:xfrm>
            <a:off x="8178019" y="6395076"/>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29BA74"/>
                </a:solidFill>
                <a:latin typeface="Wingdings 3" panose="05040102010807070707" pitchFamily="18" charset="2"/>
              </a:rPr>
              <a:t>p</a:t>
            </a:r>
            <a:r>
              <a:rPr lang="en-US" sz="1152" dirty="0">
                <a:solidFill>
                  <a:srgbClr val="E71C57"/>
                </a:solidFill>
                <a:latin typeface="Wingdings 3" panose="05040102010807070707" pitchFamily="18" charset="2"/>
              </a:rPr>
              <a:t> </a:t>
            </a:r>
            <a:r>
              <a:rPr lang="en-US" sz="1152" dirty="0">
                <a:solidFill>
                  <a:srgbClr val="575757"/>
                </a:solidFill>
              </a:rPr>
              <a:t>1%</a:t>
            </a:r>
          </a:p>
        </p:txBody>
      </p:sp>
      <p:sp>
        <p:nvSpPr>
          <p:cNvPr id="112" name="Rectangle 111">
            <a:extLst>
              <a:ext uri="{FF2B5EF4-FFF2-40B4-BE49-F238E27FC236}">
                <a16:creationId xmlns:a16="http://schemas.microsoft.com/office/drawing/2014/main" id="{EA3A75C5-2DB4-42C3-B82B-4365ADDD6878}"/>
              </a:ext>
            </a:extLst>
          </p:cNvPr>
          <p:cNvSpPr>
            <a:spLocks/>
          </p:cNvSpPr>
          <p:nvPr/>
        </p:nvSpPr>
        <p:spPr>
          <a:xfrm>
            <a:off x="8171994" y="6089407"/>
            <a:ext cx="790364" cy="25002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FFFFFF"/>
                </a:solidFill>
              </a:rPr>
              <a:t>Very Good</a:t>
            </a:r>
          </a:p>
        </p:txBody>
      </p:sp>
      <p:sp>
        <p:nvSpPr>
          <p:cNvPr id="80" name="Rectangle 79">
            <a:extLst>
              <a:ext uri="{FF2B5EF4-FFF2-40B4-BE49-F238E27FC236}">
                <a16:creationId xmlns:a16="http://schemas.microsoft.com/office/drawing/2014/main" id="{BB4D1E5E-D906-4FB5-845B-802FA0F13979}"/>
              </a:ext>
            </a:extLst>
          </p:cNvPr>
          <p:cNvSpPr>
            <a:spLocks/>
          </p:cNvSpPr>
          <p:nvPr/>
        </p:nvSpPr>
        <p:spPr>
          <a:xfrm>
            <a:off x="8993595" y="6097758"/>
            <a:ext cx="790364"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82" name="Rectangle 81">
            <a:extLst>
              <a:ext uri="{FF2B5EF4-FFF2-40B4-BE49-F238E27FC236}">
                <a16:creationId xmlns:a16="http://schemas.microsoft.com/office/drawing/2014/main" id="{E90A958F-C34C-4048-8ADA-E45E30D666B2}"/>
              </a:ext>
            </a:extLst>
          </p:cNvPr>
          <p:cNvSpPr>
            <a:spLocks/>
          </p:cNvSpPr>
          <p:nvPr/>
        </p:nvSpPr>
        <p:spPr>
          <a:xfrm>
            <a:off x="8951115" y="6403427"/>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5%</a:t>
            </a:r>
          </a:p>
        </p:txBody>
      </p:sp>
      <p:sp>
        <p:nvSpPr>
          <p:cNvPr id="101" name="Rectangle 100">
            <a:extLst>
              <a:ext uri="{FF2B5EF4-FFF2-40B4-BE49-F238E27FC236}">
                <a16:creationId xmlns:a16="http://schemas.microsoft.com/office/drawing/2014/main" id="{D48178AE-4C46-45B8-BE9B-67788A6EEE8E}"/>
              </a:ext>
            </a:extLst>
          </p:cNvPr>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CT Only</a:t>
            </a:r>
          </a:p>
        </p:txBody>
      </p:sp>
      <p:grpSp>
        <p:nvGrpSpPr>
          <p:cNvPr id="106" name="Group 105">
            <a:extLst>
              <a:ext uri="{FF2B5EF4-FFF2-40B4-BE49-F238E27FC236}">
                <a16:creationId xmlns:a16="http://schemas.microsoft.com/office/drawing/2014/main" id="{20F8F9AB-2DD7-41E4-986F-526228332989}"/>
              </a:ext>
            </a:extLst>
          </p:cNvPr>
          <p:cNvGrpSpPr>
            <a:grpSpLocks noChangeAspect="1"/>
          </p:cNvGrpSpPr>
          <p:nvPr/>
        </p:nvGrpSpPr>
        <p:grpSpPr>
          <a:xfrm>
            <a:off x="599640" y="864696"/>
            <a:ext cx="457200" cy="457200"/>
            <a:chOff x="5867400" y="3200400"/>
            <a:chExt cx="457200" cy="457200"/>
          </a:xfrm>
        </p:grpSpPr>
        <p:sp>
          <p:nvSpPr>
            <p:cNvPr id="109" name="AutoShape 43">
              <a:extLst>
                <a:ext uri="{FF2B5EF4-FFF2-40B4-BE49-F238E27FC236}">
                  <a16:creationId xmlns:a16="http://schemas.microsoft.com/office/drawing/2014/main" id="{C2711B3A-F940-4399-8EF8-7991C552172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7">
              <a:extLst>
                <a:ext uri="{FF2B5EF4-FFF2-40B4-BE49-F238E27FC236}">
                  <a16:creationId xmlns:a16="http://schemas.microsoft.com/office/drawing/2014/main" id="{E9B27B5C-679B-4732-8A8C-5DAED5CFAE2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14" name="Rectangle 113">
            <a:extLst>
              <a:ext uri="{FF2B5EF4-FFF2-40B4-BE49-F238E27FC236}">
                <a16:creationId xmlns:a16="http://schemas.microsoft.com/office/drawing/2014/main" id="{E915936E-15C3-488E-97E6-A2AEF48558C6}"/>
              </a:ext>
            </a:extLst>
          </p:cNvPr>
          <p:cNvSpPr/>
          <p:nvPr/>
        </p:nvSpPr>
        <p:spPr>
          <a:xfrm>
            <a:off x="8214009" y="3539123"/>
            <a:ext cx="1591139" cy="8675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solidFill>
                  <a:srgbClr val="575757"/>
                </a:solidFill>
              </a:rPr>
              <a:t>Year-to-Date Average</a:t>
            </a:r>
            <a:endParaRPr lang="en-US" sz="1600" b="1" dirty="0">
              <a:solidFill>
                <a:srgbClr val="575757"/>
              </a:solidFill>
            </a:endParaRPr>
          </a:p>
        </p:txBody>
      </p:sp>
      <p:sp>
        <p:nvSpPr>
          <p:cNvPr id="115" name="Rectangle 114">
            <a:extLst>
              <a:ext uri="{FF2B5EF4-FFF2-40B4-BE49-F238E27FC236}">
                <a16:creationId xmlns:a16="http://schemas.microsoft.com/office/drawing/2014/main" id="{B194C2D4-1F7C-4E37-ABF9-1E999F2817FD}"/>
              </a:ext>
            </a:extLst>
          </p:cNvPr>
          <p:cNvSpPr>
            <a:spLocks/>
          </p:cNvSpPr>
          <p:nvPr/>
        </p:nvSpPr>
        <p:spPr>
          <a:xfrm>
            <a:off x="9830465" y="6101383"/>
            <a:ext cx="790364"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116" name="Rectangle 115">
            <a:extLst>
              <a:ext uri="{FF2B5EF4-FFF2-40B4-BE49-F238E27FC236}">
                <a16:creationId xmlns:a16="http://schemas.microsoft.com/office/drawing/2014/main" id="{7D032A90-2ACE-4302-B8AE-05E7079ACB49}"/>
              </a:ext>
            </a:extLst>
          </p:cNvPr>
          <p:cNvSpPr>
            <a:spLocks/>
          </p:cNvSpPr>
          <p:nvPr/>
        </p:nvSpPr>
        <p:spPr>
          <a:xfrm>
            <a:off x="9840758" y="6405323"/>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6%</a:t>
            </a:r>
          </a:p>
        </p:txBody>
      </p:sp>
      <p:sp>
        <p:nvSpPr>
          <p:cNvPr id="117" name="Rectangle 116">
            <a:extLst>
              <a:ext uri="{FF2B5EF4-FFF2-40B4-BE49-F238E27FC236}">
                <a16:creationId xmlns:a16="http://schemas.microsoft.com/office/drawing/2014/main" id="{71C9CFA6-90EF-4805-8BAA-977CEBDE5375}"/>
              </a:ext>
            </a:extLst>
          </p:cNvPr>
          <p:cNvSpPr>
            <a:spLocks/>
          </p:cNvSpPr>
          <p:nvPr/>
        </p:nvSpPr>
        <p:spPr>
          <a:xfrm>
            <a:off x="10632254" y="6105227"/>
            <a:ext cx="790364" cy="25002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r>
              <a:rPr lang="en-US" sz="1152" dirty="0">
                <a:solidFill>
                  <a:srgbClr val="575757"/>
                </a:solidFill>
              </a:rPr>
              <a:t>Good</a:t>
            </a:r>
          </a:p>
        </p:txBody>
      </p:sp>
      <p:sp>
        <p:nvSpPr>
          <p:cNvPr id="118" name="Rectangle 117">
            <a:extLst>
              <a:ext uri="{FF2B5EF4-FFF2-40B4-BE49-F238E27FC236}">
                <a16:creationId xmlns:a16="http://schemas.microsoft.com/office/drawing/2014/main" id="{C3A57A41-4272-45CC-BB83-72226C315970}"/>
              </a:ext>
            </a:extLst>
          </p:cNvPr>
          <p:cNvSpPr>
            <a:spLocks/>
          </p:cNvSpPr>
          <p:nvPr/>
        </p:nvSpPr>
        <p:spPr>
          <a:xfrm>
            <a:off x="10656351" y="6395075"/>
            <a:ext cx="773096" cy="3078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lvl="0" algn="ctr" fontAlgn="t">
              <a:defRPr/>
            </a:pPr>
            <a:r>
              <a:rPr lang="en-US" sz="1152" dirty="0">
                <a:solidFill>
                  <a:srgbClr val="E71C57"/>
                </a:solidFill>
                <a:latin typeface="Wingdings 3" panose="05040102010807070707" pitchFamily="18" charset="2"/>
              </a:rPr>
              <a:t>q </a:t>
            </a:r>
            <a:r>
              <a:rPr lang="en-US" sz="1152" dirty="0">
                <a:solidFill>
                  <a:srgbClr val="575757"/>
                </a:solidFill>
              </a:rPr>
              <a:t>4%</a:t>
            </a:r>
          </a:p>
        </p:txBody>
      </p:sp>
      <p:sp>
        <p:nvSpPr>
          <p:cNvPr id="108" name="Rectangle 107">
            <a:extLst>
              <a:ext uri="{FF2B5EF4-FFF2-40B4-BE49-F238E27FC236}">
                <a16:creationId xmlns:a16="http://schemas.microsoft.com/office/drawing/2014/main" id="{DF4D2BC7-BC84-435E-84E1-9C72219F3FE2}"/>
              </a:ext>
            </a:extLst>
          </p:cNvPr>
          <p:cNvSpPr/>
          <p:nvPr/>
        </p:nvSpPr>
        <p:spPr>
          <a:xfrm>
            <a:off x="7975776" y="-5147"/>
            <a:ext cx="4211021" cy="5430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E71C57"/>
                </a:solidFill>
              </a:rPr>
              <a:t>NOTE – targets here are our </a:t>
            </a:r>
            <a:r>
              <a:rPr lang="en-US" sz="1100" u="sng" dirty="0">
                <a:solidFill>
                  <a:srgbClr val="E71C57"/>
                </a:solidFill>
              </a:rPr>
              <a:t>overall</a:t>
            </a:r>
            <a:r>
              <a:rPr lang="en-US" sz="1100" dirty="0">
                <a:solidFill>
                  <a:srgbClr val="E71C57"/>
                </a:solidFill>
              </a:rPr>
              <a:t> target. In early 2022 we will assess whether CT requires different targets to overall.</a:t>
            </a:r>
          </a:p>
        </p:txBody>
      </p:sp>
    </p:spTree>
    <p:extLst>
      <p:ext uri="{BB962C8B-B14F-4D97-AF65-F5344CB8AC3E}">
        <p14:creationId xmlns:p14="http://schemas.microsoft.com/office/powerpoint/2010/main" val="769493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329920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48"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26872" y="0"/>
            <a:ext cx="2770467"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600" dirty="0">
              <a:solidFill>
                <a:srgbClr val="FFFFFF"/>
              </a:solidFill>
              <a:cs typeface="Arial" pitchFamily="34" charset="0"/>
            </a:endParaRPr>
          </a:p>
        </p:txBody>
      </p:sp>
      <p:sp>
        <p:nvSpPr>
          <p:cNvPr id="3" name="Title 2"/>
          <p:cNvSpPr>
            <a:spLocks noGrp="1"/>
          </p:cNvSpPr>
          <p:nvPr>
            <p:ph type="title"/>
          </p:nvPr>
        </p:nvSpPr>
        <p:spPr/>
        <p:txBody>
          <a:bodyPr vert="horz"/>
          <a:lstStyle/>
          <a:p>
            <a:r>
              <a:rPr lang="en-US" dirty="0">
                <a:solidFill>
                  <a:srgbClr val="295E7E"/>
                </a:solidFill>
              </a:rPr>
              <a:t>IT Satisfaction - Overall</a:t>
            </a:r>
          </a:p>
        </p:txBody>
      </p:sp>
      <p:graphicFrame>
        <p:nvGraphicFramePr>
          <p:cNvPr id="54" name="Chart 53">
            <a:extLst>
              <a:ext uri="{FF2B5EF4-FFF2-40B4-BE49-F238E27FC236}">
                <a16:creationId xmlns:a16="http://schemas.microsoft.com/office/drawing/2014/main" id="{EB5902C7-774C-43C8-B1BD-B09E092F5D18}"/>
              </a:ext>
            </a:extLst>
          </p:cNvPr>
          <p:cNvGraphicFramePr/>
          <p:nvPr>
            <p:custDataLst>
              <p:tags r:id="rId5"/>
            </p:custDataLst>
            <p:extLst>
              <p:ext uri="{D42A27DB-BD31-4B8C-83A1-F6EECF244321}">
                <p14:modId xmlns:p14="http://schemas.microsoft.com/office/powerpoint/2010/main" val="4073251380"/>
              </p:ext>
            </p:extLst>
          </p:nvPr>
        </p:nvGraphicFramePr>
        <p:xfrm>
          <a:off x="1397000" y="32448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53" name="Text Placeholder 3"/>
          <p:cNvSpPr>
            <a:spLocks noGrp="1"/>
          </p:cNvSpPr>
          <p:nvPr>
            <p:custDataLst>
              <p:tags r:id="rId6"/>
            </p:custDataLst>
          </p:nvPr>
        </p:nvSpPr>
        <p:spPr bwMode="gray">
          <a:xfrm>
            <a:off x="1725613" y="3786188"/>
            <a:ext cx="385763"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560FBDD-08FD-43EC-997B-A8DFAD009880}" type="datetime'''''''''''''''''''''''14'''''''''''''''''''">
              <a:rPr lang="en-US" altLang="en-US" sz="1600" smtClean="0">
                <a:effectLst/>
              </a:rPr>
              <a:pPr/>
              <a:t>14</a:t>
            </a:fld>
            <a:r>
              <a:rPr lang="en-US" altLang="en-US" sz="1600"/>
              <a:t>%</a:t>
            </a:r>
            <a:endParaRPr lang="en-US" sz="1600" dirty="0">
              <a:sym typeface="+mn-lt"/>
            </a:endParaRPr>
          </a:p>
        </p:txBody>
      </p:sp>
      <p:sp>
        <p:nvSpPr>
          <p:cNvPr id="55" name="Text Placeholder 3"/>
          <p:cNvSpPr>
            <a:spLocks noGrp="1"/>
          </p:cNvSpPr>
          <p:nvPr>
            <p:custDataLst>
              <p:tags r:id="rId7"/>
            </p:custDataLst>
          </p:nvPr>
        </p:nvSpPr>
        <p:spPr bwMode="gray">
          <a:xfrm>
            <a:off x="2365375" y="5408613"/>
            <a:ext cx="385763" cy="268288"/>
          </a:xfrm>
          <a:prstGeom prst="rect">
            <a:avLst/>
          </a:prstGeom>
          <a:noFill/>
          <a:ln>
            <a:noFill/>
          </a:ln>
          <a:extLst>
            <a:ext uri="{909E8E84-426E-40DD-AFC4-6F175D3DCCD1}">
              <a14:hiddenFill xmlns:a14="http://schemas.microsoft.com/office/drawing/2010/main">
                <a:solidFill>
                  <a:srgbClr val="2E355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150DD68-FB00-4D30-8C58-BA28188C0F73}" type="datetime'''''''''''''''''''5''''4'''''''''''''''''''''">
              <a:rPr lang="en-US" altLang="en-US" sz="1600" smtClean="0">
                <a:solidFill>
                  <a:schemeClr val="bg1"/>
                </a:solidFill>
              </a:rPr>
              <a:pPr/>
              <a:t>54</a:t>
            </a:fld>
            <a:r>
              <a:rPr lang="en-US" altLang="en-US" sz="1600">
                <a:solidFill>
                  <a:schemeClr val="bg1"/>
                </a:solidFill>
              </a:rPr>
              <a:t>%</a:t>
            </a:r>
            <a:endParaRPr lang="en-US" sz="1600" dirty="0">
              <a:solidFill>
                <a:schemeClr val="bg1"/>
              </a:solidFill>
              <a:sym typeface="+mn-lt"/>
            </a:endParaRPr>
          </a:p>
        </p:txBody>
      </p:sp>
      <p:sp>
        <p:nvSpPr>
          <p:cNvPr id="73" name="Text Placeholder 3"/>
          <p:cNvSpPr>
            <a:spLocks noGrp="1"/>
          </p:cNvSpPr>
          <p:nvPr>
            <p:custDataLst>
              <p:tags r:id="rId8"/>
            </p:custDataLst>
          </p:nvPr>
        </p:nvSpPr>
        <p:spPr bwMode="gray">
          <a:xfrm>
            <a:off x="3173413" y="3703638"/>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E320753-C132-49E6-8448-A67077C1E17B}" type="datetime'''''2''''''''''''''''''''''''5'">
              <a:rPr lang="en-US" altLang="en-US" sz="1600" smtClean="0">
                <a:solidFill>
                  <a:schemeClr val="bg1"/>
                </a:solidFill>
                <a:effectLst/>
              </a:rPr>
              <a:pPr/>
              <a:t>25</a:t>
            </a:fld>
            <a:r>
              <a:rPr lang="en-US" altLang="en-US" sz="1600">
                <a:solidFill>
                  <a:schemeClr val="bg1"/>
                </a:solidFill>
              </a:rPr>
              <a:t>%</a:t>
            </a:r>
            <a:endParaRPr lang="en-US" sz="1600" dirty="0">
              <a:solidFill>
                <a:schemeClr val="bg1"/>
              </a:solidFill>
              <a:sym typeface="+mn-lt"/>
            </a:endParaRPr>
          </a:p>
        </p:txBody>
      </p:sp>
      <p:sp>
        <p:nvSpPr>
          <p:cNvPr id="50" name="Text Placeholder 3"/>
          <p:cNvSpPr>
            <a:spLocks noGrp="1"/>
          </p:cNvSpPr>
          <p:nvPr>
            <p:custDataLst>
              <p:tags r:id="rId9"/>
            </p:custDataLst>
          </p:nvPr>
        </p:nvSpPr>
        <p:spPr bwMode="gray">
          <a:xfrm>
            <a:off x="2263775" y="3405188"/>
            <a:ext cx="279400" cy="268288"/>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E12FFEE-F6B7-4C8B-856A-1556625620BD}" type="datetime'6'''''''''''''''''''''''''''''''''''''''''''''''''">
              <a:rPr lang="en-US" altLang="en-US" sz="1600" smtClean="0">
                <a:solidFill>
                  <a:schemeClr val="bg1"/>
                </a:solidFill>
              </a:rPr>
              <a:pPr/>
              <a:t>6</a:t>
            </a:fld>
            <a:r>
              <a:rPr lang="en-US" altLang="en-US" sz="1600">
                <a:solidFill>
                  <a:schemeClr val="bg1"/>
                </a:solidFill>
              </a:rPr>
              <a:t>%</a:t>
            </a:r>
            <a:endParaRPr lang="en-US" sz="1600" dirty="0">
              <a:solidFill>
                <a:schemeClr val="bg1"/>
              </a:solidFill>
              <a:sym typeface="+mn-lt"/>
            </a:endParaRPr>
          </a:p>
        </p:txBody>
      </p:sp>
      <p:sp>
        <p:nvSpPr>
          <p:cNvPr id="41" name="Text Placeholder 3"/>
          <p:cNvSpPr>
            <a:spLocks noGrp="1"/>
          </p:cNvSpPr>
          <p:nvPr>
            <p:custDataLst>
              <p:tags r:id="rId10"/>
            </p:custDataLst>
          </p:nvPr>
        </p:nvSpPr>
        <p:spPr bwMode="gray">
          <a:xfrm>
            <a:off x="2508250" y="3673475"/>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3920813-638D-4168-BAC9-AF3144D9CEA8}"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51" name="Rectangle 50"/>
          <p:cNvSpPr/>
          <p:nvPr>
            <p:custDataLst>
              <p:tags r:id="rId11"/>
            </p:custDataLst>
          </p:nvPr>
        </p:nvSpPr>
        <p:spPr bwMode="gray">
          <a:xfrm>
            <a:off x="4959350" y="593090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847850" y="593090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3138488" y="593090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4"/>
            </p:custDataLst>
          </p:nvPr>
        </p:nvSpPr>
        <p:spPr bwMode="gray">
          <a:xfrm>
            <a:off x="4087813" y="593090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6096000" y="593090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 name="Text Placeholder 3"/>
          <p:cNvSpPr>
            <a:spLocks noGrp="1"/>
          </p:cNvSpPr>
          <p:nvPr>
            <p:custDataLst>
              <p:tags r:id="rId16"/>
            </p:custDataLst>
          </p:nvPr>
        </p:nvSpPr>
        <p:spPr bwMode="gray">
          <a:xfrm>
            <a:off x="6361113" y="591185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4" name="Text Placeholder 3"/>
          <p:cNvSpPr>
            <a:spLocks noGrp="1"/>
          </p:cNvSpPr>
          <p:nvPr>
            <p:custDataLst>
              <p:tags r:id="rId17"/>
            </p:custDataLst>
          </p:nvPr>
        </p:nvSpPr>
        <p:spPr bwMode="gray">
          <a:xfrm>
            <a:off x="2112963" y="591185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8"/>
            </p:custDataLst>
          </p:nvPr>
        </p:nvSpPr>
        <p:spPr bwMode="gray">
          <a:xfrm>
            <a:off x="4352925" y="591185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9"/>
            </p:custDataLst>
          </p:nvPr>
        </p:nvSpPr>
        <p:spPr bwMode="gray">
          <a:xfrm>
            <a:off x="3403600" y="591185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0" name="Text Placeholder 3"/>
          <p:cNvSpPr>
            <a:spLocks noGrp="1"/>
          </p:cNvSpPr>
          <p:nvPr>
            <p:custDataLst>
              <p:tags r:id="rId20"/>
            </p:custDataLst>
          </p:nvPr>
        </p:nvSpPr>
        <p:spPr bwMode="gray">
          <a:xfrm>
            <a:off x="5224463" y="591185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7" name="Chart 66">
            <a:extLst>
              <a:ext uri="{FF2B5EF4-FFF2-40B4-BE49-F238E27FC236}">
                <a16:creationId xmlns:a16="http://schemas.microsoft.com/office/drawing/2014/main" id="{761FF18D-07DC-4096-9209-F2EAC4809D30}"/>
              </a:ext>
            </a:extLst>
          </p:cNvPr>
          <p:cNvGraphicFramePr/>
          <p:nvPr>
            <p:custDataLst>
              <p:tags r:id="rId21"/>
            </p:custDataLst>
            <p:extLst>
              <p:ext uri="{D42A27DB-BD31-4B8C-83A1-F6EECF244321}">
                <p14:modId xmlns:p14="http://schemas.microsoft.com/office/powerpoint/2010/main" val="1828017981"/>
              </p:ext>
            </p:extLst>
          </p:nvPr>
        </p:nvGraphicFramePr>
        <p:xfrm>
          <a:off x="5454650" y="3244850"/>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29" name="Text Placeholder 3"/>
          <p:cNvSpPr>
            <a:spLocks noGrp="1"/>
          </p:cNvSpPr>
          <p:nvPr>
            <p:custDataLst>
              <p:tags r:id="rId22"/>
            </p:custDataLst>
          </p:nvPr>
        </p:nvSpPr>
        <p:spPr bwMode="gray">
          <a:xfrm>
            <a:off x="7534275" y="4506913"/>
            <a:ext cx="385763" cy="268288"/>
          </a:xfrm>
          <a:prstGeom prst="rect">
            <a:avLst/>
          </a:prstGeom>
          <a:solidFill>
            <a:schemeClr val="tx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624E209-61EC-43FC-B1B5-6C9B64576625}" type="datetime'''''''''5''''''''''''''4'''''">
              <a:rPr lang="en-US" altLang="en-US" sz="1600" smtClean="0">
                <a:solidFill>
                  <a:schemeClr val="bg1"/>
                </a:solidFill>
                <a:effectLst/>
              </a:rPr>
              <a:pPr/>
              <a:t>54</a:t>
            </a:fld>
            <a:r>
              <a:rPr lang="en-US" altLang="en-US" sz="1600">
                <a:solidFill>
                  <a:schemeClr val="bg1"/>
                </a:solidFill>
              </a:rPr>
              <a:t>%</a:t>
            </a:r>
            <a:endParaRPr lang="en-US" sz="1600" dirty="0">
              <a:solidFill>
                <a:schemeClr val="bg1"/>
              </a:solidFill>
              <a:sym typeface="+mn-lt"/>
            </a:endParaRPr>
          </a:p>
        </p:txBody>
      </p:sp>
      <p:sp>
        <p:nvSpPr>
          <p:cNvPr id="30" name="Text Placeholder 3"/>
          <p:cNvSpPr>
            <a:spLocks noGrp="1"/>
          </p:cNvSpPr>
          <p:nvPr>
            <p:custDataLst>
              <p:tags r:id="rId23"/>
            </p:custDataLst>
          </p:nvPr>
        </p:nvSpPr>
        <p:spPr bwMode="gray">
          <a:xfrm>
            <a:off x="6589713" y="3621088"/>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9AA056B-5B73-4DA3-AB88-985FA5C6E2BE}" type="datetime'''''''''''''''''''''''''0'''''''''''''''''''''''''''''''''''''">
              <a:rPr lang="en-US" altLang="en-US" sz="1600" smtClean="0">
                <a:solidFill>
                  <a:schemeClr val="bg1"/>
                </a:solidFill>
                <a:effectLst/>
              </a:rPr>
              <a:pPr/>
              <a:t>0</a:t>
            </a:fld>
            <a:r>
              <a:rPr lang="en-US" altLang="en-US" sz="1600">
                <a:solidFill>
                  <a:schemeClr val="bg1"/>
                </a:solidFill>
              </a:rPr>
              <a:t>%</a:t>
            </a:r>
            <a:endParaRPr lang="en-US" sz="1600" dirty="0">
              <a:solidFill>
                <a:schemeClr val="bg1"/>
              </a:solidFill>
              <a:sym typeface="+mn-lt"/>
            </a:endParaRPr>
          </a:p>
        </p:txBody>
      </p:sp>
      <p:sp>
        <p:nvSpPr>
          <p:cNvPr id="31" name="Text Placeholder 3"/>
          <p:cNvSpPr>
            <a:spLocks noGrp="1"/>
          </p:cNvSpPr>
          <p:nvPr>
            <p:custDataLst>
              <p:tags r:id="rId24"/>
            </p:custDataLst>
          </p:nvPr>
        </p:nvSpPr>
        <p:spPr bwMode="gray">
          <a:xfrm>
            <a:off x="5568950" y="4578350"/>
            <a:ext cx="385763" cy="268288"/>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9675D10-2730-4CA5-B650-EB16A87BBC79}" type="datetime'''''''''''''3''''''''7'''''''''''''''''''''''''''''''''''">
              <a:rPr lang="en-US" altLang="en-US" sz="1600" smtClean="0">
                <a:solidFill>
                  <a:schemeClr val="bg1"/>
                </a:solidFill>
                <a:effectLst/>
              </a:rPr>
              <a:pPr/>
              <a:t>37</a:t>
            </a:fld>
            <a:r>
              <a:rPr lang="en-US" altLang="en-US" sz="1600">
                <a:solidFill>
                  <a:schemeClr val="bg1"/>
                </a:solidFill>
              </a:rPr>
              <a:t>%</a:t>
            </a:r>
            <a:endParaRPr lang="en-US" sz="1600" dirty="0">
              <a:solidFill>
                <a:schemeClr val="bg1"/>
              </a:solidFill>
              <a:sym typeface="+mn-lt"/>
            </a:endParaRPr>
          </a:p>
        </p:txBody>
      </p:sp>
      <p:sp>
        <p:nvSpPr>
          <p:cNvPr id="32" name="Text Placeholder 3"/>
          <p:cNvSpPr>
            <a:spLocks noGrp="1"/>
          </p:cNvSpPr>
          <p:nvPr>
            <p:custDataLst>
              <p:tags r:id="rId25"/>
            </p:custDataLst>
          </p:nvPr>
        </p:nvSpPr>
        <p:spPr bwMode="gray">
          <a:xfrm>
            <a:off x="6240463" y="3436938"/>
            <a:ext cx="279400"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A2E3CEA-0099-4FF6-B497-A47B81476394}" type="datetime'''8'''''''''''''''''">
              <a:rPr lang="en-US" altLang="en-US" sz="1600" smtClean="0"/>
              <a:pPr/>
              <a:t>8</a:t>
            </a:fld>
            <a:r>
              <a:rPr lang="en-US" altLang="en-US" sz="1600"/>
              <a:t>%</a:t>
            </a:r>
            <a:endParaRPr lang="en-US" sz="1600" dirty="0">
              <a:sym typeface="+mn-lt"/>
            </a:endParaRPr>
          </a:p>
        </p:txBody>
      </p:sp>
      <p:sp>
        <p:nvSpPr>
          <p:cNvPr id="33" name="Text Placeholder 3"/>
          <p:cNvSpPr>
            <a:spLocks noGrp="1"/>
          </p:cNvSpPr>
          <p:nvPr>
            <p:custDataLst>
              <p:tags r:id="rId26"/>
            </p:custDataLst>
          </p:nvPr>
        </p:nvSpPr>
        <p:spPr bwMode="gray">
          <a:xfrm>
            <a:off x="6532563" y="3352800"/>
            <a:ext cx="279400" cy="268288"/>
          </a:xfrm>
          <a:prstGeom prst="rect">
            <a:avLst/>
          </a:prstGeom>
          <a:solidFill>
            <a:srgbClr val="ABA8B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D135947-9D07-49A0-82E4-D96DACA520DD}" type="datetime'''1'''''''''''''''''''''''''''''">
              <a:rPr lang="en-US" altLang="en-US" sz="1600" smtClean="0">
                <a:solidFill>
                  <a:schemeClr val="bg1"/>
                </a:solidFill>
                <a:effectLst/>
              </a:rPr>
              <a:pPr/>
              <a:t>1</a:t>
            </a:fld>
            <a:r>
              <a:rPr lang="en-US" altLang="en-US" sz="1600">
                <a:solidFill>
                  <a:schemeClr val="bg1"/>
                </a:solidFill>
              </a:rPr>
              <a:t>%</a:t>
            </a:r>
            <a:endParaRPr lang="en-US" sz="1600" dirty="0">
              <a:solidFill>
                <a:schemeClr val="bg1"/>
              </a:solidFill>
              <a:sym typeface="+mn-lt"/>
            </a:endParaRPr>
          </a:p>
        </p:txBody>
      </p:sp>
      <p:sp>
        <p:nvSpPr>
          <p:cNvPr id="72" name="Rectangle 71"/>
          <p:cNvSpPr/>
          <p:nvPr/>
        </p:nvSpPr>
        <p:spPr>
          <a:xfrm>
            <a:off x="630001" y="1332651"/>
            <a:ext cx="4075349" cy="102830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9% </a:t>
            </a:r>
            <a:r>
              <a:rPr lang="en-US" dirty="0">
                <a:solidFill>
                  <a:srgbClr val="575757"/>
                </a:solidFill>
              </a:rPr>
              <a:t>CT satisfied </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2</a:t>
            </a:r>
            <a:r>
              <a:rPr lang="en-US" sz="1400" dirty="0">
                <a:solidFill>
                  <a:srgbClr val="575757"/>
                </a:solidFill>
              </a:rPr>
              <a:t>% vs Q3 '21  | </a:t>
            </a:r>
            <a:r>
              <a:rPr lang="en-US" sz="1400" dirty="0">
                <a:solidFill>
                  <a:srgbClr val="E71C57"/>
                </a:solidFill>
                <a:latin typeface="Wingdings 3" panose="05040102010807070707" pitchFamily="18" charset="2"/>
              </a:rPr>
              <a:t>q</a:t>
            </a:r>
            <a:r>
              <a:rPr lang="en-US" sz="1400" dirty="0">
                <a:solidFill>
                  <a:srgbClr val="575757"/>
                </a:solidFill>
                <a:latin typeface="+mj-lt"/>
              </a:rPr>
              <a:t>6</a:t>
            </a:r>
            <a:r>
              <a:rPr lang="en-US" sz="1400" dirty="0">
                <a:solidFill>
                  <a:srgbClr val="575757"/>
                </a:solidFill>
              </a:rPr>
              <a:t>% vs Q4' 20  </a:t>
            </a: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4</a:t>
            </a:r>
            <a:r>
              <a:rPr lang="en-US" sz="1400" dirty="0">
                <a:solidFill>
                  <a:srgbClr val="575757"/>
                </a:solidFill>
              </a:rPr>
              <a:t>%</a:t>
            </a:r>
            <a:r>
              <a:rPr lang="en-US" sz="1400" dirty="0">
                <a:solidFill>
                  <a:srgbClr val="E71C57"/>
                </a:solidFill>
              </a:rPr>
              <a:t> </a:t>
            </a:r>
            <a:r>
              <a:rPr lang="en-US" sz="1400" dirty="0">
                <a:solidFill>
                  <a:srgbClr val="575757"/>
                </a:solidFill>
              </a:rPr>
              <a:t>vs Target</a:t>
            </a:r>
          </a:p>
        </p:txBody>
      </p:sp>
      <p:sp>
        <p:nvSpPr>
          <p:cNvPr id="74" name="Rectangle 73"/>
          <p:cNvSpPr/>
          <p:nvPr/>
        </p:nvSpPr>
        <p:spPr>
          <a:xfrm>
            <a:off x="4705350" y="1381132"/>
            <a:ext cx="4075348" cy="10009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90% </a:t>
            </a:r>
            <a:r>
              <a:rPr lang="en-US" dirty="0">
                <a:solidFill>
                  <a:srgbClr val="575757"/>
                </a:solidFill>
              </a:rPr>
              <a:t>BST satisfied </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latin typeface="+mj-lt"/>
              </a:rPr>
              <a:t>1</a:t>
            </a:r>
            <a:r>
              <a:rPr lang="en-US" sz="1400" dirty="0">
                <a:solidFill>
                  <a:srgbClr val="575757"/>
                </a:solidFill>
              </a:rPr>
              <a:t>% vs Q3 '21  | </a:t>
            </a:r>
            <a:r>
              <a:rPr lang="en-US" sz="1400" dirty="0">
                <a:solidFill>
                  <a:srgbClr val="E71C57"/>
                </a:solidFill>
                <a:latin typeface="Wingdings 3" panose="05040102010807070707" pitchFamily="18" charset="2"/>
              </a:rPr>
              <a:t>q</a:t>
            </a:r>
            <a:r>
              <a:rPr lang="en-US" sz="1400" dirty="0">
                <a:solidFill>
                  <a:srgbClr val="575757"/>
                </a:solidFill>
                <a:latin typeface="+mj-lt"/>
              </a:rPr>
              <a:t>1</a:t>
            </a:r>
            <a:r>
              <a:rPr lang="en-US" sz="1400" dirty="0">
                <a:solidFill>
                  <a:srgbClr val="575757"/>
                </a:solidFill>
              </a:rPr>
              <a:t>% vs Q4 '20</a:t>
            </a: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7</a:t>
            </a:r>
            <a:r>
              <a:rPr lang="en-US" sz="1400" dirty="0">
                <a:solidFill>
                  <a:srgbClr val="575757"/>
                </a:solidFill>
              </a:rPr>
              <a:t>% vs Target</a:t>
            </a:r>
          </a:p>
        </p:txBody>
      </p:sp>
      <p:sp>
        <p:nvSpPr>
          <p:cNvPr id="7" name="Rectangle 6"/>
          <p:cNvSpPr/>
          <p:nvPr/>
        </p:nvSpPr>
        <p:spPr>
          <a:xfrm>
            <a:off x="1908286" y="4140200"/>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20927" y="4148137"/>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84" name="Rectangle 83"/>
          <p:cNvSpPr/>
          <p:nvPr/>
        </p:nvSpPr>
        <p:spPr>
          <a:xfrm>
            <a:off x="1039210" y="938101"/>
            <a:ext cx="2854785"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 Doughnut View</a:t>
            </a:r>
          </a:p>
        </p:txBody>
      </p:sp>
      <p:cxnSp>
        <p:nvCxnSpPr>
          <p:cNvPr id="36" name="Straight Connector 35"/>
          <p:cNvCxnSpPr/>
          <p:nvPr/>
        </p:nvCxnSpPr>
        <p:spPr>
          <a:xfrm flipH="1" flipV="1">
            <a:off x="681605" y="2381250"/>
            <a:ext cx="7707176" cy="0"/>
          </a:xfrm>
          <a:prstGeom prst="line">
            <a:avLst/>
          </a:prstGeom>
          <a:ln w="19050" cap="rnd">
            <a:solidFill>
              <a:schemeClr val="tx1">
                <a:lumMod val="60000"/>
                <a:lumOff val="40000"/>
              </a:schemeClr>
            </a:solidFill>
            <a:prstDash val="sysDot"/>
          </a:ln>
        </p:spPr>
      </p:cxnSp>
      <p:sp>
        <p:nvSpPr>
          <p:cNvPr id="43" name="Rectangle 42"/>
          <p:cNvSpPr/>
          <p:nvPr/>
        </p:nvSpPr>
        <p:spPr>
          <a:xfrm>
            <a:off x="9151283" y="0"/>
            <a:ext cx="2814039"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BST are +11% more satisfied with overall IT than CT. This difference continues to bolster the overall score</a:t>
            </a:r>
          </a:p>
        </p:txBody>
      </p:sp>
      <p:sp>
        <p:nvSpPr>
          <p:cNvPr id="60" name="Rectangle 59">
            <a:extLst>
              <a:ext uri="{FF2B5EF4-FFF2-40B4-BE49-F238E27FC236}">
                <a16:creationId xmlns:a16="http://schemas.microsoft.com/office/drawing/2014/main" id="{888CE1A6-9705-4916-B89B-002117991937}"/>
              </a:ext>
            </a:extLst>
          </p:cNvPr>
          <p:cNvSpPr/>
          <p:nvPr/>
        </p:nvSpPr>
        <p:spPr>
          <a:xfrm>
            <a:off x="1885636" y="2390361"/>
            <a:ext cx="1519017"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64" name="Rectangle 63">
            <a:extLst>
              <a:ext uri="{FF2B5EF4-FFF2-40B4-BE49-F238E27FC236}">
                <a16:creationId xmlns:a16="http://schemas.microsoft.com/office/drawing/2014/main" id="{AB270A67-EAE7-4424-AB7A-8DDA565D33CB}"/>
              </a:ext>
            </a:extLst>
          </p:cNvPr>
          <p:cNvSpPr/>
          <p:nvPr/>
        </p:nvSpPr>
        <p:spPr>
          <a:xfrm>
            <a:off x="6021092" y="2380836"/>
            <a:ext cx="1519017" cy="387350"/>
          </a:xfrm>
          <a:prstGeom prst="rect">
            <a:avLst/>
          </a:prstGeom>
          <a:solidFill>
            <a:srgbClr val="30C1D7"/>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Excellent</a:t>
            </a:r>
          </a:p>
        </p:txBody>
      </p:sp>
      <p:grpSp>
        <p:nvGrpSpPr>
          <p:cNvPr id="61" name="Group 60">
            <a:extLst>
              <a:ext uri="{FF2B5EF4-FFF2-40B4-BE49-F238E27FC236}">
                <a16:creationId xmlns:a16="http://schemas.microsoft.com/office/drawing/2014/main" id="{9CE86FA8-59F8-4F84-AEDD-3F726F3B0789}"/>
              </a:ext>
            </a:extLst>
          </p:cNvPr>
          <p:cNvGrpSpPr>
            <a:grpSpLocks noChangeAspect="1"/>
          </p:cNvGrpSpPr>
          <p:nvPr/>
        </p:nvGrpSpPr>
        <p:grpSpPr>
          <a:xfrm>
            <a:off x="599640" y="864696"/>
            <a:ext cx="457200" cy="457200"/>
            <a:chOff x="5867400" y="3200400"/>
            <a:chExt cx="457200" cy="457200"/>
          </a:xfrm>
        </p:grpSpPr>
        <p:sp>
          <p:nvSpPr>
            <p:cNvPr id="63" name="AutoShape 43">
              <a:extLst>
                <a:ext uri="{FF2B5EF4-FFF2-40B4-BE49-F238E27FC236}">
                  <a16:creationId xmlns:a16="http://schemas.microsoft.com/office/drawing/2014/main" id="{7A7ADA0D-3683-4555-9A74-A8D049D299F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7">
              <a:extLst>
                <a:ext uri="{FF2B5EF4-FFF2-40B4-BE49-F238E27FC236}">
                  <a16:creationId xmlns:a16="http://schemas.microsoft.com/office/drawing/2014/main" id="{8657FDD0-031A-42CF-B070-858262A8BA4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1954737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7694C5-7603-44F6-87D0-778F19E2C591}"/>
              </a:ext>
            </a:extLst>
          </p:cNvPr>
          <p:cNvGraphicFramePr>
            <a:graphicFrameLocks noChangeAspect="1"/>
          </p:cNvGraphicFramePr>
          <p:nvPr>
            <p:custDataLst>
              <p:tags r:id="rId2"/>
            </p:custDataLst>
            <p:extLst>
              <p:ext uri="{D42A27DB-BD31-4B8C-83A1-F6EECF244321}">
                <p14:modId xmlns:p14="http://schemas.microsoft.com/office/powerpoint/2010/main" val="336705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60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table_type_name">
            <a:extLst>
              <a:ext uri="{FF2B5EF4-FFF2-40B4-BE49-F238E27FC236}">
                <a16:creationId xmlns:a16="http://schemas.microsoft.com/office/drawing/2014/main" id="{66565561-8CED-4E45-8E12-EC75FFD213B1}"/>
              </a:ext>
            </a:extLst>
          </p:cNvPr>
          <p:cNvGraphicFramePr>
            <a:graphicFrameLocks noGrp="1"/>
          </p:cNvGraphicFramePr>
          <p:nvPr>
            <p:extLst>
              <p:ext uri="{D42A27DB-BD31-4B8C-83A1-F6EECF244321}">
                <p14:modId xmlns:p14="http://schemas.microsoft.com/office/powerpoint/2010/main" val="453592111"/>
              </p:ext>
            </p:extLst>
          </p:nvPr>
        </p:nvGraphicFramePr>
        <p:xfrm>
          <a:off x="630000" y="1526114"/>
          <a:ext cx="7938981" cy="4386947"/>
        </p:xfrm>
        <a:graphic>
          <a:graphicData uri="http://schemas.openxmlformats.org/drawingml/2006/table">
            <a:tbl>
              <a:tblPr/>
              <a:tblGrid>
                <a:gridCol w="1747941">
                  <a:extLst>
                    <a:ext uri="{9D8B030D-6E8A-4147-A177-3AD203B41FA5}">
                      <a16:colId xmlns:a16="http://schemas.microsoft.com/office/drawing/2014/main" val="20001"/>
                    </a:ext>
                  </a:extLst>
                </a:gridCol>
                <a:gridCol w="1238208">
                  <a:extLst>
                    <a:ext uri="{9D8B030D-6E8A-4147-A177-3AD203B41FA5}">
                      <a16:colId xmlns:a16="http://schemas.microsoft.com/office/drawing/2014/main" val="20002"/>
                    </a:ext>
                  </a:extLst>
                </a:gridCol>
                <a:gridCol w="1238208">
                  <a:extLst>
                    <a:ext uri="{9D8B030D-6E8A-4147-A177-3AD203B41FA5}">
                      <a16:colId xmlns:a16="http://schemas.microsoft.com/office/drawing/2014/main" val="251367245"/>
                    </a:ext>
                  </a:extLst>
                </a:gridCol>
                <a:gridCol w="1238208">
                  <a:extLst>
                    <a:ext uri="{9D8B030D-6E8A-4147-A177-3AD203B41FA5}">
                      <a16:colId xmlns:a16="http://schemas.microsoft.com/office/drawing/2014/main" val="1344836950"/>
                    </a:ext>
                  </a:extLst>
                </a:gridCol>
                <a:gridCol w="1238208">
                  <a:extLst>
                    <a:ext uri="{9D8B030D-6E8A-4147-A177-3AD203B41FA5}">
                      <a16:colId xmlns:a16="http://schemas.microsoft.com/office/drawing/2014/main" val="20010"/>
                    </a:ext>
                  </a:extLst>
                </a:gridCol>
                <a:gridCol w="1238208">
                  <a:extLst>
                    <a:ext uri="{9D8B030D-6E8A-4147-A177-3AD203B41FA5}">
                      <a16:colId xmlns:a16="http://schemas.microsoft.com/office/drawing/2014/main" val="1639790915"/>
                    </a:ext>
                  </a:extLst>
                </a:gridCol>
              </a:tblGrid>
              <a:tr h="633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19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Averag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Averag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19 vs 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vs 2021</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435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MDP</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45</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2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1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91280756"/>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Partner</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44</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16%</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81093964"/>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Senior ECT</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6</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6%</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5%</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02220370"/>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Principal</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2</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89532346"/>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Project Leader</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59</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5%</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5%</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6538857"/>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Consultant</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1</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31461272"/>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Associate</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4</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9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16%</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7%</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95770363"/>
                  </a:ext>
                </a:extLst>
              </a:tr>
            </a:tbl>
          </a:graphicData>
        </a:graphic>
      </p:graphicFrame>
      <p:sp>
        <p:nvSpPr>
          <p:cNvPr id="8" name="Title 2">
            <a:extLst>
              <a:ext uri="{FF2B5EF4-FFF2-40B4-BE49-F238E27FC236}">
                <a16:creationId xmlns:a16="http://schemas.microsoft.com/office/drawing/2014/main" id="{408E4E9D-F925-4AEA-9AAD-D9997A7640DB}"/>
              </a:ext>
            </a:extLst>
          </p:cNvPr>
          <p:cNvSpPr txBox="1">
            <a:spLocks/>
          </p:cNvSpPr>
          <p:nvPr/>
        </p:nvSpPr>
        <p:spPr>
          <a:xfrm>
            <a:off x="769700" y="597073"/>
            <a:ext cx="8101584"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295E7E"/>
                </a:solidFill>
              </a:rPr>
              <a:t>IT Satisfaction - Overall</a:t>
            </a:r>
          </a:p>
        </p:txBody>
      </p:sp>
      <p:grpSp>
        <p:nvGrpSpPr>
          <p:cNvPr id="9" name="Group 8">
            <a:extLst>
              <a:ext uri="{FF2B5EF4-FFF2-40B4-BE49-F238E27FC236}">
                <a16:creationId xmlns:a16="http://schemas.microsoft.com/office/drawing/2014/main" id="{8635EE2A-C8BC-4834-8A1A-94B57585CC81}"/>
              </a:ext>
            </a:extLst>
          </p:cNvPr>
          <p:cNvGrpSpPr>
            <a:grpSpLocks noChangeAspect="1"/>
          </p:cNvGrpSpPr>
          <p:nvPr/>
        </p:nvGrpSpPr>
        <p:grpSpPr>
          <a:xfrm>
            <a:off x="599640" y="864696"/>
            <a:ext cx="457200" cy="457200"/>
            <a:chOff x="5867400" y="3200400"/>
            <a:chExt cx="457200" cy="457200"/>
          </a:xfrm>
        </p:grpSpPr>
        <p:sp>
          <p:nvSpPr>
            <p:cNvPr id="10" name="AutoShape 43">
              <a:extLst>
                <a:ext uri="{FF2B5EF4-FFF2-40B4-BE49-F238E27FC236}">
                  <a16:creationId xmlns:a16="http://schemas.microsoft.com/office/drawing/2014/main" id="{BBDCAE5C-F6F9-4C3C-A5A6-86EA05063984}"/>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7">
              <a:extLst>
                <a:ext uri="{FF2B5EF4-FFF2-40B4-BE49-F238E27FC236}">
                  <a16:creationId xmlns:a16="http://schemas.microsoft.com/office/drawing/2014/main" id="{48EE1C65-60C0-427E-ACA6-8C30A154EE1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2" name="Rectangle 11">
            <a:extLst>
              <a:ext uri="{FF2B5EF4-FFF2-40B4-BE49-F238E27FC236}">
                <a16:creationId xmlns:a16="http://schemas.microsoft.com/office/drawing/2014/main" id="{036C8527-F813-4448-B2D9-532D007324CC}"/>
              </a:ext>
            </a:extLst>
          </p:cNvPr>
          <p:cNvSpPr/>
          <p:nvPr/>
        </p:nvSpPr>
        <p:spPr>
          <a:xfrm>
            <a:off x="1029510" y="919135"/>
            <a:ext cx="2854785"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T Role Level</a:t>
            </a:r>
          </a:p>
        </p:txBody>
      </p:sp>
      <p:sp>
        <p:nvSpPr>
          <p:cNvPr id="14" name="Rectangle 13">
            <a:extLst>
              <a:ext uri="{FF2B5EF4-FFF2-40B4-BE49-F238E27FC236}">
                <a16:creationId xmlns:a16="http://schemas.microsoft.com/office/drawing/2014/main" id="{2A6F0D37-F3AB-4A2C-8116-ED1FD9A58BCE}"/>
              </a:ext>
            </a:extLst>
          </p:cNvPr>
          <p:cNvSpPr/>
          <p:nvPr/>
        </p:nvSpPr>
        <p:spPr>
          <a:xfrm>
            <a:off x="9151283" y="0"/>
            <a:ext cx="2814039"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Positive trends are seen across all roles when comparing annual average E-SAT with past years</a:t>
            </a:r>
          </a:p>
          <a:p>
            <a:endParaRPr lang="en-GB" dirty="0">
              <a:solidFill>
                <a:srgbClr val="FFFFFF"/>
              </a:solidFill>
              <a:cs typeface="Arial" pitchFamily="34" charset="0"/>
            </a:endParaRPr>
          </a:p>
          <a:p>
            <a:r>
              <a:rPr lang="en-GB" dirty="0">
                <a:solidFill>
                  <a:srgbClr val="FFFFFF"/>
                </a:solidFill>
                <a:cs typeface="Arial" pitchFamily="34" charset="0"/>
              </a:rPr>
              <a:t>Most significant are MDP's who are +14 +22 more satisfied than 2019</a:t>
            </a:r>
          </a:p>
        </p:txBody>
      </p:sp>
    </p:spTree>
    <p:extLst>
      <p:ext uri="{BB962C8B-B14F-4D97-AF65-F5344CB8AC3E}">
        <p14:creationId xmlns:p14="http://schemas.microsoft.com/office/powerpoint/2010/main" val="1594620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7689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97" name="think-cell Slide" r:id="rId25" imgW="473" imgH="473" progId="TCLayout.ActiveDocument.1">
                  <p:embed/>
                </p:oleObj>
              </mc:Choice>
              <mc:Fallback>
                <p:oleObj name="think-cell Slide" r:id="rId25" imgW="473" imgH="473" progId="TCLayout.ActiveDocument.1">
                  <p:embed/>
                  <p:pic>
                    <p:nvPicPr>
                      <p:cNvPr id="5" name="Object 4"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cxnSp>
        <p:nvCxnSpPr>
          <p:cNvPr id="33" name="Straight Connector 32"/>
          <p:cNvCxnSpPr/>
          <p:nvPr>
            <p:custDataLst>
              <p:tags r:id="rId5"/>
            </p:custDataLst>
          </p:nvPr>
        </p:nvCxnSpPr>
        <p:spPr bwMode="gray">
          <a:xfrm flipH="1">
            <a:off x="6567489" y="2478088"/>
            <a:ext cx="41275" cy="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9191626" y="0"/>
            <a:ext cx="2882898"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Employees are most satisfied with the tools &amp; services provided for the BCG office &amp; least satisfied with those for working at client sites</a:t>
            </a:r>
            <a:r>
              <a:rPr lang="en-GB" baseline="30000" dirty="0">
                <a:solidFill>
                  <a:srgbClr val="FFFFFF"/>
                </a:solidFill>
                <a:cs typeface="Arial" pitchFamily="34" charset="0"/>
              </a:rPr>
              <a:t>1</a:t>
            </a:r>
          </a:p>
        </p:txBody>
      </p:sp>
      <p:sp>
        <p:nvSpPr>
          <p:cNvPr id="3" name="Title 2"/>
          <p:cNvSpPr>
            <a:spLocks noGrp="1"/>
          </p:cNvSpPr>
          <p:nvPr>
            <p:ph type="title"/>
          </p:nvPr>
        </p:nvSpPr>
        <p:spPr>
          <a:xfrm>
            <a:off x="621409" y="280991"/>
            <a:ext cx="8263973" cy="637097"/>
          </a:xfrm>
        </p:spPr>
        <p:txBody>
          <a:bodyPr vert="horz"/>
          <a:lstStyle/>
          <a:p>
            <a:r>
              <a:rPr lang="en-US" sz="2300" dirty="0">
                <a:solidFill>
                  <a:srgbClr val="295E7E"/>
                </a:solidFill>
              </a:rPr>
              <a:t>Satisfaction with tools &amp; services provided for employees to work from - </a:t>
            </a:r>
            <a:endParaRPr lang="en-US" dirty="0"/>
          </a:p>
        </p:txBody>
      </p:sp>
      <p:sp>
        <p:nvSpPr>
          <p:cNvPr id="37" name="Rectangle 3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pSp>
        <p:nvGrpSpPr>
          <p:cNvPr id="53" name="Group 52">
            <a:extLst>
              <a:ext uri="{FF2B5EF4-FFF2-40B4-BE49-F238E27FC236}">
                <a16:creationId xmlns:a16="http://schemas.microsoft.com/office/drawing/2014/main" id="{B7C27A5F-B1E5-4098-804F-2D9134B1290C}"/>
              </a:ext>
            </a:extLst>
          </p:cNvPr>
          <p:cNvGrpSpPr>
            <a:grpSpLocks noChangeAspect="1"/>
          </p:cNvGrpSpPr>
          <p:nvPr/>
        </p:nvGrpSpPr>
        <p:grpSpPr>
          <a:xfrm>
            <a:off x="599640" y="864696"/>
            <a:ext cx="457200" cy="457200"/>
            <a:chOff x="5867400" y="3200400"/>
            <a:chExt cx="457200" cy="457200"/>
          </a:xfrm>
        </p:grpSpPr>
        <p:sp>
          <p:nvSpPr>
            <p:cNvPr id="54" name="AutoShape 43">
              <a:extLst>
                <a:ext uri="{FF2B5EF4-FFF2-40B4-BE49-F238E27FC236}">
                  <a16:creationId xmlns:a16="http://schemas.microsoft.com/office/drawing/2014/main" id="{6A724018-596B-442D-A8CA-7F9E3AE2318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7">
              <a:extLst>
                <a:ext uri="{FF2B5EF4-FFF2-40B4-BE49-F238E27FC236}">
                  <a16:creationId xmlns:a16="http://schemas.microsoft.com/office/drawing/2014/main" id="{934F0099-4207-4FAD-B97B-3CC058F50199}"/>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aphicFrame>
        <p:nvGraphicFramePr>
          <p:cNvPr id="44" name="Chart 43">
            <a:extLst>
              <a:ext uri="{FF2B5EF4-FFF2-40B4-BE49-F238E27FC236}">
                <a16:creationId xmlns:a16="http://schemas.microsoft.com/office/drawing/2014/main" id="{6E5F9E56-E591-4DB9-94DE-AA27B15BC941}"/>
              </a:ext>
            </a:extLst>
          </p:cNvPr>
          <p:cNvGraphicFramePr/>
          <p:nvPr>
            <p:custDataLst>
              <p:tags r:id="rId6"/>
            </p:custDataLst>
            <p:extLst>
              <p:ext uri="{D42A27DB-BD31-4B8C-83A1-F6EECF244321}">
                <p14:modId xmlns:p14="http://schemas.microsoft.com/office/powerpoint/2010/main" val="4270690515"/>
              </p:ext>
            </p:extLst>
          </p:nvPr>
        </p:nvGraphicFramePr>
        <p:xfrm>
          <a:off x="1571625" y="2395538"/>
          <a:ext cx="5422900" cy="2462212"/>
        </p:xfrm>
        <a:graphic>
          <a:graphicData uri="http://schemas.openxmlformats.org/drawingml/2006/chart">
            <c:chart xmlns:c="http://schemas.openxmlformats.org/drawingml/2006/chart" xmlns:r="http://schemas.openxmlformats.org/officeDocument/2006/relationships" r:id="rId27"/>
          </a:graphicData>
        </a:graphic>
      </p:graphicFrame>
      <p:cxnSp>
        <p:nvCxnSpPr>
          <p:cNvPr id="57" name="Straight Connector 56">
            <a:extLst>
              <a:ext uri="{FF2B5EF4-FFF2-40B4-BE49-F238E27FC236}">
                <a16:creationId xmlns:a16="http://schemas.microsoft.com/office/drawing/2014/main" id="{5CB6F241-25F5-4D54-919C-C1B44AD5E550}"/>
              </a:ext>
            </a:extLst>
          </p:cNvPr>
          <p:cNvCxnSpPr>
            <a:cxnSpLocks/>
          </p:cNvCxnSpPr>
          <p:nvPr>
            <p:custDataLst>
              <p:tags r:id="rId7"/>
            </p:custDataLst>
          </p:nvPr>
        </p:nvCxnSpPr>
        <p:spPr bwMode="gray">
          <a:xfrm>
            <a:off x="6669088" y="2605088"/>
            <a:ext cx="34925" cy="5715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 Placeholder 3">
            <a:extLst>
              <a:ext uri="{FF2B5EF4-FFF2-40B4-BE49-F238E27FC236}">
                <a16:creationId xmlns:a16="http://schemas.microsoft.com/office/drawing/2014/main" id="{DE934780-F6C8-4A4E-87FE-4FB88D5B2008}"/>
              </a:ext>
            </a:extLst>
          </p:cNvPr>
          <p:cNvSpPr>
            <a:spLocks noGrp="1"/>
          </p:cNvSpPr>
          <p:nvPr>
            <p:custDataLst>
              <p:tags r:id="rId8"/>
            </p:custDataLst>
          </p:nvPr>
        </p:nvSpPr>
        <p:spPr bwMode="gray">
          <a:xfrm>
            <a:off x="1028700" y="3678238"/>
            <a:ext cx="7080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9A74299-5A6F-4E66-8738-B8A03B74E95E}" type="datetime'''On''''''''''''''-''t''h''e''''''''-''''G''o'''''''''''''''''">
              <a:rPr lang="en-US" altLang="en-US" smtClean="0"/>
              <a:pPr/>
              <a:t>On-the-Go</a:t>
            </a:fld>
            <a:endParaRPr lang="en-US" dirty="0">
              <a:sym typeface="+mn-lt"/>
            </a:endParaRPr>
          </a:p>
        </p:txBody>
      </p:sp>
      <p:sp>
        <p:nvSpPr>
          <p:cNvPr id="69" name="Text Placeholder 3">
            <a:extLst>
              <a:ext uri="{FF2B5EF4-FFF2-40B4-BE49-F238E27FC236}">
                <a16:creationId xmlns:a16="http://schemas.microsoft.com/office/drawing/2014/main" id="{0646BE4D-DDD8-464D-97B5-B1600DE3F06E}"/>
              </a:ext>
            </a:extLst>
          </p:cNvPr>
          <p:cNvSpPr>
            <a:spLocks noGrp="1"/>
          </p:cNvSpPr>
          <p:nvPr>
            <p:custDataLst>
              <p:tags r:id="rId9"/>
            </p:custDataLst>
          </p:nvPr>
        </p:nvSpPr>
        <p:spPr bwMode="gray">
          <a:xfrm>
            <a:off x="966788" y="41783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6D48E70-23D5-45FD-81AE-8E01CBE03D36}" type="datetime'''C''''l''''''ien''''''''''''t'' ''''''''Sit''''''''''es'''">
              <a:rPr lang="en-US" altLang="en-US" smtClean="0"/>
              <a:pPr/>
              <a:t>Client Sites</a:t>
            </a:fld>
            <a:endParaRPr lang="en-US" dirty="0">
              <a:sym typeface="+mn-lt"/>
            </a:endParaRPr>
          </a:p>
        </p:txBody>
      </p:sp>
      <p:sp>
        <p:nvSpPr>
          <p:cNvPr id="61" name="Text Placeholder 3">
            <a:extLst>
              <a:ext uri="{FF2B5EF4-FFF2-40B4-BE49-F238E27FC236}">
                <a16:creationId xmlns:a16="http://schemas.microsoft.com/office/drawing/2014/main" id="{0F02D165-C8A2-49B3-B767-37E62540DA3E}"/>
              </a:ext>
            </a:extLst>
          </p:cNvPr>
          <p:cNvSpPr>
            <a:spLocks noGrp="1"/>
          </p:cNvSpPr>
          <p:nvPr>
            <p:custDataLst>
              <p:tags r:id="rId10"/>
            </p:custDataLst>
          </p:nvPr>
        </p:nvSpPr>
        <p:spPr bwMode="gray">
          <a:xfrm>
            <a:off x="695325" y="2679700"/>
            <a:ext cx="10414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3AE9F00-FC93-431C-BF38-A92413FAF684}" type="datetime'T''''he'''' ''''''''B''''CG'' ''''''''''O''''''''ff''ic''''e'">
              <a:rPr lang="en-US" altLang="en-US" smtClean="0"/>
              <a:pPr/>
              <a:t>The BCG Office</a:t>
            </a:fld>
            <a:endParaRPr lang="en-US" dirty="0">
              <a:sym typeface="+mn-lt"/>
            </a:endParaRPr>
          </a:p>
        </p:txBody>
      </p:sp>
      <p:sp>
        <p:nvSpPr>
          <p:cNvPr id="113" name="Text Placeholder 3">
            <a:extLst>
              <a:ext uri="{FF2B5EF4-FFF2-40B4-BE49-F238E27FC236}">
                <a16:creationId xmlns:a16="http://schemas.microsoft.com/office/drawing/2014/main" id="{7B96CDC2-105D-492A-8B05-F7D5A5220C3F}"/>
              </a:ext>
            </a:extLst>
          </p:cNvPr>
          <p:cNvSpPr>
            <a:spLocks noGrp="1"/>
          </p:cNvSpPr>
          <p:nvPr>
            <p:custDataLst>
              <p:tags r:id="rId11"/>
            </p:custDataLst>
          </p:nvPr>
        </p:nvSpPr>
        <p:spPr bwMode="gray">
          <a:xfrm>
            <a:off x="6632575" y="3179764"/>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7288019-9126-4A66-ABD4-BEAABE0FA247}" type="datetime'''''''''''''''1'''''''''''">
              <a:rPr lang="en-US" altLang="en-US" smtClean="0">
                <a:solidFill>
                  <a:schemeClr val="bg1"/>
                </a:solidFill>
                <a:effectLst/>
              </a:rPr>
              <a:pPr/>
              <a:t>1</a:t>
            </a:fld>
            <a:endParaRPr lang="en-US" dirty="0">
              <a:solidFill>
                <a:schemeClr val="bg1"/>
              </a:solidFill>
              <a:sym typeface="+mn-lt"/>
            </a:endParaRPr>
          </a:p>
        </p:txBody>
      </p:sp>
      <p:sp>
        <p:nvSpPr>
          <p:cNvPr id="62" name="Text Placeholder 3">
            <a:extLst>
              <a:ext uri="{FF2B5EF4-FFF2-40B4-BE49-F238E27FC236}">
                <a16:creationId xmlns:a16="http://schemas.microsoft.com/office/drawing/2014/main" id="{6DFBA6AC-CF5B-423D-A3B0-51C68B2B1528}"/>
              </a:ext>
            </a:extLst>
          </p:cNvPr>
          <p:cNvSpPr>
            <a:spLocks noGrp="1"/>
          </p:cNvSpPr>
          <p:nvPr>
            <p:custDataLst>
              <p:tags r:id="rId12"/>
            </p:custDataLst>
          </p:nvPr>
        </p:nvSpPr>
        <p:spPr bwMode="gray">
          <a:xfrm>
            <a:off x="1344613" y="3179763"/>
            <a:ext cx="3921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1408D81-5D7B-4BC0-867E-B0F6CB78C602}" type="datetime'H''''''''''o''m''''''''''''''''''''''''''''e'''''''">
              <a:rPr lang="en-US" altLang="en-US" smtClean="0"/>
              <a:pPr/>
              <a:t>Home</a:t>
            </a:fld>
            <a:endParaRPr lang="en-US" dirty="0">
              <a:sym typeface="+mn-lt"/>
            </a:endParaRPr>
          </a:p>
        </p:txBody>
      </p:sp>
      <p:sp>
        <p:nvSpPr>
          <p:cNvPr id="67" name="Rectangle 66">
            <a:extLst>
              <a:ext uri="{FF2B5EF4-FFF2-40B4-BE49-F238E27FC236}">
                <a16:creationId xmlns:a16="http://schemas.microsoft.com/office/drawing/2014/main" id="{94927E8F-E5F2-4DFB-B451-EF366AA1A4B7}"/>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72" name="Rectangle 71">
            <a:extLst>
              <a:ext uri="{FF2B5EF4-FFF2-40B4-BE49-F238E27FC236}">
                <a16:creationId xmlns:a16="http://schemas.microsoft.com/office/drawing/2014/main" id="{1F249212-20AE-47C7-9488-C7FE685FD80B}"/>
              </a:ext>
            </a:extLst>
          </p:cNvPr>
          <p:cNvSpPr/>
          <p:nvPr/>
        </p:nvSpPr>
        <p:spPr>
          <a:xfrm>
            <a:off x="6870995" y="2662238"/>
            <a:ext cx="543551" cy="253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7%</a:t>
            </a:r>
          </a:p>
        </p:txBody>
      </p:sp>
      <p:sp>
        <p:nvSpPr>
          <p:cNvPr id="73" name="Rectangle 72">
            <a:extLst>
              <a:ext uri="{FF2B5EF4-FFF2-40B4-BE49-F238E27FC236}">
                <a16:creationId xmlns:a16="http://schemas.microsoft.com/office/drawing/2014/main" id="{7165848B-2C18-4B9C-8219-AAFB9FE99F6C}"/>
              </a:ext>
            </a:extLst>
          </p:cNvPr>
          <p:cNvSpPr/>
          <p:nvPr/>
        </p:nvSpPr>
        <p:spPr>
          <a:xfrm>
            <a:off x="6870995" y="2247389"/>
            <a:ext cx="562440" cy="2472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74" name="Rectangle 73">
            <a:extLst>
              <a:ext uri="{FF2B5EF4-FFF2-40B4-BE49-F238E27FC236}">
                <a16:creationId xmlns:a16="http://schemas.microsoft.com/office/drawing/2014/main" id="{6213256B-3A8A-4AE3-9E5D-C41F9A96E7C1}"/>
              </a:ext>
            </a:extLst>
          </p:cNvPr>
          <p:cNvSpPr/>
          <p:nvPr/>
        </p:nvSpPr>
        <p:spPr>
          <a:xfrm>
            <a:off x="7425076" y="2257247"/>
            <a:ext cx="893049" cy="2050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75" name="Rectangle 74">
            <a:extLst>
              <a:ext uri="{FF2B5EF4-FFF2-40B4-BE49-F238E27FC236}">
                <a16:creationId xmlns:a16="http://schemas.microsoft.com/office/drawing/2014/main" id="{0A8EEB61-4767-4835-ADA3-6CE75F1B7BBD}"/>
              </a:ext>
            </a:extLst>
          </p:cNvPr>
          <p:cNvSpPr/>
          <p:nvPr/>
        </p:nvSpPr>
        <p:spPr>
          <a:xfrm>
            <a:off x="7453303" y="2646118"/>
            <a:ext cx="904092" cy="33239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76" name="Rectangle 75">
            <a:extLst>
              <a:ext uri="{FF2B5EF4-FFF2-40B4-BE49-F238E27FC236}">
                <a16:creationId xmlns:a16="http://schemas.microsoft.com/office/drawing/2014/main" id="{9B22FB25-66E5-4B1A-A33E-9A9A9704B76C}"/>
              </a:ext>
            </a:extLst>
          </p:cNvPr>
          <p:cNvSpPr/>
          <p:nvPr/>
        </p:nvSpPr>
        <p:spPr>
          <a:xfrm>
            <a:off x="6870995" y="3115872"/>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4%</a:t>
            </a:r>
          </a:p>
        </p:txBody>
      </p:sp>
      <p:sp>
        <p:nvSpPr>
          <p:cNvPr id="77" name="Rectangle 76">
            <a:extLst>
              <a:ext uri="{FF2B5EF4-FFF2-40B4-BE49-F238E27FC236}">
                <a16:creationId xmlns:a16="http://schemas.microsoft.com/office/drawing/2014/main" id="{310739BC-7AD0-42A1-8921-9DBE69978CE5}"/>
              </a:ext>
            </a:extLst>
          </p:cNvPr>
          <p:cNvSpPr/>
          <p:nvPr/>
        </p:nvSpPr>
        <p:spPr>
          <a:xfrm>
            <a:off x="7453303" y="3120634"/>
            <a:ext cx="904092" cy="319870"/>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79" name="Rectangle 78">
            <a:extLst>
              <a:ext uri="{FF2B5EF4-FFF2-40B4-BE49-F238E27FC236}">
                <a16:creationId xmlns:a16="http://schemas.microsoft.com/office/drawing/2014/main" id="{0EE6D9A7-9D0B-4C76-94AB-1590C00CEA44}"/>
              </a:ext>
            </a:extLst>
          </p:cNvPr>
          <p:cNvSpPr/>
          <p:nvPr>
            <p:custDataLst>
              <p:tags r:id="rId13"/>
            </p:custDataLst>
          </p:nvPr>
        </p:nvSpPr>
        <p:spPr bwMode="gray">
          <a:xfrm>
            <a:off x="1898650" y="49371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a:extLst>
              <a:ext uri="{FF2B5EF4-FFF2-40B4-BE49-F238E27FC236}">
                <a16:creationId xmlns:a16="http://schemas.microsoft.com/office/drawing/2014/main" id="{BBC59EE2-4F8B-48C7-99A6-0B0FF3B55B3C}"/>
              </a:ext>
            </a:extLst>
          </p:cNvPr>
          <p:cNvSpPr/>
          <p:nvPr>
            <p:custDataLst>
              <p:tags r:id="rId14"/>
            </p:custDataLst>
          </p:nvPr>
        </p:nvSpPr>
        <p:spPr bwMode="gray">
          <a:xfrm>
            <a:off x="3189288" y="49371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a:extLst>
              <a:ext uri="{FF2B5EF4-FFF2-40B4-BE49-F238E27FC236}">
                <a16:creationId xmlns:a16="http://schemas.microsoft.com/office/drawing/2014/main" id="{3CC3490D-633A-4320-8469-3C9AF8D03717}"/>
              </a:ext>
            </a:extLst>
          </p:cNvPr>
          <p:cNvSpPr/>
          <p:nvPr>
            <p:custDataLst>
              <p:tags r:id="rId15"/>
            </p:custDataLst>
          </p:nvPr>
        </p:nvSpPr>
        <p:spPr bwMode="gray">
          <a:xfrm>
            <a:off x="4138613" y="49371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a:extLst>
              <a:ext uri="{FF2B5EF4-FFF2-40B4-BE49-F238E27FC236}">
                <a16:creationId xmlns:a16="http://schemas.microsoft.com/office/drawing/2014/main" id="{1A137664-83EA-40A8-BA26-7152529644AE}"/>
              </a:ext>
            </a:extLst>
          </p:cNvPr>
          <p:cNvSpPr/>
          <p:nvPr>
            <p:custDataLst>
              <p:tags r:id="rId16"/>
            </p:custDataLst>
          </p:nvPr>
        </p:nvSpPr>
        <p:spPr bwMode="gray">
          <a:xfrm>
            <a:off x="5010150" y="49371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Rectangle 81">
            <a:extLst>
              <a:ext uri="{FF2B5EF4-FFF2-40B4-BE49-F238E27FC236}">
                <a16:creationId xmlns:a16="http://schemas.microsoft.com/office/drawing/2014/main" id="{0EDADE24-C016-4D41-B3E6-4F4460DA04D7}"/>
              </a:ext>
            </a:extLst>
          </p:cNvPr>
          <p:cNvSpPr/>
          <p:nvPr>
            <p:custDataLst>
              <p:tags r:id="rId17"/>
            </p:custDataLst>
          </p:nvPr>
        </p:nvSpPr>
        <p:spPr bwMode="gray">
          <a:xfrm>
            <a:off x="6146800" y="49371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5" name="Text Placeholder 3">
            <a:extLst>
              <a:ext uri="{FF2B5EF4-FFF2-40B4-BE49-F238E27FC236}">
                <a16:creationId xmlns:a16="http://schemas.microsoft.com/office/drawing/2014/main" id="{FBE9221B-CB4D-4B9B-911C-377FEEB70EE6}"/>
              </a:ext>
            </a:extLst>
          </p:cNvPr>
          <p:cNvSpPr>
            <a:spLocks noGrp="1"/>
          </p:cNvSpPr>
          <p:nvPr>
            <p:custDataLst>
              <p:tags r:id="rId18"/>
            </p:custDataLst>
          </p:nvPr>
        </p:nvSpPr>
        <p:spPr bwMode="gray">
          <a:xfrm>
            <a:off x="6411913" y="49180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9DFC0BC-A20A-4294-BEF3-BB421015709A}" type="datetime'Ver''y'''''' D''i''''''s''s''a''''t''isif''''''e''''d'">
              <a:rPr lang="en-US" altLang="en-US" smtClean="0"/>
              <a:pPr/>
              <a:t>Very Dissatisifed</a:t>
            </a:fld>
            <a:endParaRPr lang="en-US" dirty="0">
              <a:sym typeface="+mn-lt"/>
            </a:endParaRPr>
          </a:p>
        </p:txBody>
      </p:sp>
      <p:sp>
        <p:nvSpPr>
          <p:cNvPr id="83" name="Text Placeholder 3">
            <a:extLst>
              <a:ext uri="{FF2B5EF4-FFF2-40B4-BE49-F238E27FC236}">
                <a16:creationId xmlns:a16="http://schemas.microsoft.com/office/drawing/2014/main" id="{EB10D8B0-7854-4B0C-8B1F-3F592E9AD7C1}"/>
              </a:ext>
            </a:extLst>
          </p:cNvPr>
          <p:cNvSpPr>
            <a:spLocks noGrp="1"/>
          </p:cNvSpPr>
          <p:nvPr>
            <p:custDataLst>
              <p:tags r:id="rId19"/>
            </p:custDataLst>
          </p:nvPr>
        </p:nvSpPr>
        <p:spPr bwMode="gray">
          <a:xfrm>
            <a:off x="2163763" y="49180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FFC9570-2209-4677-8F8C-A57DBFAAC221}" type="datetime'''''''''''Ver''''y S''''at''''''''is''''''f''''i''e''d'">
              <a:rPr lang="en-US" altLang="en-US" smtClean="0"/>
              <a:pPr/>
              <a:t>Very Satisfied</a:t>
            </a:fld>
            <a:endParaRPr lang="en-US" dirty="0">
              <a:sym typeface="+mn-lt"/>
            </a:endParaRPr>
          </a:p>
        </p:txBody>
      </p:sp>
      <p:sp>
        <p:nvSpPr>
          <p:cNvPr id="84" name="Text Placeholder 3">
            <a:extLst>
              <a:ext uri="{FF2B5EF4-FFF2-40B4-BE49-F238E27FC236}">
                <a16:creationId xmlns:a16="http://schemas.microsoft.com/office/drawing/2014/main" id="{A1FF75F9-B8A2-4057-BB88-F6BD5A5BBBC6}"/>
              </a:ext>
            </a:extLst>
          </p:cNvPr>
          <p:cNvSpPr>
            <a:spLocks noGrp="1"/>
          </p:cNvSpPr>
          <p:nvPr>
            <p:custDataLst>
              <p:tags r:id="rId20"/>
            </p:custDataLst>
          </p:nvPr>
        </p:nvSpPr>
        <p:spPr bwMode="gray">
          <a:xfrm>
            <a:off x="3454400" y="49180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CE51C31-7C05-45DC-819F-5DD40DB8C6EF}" type="datetime'''S''at''''''''''''''''''''''''i''''''s''f''''''''''i''e''d'''">
              <a:rPr lang="en-US" altLang="en-US" smtClean="0"/>
              <a:pPr/>
              <a:t>Satisfied</a:t>
            </a:fld>
            <a:endParaRPr lang="en-US" dirty="0">
              <a:sym typeface="+mn-lt"/>
            </a:endParaRPr>
          </a:p>
        </p:txBody>
      </p:sp>
      <p:sp>
        <p:nvSpPr>
          <p:cNvPr id="87" name="Text Placeholder 3">
            <a:extLst>
              <a:ext uri="{FF2B5EF4-FFF2-40B4-BE49-F238E27FC236}">
                <a16:creationId xmlns:a16="http://schemas.microsoft.com/office/drawing/2014/main" id="{B7BA54B9-1051-4B4D-A907-3560D7F85DFF}"/>
              </a:ext>
            </a:extLst>
          </p:cNvPr>
          <p:cNvSpPr>
            <a:spLocks noGrp="1"/>
          </p:cNvSpPr>
          <p:nvPr>
            <p:custDataLst>
              <p:tags r:id="rId21"/>
            </p:custDataLst>
          </p:nvPr>
        </p:nvSpPr>
        <p:spPr bwMode="gray">
          <a:xfrm>
            <a:off x="5275263" y="49180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9167EF5-4890-44BB-AA01-149A4A485DB1}" type="datetime'D''''''i''s''sa''''''''''''tisf''''''''''''ied'''''''''''''">
              <a:rPr lang="en-US" altLang="en-US" smtClean="0"/>
              <a:pPr/>
              <a:t>Dissatisfied</a:t>
            </a:fld>
            <a:endParaRPr lang="en-US" dirty="0">
              <a:sym typeface="+mn-lt"/>
            </a:endParaRPr>
          </a:p>
        </p:txBody>
      </p:sp>
      <p:sp>
        <p:nvSpPr>
          <p:cNvPr id="86" name="Text Placeholder 3">
            <a:extLst>
              <a:ext uri="{FF2B5EF4-FFF2-40B4-BE49-F238E27FC236}">
                <a16:creationId xmlns:a16="http://schemas.microsoft.com/office/drawing/2014/main" id="{96F2EF90-7590-45DD-A624-F92C4BA73D69}"/>
              </a:ext>
            </a:extLst>
          </p:cNvPr>
          <p:cNvSpPr>
            <a:spLocks noGrp="1"/>
          </p:cNvSpPr>
          <p:nvPr>
            <p:custDataLst>
              <p:tags r:id="rId22"/>
            </p:custDataLst>
          </p:nvPr>
        </p:nvSpPr>
        <p:spPr bwMode="gray">
          <a:xfrm>
            <a:off x="4403725" y="49180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9AC936A-78A7-4142-B1B2-A0DA1E3B7F9F}" type="datetime'''''''''''''''''N''''''''''e''''''u''''tr''''a''''l'''''">
              <a:rPr lang="en-US" altLang="en-US" smtClean="0"/>
              <a:pPr/>
              <a:t>Neutral</a:t>
            </a:fld>
            <a:endParaRPr lang="en-US" dirty="0">
              <a:sym typeface="+mn-lt"/>
            </a:endParaRPr>
          </a:p>
        </p:txBody>
      </p:sp>
      <p:sp>
        <p:nvSpPr>
          <p:cNvPr id="89" name="Rectangle 88">
            <a:extLst>
              <a:ext uri="{FF2B5EF4-FFF2-40B4-BE49-F238E27FC236}">
                <a16:creationId xmlns:a16="http://schemas.microsoft.com/office/drawing/2014/main" id="{E985014C-F4C8-49F5-BF3A-37C68993357F}"/>
              </a:ext>
            </a:extLst>
          </p:cNvPr>
          <p:cNvSpPr/>
          <p:nvPr/>
        </p:nvSpPr>
        <p:spPr>
          <a:xfrm>
            <a:off x="6897688" y="3671238"/>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2%</a:t>
            </a:r>
          </a:p>
        </p:txBody>
      </p:sp>
      <p:sp>
        <p:nvSpPr>
          <p:cNvPr id="162" name="Rectangle 161">
            <a:extLst>
              <a:ext uri="{FF2B5EF4-FFF2-40B4-BE49-F238E27FC236}">
                <a16:creationId xmlns:a16="http://schemas.microsoft.com/office/drawing/2014/main" id="{05D77BC0-9318-4350-94BC-B6FAB35D3233}"/>
              </a:ext>
            </a:extLst>
          </p:cNvPr>
          <p:cNvSpPr/>
          <p:nvPr/>
        </p:nvSpPr>
        <p:spPr>
          <a:xfrm>
            <a:off x="7453303" y="3626644"/>
            <a:ext cx="904092" cy="31987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13" name="Rectangle 12" hidden="1">
            <a:extLst>
              <a:ext uri="{FF2B5EF4-FFF2-40B4-BE49-F238E27FC236}">
                <a16:creationId xmlns:a16="http://schemas.microsoft.com/office/drawing/2014/main" id="{5D1A4BD3-39CF-478C-B7E8-360A57BC979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41" name="Rectangle 40">
            <a:extLst>
              <a:ext uri="{FF2B5EF4-FFF2-40B4-BE49-F238E27FC236}">
                <a16:creationId xmlns:a16="http://schemas.microsoft.com/office/drawing/2014/main" id="{571E7A8D-1049-4FCF-B580-B0485F2E00DE}"/>
              </a:ext>
            </a:extLst>
          </p:cNvPr>
          <p:cNvSpPr/>
          <p:nvPr/>
        </p:nvSpPr>
        <p:spPr>
          <a:xfrm>
            <a:off x="6907194" y="4591825"/>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124" name="Rectangle 123">
            <a:extLst>
              <a:ext uri="{FF2B5EF4-FFF2-40B4-BE49-F238E27FC236}">
                <a16:creationId xmlns:a16="http://schemas.microsoft.com/office/drawing/2014/main" id="{815991EE-FE00-4A1A-9CD4-00A858FF0FF2}"/>
              </a:ext>
            </a:extLst>
          </p:cNvPr>
          <p:cNvSpPr/>
          <p:nvPr/>
        </p:nvSpPr>
        <p:spPr>
          <a:xfrm>
            <a:off x="7460865" y="4119171"/>
            <a:ext cx="904092" cy="319870"/>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144" name="Rectangle 143">
            <a:extLst>
              <a:ext uri="{FF2B5EF4-FFF2-40B4-BE49-F238E27FC236}">
                <a16:creationId xmlns:a16="http://schemas.microsoft.com/office/drawing/2014/main" id="{44FBC986-C89E-4F0C-A133-8C4603D39E71}"/>
              </a:ext>
            </a:extLst>
          </p:cNvPr>
          <p:cNvSpPr/>
          <p:nvPr/>
        </p:nvSpPr>
        <p:spPr>
          <a:xfrm>
            <a:off x="6892396" y="4119171"/>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1%</a:t>
            </a:r>
          </a:p>
        </p:txBody>
      </p:sp>
      <p:pic>
        <p:nvPicPr>
          <p:cNvPr id="52" name="Picture 51" descr="A picture containing shape&#10;&#10;Description automatically generated">
            <a:extLst>
              <a:ext uri="{FF2B5EF4-FFF2-40B4-BE49-F238E27FC236}">
                <a16:creationId xmlns:a16="http://schemas.microsoft.com/office/drawing/2014/main" id="{6CB250A8-9FFD-46A5-910F-AE9B2D88492C}"/>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556641" y="3598708"/>
            <a:ext cx="422118" cy="422118"/>
          </a:xfrm>
          <a:prstGeom prst="rect">
            <a:avLst/>
          </a:prstGeom>
        </p:spPr>
      </p:pic>
    </p:spTree>
    <p:custDataLst>
      <p:tags r:id="rId2"/>
    </p:custDataLst>
    <p:extLst>
      <p:ext uri="{BB962C8B-B14F-4D97-AF65-F5344CB8AC3E}">
        <p14:creationId xmlns:p14="http://schemas.microsoft.com/office/powerpoint/2010/main" val="714349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64874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221"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grpSp>
        <p:nvGrpSpPr>
          <p:cNvPr id="53" name="Group 52">
            <a:extLst>
              <a:ext uri="{FF2B5EF4-FFF2-40B4-BE49-F238E27FC236}">
                <a16:creationId xmlns:a16="http://schemas.microsoft.com/office/drawing/2014/main" id="{B7C27A5F-B1E5-4098-804F-2D9134B1290C}"/>
              </a:ext>
            </a:extLst>
          </p:cNvPr>
          <p:cNvGrpSpPr>
            <a:grpSpLocks noChangeAspect="1"/>
          </p:cNvGrpSpPr>
          <p:nvPr/>
        </p:nvGrpSpPr>
        <p:grpSpPr>
          <a:xfrm>
            <a:off x="599640" y="827752"/>
            <a:ext cx="457200" cy="457200"/>
            <a:chOff x="5867400" y="3200400"/>
            <a:chExt cx="457200" cy="457200"/>
          </a:xfrm>
        </p:grpSpPr>
        <p:sp>
          <p:nvSpPr>
            <p:cNvPr id="54" name="AutoShape 43">
              <a:extLst>
                <a:ext uri="{FF2B5EF4-FFF2-40B4-BE49-F238E27FC236}">
                  <a16:creationId xmlns:a16="http://schemas.microsoft.com/office/drawing/2014/main" id="{6A724018-596B-442D-A8CA-7F9E3AE2318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7">
              <a:extLst>
                <a:ext uri="{FF2B5EF4-FFF2-40B4-BE49-F238E27FC236}">
                  <a16:creationId xmlns:a16="http://schemas.microsoft.com/office/drawing/2014/main" id="{934F0099-4207-4FAD-B97B-3CC058F50199}"/>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3" name="Rectangle 12" hidden="1">
            <a:extLst>
              <a:ext uri="{FF2B5EF4-FFF2-40B4-BE49-F238E27FC236}">
                <a16:creationId xmlns:a16="http://schemas.microsoft.com/office/drawing/2014/main" id="{5D1A4BD3-39CF-478C-B7E8-360A57BC979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38" name="Rectangle 37">
            <a:extLst>
              <a:ext uri="{FF2B5EF4-FFF2-40B4-BE49-F238E27FC236}">
                <a16:creationId xmlns:a16="http://schemas.microsoft.com/office/drawing/2014/main" id="{5A089005-BD18-415D-A147-04DCDC226A64}"/>
              </a:ext>
            </a:extLst>
          </p:cNvPr>
          <p:cNvSpPr/>
          <p:nvPr/>
        </p:nvSpPr>
        <p:spPr>
          <a:xfrm>
            <a:off x="997488" y="888062"/>
            <a:ext cx="6563897"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graphicFrame>
        <p:nvGraphicFramePr>
          <p:cNvPr id="39" name="table_type_name">
            <a:extLst>
              <a:ext uri="{FF2B5EF4-FFF2-40B4-BE49-F238E27FC236}">
                <a16:creationId xmlns:a16="http://schemas.microsoft.com/office/drawing/2014/main" id="{717894D7-1CD5-4B5B-8CAF-631ED656FE8F}"/>
              </a:ext>
            </a:extLst>
          </p:cNvPr>
          <p:cNvGraphicFramePr>
            <a:graphicFrameLocks noGrp="1"/>
          </p:cNvGraphicFramePr>
          <p:nvPr>
            <p:extLst>
              <p:ext uri="{D42A27DB-BD31-4B8C-83A1-F6EECF244321}">
                <p14:modId xmlns:p14="http://schemas.microsoft.com/office/powerpoint/2010/main" val="2105689654"/>
              </p:ext>
            </p:extLst>
          </p:nvPr>
        </p:nvGraphicFramePr>
        <p:xfrm>
          <a:off x="703575" y="2237314"/>
          <a:ext cx="7938981" cy="2968853"/>
        </p:xfrm>
        <a:graphic>
          <a:graphicData uri="http://schemas.openxmlformats.org/drawingml/2006/table">
            <a:tbl>
              <a:tblPr/>
              <a:tblGrid>
                <a:gridCol w="1747941">
                  <a:extLst>
                    <a:ext uri="{9D8B030D-6E8A-4147-A177-3AD203B41FA5}">
                      <a16:colId xmlns:a16="http://schemas.microsoft.com/office/drawing/2014/main" val="20001"/>
                    </a:ext>
                  </a:extLst>
                </a:gridCol>
                <a:gridCol w="1238208">
                  <a:extLst>
                    <a:ext uri="{9D8B030D-6E8A-4147-A177-3AD203B41FA5}">
                      <a16:colId xmlns:a16="http://schemas.microsoft.com/office/drawing/2014/main" val="20002"/>
                    </a:ext>
                  </a:extLst>
                </a:gridCol>
                <a:gridCol w="1238208">
                  <a:extLst>
                    <a:ext uri="{9D8B030D-6E8A-4147-A177-3AD203B41FA5}">
                      <a16:colId xmlns:a16="http://schemas.microsoft.com/office/drawing/2014/main" val="251367245"/>
                    </a:ext>
                  </a:extLst>
                </a:gridCol>
                <a:gridCol w="1238208">
                  <a:extLst>
                    <a:ext uri="{9D8B030D-6E8A-4147-A177-3AD203B41FA5}">
                      <a16:colId xmlns:a16="http://schemas.microsoft.com/office/drawing/2014/main" val="1344836950"/>
                    </a:ext>
                  </a:extLst>
                </a:gridCol>
                <a:gridCol w="1238208">
                  <a:extLst>
                    <a:ext uri="{9D8B030D-6E8A-4147-A177-3AD203B41FA5}">
                      <a16:colId xmlns:a16="http://schemas.microsoft.com/office/drawing/2014/main" val="20010"/>
                    </a:ext>
                  </a:extLst>
                </a:gridCol>
                <a:gridCol w="1238208">
                  <a:extLst>
                    <a:ext uri="{9D8B030D-6E8A-4147-A177-3AD203B41FA5}">
                      <a16:colId xmlns:a16="http://schemas.microsoft.com/office/drawing/2014/main" val="1639790915"/>
                    </a:ext>
                  </a:extLst>
                </a:gridCol>
              </a:tblGrid>
              <a:tr h="633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2 '21</a:t>
                      </a:r>
                    </a:p>
                  </a:txBody>
                  <a:tcPr marL="0" marR="73152" marT="73152" marB="73152"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3 vs Q4 20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r>
                        <a:rPr kumimoji="0" lang="en-US" sz="1400" b="0" i="0" u="none" strike="noStrike" kern="1200" cap="none" normalizeH="0" baseline="30000" dirty="0">
                          <a:ln>
                            <a:noFill/>
                          </a:ln>
                          <a:solidFill>
                            <a:srgbClr val="575757"/>
                          </a:solidFill>
                          <a:effectLst/>
                          <a:latin typeface="+mn-lt"/>
                          <a:ea typeface="+mn-ea"/>
                          <a:cs typeface="Arial" charset="0"/>
                        </a:rPr>
                        <a:t>1</a:t>
                      </a: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 </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435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The BCG Office</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7</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extLst>
                  <a:ext uri="{0D108BD9-81ED-4DB2-BD59-A6C34878D82A}">
                    <a16:rowId xmlns:a16="http://schemas.microsoft.com/office/drawing/2014/main" val="591280756"/>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Home</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1</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7%</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extLst>
                  <a:ext uri="{0D108BD9-81ED-4DB2-BD59-A6C34878D82A}">
                    <a16:rowId xmlns:a16="http://schemas.microsoft.com/office/drawing/2014/main" val="106538857"/>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On-the-Go</a:t>
                      </a:r>
                      <a:endParaRPr kumimoji="0" lang="en-US" sz="1200" b="0" i="0" u="none" strike="noStrike" kern="1200" cap="none" spc="0" normalizeH="0" baseline="3000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rPr>
                        <a:t>--</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r>
                        <a:rPr kumimoji="0" lang="en-US" sz="1200" b="0" i="0" u="none" strike="noStrike" kern="1200" cap="none" normalizeH="0" baseline="30000" dirty="0">
                          <a:ln>
                            <a:noFill/>
                          </a:ln>
                          <a:solidFill>
                            <a:srgbClr val="575757"/>
                          </a:solidFill>
                          <a:effectLst/>
                          <a:latin typeface="+mn-lt"/>
                          <a:ea typeface="+mn-ea"/>
                          <a:cs typeface="Arial" charset="0"/>
                        </a:rPr>
                        <a:t>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3531461272"/>
                  </a:ext>
                </a:extLst>
              </a:tr>
              <a:tr h="47269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Client Sites</a:t>
                      </a: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2</a:t>
                      </a:r>
                    </a:p>
                  </a:txBody>
                  <a:tcPr marL="0" marR="73152" marT="73152" marB="73152" anchor="ctr" horzOverflow="overflow">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5</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1</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6%</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extLst>
                  <a:ext uri="{0D108BD9-81ED-4DB2-BD59-A6C34878D82A}">
                    <a16:rowId xmlns:a16="http://schemas.microsoft.com/office/drawing/2014/main" val="2595770363"/>
                  </a:ext>
                </a:extLst>
              </a:tr>
            </a:tbl>
          </a:graphicData>
        </a:graphic>
      </p:graphicFrame>
      <p:sp>
        <p:nvSpPr>
          <p:cNvPr id="40" name="Rectangle 39">
            <a:extLst>
              <a:ext uri="{FF2B5EF4-FFF2-40B4-BE49-F238E27FC236}">
                <a16:creationId xmlns:a16="http://schemas.microsoft.com/office/drawing/2014/main" id="{6C735409-151E-40E2-980D-98863FE033C9}"/>
              </a:ext>
            </a:extLst>
          </p:cNvPr>
          <p:cNvSpPr/>
          <p:nvPr/>
        </p:nvSpPr>
        <p:spPr>
          <a:xfrm>
            <a:off x="9191626" y="0"/>
            <a:ext cx="2882898"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Whilst quarter-over-quarter is least indicative of trending given the data is from different people, as our ways of working is evolving, we have shown the % trend against Q3</a:t>
            </a:r>
            <a:endParaRPr lang="en-GB" baseline="30000" dirty="0">
              <a:solidFill>
                <a:srgbClr val="FFFFFF"/>
              </a:solidFill>
              <a:cs typeface="Arial" pitchFamily="34" charset="0"/>
            </a:endParaRPr>
          </a:p>
        </p:txBody>
      </p:sp>
      <p:grpSp>
        <p:nvGrpSpPr>
          <p:cNvPr id="42" name="Group 41">
            <a:extLst>
              <a:ext uri="{FF2B5EF4-FFF2-40B4-BE49-F238E27FC236}">
                <a16:creationId xmlns:a16="http://schemas.microsoft.com/office/drawing/2014/main" id="{0DE17F16-2BA0-4763-B045-216DA7B0D7C9}"/>
              </a:ext>
            </a:extLst>
          </p:cNvPr>
          <p:cNvGrpSpPr/>
          <p:nvPr/>
        </p:nvGrpSpPr>
        <p:grpSpPr>
          <a:xfrm>
            <a:off x="1881061" y="5488644"/>
            <a:ext cx="6155997" cy="444350"/>
            <a:chOff x="753111" y="3331233"/>
            <a:chExt cx="6155997" cy="444350"/>
          </a:xfrm>
        </p:grpSpPr>
        <p:grpSp>
          <p:nvGrpSpPr>
            <p:cNvPr id="44" name="Group 43">
              <a:extLst>
                <a:ext uri="{FF2B5EF4-FFF2-40B4-BE49-F238E27FC236}">
                  <a16:creationId xmlns:a16="http://schemas.microsoft.com/office/drawing/2014/main" id="{B9A0C921-2917-4F26-9734-5696FDF13494}"/>
                </a:ext>
              </a:extLst>
            </p:cNvPr>
            <p:cNvGrpSpPr/>
            <p:nvPr/>
          </p:nvGrpSpPr>
          <p:grpSpPr>
            <a:xfrm>
              <a:off x="753111" y="3331233"/>
              <a:ext cx="6155997" cy="220957"/>
              <a:chOff x="753111" y="3331233"/>
              <a:chExt cx="6155997" cy="220957"/>
            </a:xfrm>
          </p:grpSpPr>
          <p:sp>
            <p:nvSpPr>
              <p:cNvPr id="51" name="Rectangle 50">
                <a:extLst>
                  <a:ext uri="{FF2B5EF4-FFF2-40B4-BE49-F238E27FC236}">
                    <a16:creationId xmlns:a16="http://schemas.microsoft.com/office/drawing/2014/main" id="{A1F2F469-169D-42A7-9A88-34EE312E8D42}"/>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52" name="Rectangle 51">
                <a:extLst>
                  <a:ext uri="{FF2B5EF4-FFF2-40B4-BE49-F238E27FC236}">
                    <a16:creationId xmlns:a16="http://schemas.microsoft.com/office/drawing/2014/main" id="{BB8E1375-0574-4CA8-9557-47F537A716D5}"/>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56" name="Rectangle 55">
                <a:extLst>
                  <a:ext uri="{FF2B5EF4-FFF2-40B4-BE49-F238E27FC236}">
                    <a16:creationId xmlns:a16="http://schemas.microsoft.com/office/drawing/2014/main" id="{23433314-993D-429C-8C14-7EDF872B8172}"/>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58" name="Rectangle 57">
                <a:extLst>
                  <a:ext uri="{FF2B5EF4-FFF2-40B4-BE49-F238E27FC236}">
                    <a16:creationId xmlns:a16="http://schemas.microsoft.com/office/drawing/2014/main" id="{EFC48037-CF23-47E7-BAF4-F2F7050208E2}"/>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59" name="Rectangle 58">
                <a:extLst>
                  <a:ext uri="{FF2B5EF4-FFF2-40B4-BE49-F238E27FC236}">
                    <a16:creationId xmlns:a16="http://schemas.microsoft.com/office/drawing/2014/main" id="{467771F6-9A38-423B-ABAB-344C869E1A85}"/>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60" name="Rectangle 59">
                <a:extLst>
                  <a:ext uri="{FF2B5EF4-FFF2-40B4-BE49-F238E27FC236}">
                    <a16:creationId xmlns:a16="http://schemas.microsoft.com/office/drawing/2014/main" id="{DC7C5AC9-5196-4827-9C18-7161A2AA5470}"/>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45" name="Rectangle 44">
              <a:extLst>
                <a:ext uri="{FF2B5EF4-FFF2-40B4-BE49-F238E27FC236}">
                  <a16:creationId xmlns:a16="http://schemas.microsoft.com/office/drawing/2014/main" id="{A7E6DD53-AD5F-49F2-AF03-FE12EC614CEB}"/>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46" name="Rectangle 45">
              <a:extLst>
                <a:ext uri="{FF2B5EF4-FFF2-40B4-BE49-F238E27FC236}">
                  <a16:creationId xmlns:a16="http://schemas.microsoft.com/office/drawing/2014/main" id="{8F7D1BCF-DB5B-461C-B14C-0FE2CD96C53A}"/>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47" name="Rectangle 46">
              <a:extLst>
                <a:ext uri="{FF2B5EF4-FFF2-40B4-BE49-F238E27FC236}">
                  <a16:creationId xmlns:a16="http://schemas.microsoft.com/office/drawing/2014/main" id="{6BCC7BC5-E059-4AC7-9ED2-D18A7D5E471F}"/>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48" name="Rectangle 47">
              <a:extLst>
                <a:ext uri="{FF2B5EF4-FFF2-40B4-BE49-F238E27FC236}">
                  <a16:creationId xmlns:a16="http://schemas.microsoft.com/office/drawing/2014/main" id="{973BDEAE-490B-48B0-B7D7-C58A10F71949}"/>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49" name="Rectangle 48">
              <a:extLst>
                <a:ext uri="{FF2B5EF4-FFF2-40B4-BE49-F238E27FC236}">
                  <a16:creationId xmlns:a16="http://schemas.microsoft.com/office/drawing/2014/main" id="{D1AC8D3E-E975-4BD0-9F6B-026121FDBFB9}"/>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0" name="Rectangle 49">
              <a:extLst>
                <a:ext uri="{FF2B5EF4-FFF2-40B4-BE49-F238E27FC236}">
                  <a16:creationId xmlns:a16="http://schemas.microsoft.com/office/drawing/2014/main" id="{F97B6D4D-82FF-4A3F-9184-4F212D5AF57D}"/>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32" name="Title 2">
            <a:extLst>
              <a:ext uri="{FF2B5EF4-FFF2-40B4-BE49-F238E27FC236}">
                <a16:creationId xmlns:a16="http://schemas.microsoft.com/office/drawing/2014/main" id="{3A4847CC-DBF9-4E51-92D0-2DE4C2581A40}"/>
              </a:ext>
            </a:extLst>
          </p:cNvPr>
          <p:cNvSpPr>
            <a:spLocks noGrp="1"/>
          </p:cNvSpPr>
          <p:nvPr>
            <p:ph type="title"/>
          </p:nvPr>
        </p:nvSpPr>
        <p:spPr>
          <a:xfrm>
            <a:off x="621409" y="280991"/>
            <a:ext cx="8263973" cy="637097"/>
          </a:xfrm>
        </p:spPr>
        <p:txBody>
          <a:bodyPr vert="horz"/>
          <a:lstStyle/>
          <a:p>
            <a:r>
              <a:rPr lang="en-US" sz="2300" dirty="0">
                <a:solidFill>
                  <a:srgbClr val="295E7E"/>
                </a:solidFill>
              </a:rPr>
              <a:t>Satisfaction with tools &amp; services provided for employees to work from - </a:t>
            </a:r>
            <a:endParaRPr lang="en-US" dirty="0"/>
          </a:p>
        </p:txBody>
      </p:sp>
      <p:pic>
        <p:nvPicPr>
          <p:cNvPr id="41" name="Picture 40" descr="A picture containing shape&#10;&#10;Description automatically generated">
            <a:extLst>
              <a:ext uri="{FF2B5EF4-FFF2-40B4-BE49-F238E27FC236}">
                <a16:creationId xmlns:a16="http://schemas.microsoft.com/office/drawing/2014/main" id="{C3AB62BF-5070-4B7E-B601-5F777DDC6FD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99291" y="4289271"/>
            <a:ext cx="422118" cy="422118"/>
          </a:xfrm>
          <a:prstGeom prst="rect">
            <a:avLst/>
          </a:prstGeom>
        </p:spPr>
      </p:pic>
    </p:spTree>
    <p:custDataLst>
      <p:tags r:id="rId2"/>
    </p:custDataLst>
    <p:extLst>
      <p:ext uri="{BB962C8B-B14F-4D97-AF65-F5344CB8AC3E}">
        <p14:creationId xmlns:p14="http://schemas.microsoft.com/office/powerpoint/2010/main" val="2042203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F54E82-5D48-4C99-956A-BC6B0F516C8C}"/>
              </a:ext>
            </a:extLst>
          </p:cNvPr>
          <p:cNvGraphicFramePr>
            <a:graphicFrameLocks noChangeAspect="1"/>
          </p:cNvGraphicFramePr>
          <p:nvPr>
            <p:custDataLst>
              <p:tags r:id="rId2"/>
            </p:custDataLst>
            <p:extLst>
              <p:ext uri="{D42A27DB-BD31-4B8C-83A1-F6EECF244321}">
                <p14:modId xmlns:p14="http://schemas.microsoft.com/office/powerpoint/2010/main" val="32075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242" name="think-cell Slide" r:id="rId28" imgW="395" imgH="394" progId="TCLayout.ActiveDocument.1">
                  <p:embed/>
                </p:oleObj>
              </mc:Choice>
              <mc:Fallback>
                <p:oleObj name="think-cell Slide" r:id="rId28" imgW="395" imgH="394" progId="TCLayout.ActiveDocument.1">
                  <p:embed/>
                  <p:pic>
                    <p:nvPicPr>
                      <p:cNvPr id="6" name="Object 5" hidden="1">
                        <a:extLst>
                          <a:ext uri="{FF2B5EF4-FFF2-40B4-BE49-F238E27FC236}">
                            <a16:creationId xmlns:a16="http://schemas.microsoft.com/office/drawing/2014/main" id="{83F54E82-5D48-4C99-956A-BC6B0F516C8C}"/>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8FFF84-4714-48E7-80EF-EBD8383E0FC6}"/>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169" name="Rectangle 168">
            <a:extLst>
              <a:ext uri="{FF2B5EF4-FFF2-40B4-BE49-F238E27FC236}">
                <a16:creationId xmlns:a16="http://schemas.microsoft.com/office/drawing/2014/main" id="{21EE8339-E4C3-4905-A41A-CE2F66B2E57E}"/>
              </a:ext>
            </a:extLst>
          </p:cNvPr>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38" name="Rectangle 37">
            <a:extLst>
              <a:ext uri="{FF2B5EF4-FFF2-40B4-BE49-F238E27FC236}">
                <a16:creationId xmlns:a16="http://schemas.microsoft.com/office/drawing/2014/main" id="{CF83C82D-6DD1-47C8-A2D1-2E9780EB9EB5}"/>
              </a:ext>
            </a:extLst>
          </p:cNvPr>
          <p:cNvSpPr/>
          <p:nvPr/>
        </p:nvSpPr>
        <p:spPr>
          <a:xfrm>
            <a:off x="9144001" y="0"/>
            <a:ext cx="2930524"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When comparing E-SAT between CT &amp; BST (where available) CT are less satisfied than BST</a:t>
            </a:r>
          </a:p>
          <a:p>
            <a:endParaRPr lang="en-GB" dirty="0">
              <a:solidFill>
                <a:srgbClr val="FFFFFF"/>
              </a:solidFill>
              <a:cs typeface="Arial" pitchFamily="34" charset="0"/>
            </a:endParaRPr>
          </a:p>
          <a:p>
            <a:r>
              <a:rPr lang="en-GB" dirty="0">
                <a:solidFill>
                  <a:srgbClr val="FFFFFF"/>
                </a:solidFill>
                <a:cs typeface="Arial" pitchFamily="34" charset="0"/>
              </a:rPr>
              <a:t>In Q4 2021, CT are notably less satisfied than BST with tools &amp; services provided for working from home (-12%) &amp; on-the-go (-14%)</a:t>
            </a:r>
          </a:p>
        </p:txBody>
      </p:sp>
      <p:sp>
        <p:nvSpPr>
          <p:cNvPr id="19" name="Rectangle 18" hidden="1">
            <a:extLst>
              <a:ext uri="{FF2B5EF4-FFF2-40B4-BE49-F238E27FC236}">
                <a16:creationId xmlns:a16="http://schemas.microsoft.com/office/drawing/2014/main" id="{7ED1133F-AF96-46D8-A315-E6D12A48D011}"/>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grpSp>
        <p:nvGrpSpPr>
          <p:cNvPr id="39" name="Group 38">
            <a:extLst>
              <a:ext uri="{FF2B5EF4-FFF2-40B4-BE49-F238E27FC236}">
                <a16:creationId xmlns:a16="http://schemas.microsoft.com/office/drawing/2014/main" id="{E92D2088-8650-432B-AF54-BF7B3539E33D}"/>
              </a:ext>
            </a:extLst>
          </p:cNvPr>
          <p:cNvGrpSpPr>
            <a:grpSpLocks noChangeAspect="1"/>
          </p:cNvGrpSpPr>
          <p:nvPr/>
        </p:nvGrpSpPr>
        <p:grpSpPr>
          <a:xfrm>
            <a:off x="599640" y="864696"/>
            <a:ext cx="457200" cy="457200"/>
            <a:chOff x="5867400" y="3200400"/>
            <a:chExt cx="457200" cy="457200"/>
          </a:xfrm>
        </p:grpSpPr>
        <p:sp>
          <p:nvSpPr>
            <p:cNvPr id="41" name="AutoShape 43">
              <a:extLst>
                <a:ext uri="{FF2B5EF4-FFF2-40B4-BE49-F238E27FC236}">
                  <a16:creationId xmlns:a16="http://schemas.microsoft.com/office/drawing/2014/main" id="{493B25AD-ED98-4129-A9DE-E968236D78A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7">
              <a:extLst>
                <a:ext uri="{FF2B5EF4-FFF2-40B4-BE49-F238E27FC236}">
                  <a16:creationId xmlns:a16="http://schemas.microsoft.com/office/drawing/2014/main" id="{B7C5A5C9-BBF7-4B61-BAA6-18DB907B7BBB}"/>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5" name="Rectangle 24">
            <a:extLst>
              <a:ext uri="{FF2B5EF4-FFF2-40B4-BE49-F238E27FC236}">
                <a16:creationId xmlns:a16="http://schemas.microsoft.com/office/drawing/2014/main" id="{E69DA825-A877-47C8-A717-A087B769C9DF}"/>
              </a:ext>
            </a:extLst>
          </p:cNvPr>
          <p:cNvSpPr/>
          <p:nvPr/>
        </p:nvSpPr>
        <p:spPr>
          <a:xfrm>
            <a:off x="626971" y="1356338"/>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graphicFrame>
        <p:nvGraphicFramePr>
          <p:cNvPr id="52" name="Chart 51">
            <a:extLst>
              <a:ext uri="{FF2B5EF4-FFF2-40B4-BE49-F238E27FC236}">
                <a16:creationId xmlns:a16="http://schemas.microsoft.com/office/drawing/2014/main" id="{A6245426-10FD-4429-840F-D33B6F56F1D4}"/>
              </a:ext>
            </a:extLst>
          </p:cNvPr>
          <p:cNvGraphicFramePr/>
          <p:nvPr>
            <p:custDataLst>
              <p:tags r:id="rId4"/>
            </p:custDataLst>
            <p:extLst>
              <p:ext uri="{D42A27DB-BD31-4B8C-83A1-F6EECF244321}">
                <p14:modId xmlns:p14="http://schemas.microsoft.com/office/powerpoint/2010/main" val="1596980906"/>
              </p:ext>
            </p:extLst>
          </p:nvPr>
        </p:nvGraphicFramePr>
        <p:xfrm>
          <a:off x="460375" y="1689100"/>
          <a:ext cx="7224713" cy="2001838"/>
        </p:xfrm>
        <a:graphic>
          <a:graphicData uri="http://schemas.openxmlformats.org/drawingml/2006/chart">
            <c:chart xmlns:c="http://schemas.openxmlformats.org/drawingml/2006/chart" xmlns:r="http://schemas.openxmlformats.org/officeDocument/2006/relationships" r:id="rId30"/>
          </a:graphicData>
        </a:graphic>
      </p:graphicFrame>
      <p:sp>
        <p:nvSpPr>
          <p:cNvPr id="36" name="Text Placeholder 3">
            <a:extLst>
              <a:ext uri="{FF2B5EF4-FFF2-40B4-BE49-F238E27FC236}">
                <a16:creationId xmlns:a16="http://schemas.microsoft.com/office/drawing/2014/main" id="{78EB84E4-6394-47C7-8ABE-450A4D85FA09}"/>
              </a:ext>
            </a:extLst>
          </p:cNvPr>
          <p:cNvSpPr>
            <a:spLocks noGrp="1"/>
          </p:cNvSpPr>
          <p:nvPr>
            <p:custDataLst>
              <p:tags r:id="rId5"/>
            </p:custDataLst>
          </p:nvPr>
        </p:nvSpPr>
        <p:spPr bwMode="gray">
          <a:xfrm>
            <a:off x="3238500" y="3627438"/>
            <a:ext cx="4048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8C2EE1-CB3A-4DD5-BF60-606CFD178E99}" type="datetime'H''''''''''''''o''''''''''''''m''''''''''''''e'''''''''''">
              <a:rPr lang="en-US" altLang="en-US" smtClean="0"/>
              <a:pPr/>
              <a:t>Home</a:t>
            </a:fld>
            <a:endParaRPr lang="en-US" dirty="0">
              <a:sym typeface="+mn-lt"/>
            </a:endParaRPr>
          </a:p>
        </p:txBody>
      </p:sp>
      <p:sp>
        <p:nvSpPr>
          <p:cNvPr id="35" name="Text Placeholder 3">
            <a:extLst>
              <a:ext uri="{FF2B5EF4-FFF2-40B4-BE49-F238E27FC236}">
                <a16:creationId xmlns:a16="http://schemas.microsoft.com/office/drawing/2014/main" id="{D3A46D63-D298-4192-9D0E-D327929CE2E7}"/>
              </a:ext>
            </a:extLst>
          </p:cNvPr>
          <p:cNvSpPr>
            <a:spLocks noGrp="1"/>
          </p:cNvSpPr>
          <p:nvPr>
            <p:custDataLst>
              <p:tags r:id="rId6"/>
            </p:custDataLst>
          </p:nvPr>
        </p:nvSpPr>
        <p:spPr bwMode="gray">
          <a:xfrm>
            <a:off x="1247775" y="3627438"/>
            <a:ext cx="10541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1C9C0E7-3461-4EA5-B1D5-33BCC6E161CB}" type="datetime'''T''''''''he ''''BC''''''''''G ''''''''O''''f''fi''''''ce'''">
              <a:rPr lang="en-US" altLang="en-US" smtClean="0"/>
              <a:pPr/>
              <a:t>The BCG Office</a:t>
            </a:fld>
            <a:endParaRPr lang="en-US" dirty="0">
              <a:sym typeface="+mn-lt"/>
            </a:endParaRPr>
          </a:p>
        </p:txBody>
      </p:sp>
      <p:sp>
        <p:nvSpPr>
          <p:cNvPr id="33" name="Text Placeholder 3">
            <a:extLst>
              <a:ext uri="{FF2B5EF4-FFF2-40B4-BE49-F238E27FC236}">
                <a16:creationId xmlns:a16="http://schemas.microsoft.com/office/drawing/2014/main" id="{8B135B1E-ADE6-4286-8C3C-67D0E1FE0BB2}"/>
              </a:ext>
            </a:extLst>
          </p:cNvPr>
          <p:cNvSpPr>
            <a:spLocks noGrp="1"/>
          </p:cNvSpPr>
          <p:nvPr>
            <p:custDataLst>
              <p:tags r:id="rId7"/>
            </p:custDataLst>
          </p:nvPr>
        </p:nvSpPr>
        <p:spPr bwMode="gray">
          <a:xfrm>
            <a:off x="4614863" y="3627438"/>
            <a:ext cx="9794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C7E7D06-97A5-473F-804B-F335C661C761}" type="datetime'''At Cl''''''''i''e''''''''''n''''''''t'' S''''''i''tes'''">
              <a:rPr lang="en-US" altLang="en-US" smtClean="0"/>
              <a:pPr/>
              <a:t>At Client Sites</a:t>
            </a:fld>
            <a:endParaRPr lang="en-US" dirty="0">
              <a:sym typeface="+mn-lt"/>
            </a:endParaRPr>
          </a:p>
        </p:txBody>
      </p:sp>
      <p:sp>
        <p:nvSpPr>
          <p:cNvPr id="32" name="Text Placeholder 3">
            <a:extLst>
              <a:ext uri="{FF2B5EF4-FFF2-40B4-BE49-F238E27FC236}">
                <a16:creationId xmlns:a16="http://schemas.microsoft.com/office/drawing/2014/main" id="{53D12D1E-CAB1-4974-AFC7-3F01DDABB5A8}"/>
              </a:ext>
            </a:extLst>
          </p:cNvPr>
          <p:cNvSpPr>
            <a:spLocks noGrp="1"/>
          </p:cNvSpPr>
          <p:nvPr>
            <p:custDataLst>
              <p:tags r:id="rId8"/>
            </p:custDataLst>
          </p:nvPr>
        </p:nvSpPr>
        <p:spPr bwMode="gray">
          <a:xfrm>
            <a:off x="6408738" y="3627438"/>
            <a:ext cx="7207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2228995-EF49-42E8-9DAE-0C83A9DC5806}" type="datetime'''''''''On-t''h''e''''''''''''''''''''-''''''''''''''G''''''o'">
              <a:rPr lang="en-US" altLang="en-US" smtClean="0"/>
              <a:pPr/>
              <a:t>On-the-Go</a:t>
            </a:fld>
            <a:endParaRPr lang="en-US" dirty="0">
              <a:sym typeface="+mn-lt"/>
            </a:endParaRPr>
          </a:p>
        </p:txBody>
      </p:sp>
      <p:sp>
        <p:nvSpPr>
          <p:cNvPr id="4" name="Rectangle 3">
            <a:extLst>
              <a:ext uri="{FF2B5EF4-FFF2-40B4-BE49-F238E27FC236}">
                <a16:creationId xmlns:a16="http://schemas.microsoft.com/office/drawing/2014/main" id="{799817BC-13D9-47E1-8FA3-EB42C80D4855}"/>
              </a:ext>
            </a:extLst>
          </p:cNvPr>
          <p:cNvSpPr/>
          <p:nvPr>
            <p:custDataLst>
              <p:tags r:id="rId9"/>
            </p:custDataLst>
          </p:nvPr>
        </p:nvSpPr>
        <p:spPr bwMode="gray">
          <a:xfrm>
            <a:off x="7662863" y="3333750"/>
            <a:ext cx="214312" cy="160338"/>
          </a:xfrm>
          <a:prstGeom prst="rect">
            <a:avLst/>
          </a:prstGeom>
          <a:solidFill>
            <a:srgbClr val="6E6F7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8" name="Rectangle 47">
            <a:extLst>
              <a:ext uri="{FF2B5EF4-FFF2-40B4-BE49-F238E27FC236}">
                <a16:creationId xmlns:a16="http://schemas.microsoft.com/office/drawing/2014/main" id="{CE1708CC-C927-45BA-A955-9975EE9E2B73}"/>
              </a:ext>
            </a:extLst>
          </p:cNvPr>
          <p:cNvSpPr/>
          <p:nvPr>
            <p:custDataLst>
              <p:tags r:id="rId10"/>
            </p:custDataLst>
          </p:nvPr>
        </p:nvSpPr>
        <p:spPr bwMode="gray">
          <a:xfrm>
            <a:off x="7662863" y="2828925"/>
            <a:ext cx="214313" cy="160338"/>
          </a:xfrm>
          <a:prstGeom prst="rect">
            <a:avLst/>
          </a:prstGeom>
          <a:solidFill>
            <a:srgbClr val="008A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a:extLst>
              <a:ext uri="{FF2B5EF4-FFF2-40B4-BE49-F238E27FC236}">
                <a16:creationId xmlns:a16="http://schemas.microsoft.com/office/drawing/2014/main" id="{D8E55781-B3EA-4E6E-A8A3-C114EA730B57}"/>
              </a:ext>
            </a:extLst>
          </p:cNvPr>
          <p:cNvSpPr/>
          <p:nvPr>
            <p:custDataLst>
              <p:tags r:id="rId11"/>
            </p:custDataLst>
          </p:nvPr>
        </p:nvSpPr>
        <p:spPr bwMode="gray">
          <a:xfrm>
            <a:off x="7662863" y="3081338"/>
            <a:ext cx="214313" cy="160338"/>
          </a:xfrm>
          <a:prstGeom prst="rect">
            <a:avLst/>
          </a:prstGeom>
          <a:solidFill>
            <a:srgbClr val="2BD5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 Placeholder 3">
            <a:extLst>
              <a:ext uri="{FF2B5EF4-FFF2-40B4-BE49-F238E27FC236}">
                <a16:creationId xmlns:a16="http://schemas.microsoft.com/office/drawing/2014/main" id="{A698977E-0668-43B0-947F-5B048FDD6B60}"/>
              </a:ext>
            </a:extLst>
          </p:cNvPr>
          <p:cNvSpPr>
            <a:spLocks noGrp="1"/>
          </p:cNvSpPr>
          <p:nvPr>
            <p:custDataLst>
              <p:tags r:id="rId12"/>
            </p:custDataLst>
          </p:nvPr>
        </p:nvSpPr>
        <p:spPr bwMode="gray">
          <a:xfrm>
            <a:off x="7927975" y="280987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1F55265-A4B5-4D9D-99D5-FA90A69E7E52}" type="datetime'''''''''''Q''''2'''''''' ''''''''''''''’''''''2''''''''''''1'">
              <a:rPr lang="en-US" altLang="en-US" smtClean="0"/>
              <a:pPr/>
              <a:t>Q2 ’21</a:t>
            </a:fld>
            <a:endParaRPr lang="en-US" dirty="0">
              <a:sym typeface="+mn-lt"/>
            </a:endParaRPr>
          </a:p>
        </p:txBody>
      </p:sp>
      <p:sp>
        <p:nvSpPr>
          <p:cNvPr id="53" name="Text Placeholder 3">
            <a:extLst>
              <a:ext uri="{FF2B5EF4-FFF2-40B4-BE49-F238E27FC236}">
                <a16:creationId xmlns:a16="http://schemas.microsoft.com/office/drawing/2014/main" id="{AA949F60-F26C-4976-B984-36FA9A24797A}"/>
              </a:ext>
            </a:extLst>
          </p:cNvPr>
          <p:cNvSpPr>
            <a:spLocks noGrp="1"/>
          </p:cNvSpPr>
          <p:nvPr>
            <p:custDataLst>
              <p:tags r:id="rId13"/>
            </p:custDataLst>
          </p:nvPr>
        </p:nvSpPr>
        <p:spPr bwMode="gray">
          <a:xfrm>
            <a:off x="7927975" y="306228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DD6E2AB-DD63-40BB-A155-BF167974CADF}" type="datetime'''''''''''Q''''''''''''3'''''''' ''''''’''''''''2''''1'''''">
              <a:rPr lang="en-US" altLang="en-US" smtClean="0"/>
              <a:pPr/>
              <a:t>Q3 ’21</a:t>
            </a:fld>
            <a:endParaRPr lang="en-US" dirty="0">
              <a:sym typeface="+mn-lt"/>
            </a:endParaRPr>
          </a:p>
        </p:txBody>
      </p:sp>
      <p:sp>
        <p:nvSpPr>
          <p:cNvPr id="37" name="Text Placeholder 3">
            <a:extLst>
              <a:ext uri="{FF2B5EF4-FFF2-40B4-BE49-F238E27FC236}">
                <a16:creationId xmlns:a16="http://schemas.microsoft.com/office/drawing/2014/main" id="{13AF1C23-5C02-4EAC-AB75-1E5962523541}"/>
              </a:ext>
            </a:extLst>
          </p:cNvPr>
          <p:cNvSpPr>
            <a:spLocks noGrp="1"/>
          </p:cNvSpPr>
          <p:nvPr>
            <p:custDataLst>
              <p:tags r:id="rId14"/>
            </p:custDataLst>
          </p:nvPr>
        </p:nvSpPr>
        <p:spPr bwMode="gray">
          <a:xfrm>
            <a:off x="7927975" y="3314700"/>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893ABD5-24D8-43B5-87C0-56D0716593C9}" type="datetime'''Q''''4'''''' ''''''''''’''''''''''''2''''1'''''''''''''''''">
              <a:rPr lang="en-US" altLang="en-US" smtClean="0"/>
              <a:pPr/>
              <a:t>Q4 ’21</a:t>
            </a:fld>
            <a:endParaRPr lang="en-US" dirty="0">
              <a:sym typeface="+mn-lt"/>
            </a:endParaRPr>
          </a:p>
        </p:txBody>
      </p:sp>
      <p:sp>
        <p:nvSpPr>
          <p:cNvPr id="56" name="Rectangle 55">
            <a:extLst>
              <a:ext uri="{FF2B5EF4-FFF2-40B4-BE49-F238E27FC236}">
                <a16:creationId xmlns:a16="http://schemas.microsoft.com/office/drawing/2014/main" id="{D89E850E-08E4-4BC2-94C9-03F32C772669}"/>
              </a:ext>
            </a:extLst>
          </p:cNvPr>
          <p:cNvSpPr/>
          <p:nvPr/>
        </p:nvSpPr>
        <p:spPr>
          <a:xfrm>
            <a:off x="6450369" y="1595077"/>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295E7E"/>
                </a:solidFill>
              </a:rPr>
              <a:t>Consulting</a:t>
            </a:r>
          </a:p>
        </p:txBody>
      </p:sp>
      <p:graphicFrame>
        <p:nvGraphicFramePr>
          <p:cNvPr id="55" name="Chart 54">
            <a:extLst>
              <a:ext uri="{FF2B5EF4-FFF2-40B4-BE49-F238E27FC236}">
                <a16:creationId xmlns:a16="http://schemas.microsoft.com/office/drawing/2014/main" id="{86C3B94B-BE37-4189-BD45-26F9242BEF33}"/>
              </a:ext>
            </a:extLst>
          </p:cNvPr>
          <p:cNvGraphicFramePr/>
          <p:nvPr>
            <p:custDataLst>
              <p:tags r:id="rId15"/>
            </p:custDataLst>
            <p:extLst>
              <p:ext uri="{D42A27DB-BD31-4B8C-83A1-F6EECF244321}">
                <p14:modId xmlns:p14="http://schemas.microsoft.com/office/powerpoint/2010/main" val="544898828"/>
              </p:ext>
            </p:extLst>
          </p:nvPr>
        </p:nvGraphicFramePr>
        <p:xfrm>
          <a:off x="460375" y="4122738"/>
          <a:ext cx="7224713" cy="2001837"/>
        </p:xfrm>
        <a:graphic>
          <a:graphicData uri="http://schemas.openxmlformats.org/drawingml/2006/chart">
            <c:chart xmlns:c="http://schemas.openxmlformats.org/drawingml/2006/chart" xmlns:r="http://schemas.openxmlformats.org/officeDocument/2006/relationships" r:id="rId31"/>
          </a:graphicData>
        </a:graphic>
      </p:graphicFrame>
      <p:sp>
        <p:nvSpPr>
          <p:cNvPr id="58" name="Text Placeholder 3">
            <a:extLst>
              <a:ext uri="{FF2B5EF4-FFF2-40B4-BE49-F238E27FC236}">
                <a16:creationId xmlns:a16="http://schemas.microsoft.com/office/drawing/2014/main" id="{6690E656-F77B-4EE9-9111-647054213CBA}"/>
              </a:ext>
            </a:extLst>
          </p:cNvPr>
          <p:cNvSpPr>
            <a:spLocks noGrp="1"/>
          </p:cNvSpPr>
          <p:nvPr>
            <p:custDataLst>
              <p:tags r:id="rId16"/>
            </p:custDataLst>
          </p:nvPr>
        </p:nvSpPr>
        <p:spPr bwMode="gray">
          <a:xfrm>
            <a:off x="1247775" y="6061075"/>
            <a:ext cx="10541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EB2A1DC-9B48-49F4-B351-D6720B5F63A5}" type="datetime'''The ''B''CG'''''''''' ''''Of''''''f''''ic''''''''''''e'">
              <a:rPr lang="en-US" altLang="en-US" smtClean="0"/>
              <a:pPr/>
              <a:t>The BCG Office</a:t>
            </a:fld>
            <a:endParaRPr lang="en-US" dirty="0">
              <a:sym typeface="+mn-lt"/>
            </a:endParaRPr>
          </a:p>
        </p:txBody>
      </p:sp>
      <p:sp>
        <p:nvSpPr>
          <p:cNvPr id="65" name="Text Placeholder 3">
            <a:extLst>
              <a:ext uri="{FF2B5EF4-FFF2-40B4-BE49-F238E27FC236}">
                <a16:creationId xmlns:a16="http://schemas.microsoft.com/office/drawing/2014/main" id="{996601CA-5A1B-4C8D-A733-7488BA530FC3}"/>
              </a:ext>
            </a:extLst>
          </p:cNvPr>
          <p:cNvSpPr>
            <a:spLocks noGrp="1"/>
          </p:cNvSpPr>
          <p:nvPr>
            <p:custDataLst>
              <p:tags r:id="rId17"/>
            </p:custDataLst>
          </p:nvPr>
        </p:nvSpPr>
        <p:spPr bwMode="gray">
          <a:xfrm>
            <a:off x="4616450" y="6061075"/>
            <a:ext cx="9794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EDF55D3-B899-4541-804E-5D9A4BD76724}" type="datetime'At'''''' C''''''l''''i''e''n''t S''''''i''''''''''te''s'''">
              <a:rPr lang="en-US" altLang="en-US" smtClean="0"/>
              <a:pPr/>
              <a:t>At Client Sites</a:t>
            </a:fld>
            <a:endParaRPr lang="en-US" dirty="0">
              <a:sym typeface="+mn-lt"/>
            </a:endParaRPr>
          </a:p>
        </p:txBody>
      </p:sp>
      <p:sp>
        <p:nvSpPr>
          <p:cNvPr id="59" name="Text Placeholder 3">
            <a:extLst>
              <a:ext uri="{FF2B5EF4-FFF2-40B4-BE49-F238E27FC236}">
                <a16:creationId xmlns:a16="http://schemas.microsoft.com/office/drawing/2014/main" id="{B7FCD278-8C12-454E-8521-01CF8934C17A}"/>
              </a:ext>
            </a:extLst>
          </p:cNvPr>
          <p:cNvSpPr>
            <a:spLocks noGrp="1"/>
          </p:cNvSpPr>
          <p:nvPr>
            <p:custDataLst>
              <p:tags r:id="rId18"/>
            </p:custDataLst>
          </p:nvPr>
        </p:nvSpPr>
        <p:spPr bwMode="gray">
          <a:xfrm>
            <a:off x="3238500" y="6061075"/>
            <a:ext cx="4048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C67816D-C5CE-4A9B-9FA6-F706566A89E5}" type="datetime'''''''''H''''o''''m''''''e'''">
              <a:rPr lang="en-US" altLang="en-US" smtClean="0"/>
              <a:pPr/>
              <a:t>Home</a:t>
            </a:fld>
            <a:endParaRPr lang="en-US" dirty="0">
              <a:sym typeface="+mn-lt"/>
            </a:endParaRPr>
          </a:p>
        </p:txBody>
      </p:sp>
      <p:sp>
        <p:nvSpPr>
          <p:cNvPr id="50" name="Text Placeholder 3">
            <a:extLst>
              <a:ext uri="{FF2B5EF4-FFF2-40B4-BE49-F238E27FC236}">
                <a16:creationId xmlns:a16="http://schemas.microsoft.com/office/drawing/2014/main" id="{29BE57F5-6639-442D-B5F9-D90BAC438268}"/>
              </a:ext>
            </a:extLst>
          </p:cNvPr>
          <p:cNvSpPr>
            <a:spLocks noGrp="1"/>
          </p:cNvSpPr>
          <p:nvPr>
            <p:custDataLst>
              <p:tags r:id="rId19"/>
            </p:custDataLst>
          </p:nvPr>
        </p:nvSpPr>
        <p:spPr bwMode="gray">
          <a:xfrm>
            <a:off x="6408738" y="6061075"/>
            <a:ext cx="7207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D225BF8-398A-4705-80ED-73AE9CF4C861}" type="datetime'O''''n''''''-t''''h''''''e''-''''G''''''o'''''''">
              <a:rPr lang="en-US" altLang="en-US" smtClean="0"/>
              <a:pPr/>
              <a:t>On-the-Go</a:t>
            </a:fld>
            <a:endParaRPr lang="en-US" dirty="0">
              <a:sym typeface="+mn-lt"/>
            </a:endParaRPr>
          </a:p>
        </p:txBody>
      </p:sp>
      <p:sp>
        <p:nvSpPr>
          <p:cNvPr id="15" name="Rectangle 14">
            <a:extLst>
              <a:ext uri="{FF2B5EF4-FFF2-40B4-BE49-F238E27FC236}">
                <a16:creationId xmlns:a16="http://schemas.microsoft.com/office/drawing/2014/main" id="{25DBB33B-1AE6-4B9D-8E44-076D59E3D3BF}"/>
              </a:ext>
            </a:extLst>
          </p:cNvPr>
          <p:cNvSpPr/>
          <p:nvPr>
            <p:custDataLst>
              <p:tags r:id="rId20"/>
            </p:custDataLst>
          </p:nvPr>
        </p:nvSpPr>
        <p:spPr bwMode="gray">
          <a:xfrm>
            <a:off x="7662863" y="5767388"/>
            <a:ext cx="214312" cy="160337"/>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3" name="Rectangle 72">
            <a:extLst>
              <a:ext uri="{FF2B5EF4-FFF2-40B4-BE49-F238E27FC236}">
                <a16:creationId xmlns:a16="http://schemas.microsoft.com/office/drawing/2014/main" id="{08CFCE4D-B473-4BBF-B1DA-05849F09E220}"/>
              </a:ext>
            </a:extLst>
          </p:cNvPr>
          <p:cNvSpPr/>
          <p:nvPr>
            <p:custDataLst>
              <p:tags r:id="rId21"/>
            </p:custDataLst>
          </p:nvPr>
        </p:nvSpPr>
        <p:spPr bwMode="gray">
          <a:xfrm>
            <a:off x="7662863" y="55149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Rectangle 71">
            <a:extLst>
              <a:ext uri="{FF2B5EF4-FFF2-40B4-BE49-F238E27FC236}">
                <a16:creationId xmlns:a16="http://schemas.microsoft.com/office/drawing/2014/main" id="{1DD263F5-68E4-47F8-9863-B50C970244FD}"/>
              </a:ext>
            </a:extLst>
          </p:cNvPr>
          <p:cNvSpPr/>
          <p:nvPr>
            <p:custDataLst>
              <p:tags r:id="rId22"/>
            </p:custDataLst>
          </p:nvPr>
        </p:nvSpPr>
        <p:spPr bwMode="gray">
          <a:xfrm>
            <a:off x="7662863" y="52625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Text Placeholder 3">
            <a:extLst>
              <a:ext uri="{FF2B5EF4-FFF2-40B4-BE49-F238E27FC236}">
                <a16:creationId xmlns:a16="http://schemas.microsoft.com/office/drawing/2014/main" id="{5CA4601E-EE24-46FC-AA13-B4B7B58DB941}"/>
              </a:ext>
            </a:extLst>
          </p:cNvPr>
          <p:cNvSpPr>
            <a:spLocks noGrp="1"/>
          </p:cNvSpPr>
          <p:nvPr>
            <p:custDataLst>
              <p:tags r:id="rId23"/>
            </p:custDataLst>
          </p:nvPr>
        </p:nvSpPr>
        <p:spPr bwMode="gray">
          <a:xfrm>
            <a:off x="7927975" y="574833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34F9E87-88C7-4C3F-AE01-B8211BA708BF}" type="datetime'''''''''''Q''''''''4'''''' ''''''''''''''’2''''''1'''''''''">
              <a:rPr lang="en-US" altLang="en-US" smtClean="0"/>
              <a:pPr/>
              <a:t>Q4 ’21</a:t>
            </a:fld>
            <a:endParaRPr lang="en-US" dirty="0">
              <a:sym typeface="+mn-lt"/>
            </a:endParaRPr>
          </a:p>
        </p:txBody>
      </p:sp>
      <p:sp>
        <p:nvSpPr>
          <p:cNvPr id="74" name="Text Placeholder 3">
            <a:extLst>
              <a:ext uri="{FF2B5EF4-FFF2-40B4-BE49-F238E27FC236}">
                <a16:creationId xmlns:a16="http://schemas.microsoft.com/office/drawing/2014/main" id="{DDE312A1-2E61-457D-8041-509E2DA082EF}"/>
              </a:ext>
            </a:extLst>
          </p:cNvPr>
          <p:cNvSpPr>
            <a:spLocks noGrp="1"/>
          </p:cNvSpPr>
          <p:nvPr>
            <p:custDataLst>
              <p:tags r:id="rId24"/>
            </p:custDataLst>
          </p:nvPr>
        </p:nvSpPr>
        <p:spPr bwMode="gray">
          <a:xfrm>
            <a:off x="7927975" y="549592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F5FAA54-2783-4C0F-8A9E-90F43338C489}" type="datetime'''''''Q''''''3'''''''' ’''''''''2''''''''''''''1'''">
              <a:rPr lang="en-US" altLang="en-US" smtClean="0"/>
              <a:pPr/>
              <a:t>Q3 ’21</a:t>
            </a:fld>
            <a:endParaRPr lang="en-US" dirty="0">
              <a:sym typeface="+mn-lt"/>
            </a:endParaRPr>
          </a:p>
        </p:txBody>
      </p:sp>
      <p:sp>
        <p:nvSpPr>
          <p:cNvPr id="76" name="Text Placeholder 3">
            <a:extLst>
              <a:ext uri="{FF2B5EF4-FFF2-40B4-BE49-F238E27FC236}">
                <a16:creationId xmlns:a16="http://schemas.microsoft.com/office/drawing/2014/main" id="{1E6DBF1F-0A80-478D-B7C1-A2071A6AEAA9}"/>
              </a:ext>
            </a:extLst>
          </p:cNvPr>
          <p:cNvSpPr>
            <a:spLocks noGrp="1"/>
          </p:cNvSpPr>
          <p:nvPr>
            <p:custDataLst>
              <p:tags r:id="rId25"/>
            </p:custDataLst>
          </p:nvPr>
        </p:nvSpPr>
        <p:spPr bwMode="gray">
          <a:xfrm>
            <a:off x="7927975" y="5243513"/>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4A3FAA-E2A4-43A6-A2DB-1ACDEE1B63DC}" type="datetime'''Q''''2'' ''’''2''''''''''''''''''''''''1'''''''''''">
              <a:rPr lang="en-US" altLang="en-US" smtClean="0"/>
              <a:pPr/>
              <a:t>Q2 ’21</a:t>
            </a:fld>
            <a:endParaRPr lang="en-US" dirty="0">
              <a:sym typeface="+mn-lt"/>
            </a:endParaRPr>
          </a:p>
        </p:txBody>
      </p:sp>
      <p:sp>
        <p:nvSpPr>
          <p:cNvPr id="78" name="Rectangle 77">
            <a:extLst>
              <a:ext uri="{FF2B5EF4-FFF2-40B4-BE49-F238E27FC236}">
                <a16:creationId xmlns:a16="http://schemas.microsoft.com/office/drawing/2014/main" id="{C2C88B28-5F5B-44B0-9893-53DD877129E6}"/>
              </a:ext>
            </a:extLst>
          </p:cNvPr>
          <p:cNvSpPr/>
          <p:nvPr/>
        </p:nvSpPr>
        <p:spPr>
          <a:xfrm>
            <a:off x="7163472" y="4316084"/>
            <a:ext cx="543841"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575757"/>
                </a:solidFill>
              </a:rPr>
              <a:t>BST</a:t>
            </a:r>
          </a:p>
        </p:txBody>
      </p:sp>
      <p:sp>
        <p:nvSpPr>
          <p:cNvPr id="125" name="Rectangle 124">
            <a:extLst>
              <a:ext uri="{FF2B5EF4-FFF2-40B4-BE49-F238E27FC236}">
                <a16:creationId xmlns:a16="http://schemas.microsoft.com/office/drawing/2014/main" id="{A8E05423-51A0-4A45-BC25-84EADC9467C7}"/>
              </a:ext>
            </a:extLst>
          </p:cNvPr>
          <p:cNvSpPr/>
          <p:nvPr/>
        </p:nvSpPr>
        <p:spPr>
          <a:xfrm>
            <a:off x="4466345" y="5329725"/>
            <a:ext cx="1273261" cy="332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ot applicable to BST</a:t>
            </a:r>
          </a:p>
        </p:txBody>
      </p:sp>
      <p:sp>
        <p:nvSpPr>
          <p:cNvPr id="46" name="Rectangle 45">
            <a:extLst>
              <a:ext uri="{FF2B5EF4-FFF2-40B4-BE49-F238E27FC236}">
                <a16:creationId xmlns:a16="http://schemas.microsoft.com/office/drawing/2014/main" id="{FAB89DF6-14F8-4933-8A6B-2F35982B5563}"/>
              </a:ext>
            </a:extLst>
          </p:cNvPr>
          <p:cNvSpPr/>
          <p:nvPr/>
        </p:nvSpPr>
        <p:spPr>
          <a:xfrm>
            <a:off x="6471361" y="2787802"/>
            <a:ext cx="445377" cy="74602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Q4 '21</a:t>
            </a:r>
          </a:p>
        </p:txBody>
      </p:sp>
      <p:sp>
        <p:nvSpPr>
          <p:cNvPr id="75" name="Rectangle 74">
            <a:extLst>
              <a:ext uri="{FF2B5EF4-FFF2-40B4-BE49-F238E27FC236}">
                <a16:creationId xmlns:a16="http://schemas.microsoft.com/office/drawing/2014/main" id="{900F639C-1E54-40C1-894F-759AD22B0D95}"/>
              </a:ext>
            </a:extLst>
          </p:cNvPr>
          <p:cNvSpPr/>
          <p:nvPr/>
        </p:nvSpPr>
        <p:spPr>
          <a:xfrm>
            <a:off x="6450369" y="5188113"/>
            <a:ext cx="445377" cy="74602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ew in Q4 '21</a:t>
            </a:r>
          </a:p>
        </p:txBody>
      </p:sp>
      <p:sp>
        <p:nvSpPr>
          <p:cNvPr id="51" name="Title 2">
            <a:extLst>
              <a:ext uri="{FF2B5EF4-FFF2-40B4-BE49-F238E27FC236}">
                <a16:creationId xmlns:a16="http://schemas.microsoft.com/office/drawing/2014/main" id="{BE673301-DEBA-4D3D-978F-B5206DB69C32}"/>
              </a:ext>
            </a:extLst>
          </p:cNvPr>
          <p:cNvSpPr>
            <a:spLocks noGrp="1"/>
          </p:cNvSpPr>
          <p:nvPr>
            <p:ph type="title"/>
          </p:nvPr>
        </p:nvSpPr>
        <p:spPr>
          <a:xfrm>
            <a:off x="621409" y="327171"/>
            <a:ext cx="8263973" cy="637097"/>
          </a:xfrm>
        </p:spPr>
        <p:txBody>
          <a:bodyPr vert="horz"/>
          <a:lstStyle/>
          <a:p>
            <a:r>
              <a:rPr lang="en-US" sz="2300" dirty="0">
                <a:solidFill>
                  <a:srgbClr val="295E7E"/>
                </a:solidFill>
              </a:rPr>
              <a:t>Satisfaction with tools &amp; services provided for employees to work from - </a:t>
            </a:r>
            <a:endParaRPr lang="en-US" dirty="0"/>
          </a:p>
        </p:txBody>
      </p:sp>
    </p:spTree>
    <p:extLst>
      <p:ext uri="{BB962C8B-B14F-4D97-AF65-F5344CB8AC3E}">
        <p14:creationId xmlns:p14="http://schemas.microsoft.com/office/powerpoint/2010/main" val="2646810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722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73"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8" name="Picture 37">
            <a:extLst>
              <a:ext uri="{FF2B5EF4-FFF2-40B4-BE49-F238E27FC236}">
                <a16:creationId xmlns:a16="http://schemas.microsoft.com/office/drawing/2014/main" id="{04D748F0-8928-4EFD-A248-4C0DC581439F}"/>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05439" y="9634"/>
            <a:ext cx="4375671" cy="6859254"/>
          </a:xfrm>
          <a:prstGeom prst="rect">
            <a:avLst/>
          </a:prstGeom>
        </p:spPr>
      </p:pic>
      <p:sp>
        <p:nvSpPr>
          <p:cNvPr id="35" name="Rectangular Callout 52">
            <a:extLst>
              <a:ext uri="{FF2B5EF4-FFF2-40B4-BE49-F238E27FC236}">
                <a16:creationId xmlns:a16="http://schemas.microsoft.com/office/drawing/2014/main" id="{3D60241C-7E65-454F-A077-25FE918CE6C7}"/>
              </a:ext>
            </a:extLst>
          </p:cNvPr>
          <p:cNvSpPr/>
          <p:nvPr/>
        </p:nvSpPr>
        <p:spPr>
          <a:xfrm>
            <a:off x="2490951" y="4442639"/>
            <a:ext cx="2522047" cy="921586"/>
          </a:xfrm>
          <a:prstGeom prst="wedgeRectCallout">
            <a:avLst>
              <a:gd name="adj1" fmla="val -33342"/>
              <a:gd name="adj2" fmla="val 6748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Having some ramp up issues with IT after moving into new office, but merely a question of time to get that straightened out.</a:t>
            </a:r>
            <a:r>
              <a:rPr lang="en-GB" sz="1200" dirty="0">
                <a:latin typeface="Trebuchet MS" panose="020B0603020202020204" pitchFamily="34" charset="0"/>
                <a:cs typeface="Arial" pitchFamily="34" charset="0"/>
              </a:rPr>
              <a:t>”</a:t>
            </a:r>
            <a:endParaRPr lang="en-GB" sz="1200" dirty="0">
              <a:cs typeface="Arial" pitchFamily="34" charset="0"/>
            </a:endParaRPr>
          </a:p>
          <a:p>
            <a:pPr algn="r"/>
            <a:r>
              <a:rPr lang="en-GB" sz="1000" i="1" dirty="0">
                <a:cs typeface="Arial" pitchFamily="34" charset="0"/>
              </a:rPr>
              <a:t>Senior ECT</a:t>
            </a:r>
          </a:p>
        </p:txBody>
      </p:sp>
      <p:sp>
        <p:nvSpPr>
          <p:cNvPr id="53" name="Rectangular Callout 52"/>
          <p:cNvSpPr/>
          <p:nvPr/>
        </p:nvSpPr>
        <p:spPr>
          <a:xfrm>
            <a:off x="257716" y="4442638"/>
            <a:ext cx="2098135" cy="921587"/>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200" dirty="0">
              <a:cs typeface="Arial" pitchFamily="34" charset="0"/>
            </a:endParaRPr>
          </a:p>
          <a:p>
            <a:r>
              <a:rPr lang="en-GB" sz="1200" dirty="0">
                <a:cs typeface="Arial" pitchFamily="34" charset="0"/>
              </a:rPr>
              <a:t>“</a:t>
            </a:r>
            <a:r>
              <a:rPr lang="en-US" sz="1200" dirty="0">
                <a:cs typeface="Arial" pitchFamily="34" charset="0"/>
              </a:rPr>
              <a:t>Tools are actually good, but performance on laptop often so slow that they can't be used properly.</a:t>
            </a:r>
            <a:r>
              <a:rPr lang="en-GB" sz="1200" dirty="0">
                <a:latin typeface="Trebuchet MS" panose="020B0603020202020204" pitchFamily="34" charset="0"/>
                <a:cs typeface="Arial" pitchFamily="34" charset="0"/>
              </a:rPr>
              <a:t>”</a:t>
            </a:r>
            <a:endParaRPr lang="en-US" sz="1200" dirty="0">
              <a:cs typeface="Arial" pitchFamily="34" charset="0"/>
            </a:endParaRPr>
          </a:p>
          <a:p>
            <a:pPr algn="r"/>
            <a:r>
              <a:rPr lang="en-GB" sz="1050" i="1" dirty="0">
                <a:cs typeface="Arial" pitchFamily="34" charset="0"/>
              </a:rPr>
              <a:t>Consultant</a:t>
            </a:r>
            <a:endParaRPr lang="en-GB" sz="1200" i="1" dirty="0">
              <a:cs typeface="Arial" pitchFamily="34" charset="0"/>
            </a:endParaRPr>
          </a:p>
          <a:p>
            <a:pPr algn="r"/>
            <a:endParaRPr lang="en-GB" sz="1000" i="1" dirty="0">
              <a:cs typeface="Arial" pitchFamily="34" charset="0"/>
            </a:endParaRPr>
          </a:p>
        </p:txBody>
      </p:sp>
      <p:sp>
        <p:nvSpPr>
          <p:cNvPr id="54" name="Rectangular Callout 53"/>
          <p:cNvSpPr/>
          <p:nvPr/>
        </p:nvSpPr>
        <p:spPr>
          <a:xfrm>
            <a:off x="5377205" y="5633391"/>
            <a:ext cx="2220304" cy="954424"/>
          </a:xfrm>
          <a:prstGeom prst="wedgeRectCallout">
            <a:avLst>
              <a:gd name="adj1" fmla="val -35886"/>
              <a:gd name="adj2" fmla="val -6785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ove the screens, chairs, adjustable desks, ambiance etc. in the new 80CS office.</a:t>
            </a:r>
            <a:r>
              <a:rPr lang="en-GB" sz="1200" dirty="0">
                <a:latin typeface="Trebuchet MS" panose="020B0603020202020204" pitchFamily="34" charset="0"/>
                <a:cs typeface="Arial" pitchFamily="34" charset="0"/>
              </a:rPr>
              <a:t>”</a:t>
            </a:r>
            <a:endParaRPr lang="en-GB" sz="1200" i="1" dirty="0">
              <a:cs typeface="Arial" pitchFamily="34" charset="0"/>
            </a:endParaRPr>
          </a:p>
          <a:p>
            <a:pPr algn="r"/>
            <a:r>
              <a:rPr lang="en-GB" sz="1000" i="1" dirty="0">
                <a:cs typeface="Arial" pitchFamily="34" charset="0"/>
              </a:rPr>
              <a:t>BST</a:t>
            </a:r>
          </a:p>
        </p:txBody>
      </p:sp>
      <p:sp>
        <p:nvSpPr>
          <p:cNvPr id="41" name="Rectangular Callout 40"/>
          <p:cNvSpPr/>
          <p:nvPr/>
        </p:nvSpPr>
        <p:spPr>
          <a:xfrm>
            <a:off x="257714" y="5661088"/>
            <a:ext cx="3649123" cy="921586"/>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T setups are inconsistent throughout the office.  There aren't keyboards or mouse at the desks. No high-quality webcams at each desk. A lot of times the USB Connection is not functioning properly.</a:t>
            </a:r>
            <a:r>
              <a:rPr lang="en-GB" sz="1200" dirty="0">
                <a:latin typeface="Trebuchet MS" panose="020B0603020202020204" pitchFamily="34" charset="0"/>
                <a:cs typeface="Arial" pitchFamily="34" charset="0"/>
              </a:rPr>
              <a:t>”</a:t>
            </a:r>
            <a:r>
              <a:rPr lang="en-US" sz="1200" dirty="0">
                <a:cs typeface="Arial" pitchFamily="34" charset="0"/>
              </a:rPr>
              <a:t> </a:t>
            </a:r>
          </a:p>
          <a:p>
            <a:pPr algn="r"/>
            <a:r>
              <a:rPr lang="en-GB" sz="1000" i="1" dirty="0">
                <a:cs typeface="Arial" pitchFamily="34" charset="0"/>
              </a:rPr>
              <a:t>Consultant</a:t>
            </a:r>
          </a:p>
        </p:txBody>
      </p:sp>
      <p:sp>
        <p:nvSpPr>
          <p:cNvPr id="36" name="Rectangle 35">
            <a:extLst>
              <a:ext uri="{FF2B5EF4-FFF2-40B4-BE49-F238E27FC236}">
                <a16:creationId xmlns:a16="http://schemas.microsoft.com/office/drawing/2014/main" id="{BD7135CD-7748-497B-BD71-90F42AA7ACE5}"/>
              </a:ext>
            </a:extLst>
          </p:cNvPr>
          <p:cNvSpPr/>
          <p:nvPr/>
        </p:nvSpPr>
        <p:spPr>
          <a:xfrm>
            <a:off x="7816241" y="-1"/>
            <a:ext cx="4375759" cy="122078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200" kern="0" dirty="0">
                <a:solidFill>
                  <a:srgbClr val="FFFFFF"/>
                </a:solidFill>
              </a:rPr>
              <a:t>Tools &amp; Services Provided for – THE BCG OFFICE</a:t>
            </a:r>
          </a:p>
        </p:txBody>
      </p:sp>
      <p:sp>
        <p:nvSpPr>
          <p:cNvPr id="28" name="Rectangle 27">
            <a:extLst>
              <a:ext uri="{FF2B5EF4-FFF2-40B4-BE49-F238E27FC236}">
                <a16:creationId xmlns:a16="http://schemas.microsoft.com/office/drawing/2014/main" id="{AE8BA0A3-A22B-4066-9085-3FC79F11C9A0}"/>
              </a:ext>
            </a:extLst>
          </p:cNvPr>
          <p:cNvSpPr/>
          <p:nvPr/>
        </p:nvSpPr>
        <p:spPr>
          <a:xfrm>
            <a:off x="159933" y="4089593"/>
            <a:ext cx="5405286" cy="35304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05170" y="327071"/>
            <a:ext cx="7430321" cy="156662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Many employees who have started visiting offices are positive about the tools provided such as curved screens, chairs, adjustable desks, etc. Some of the consistent issues impacting work at the office are: unstable WiFi, missing keyboards, low quality webcams, etc. Whilst many users were positive about the tools &amp; services provided, some suggested that poor laptop performance impacts how well these tools work.</a:t>
            </a:r>
          </a:p>
        </p:txBody>
      </p:sp>
      <p:sp>
        <p:nvSpPr>
          <p:cNvPr id="34" name="Rectangle 33">
            <a:extLst>
              <a:ext uri="{FF2B5EF4-FFF2-40B4-BE49-F238E27FC236}">
                <a16:creationId xmlns:a16="http://schemas.microsoft.com/office/drawing/2014/main" id="{E764BD15-36CD-41E8-AB6D-27DED5D5C561}"/>
              </a:ext>
            </a:extLst>
          </p:cNvPr>
          <p:cNvSpPr/>
          <p:nvPr/>
        </p:nvSpPr>
        <p:spPr>
          <a:xfrm>
            <a:off x="316799" y="2231897"/>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graphicFrame>
        <p:nvGraphicFramePr>
          <p:cNvPr id="44" name="Chart 43">
            <a:extLst>
              <a:ext uri="{FF2B5EF4-FFF2-40B4-BE49-F238E27FC236}">
                <a16:creationId xmlns:a16="http://schemas.microsoft.com/office/drawing/2014/main" id="{E5C769F8-27EF-4AED-9445-AE2F7E6EF3BE}"/>
              </a:ext>
            </a:extLst>
          </p:cNvPr>
          <p:cNvGraphicFramePr/>
          <p:nvPr>
            <p:custDataLst>
              <p:tags r:id="rId4"/>
            </p:custDataLst>
            <p:extLst>
              <p:ext uri="{D42A27DB-BD31-4B8C-83A1-F6EECF244321}">
                <p14:modId xmlns:p14="http://schemas.microsoft.com/office/powerpoint/2010/main" val="2345451471"/>
              </p:ext>
            </p:extLst>
          </p:nvPr>
        </p:nvGraphicFramePr>
        <p:xfrm>
          <a:off x="300038" y="2359025"/>
          <a:ext cx="7380287" cy="1085850"/>
        </p:xfrm>
        <a:graphic>
          <a:graphicData uri="http://schemas.openxmlformats.org/drawingml/2006/chart">
            <c:chart xmlns:c="http://schemas.openxmlformats.org/drawingml/2006/chart" xmlns:r="http://schemas.openxmlformats.org/officeDocument/2006/relationships" r:id="rId16"/>
          </a:graphicData>
        </a:graphic>
      </p:graphicFrame>
      <p:sp>
        <p:nvSpPr>
          <p:cNvPr id="70" name="Rectangle 69">
            <a:extLst>
              <a:ext uri="{FF2B5EF4-FFF2-40B4-BE49-F238E27FC236}">
                <a16:creationId xmlns:a16="http://schemas.microsoft.com/office/drawing/2014/main" id="{AC700455-590A-4232-9709-9B67AACC995E}"/>
              </a:ext>
            </a:extLst>
          </p:cNvPr>
          <p:cNvSpPr/>
          <p:nvPr>
            <p:custDataLst>
              <p:tags r:id="rId5"/>
            </p:custDataLst>
          </p:nvPr>
        </p:nvSpPr>
        <p:spPr bwMode="gray">
          <a:xfrm>
            <a:off x="2238375" y="344170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Rectangle 70">
            <a:extLst>
              <a:ext uri="{FF2B5EF4-FFF2-40B4-BE49-F238E27FC236}">
                <a16:creationId xmlns:a16="http://schemas.microsoft.com/office/drawing/2014/main" id="{6D010386-7CF3-452F-B6F7-541A381F022D}"/>
              </a:ext>
            </a:extLst>
          </p:cNvPr>
          <p:cNvSpPr/>
          <p:nvPr>
            <p:custDataLst>
              <p:tags r:id="rId6"/>
            </p:custDataLst>
          </p:nvPr>
        </p:nvSpPr>
        <p:spPr bwMode="gray">
          <a:xfrm>
            <a:off x="1366838" y="344170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Rectangle 71">
            <a:extLst>
              <a:ext uri="{FF2B5EF4-FFF2-40B4-BE49-F238E27FC236}">
                <a16:creationId xmlns:a16="http://schemas.microsoft.com/office/drawing/2014/main" id="{CC495871-4288-480C-8FD7-69AF211BAC06}"/>
              </a:ext>
            </a:extLst>
          </p:cNvPr>
          <p:cNvSpPr/>
          <p:nvPr>
            <p:custDataLst>
              <p:tags r:id="rId7"/>
            </p:custDataLst>
          </p:nvPr>
        </p:nvSpPr>
        <p:spPr bwMode="gray">
          <a:xfrm>
            <a:off x="473075" y="344170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4" name="Text Placeholder 3">
            <a:extLst>
              <a:ext uri="{FF2B5EF4-FFF2-40B4-BE49-F238E27FC236}">
                <a16:creationId xmlns:a16="http://schemas.microsoft.com/office/drawing/2014/main" id="{CC9947C7-8186-4A8A-B3AD-1FC660132633}"/>
              </a:ext>
            </a:extLst>
          </p:cNvPr>
          <p:cNvSpPr>
            <a:spLocks noGrp="1"/>
          </p:cNvSpPr>
          <p:nvPr>
            <p:custDataLst>
              <p:tags r:id="rId8"/>
            </p:custDataLst>
          </p:nvPr>
        </p:nvSpPr>
        <p:spPr bwMode="gray">
          <a:xfrm>
            <a:off x="738188" y="3422650"/>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333ABB5-82C9-4BDA-BD41-21C780CF45FB}" type="datetime'''''''''''P''''o''''si''''t''''''i''''''v''''''''''''''''e'">
              <a:rPr lang="en-US" altLang="en-US" smtClean="0">
                <a:solidFill>
                  <a:schemeClr val="bg1"/>
                </a:solidFill>
              </a:rPr>
              <a:pPr/>
              <a:t>Positive</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80BB785B-4CF4-4C62-92BD-15E2CF253226}"/>
              </a:ext>
            </a:extLst>
          </p:cNvPr>
          <p:cNvSpPr>
            <a:spLocks noGrp="1"/>
          </p:cNvSpPr>
          <p:nvPr>
            <p:custDataLst>
              <p:tags r:id="rId9"/>
            </p:custDataLst>
          </p:nvPr>
        </p:nvSpPr>
        <p:spPr bwMode="gray">
          <a:xfrm>
            <a:off x="1631950" y="342265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28C847C-29F6-414B-9115-B4C7376CA3D6}" type="datetime'''''N''''''''''eu''''''''t''''r''''''al'''''''">
              <a:rPr lang="en-US" altLang="en-US" smtClean="0">
                <a:solidFill>
                  <a:schemeClr val="bg1"/>
                </a:solidFill>
              </a:rPr>
              <a:pPr/>
              <a:t>Neutral</a:t>
            </a:fld>
            <a:endParaRPr lang="en-US" dirty="0">
              <a:solidFill>
                <a:schemeClr val="bg1"/>
              </a:solidFill>
              <a:sym typeface="+mn-lt"/>
            </a:endParaRPr>
          </a:p>
        </p:txBody>
      </p:sp>
      <p:sp>
        <p:nvSpPr>
          <p:cNvPr id="75" name="Text Placeholder 3">
            <a:extLst>
              <a:ext uri="{FF2B5EF4-FFF2-40B4-BE49-F238E27FC236}">
                <a16:creationId xmlns:a16="http://schemas.microsoft.com/office/drawing/2014/main" id="{9F4108A1-0AC8-40EB-B42F-37490D7F8C39}"/>
              </a:ext>
            </a:extLst>
          </p:cNvPr>
          <p:cNvSpPr>
            <a:spLocks noGrp="1"/>
          </p:cNvSpPr>
          <p:nvPr>
            <p:custDataLst>
              <p:tags r:id="rId10"/>
            </p:custDataLst>
          </p:nvPr>
        </p:nvSpPr>
        <p:spPr bwMode="gray">
          <a:xfrm>
            <a:off x="2503488" y="3422650"/>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D13CCE1-F593-4600-B753-5B4A68682F95}" type="datetime'''''''''''''''''''N''''e''''g''at''i''v''e'''''''''''''">
              <a:rPr lang="en-US" altLang="en-US" smtClean="0">
                <a:solidFill>
                  <a:schemeClr val="bg1"/>
                </a:solidFill>
              </a:rPr>
              <a:pPr/>
              <a:t>Negative</a:t>
            </a:fld>
            <a:endParaRPr lang="en-US" dirty="0">
              <a:solidFill>
                <a:schemeClr val="bg1"/>
              </a:solidFill>
              <a:sym typeface="+mn-lt"/>
            </a:endParaRPr>
          </a:p>
        </p:txBody>
      </p:sp>
      <p:sp>
        <p:nvSpPr>
          <p:cNvPr id="30" name="Rectangular Callout 52">
            <a:extLst>
              <a:ext uri="{FF2B5EF4-FFF2-40B4-BE49-F238E27FC236}">
                <a16:creationId xmlns:a16="http://schemas.microsoft.com/office/drawing/2014/main" id="{14A89FD4-0BAD-459C-8040-3367600CC9CD}"/>
              </a:ext>
            </a:extLst>
          </p:cNvPr>
          <p:cNvSpPr/>
          <p:nvPr/>
        </p:nvSpPr>
        <p:spPr>
          <a:xfrm>
            <a:off x="5148098" y="4452164"/>
            <a:ext cx="2449411" cy="921586"/>
          </a:xfrm>
          <a:prstGeom prst="wedgeRectCallout">
            <a:avLst>
              <a:gd name="adj1" fmla="val 1448"/>
              <a:gd name="adj2" fmla="val 7162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WiFi connection is weak and sometimes I need to turn off the video to make the call working.</a:t>
            </a:r>
            <a:r>
              <a:rPr lang="en-GB" sz="1200" dirty="0">
                <a:latin typeface="Trebuchet MS" panose="020B0603020202020204" pitchFamily="34" charset="0"/>
                <a:cs typeface="Arial" pitchFamily="34" charset="0"/>
              </a:rPr>
              <a:t>”</a:t>
            </a:r>
          </a:p>
          <a:p>
            <a:endParaRPr lang="en-GB" sz="1200" dirty="0">
              <a:cs typeface="Arial" pitchFamily="34" charset="0"/>
            </a:endParaRPr>
          </a:p>
          <a:p>
            <a:pPr algn="r"/>
            <a:r>
              <a:rPr lang="en-GB" sz="1000" i="1" dirty="0">
                <a:cs typeface="Arial" pitchFamily="34" charset="0"/>
              </a:rPr>
              <a:t>Consultant</a:t>
            </a:r>
          </a:p>
        </p:txBody>
      </p:sp>
      <p:sp>
        <p:nvSpPr>
          <p:cNvPr id="45" name="Rectangular Callout 53">
            <a:extLst>
              <a:ext uri="{FF2B5EF4-FFF2-40B4-BE49-F238E27FC236}">
                <a16:creationId xmlns:a16="http://schemas.microsoft.com/office/drawing/2014/main" id="{9CD9CD4D-8CA3-43B7-A076-FD1C88141B0A}"/>
              </a:ext>
            </a:extLst>
          </p:cNvPr>
          <p:cNvSpPr/>
          <p:nvPr/>
        </p:nvSpPr>
        <p:spPr>
          <a:xfrm>
            <a:off x="4045129" y="5633391"/>
            <a:ext cx="1207339" cy="954424"/>
          </a:xfrm>
          <a:prstGeom prst="wedgeRectCallout">
            <a:avLst>
              <a:gd name="adj1" fmla="val -35886"/>
              <a:gd name="adj2" fmla="val -6785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Curved screens are excellent add </a:t>
            </a:r>
            <a:r>
              <a:rPr lang="en-US" sz="1200" dirty="0" err="1">
                <a:cs typeface="Arial" pitchFamily="34" charset="0"/>
              </a:rPr>
              <a:t>ons</a:t>
            </a:r>
            <a:r>
              <a:rPr lang="en-US" sz="1200" dirty="0">
                <a:cs typeface="Arial" pitchFamily="34" charset="0"/>
              </a:rPr>
              <a:t>.</a:t>
            </a:r>
            <a:r>
              <a:rPr lang="en-GB" sz="1200" dirty="0">
                <a:latin typeface="Trebuchet MS" panose="020B0603020202020204" pitchFamily="34" charset="0"/>
                <a:cs typeface="Arial" pitchFamily="34" charset="0"/>
              </a:rPr>
              <a:t>”</a:t>
            </a:r>
            <a:endParaRPr lang="en-US" sz="1200" i="1" dirty="0">
              <a:cs typeface="Arial" pitchFamily="34" charset="0"/>
            </a:endParaRPr>
          </a:p>
          <a:p>
            <a:pPr algn="r"/>
            <a:r>
              <a:rPr lang="en-US" sz="1000" i="1" dirty="0">
                <a:cs typeface="Arial" pitchFamily="34" charset="0"/>
              </a:rPr>
              <a:t>BST</a:t>
            </a:r>
            <a:endParaRPr lang="en-GB" sz="1000" i="1" dirty="0">
              <a:cs typeface="Arial" pitchFamily="34" charset="0"/>
            </a:endParaRPr>
          </a:p>
        </p:txBody>
      </p:sp>
      <p:sp>
        <p:nvSpPr>
          <p:cNvPr id="42" name="Oval 41">
            <a:extLst>
              <a:ext uri="{FF2B5EF4-FFF2-40B4-BE49-F238E27FC236}">
                <a16:creationId xmlns:a16="http://schemas.microsoft.com/office/drawing/2014/main" id="{B2E63575-2068-4568-BCDA-EDEEC0A550A8}"/>
              </a:ext>
            </a:extLst>
          </p:cNvPr>
          <p:cNvSpPr>
            <a:spLocks noChangeAspect="1"/>
          </p:cNvSpPr>
          <p:nvPr/>
        </p:nvSpPr>
        <p:spPr>
          <a:xfrm>
            <a:off x="8648518" y="1873621"/>
            <a:ext cx="3125969" cy="3125969"/>
          </a:xfrm>
          <a:prstGeom prst="ellipse">
            <a:avLst/>
          </a:prstGeom>
          <a:solidFill>
            <a:srgbClr val="F2F2F2"/>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211</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Mentions</a:t>
            </a:r>
          </a:p>
        </p:txBody>
      </p:sp>
    </p:spTree>
    <p:extLst>
      <p:ext uri="{BB962C8B-B14F-4D97-AF65-F5344CB8AC3E}">
        <p14:creationId xmlns:p14="http://schemas.microsoft.com/office/powerpoint/2010/main" val="304815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52181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800"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410" name="Picture 409">
            <a:extLst>
              <a:ext uri="{FF2B5EF4-FFF2-40B4-BE49-F238E27FC236}">
                <a16:creationId xmlns:a16="http://schemas.microsoft.com/office/drawing/2014/main" id="{712EA5B9-E00E-4A66-A1EA-C4F239C70213}"/>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16329" y="-1253"/>
            <a:ext cx="4375670" cy="6859255"/>
          </a:xfrm>
          <a:prstGeom prst="rect">
            <a:avLst/>
          </a:prstGeom>
        </p:spPr>
      </p:pic>
      <p:sp>
        <p:nvSpPr>
          <p:cNvPr id="53" name="Rectangular Callout 52"/>
          <p:cNvSpPr/>
          <p:nvPr/>
        </p:nvSpPr>
        <p:spPr>
          <a:xfrm>
            <a:off x="220772" y="4429390"/>
            <a:ext cx="4951594" cy="921587"/>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200" dirty="0">
              <a:cs typeface="Arial" pitchFamily="34" charset="0"/>
            </a:endParaRPr>
          </a:p>
          <a:p>
            <a:r>
              <a:rPr lang="en-GB" sz="1200" dirty="0">
                <a:cs typeface="Arial" pitchFamily="34" charset="0"/>
              </a:rPr>
              <a:t>“</a:t>
            </a:r>
            <a:r>
              <a:rPr lang="en-US" sz="1200" dirty="0">
                <a:cs typeface="Arial" pitchFamily="34" charset="0"/>
              </a:rPr>
              <a:t>The digital tools we have been provided are great. However I hope the impact they have upon laptop performance can be improved - presenting a PowerPoint over zoom, with video on and Slack running can get very </a:t>
            </a:r>
            <a:r>
              <a:rPr lang="en-US" sz="1200" dirty="0" err="1">
                <a:cs typeface="Arial" pitchFamily="34" charset="0"/>
              </a:rPr>
              <a:t>laggy</a:t>
            </a:r>
            <a:r>
              <a:rPr lang="en-US" sz="1200" dirty="0">
                <a:cs typeface="Arial" pitchFamily="34" charset="0"/>
              </a:rPr>
              <a:t> regardless of internet connection bandwidth.</a:t>
            </a:r>
            <a:r>
              <a:rPr lang="en-GB" sz="1200" dirty="0">
                <a:cs typeface="Arial" pitchFamily="34" charset="0"/>
              </a:rPr>
              <a:t>”</a:t>
            </a:r>
          </a:p>
          <a:p>
            <a:pPr algn="r"/>
            <a:r>
              <a:rPr lang="en-GB" sz="1200" i="1" dirty="0">
                <a:cs typeface="Arial" pitchFamily="34" charset="0"/>
              </a:rPr>
              <a:t>	       </a:t>
            </a:r>
            <a:r>
              <a:rPr lang="en-GB" sz="1050" i="1" dirty="0">
                <a:cs typeface="Arial" pitchFamily="34" charset="0"/>
              </a:rPr>
              <a:t>Senior ECT</a:t>
            </a:r>
            <a:endParaRPr lang="en-GB" sz="1200" i="1" dirty="0">
              <a:cs typeface="Arial" pitchFamily="34" charset="0"/>
            </a:endParaRPr>
          </a:p>
          <a:p>
            <a:pPr algn="r"/>
            <a:endParaRPr lang="en-GB" sz="1000" i="1" dirty="0">
              <a:cs typeface="Arial" pitchFamily="34" charset="0"/>
            </a:endParaRPr>
          </a:p>
        </p:txBody>
      </p:sp>
      <p:sp>
        <p:nvSpPr>
          <p:cNvPr id="54" name="Rectangular Callout 53"/>
          <p:cNvSpPr/>
          <p:nvPr/>
        </p:nvSpPr>
        <p:spPr>
          <a:xfrm>
            <a:off x="220772" y="5627806"/>
            <a:ext cx="2062053" cy="833977"/>
          </a:xfrm>
          <a:prstGeom prst="wedgeRectCallout">
            <a:avLst>
              <a:gd name="adj1" fmla="val 12185"/>
              <a:gd name="adj2" fmla="val -6785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VPN is not stable, download is very slow.</a:t>
            </a:r>
            <a:r>
              <a:rPr lang="en-GB" sz="1000" dirty="0">
                <a:cs typeface="Arial" pitchFamily="34" charset="0"/>
              </a:rPr>
              <a:t>”</a:t>
            </a:r>
            <a:r>
              <a:rPr lang="en-GB" sz="1000" i="1" dirty="0">
                <a:cs typeface="Arial" pitchFamily="34" charset="0"/>
              </a:rPr>
              <a:t> </a:t>
            </a:r>
          </a:p>
          <a:p>
            <a:endParaRPr lang="en-GB" sz="1000" i="1" dirty="0">
              <a:cs typeface="Arial" pitchFamily="34" charset="0"/>
            </a:endParaRPr>
          </a:p>
          <a:p>
            <a:pPr algn="r"/>
            <a:r>
              <a:rPr lang="en-GB" sz="1000" i="1" dirty="0">
                <a:cs typeface="Arial" pitchFamily="34" charset="0"/>
              </a:rPr>
              <a:t>Consultant</a:t>
            </a:r>
          </a:p>
        </p:txBody>
      </p:sp>
      <p:sp>
        <p:nvSpPr>
          <p:cNvPr id="41" name="Rectangular Callout 40"/>
          <p:cNvSpPr/>
          <p:nvPr/>
        </p:nvSpPr>
        <p:spPr>
          <a:xfrm>
            <a:off x="2406129" y="5627806"/>
            <a:ext cx="3358753" cy="867107"/>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Had to invest myself in a big screen, which is improving my efficiency by ~50%!.</a:t>
            </a:r>
            <a:r>
              <a:rPr lang="en-GB" sz="1200" dirty="0">
                <a:cs typeface="Arial" pitchFamily="34" charset="0"/>
              </a:rPr>
              <a:t>”</a:t>
            </a:r>
          </a:p>
          <a:p>
            <a:pPr algn="r"/>
            <a:r>
              <a:rPr lang="en-GB" sz="1000" i="1" dirty="0">
                <a:cs typeface="Arial" pitchFamily="34" charset="0"/>
              </a:rPr>
              <a:t>Consultant</a:t>
            </a:r>
          </a:p>
        </p:txBody>
      </p:sp>
      <p:sp>
        <p:nvSpPr>
          <p:cNvPr id="59" name="Oval 58"/>
          <p:cNvSpPr>
            <a:spLocks noChangeAspect="1"/>
          </p:cNvSpPr>
          <p:nvPr/>
        </p:nvSpPr>
        <p:spPr>
          <a:xfrm>
            <a:off x="8648518" y="1873621"/>
            <a:ext cx="3125969" cy="3125969"/>
          </a:xfrm>
          <a:prstGeom prst="ellipse">
            <a:avLst/>
          </a:prstGeom>
          <a:solidFill>
            <a:srgbClr val="F2F2F2"/>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185</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Mentions</a:t>
            </a:r>
          </a:p>
        </p:txBody>
      </p:sp>
      <p:sp>
        <p:nvSpPr>
          <p:cNvPr id="36" name="Rectangle 35">
            <a:extLst>
              <a:ext uri="{FF2B5EF4-FFF2-40B4-BE49-F238E27FC236}">
                <a16:creationId xmlns:a16="http://schemas.microsoft.com/office/drawing/2014/main" id="{BD7135CD-7748-497B-BD71-90F42AA7ACE5}"/>
              </a:ext>
            </a:extLst>
          </p:cNvPr>
          <p:cNvSpPr/>
          <p:nvPr/>
        </p:nvSpPr>
        <p:spPr>
          <a:xfrm>
            <a:off x="7816241" y="-1"/>
            <a:ext cx="4375759" cy="122078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p>
          <a:p>
            <a:pPr algn="ctr">
              <a:lnSpc>
                <a:spcPct val="95000"/>
              </a:lnSpc>
            </a:pPr>
            <a:r>
              <a:rPr lang="en-GB" sz="2200" kern="0" dirty="0">
                <a:solidFill>
                  <a:srgbClr val="FFFFFF"/>
                </a:solidFill>
              </a:rPr>
              <a:t>Tools &amp; Services Provided for – </a:t>
            </a:r>
          </a:p>
          <a:p>
            <a:pPr algn="ctr">
              <a:lnSpc>
                <a:spcPct val="95000"/>
              </a:lnSpc>
            </a:pPr>
            <a:r>
              <a:rPr lang="en-GB" sz="2200" kern="0" dirty="0">
                <a:solidFill>
                  <a:srgbClr val="FFFFFF"/>
                </a:solidFill>
              </a:rPr>
              <a:t>HOME</a:t>
            </a:r>
          </a:p>
        </p:txBody>
      </p:sp>
      <p:sp>
        <p:nvSpPr>
          <p:cNvPr id="28" name="Rectangle 27">
            <a:extLst>
              <a:ext uri="{FF2B5EF4-FFF2-40B4-BE49-F238E27FC236}">
                <a16:creationId xmlns:a16="http://schemas.microsoft.com/office/drawing/2014/main" id="{AE8BA0A3-A22B-4066-9085-3FC79F11C9A0}"/>
              </a:ext>
            </a:extLst>
          </p:cNvPr>
          <p:cNvSpPr/>
          <p:nvPr/>
        </p:nvSpPr>
        <p:spPr>
          <a:xfrm>
            <a:off x="145255" y="4053152"/>
            <a:ext cx="5405286" cy="3540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47292" y="285689"/>
            <a:ext cx="7463183" cy="21444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Whilst many feel well-supported to work from home, others say that there is minimal to no support. Some mention they had to make their own investment for home equipment. Many say their productivity has increased due to working from home, &amp; also due to the support received that improved their ability to work from home. Employees also chose to speak about slow performance &amp; stability of their laptops, PPT &amp; Excel, making it more challenging to work from home. Some face issues accessing digital tools due to slowness of VPN, although at 86%, E-SAT for how tools perform on VPN remains high (slide 107).</a:t>
            </a:r>
          </a:p>
        </p:txBody>
      </p:sp>
      <p:sp>
        <p:nvSpPr>
          <p:cNvPr id="35" name="Rectangular Callout 52">
            <a:extLst>
              <a:ext uri="{FF2B5EF4-FFF2-40B4-BE49-F238E27FC236}">
                <a16:creationId xmlns:a16="http://schemas.microsoft.com/office/drawing/2014/main" id="{3D60241C-7E65-454F-A077-25FE918CE6C7}"/>
              </a:ext>
            </a:extLst>
          </p:cNvPr>
          <p:cNvSpPr/>
          <p:nvPr/>
        </p:nvSpPr>
        <p:spPr>
          <a:xfrm>
            <a:off x="5260210" y="4429390"/>
            <a:ext cx="2350265" cy="921587"/>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Excellent. I feel well supported to be highly productive working from home.</a:t>
            </a:r>
            <a:r>
              <a:rPr lang="en-GB" sz="1200" dirty="0">
                <a:cs typeface="Arial" pitchFamily="34" charset="0"/>
              </a:rPr>
              <a:t>”</a:t>
            </a:r>
          </a:p>
          <a:p>
            <a:pPr algn="r"/>
            <a:r>
              <a:rPr lang="en-GB" sz="1000" i="1" dirty="0">
                <a:cs typeface="Arial" pitchFamily="34" charset="0"/>
              </a:rPr>
              <a:t>Project Leader</a:t>
            </a:r>
          </a:p>
        </p:txBody>
      </p:sp>
      <p:sp>
        <p:nvSpPr>
          <p:cNvPr id="34" name="Rectangle 33">
            <a:extLst>
              <a:ext uri="{FF2B5EF4-FFF2-40B4-BE49-F238E27FC236}">
                <a16:creationId xmlns:a16="http://schemas.microsoft.com/office/drawing/2014/main" id="{E764BD15-36CD-41E8-AB6D-27DED5D5C561}"/>
              </a:ext>
            </a:extLst>
          </p:cNvPr>
          <p:cNvSpPr/>
          <p:nvPr/>
        </p:nvSpPr>
        <p:spPr>
          <a:xfrm>
            <a:off x="145255" y="249078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graphicFrame>
        <p:nvGraphicFramePr>
          <p:cNvPr id="52" name="Chart 51">
            <a:extLst>
              <a:ext uri="{FF2B5EF4-FFF2-40B4-BE49-F238E27FC236}">
                <a16:creationId xmlns:a16="http://schemas.microsoft.com/office/drawing/2014/main" id="{F174339B-461B-496F-A021-0D7B7F6C7D46}"/>
              </a:ext>
            </a:extLst>
          </p:cNvPr>
          <p:cNvGraphicFramePr/>
          <p:nvPr>
            <p:custDataLst>
              <p:tags r:id="rId4"/>
            </p:custDataLst>
            <p:extLst>
              <p:ext uri="{D42A27DB-BD31-4B8C-83A1-F6EECF244321}">
                <p14:modId xmlns:p14="http://schemas.microsoft.com/office/powerpoint/2010/main" val="1520853800"/>
              </p:ext>
            </p:extLst>
          </p:nvPr>
        </p:nvGraphicFramePr>
        <p:xfrm>
          <a:off x="138113" y="2660650"/>
          <a:ext cx="7554912" cy="1006475"/>
        </p:xfrm>
        <a:graphic>
          <a:graphicData uri="http://schemas.openxmlformats.org/drawingml/2006/chart">
            <c:chart xmlns:c="http://schemas.openxmlformats.org/drawingml/2006/chart" xmlns:r="http://schemas.openxmlformats.org/officeDocument/2006/relationships" r:id="rId16"/>
          </a:graphicData>
        </a:graphic>
      </p:graphicFrame>
      <p:sp>
        <p:nvSpPr>
          <p:cNvPr id="295" name="Rectangle 294">
            <a:extLst>
              <a:ext uri="{FF2B5EF4-FFF2-40B4-BE49-F238E27FC236}">
                <a16:creationId xmlns:a16="http://schemas.microsoft.com/office/drawing/2014/main" id="{E5A10456-61E7-42B4-B81E-296600ABAD69}"/>
              </a:ext>
            </a:extLst>
          </p:cNvPr>
          <p:cNvSpPr/>
          <p:nvPr>
            <p:custDataLst>
              <p:tags r:id="rId5"/>
            </p:custDataLst>
          </p:nvPr>
        </p:nvSpPr>
        <p:spPr bwMode="gray">
          <a:xfrm>
            <a:off x="1146175" y="36639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4" name="Rectangle 293">
            <a:extLst>
              <a:ext uri="{FF2B5EF4-FFF2-40B4-BE49-F238E27FC236}">
                <a16:creationId xmlns:a16="http://schemas.microsoft.com/office/drawing/2014/main" id="{FFED7D24-C9B3-4D95-A35D-EED94ABD7C16}"/>
              </a:ext>
            </a:extLst>
          </p:cNvPr>
          <p:cNvSpPr/>
          <p:nvPr>
            <p:custDataLst>
              <p:tags r:id="rId6"/>
            </p:custDataLst>
          </p:nvPr>
        </p:nvSpPr>
        <p:spPr bwMode="gray">
          <a:xfrm>
            <a:off x="252413" y="36639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6" name="Rectangle 295">
            <a:extLst>
              <a:ext uri="{FF2B5EF4-FFF2-40B4-BE49-F238E27FC236}">
                <a16:creationId xmlns:a16="http://schemas.microsoft.com/office/drawing/2014/main" id="{9CBD349E-F3D9-419B-98C3-EA23B5FE7CCC}"/>
              </a:ext>
            </a:extLst>
          </p:cNvPr>
          <p:cNvSpPr/>
          <p:nvPr>
            <p:custDataLst>
              <p:tags r:id="rId7"/>
            </p:custDataLst>
          </p:nvPr>
        </p:nvSpPr>
        <p:spPr bwMode="gray">
          <a:xfrm>
            <a:off x="2017713" y="36639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4" name="Text Placeholder 3">
            <a:extLst>
              <a:ext uri="{FF2B5EF4-FFF2-40B4-BE49-F238E27FC236}">
                <a16:creationId xmlns:a16="http://schemas.microsoft.com/office/drawing/2014/main" id="{CC9947C7-8186-4A8A-B3AD-1FC660132633}"/>
              </a:ext>
            </a:extLst>
          </p:cNvPr>
          <p:cNvSpPr>
            <a:spLocks noGrp="1"/>
          </p:cNvSpPr>
          <p:nvPr>
            <p:custDataLst>
              <p:tags r:id="rId8"/>
            </p:custDataLst>
          </p:nvPr>
        </p:nvSpPr>
        <p:spPr bwMode="gray">
          <a:xfrm>
            <a:off x="517525" y="3644900"/>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333ABB5-82C9-4BDA-BD41-21C780CF45FB}" type="datetime'''''''''''P''''o''''si''''t''''''i''''''v''''''''''''''''e'">
              <a:rPr lang="en-US" altLang="en-US" smtClean="0">
                <a:solidFill>
                  <a:schemeClr val="bg1"/>
                </a:solidFill>
              </a:rPr>
              <a:pPr/>
              <a:t>Positive</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80BB785B-4CF4-4C62-92BD-15E2CF253226}"/>
              </a:ext>
            </a:extLst>
          </p:cNvPr>
          <p:cNvSpPr>
            <a:spLocks noGrp="1"/>
          </p:cNvSpPr>
          <p:nvPr>
            <p:custDataLst>
              <p:tags r:id="rId9"/>
            </p:custDataLst>
          </p:nvPr>
        </p:nvSpPr>
        <p:spPr bwMode="gray">
          <a:xfrm>
            <a:off x="1411288" y="36449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28C847C-29F6-414B-9115-B4C7376CA3D6}" type="datetime'''''N''''''''''eu''''''''t''''r''''''al'''''''">
              <a:rPr lang="en-US" altLang="en-US" smtClean="0">
                <a:solidFill>
                  <a:schemeClr val="bg1"/>
                </a:solidFill>
              </a:rPr>
              <a:pPr/>
              <a:t>Neutral</a:t>
            </a:fld>
            <a:endParaRPr lang="en-US" dirty="0">
              <a:solidFill>
                <a:schemeClr val="bg1"/>
              </a:solidFill>
              <a:sym typeface="+mn-lt"/>
            </a:endParaRPr>
          </a:p>
        </p:txBody>
      </p:sp>
      <p:sp>
        <p:nvSpPr>
          <p:cNvPr id="75" name="Text Placeholder 3">
            <a:extLst>
              <a:ext uri="{FF2B5EF4-FFF2-40B4-BE49-F238E27FC236}">
                <a16:creationId xmlns:a16="http://schemas.microsoft.com/office/drawing/2014/main" id="{9F4108A1-0AC8-40EB-B42F-37490D7F8C39}"/>
              </a:ext>
            </a:extLst>
          </p:cNvPr>
          <p:cNvSpPr>
            <a:spLocks noGrp="1"/>
          </p:cNvSpPr>
          <p:nvPr>
            <p:custDataLst>
              <p:tags r:id="rId10"/>
            </p:custDataLst>
          </p:nvPr>
        </p:nvSpPr>
        <p:spPr bwMode="gray">
          <a:xfrm>
            <a:off x="2282825" y="3644900"/>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D13CCE1-F593-4600-B753-5B4A68682F95}" type="datetime'''''''''''''''''''N''''e''''g''at''i''v''e'''''''''''''">
              <a:rPr lang="en-US" altLang="en-US" smtClean="0">
                <a:solidFill>
                  <a:schemeClr val="bg1"/>
                </a:solidFill>
              </a:rPr>
              <a:pPr/>
              <a:t>Negative</a:t>
            </a:fld>
            <a:endParaRPr lang="en-US" dirty="0">
              <a:solidFill>
                <a:schemeClr val="bg1"/>
              </a:solidFill>
              <a:sym typeface="+mn-lt"/>
            </a:endParaRPr>
          </a:p>
        </p:txBody>
      </p:sp>
      <p:sp>
        <p:nvSpPr>
          <p:cNvPr id="298" name="Rectangle 297" hidden="1">
            <a:extLst>
              <a:ext uri="{FF2B5EF4-FFF2-40B4-BE49-F238E27FC236}">
                <a16:creationId xmlns:a16="http://schemas.microsoft.com/office/drawing/2014/main" id="{5B51841B-0311-4E47-902B-B080514EF200}"/>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304" name="Rectangle 303" hidden="1">
            <a:extLst>
              <a:ext uri="{FF2B5EF4-FFF2-40B4-BE49-F238E27FC236}">
                <a16:creationId xmlns:a16="http://schemas.microsoft.com/office/drawing/2014/main" id="{B3515424-1DC5-423F-A6A8-B7B9B59A59B3}"/>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404" name="Rectangle 403" hidden="1">
            <a:extLst>
              <a:ext uri="{FF2B5EF4-FFF2-40B4-BE49-F238E27FC236}">
                <a16:creationId xmlns:a16="http://schemas.microsoft.com/office/drawing/2014/main" id="{C710BAAE-7057-453B-81FD-E5CE0BDDBF2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endParaRPr>
          </a:p>
        </p:txBody>
      </p:sp>
      <p:sp>
        <p:nvSpPr>
          <p:cNvPr id="2" name="Rectangle 1" hidden="1">
            <a:extLst>
              <a:ext uri="{FF2B5EF4-FFF2-40B4-BE49-F238E27FC236}">
                <a16:creationId xmlns:a16="http://schemas.microsoft.com/office/drawing/2014/main" id="{AE4C9A80-1E01-4C83-9864-E5418C34D8D7}"/>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endParaRPr>
          </a:p>
        </p:txBody>
      </p:sp>
      <p:sp>
        <p:nvSpPr>
          <p:cNvPr id="57" name="Rectangular Callout 40">
            <a:extLst>
              <a:ext uri="{FF2B5EF4-FFF2-40B4-BE49-F238E27FC236}">
                <a16:creationId xmlns:a16="http://schemas.microsoft.com/office/drawing/2014/main" id="{5E544F49-2A05-44F9-8C14-AFBDF0915370}"/>
              </a:ext>
            </a:extLst>
          </p:cNvPr>
          <p:cNvSpPr/>
          <p:nvPr/>
        </p:nvSpPr>
        <p:spPr>
          <a:xfrm>
            <a:off x="5902036" y="5642397"/>
            <a:ext cx="1708439" cy="841888"/>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Had to buy my own desk, chair, camera and keyboard.</a:t>
            </a:r>
            <a:r>
              <a:rPr lang="en-GB" sz="1200" dirty="0">
                <a:cs typeface="Arial" pitchFamily="34" charset="0"/>
              </a:rPr>
              <a:t>”</a:t>
            </a:r>
            <a:r>
              <a:rPr lang="en-US" sz="1200" dirty="0">
                <a:cs typeface="Arial" pitchFamily="34" charset="0"/>
              </a:rPr>
              <a:t> </a:t>
            </a:r>
          </a:p>
          <a:p>
            <a:pPr algn="r"/>
            <a:r>
              <a:rPr lang="en-GB" sz="1000" i="1" dirty="0">
                <a:cs typeface="Arial" pitchFamily="34" charset="0"/>
              </a:rPr>
              <a:t>Associate</a:t>
            </a:r>
          </a:p>
        </p:txBody>
      </p:sp>
      <p:sp>
        <p:nvSpPr>
          <p:cNvPr id="49" name="Rectangular Callout 53">
            <a:extLst>
              <a:ext uri="{FF2B5EF4-FFF2-40B4-BE49-F238E27FC236}">
                <a16:creationId xmlns:a16="http://schemas.microsoft.com/office/drawing/2014/main" id="{4EF896D0-1FEE-422A-965C-FEFFA8824429}"/>
              </a:ext>
            </a:extLst>
          </p:cNvPr>
          <p:cNvSpPr/>
          <p:nvPr/>
        </p:nvSpPr>
        <p:spPr>
          <a:xfrm>
            <a:off x="13548" y="6615490"/>
            <a:ext cx="5536993" cy="243699"/>
          </a:xfrm>
          <a:prstGeom prst="wedgeRectCallout">
            <a:avLst>
              <a:gd name="adj1" fmla="val 16083"/>
              <a:gd name="adj2" fmla="val -32914"/>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000" i="1" dirty="0">
                <a:cs typeface="Arial" pitchFamily="34" charset="0"/>
              </a:rPr>
              <a:t>Note – more comments relating to working from home available on slide 100 &amp; 103 </a:t>
            </a:r>
          </a:p>
        </p:txBody>
      </p:sp>
    </p:spTree>
    <p:extLst>
      <p:ext uri="{BB962C8B-B14F-4D97-AF65-F5344CB8AC3E}">
        <p14:creationId xmlns:p14="http://schemas.microsoft.com/office/powerpoint/2010/main" val="2419484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2E1F54-A1B4-4CA8-92C0-30CC8908CBC1}"/>
              </a:ext>
            </a:extLst>
          </p:cNvPr>
          <p:cNvGraphicFramePr>
            <a:graphicFrameLocks noChangeAspect="1"/>
          </p:cNvGraphicFramePr>
          <p:nvPr>
            <p:custDataLst>
              <p:tags r:id="rId2"/>
            </p:custDataLst>
            <p:extLst>
              <p:ext uri="{D42A27DB-BD31-4B8C-83A1-F6EECF244321}">
                <p14:modId xmlns:p14="http://schemas.microsoft.com/office/powerpoint/2010/main" val="804536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466"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032E1F54-A1B4-4CA8-92C0-30CC8908CB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D620C6-AEAE-4321-B5C6-E2CDECA353C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BEFD33B1-368C-4846-8CAD-76A960640BCA}"/>
              </a:ext>
            </a:extLst>
          </p:cNvPr>
          <p:cNvSpPr>
            <a:spLocks noGrp="1"/>
          </p:cNvSpPr>
          <p:nvPr>
            <p:ph type="title"/>
          </p:nvPr>
        </p:nvSpPr>
        <p:spPr>
          <a:xfrm>
            <a:off x="627269" y="732927"/>
            <a:ext cx="10933350" cy="332399"/>
          </a:xfrm>
        </p:spPr>
        <p:txBody>
          <a:bodyPr vert="horz"/>
          <a:lstStyle/>
          <a:p>
            <a:r>
              <a:rPr lang="en-US" dirty="0">
                <a:solidFill>
                  <a:srgbClr val="295E7E"/>
                </a:solidFill>
              </a:rPr>
              <a:t>REMINDER - Our Critical &amp; Business Supporting Products &amp; Services</a:t>
            </a:r>
          </a:p>
        </p:txBody>
      </p:sp>
      <p:sp>
        <p:nvSpPr>
          <p:cNvPr id="10" name="Rectangle 9">
            <a:extLst>
              <a:ext uri="{FF2B5EF4-FFF2-40B4-BE49-F238E27FC236}">
                <a16:creationId xmlns:a16="http://schemas.microsoft.com/office/drawing/2014/main" id="{36151AF2-BB68-4329-918A-5F576E08B588}"/>
              </a:ext>
            </a:extLst>
          </p:cNvPr>
          <p:cNvSpPr/>
          <p:nvPr/>
        </p:nvSpPr>
        <p:spPr>
          <a:xfrm>
            <a:off x="630000" y="1182954"/>
            <a:ext cx="3063253" cy="52961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rgbClr val="575757"/>
                </a:solidFill>
              </a:rPr>
              <a:t>Critical</a:t>
            </a:r>
          </a:p>
        </p:txBody>
      </p:sp>
      <p:sp>
        <p:nvSpPr>
          <p:cNvPr id="11" name="Rectangle 10">
            <a:extLst>
              <a:ext uri="{FF2B5EF4-FFF2-40B4-BE49-F238E27FC236}">
                <a16:creationId xmlns:a16="http://schemas.microsoft.com/office/drawing/2014/main" id="{3E80347B-FA6C-430B-9E1B-BB0011A972CD}"/>
              </a:ext>
            </a:extLst>
          </p:cNvPr>
          <p:cNvSpPr/>
          <p:nvPr/>
        </p:nvSpPr>
        <p:spPr>
          <a:xfrm>
            <a:off x="627269" y="4134967"/>
            <a:ext cx="3063252" cy="5506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rgbClr val="575757"/>
                </a:solidFill>
              </a:rPr>
              <a:t>Business Supporting</a:t>
            </a:r>
          </a:p>
        </p:txBody>
      </p:sp>
      <p:sp>
        <p:nvSpPr>
          <p:cNvPr id="12" name="Rectangle 11">
            <a:extLst>
              <a:ext uri="{FF2B5EF4-FFF2-40B4-BE49-F238E27FC236}">
                <a16:creationId xmlns:a16="http://schemas.microsoft.com/office/drawing/2014/main" id="{418B09CE-3FFE-4E82-B02E-7C7ABD1DB612}"/>
              </a:ext>
            </a:extLst>
          </p:cNvPr>
          <p:cNvSpPr/>
          <p:nvPr/>
        </p:nvSpPr>
        <p:spPr>
          <a:xfrm>
            <a:off x="627270" y="1697186"/>
            <a:ext cx="3065988" cy="16462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400" dirty="0">
                <a:solidFill>
                  <a:srgbClr val="295E7E"/>
                </a:solidFill>
              </a:rPr>
              <a:t>IT products that are critical to our employees. These products are needed to get the most critical work done day-to-day. There are no suitable workarounds* if these products become unavailable</a:t>
            </a:r>
            <a:endParaRPr lang="en-GB" dirty="0">
              <a:solidFill>
                <a:srgbClr val="295E7E"/>
              </a:solidFill>
            </a:endParaRPr>
          </a:p>
        </p:txBody>
      </p:sp>
      <p:sp>
        <p:nvSpPr>
          <p:cNvPr id="13" name="Rectangle 12">
            <a:extLst>
              <a:ext uri="{FF2B5EF4-FFF2-40B4-BE49-F238E27FC236}">
                <a16:creationId xmlns:a16="http://schemas.microsoft.com/office/drawing/2014/main" id="{88163143-BFB2-40FE-9199-038B094DA5EA}"/>
              </a:ext>
            </a:extLst>
          </p:cNvPr>
          <p:cNvSpPr/>
          <p:nvPr/>
        </p:nvSpPr>
        <p:spPr>
          <a:xfrm>
            <a:off x="571554" y="4677286"/>
            <a:ext cx="3121700" cy="148485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400" dirty="0">
                <a:solidFill>
                  <a:srgbClr val="295E7E"/>
                </a:solidFill>
              </a:rPr>
              <a:t>IT products that are important to our employees. These are needed day-to-day, but if they become unavailable, employees can either complete the work at another time, or use a workaround*</a:t>
            </a:r>
            <a:endParaRPr lang="en-US" sz="1400" dirty="0">
              <a:solidFill>
                <a:srgbClr val="295E7E"/>
              </a:solidFill>
            </a:endParaRPr>
          </a:p>
        </p:txBody>
      </p:sp>
      <p:sp>
        <p:nvSpPr>
          <p:cNvPr id="14" name="Rectangle 13">
            <a:extLst>
              <a:ext uri="{FF2B5EF4-FFF2-40B4-BE49-F238E27FC236}">
                <a16:creationId xmlns:a16="http://schemas.microsoft.com/office/drawing/2014/main" id="{F737E675-51CE-4F0C-8938-D39A7204837E}"/>
              </a:ext>
            </a:extLst>
          </p:cNvPr>
          <p:cNvSpPr/>
          <p:nvPr/>
        </p:nvSpPr>
        <p:spPr>
          <a:xfrm>
            <a:off x="3693253"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Rectangle 15">
            <a:extLst>
              <a:ext uri="{FF2B5EF4-FFF2-40B4-BE49-F238E27FC236}">
                <a16:creationId xmlns:a16="http://schemas.microsoft.com/office/drawing/2014/main" id="{C3FA2C97-7097-4DBD-A831-C7C47BF5302A}"/>
              </a:ext>
            </a:extLst>
          </p:cNvPr>
          <p:cNvSpPr/>
          <p:nvPr/>
        </p:nvSpPr>
        <p:spPr>
          <a:xfrm>
            <a:off x="5036295"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Rectangle 16">
            <a:extLst>
              <a:ext uri="{FF2B5EF4-FFF2-40B4-BE49-F238E27FC236}">
                <a16:creationId xmlns:a16="http://schemas.microsoft.com/office/drawing/2014/main" id="{EAF635E8-FC45-4D97-AED3-1905FC9F7FB3}"/>
              </a:ext>
            </a:extLst>
          </p:cNvPr>
          <p:cNvSpPr/>
          <p:nvPr/>
        </p:nvSpPr>
        <p:spPr>
          <a:xfrm>
            <a:off x="6379333"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Rectangle 17">
            <a:extLst>
              <a:ext uri="{FF2B5EF4-FFF2-40B4-BE49-F238E27FC236}">
                <a16:creationId xmlns:a16="http://schemas.microsoft.com/office/drawing/2014/main" id="{43A32BA5-6417-485F-A378-6D458F501B7B}"/>
              </a:ext>
            </a:extLst>
          </p:cNvPr>
          <p:cNvSpPr/>
          <p:nvPr/>
        </p:nvSpPr>
        <p:spPr>
          <a:xfrm>
            <a:off x="7722375"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 name="Rectangle 18">
            <a:extLst>
              <a:ext uri="{FF2B5EF4-FFF2-40B4-BE49-F238E27FC236}">
                <a16:creationId xmlns:a16="http://schemas.microsoft.com/office/drawing/2014/main" id="{662F32C4-0085-46DA-A2C2-EC2EC414031F}"/>
              </a:ext>
            </a:extLst>
          </p:cNvPr>
          <p:cNvSpPr/>
          <p:nvPr/>
        </p:nvSpPr>
        <p:spPr>
          <a:xfrm>
            <a:off x="9065413" y="118295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a:extLst>
              <a:ext uri="{FF2B5EF4-FFF2-40B4-BE49-F238E27FC236}">
                <a16:creationId xmlns:a16="http://schemas.microsoft.com/office/drawing/2014/main" id="{DF77C0EA-7DC6-4A0F-BB13-0B99368A7A45}"/>
              </a:ext>
            </a:extLst>
          </p:cNvPr>
          <p:cNvSpPr/>
          <p:nvPr/>
        </p:nvSpPr>
        <p:spPr>
          <a:xfrm>
            <a:off x="3693253" y="1751753"/>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Laptops</a:t>
            </a:r>
          </a:p>
        </p:txBody>
      </p:sp>
      <p:sp>
        <p:nvSpPr>
          <p:cNvPr id="47" name="Rectangle 46">
            <a:extLst>
              <a:ext uri="{FF2B5EF4-FFF2-40B4-BE49-F238E27FC236}">
                <a16:creationId xmlns:a16="http://schemas.microsoft.com/office/drawing/2014/main" id="{F549B04B-32CD-4E70-B4B8-768804EBCA8C}"/>
              </a:ext>
            </a:extLst>
          </p:cNvPr>
          <p:cNvSpPr/>
          <p:nvPr/>
        </p:nvSpPr>
        <p:spPr>
          <a:xfrm>
            <a:off x="5036275" y="174155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IT Support</a:t>
            </a:r>
            <a:r>
              <a:rPr lang="en-US" sz="1200" baseline="30000" dirty="0">
                <a:solidFill>
                  <a:srgbClr val="575757"/>
                </a:solidFill>
              </a:rPr>
              <a:t>1</a:t>
            </a:r>
          </a:p>
        </p:txBody>
      </p:sp>
      <p:sp>
        <p:nvSpPr>
          <p:cNvPr id="48" name="Rectangle 47">
            <a:extLst>
              <a:ext uri="{FF2B5EF4-FFF2-40B4-BE49-F238E27FC236}">
                <a16:creationId xmlns:a16="http://schemas.microsoft.com/office/drawing/2014/main" id="{A7D97787-D0FC-4E78-9BCD-8524AA07B483}"/>
              </a:ext>
            </a:extLst>
          </p:cNvPr>
          <p:cNvSpPr/>
          <p:nvPr/>
        </p:nvSpPr>
        <p:spPr>
          <a:xfrm>
            <a:off x="6379353" y="174155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utlook</a:t>
            </a:r>
          </a:p>
        </p:txBody>
      </p:sp>
      <p:sp>
        <p:nvSpPr>
          <p:cNvPr id="49" name="Rectangle 48">
            <a:extLst>
              <a:ext uri="{FF2B5EF4-FFF2-40B4-BE49-F238E27FC236}">
                <a16:creationId xmlns:a16="http://schemas.microsoft.com/office/drawing/2014/main" id="{0FA5C430-E6B8-4421-88AC-EE8F73CAE5B6}"/>
              </a:ext>
            </a:extLst>
          </p:cNvPr>
          <p:cNvSpPr/>
          <p:nvPr/>
        </p:nvSpPr>
        <p:spPr>
          <a:xfrm>
            <a:off x="7722375" y="1740876"/>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werPoint</a:t>
            </a:r>
          </a:p>
        </p:txBody>
      </p:sp>
      <p:sp>
        <p:nvSpPr>
          <p:cNvPr id="51" name="Rectangle 50">
            <a:extLst>
              <a:ext uri="{FF2B5EF4-FFF2-40B4-BE49-F238E27FC236}">
                <a16:creationId xmlns:a16="http://schemas.microsoft.com/office/drawing/2014/main" id="{EB998586-3644-4395-8CE5-72E3E14AD4C1}"/>
              </a:ext>
            </a:extLst>
          </p:cNvPr>
          <p:cNvSpPr/>
          <p:nvPr/>
        </p:nvSpPr>
        <p:spPr>
          <a:xfrm>
            <a:off x="5026756" y="263569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Filesharing</a:t>
            </a:r>
            <a:r>
              <a:rPr lang="en-US" sz="1200" baseline="30000" dirty="0">
                <a:solidFill>
                  <a:srgbClr val="575757"/>
                </a:solidFill>
              </a:rPr>
              <a:t>2</a:t>
            </a:r>
          </a:p>
        </p:txBody>
      </p:sp>
      <p:sp>
        <p:nvSpPr>
          <p:cNvPr id="53" name="Rectangle 52">
            <a:extLst>
              <a:ext uri="{FF2B5EF4-FFF2-40B4-BE49-F238E27FC236}">
                <a16:creationId xmlns:a16="http://schemas.microsoft.com/office/drawing/2014/main" id="{98E263AD-E407-4D72-9CB2-6950B6355556}"/>
              </a:ext>
            </a:extLst>
          </p:cNvPr>
          <p:cNvSpPr/>
          <p:nvPr/>
        </p:nvSpPr>
        <p:spPr>
          <a:xfrm>
            <a:off x="9065397" y="1737659"/>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Word</a:t>
            </a:r>
          </a:p>
        </p:txBody>
      </p:sp>
      <p:sp>
        <p:nvSpPr>
          <p:cNvPr id="54" name="Rectangle 53">
            <a:extLst>
              <a:ext uri="{FF2B5EF4-FFF2-40B4-BE49-F238E27FC236}">
                <a16:creationId xmlns:a16="http://schemas.microsoft.com/office/drawing/2014/main" id="{08D325C8-6629-4507-A0EC-570FE28C8E88}"/>
              </a:ext>
            </a:extLst>
          </p:cNvPr>
          <p:cNvSpPr/>
          <p:nvPr/>
        </p:nvSpPr>
        <p:spPr>
          <a:xfrm>
            <a:off x="10408419" y="1740876"/>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xcel</a:t>
            </a:r>
          </a:p>
        </p:txBody>
      </p:sp>
      <p:sp>
        <p:nvSpPr>
          <p:cNvPr id="55" name="Rectangle 54">
            <a:extLst>
              <a:ext uri="{FF2B5EF4-FFF2-40B4-BE49-F238E27FC236}">
                <a16:creationId xmlns:a16="http://schemas.microsoft.com/office/drawing/2014/main" id="{2741BAA6-B95C-4A76-8E84-35AB1A3F1083}"/>
              </a:ext>
            </a:extLst>
          </p:cNvPr>
          <p:cNvSpPr/>
          <p:nvPr/>
        </p:nvSpPr>
        <p:spPr>
          <a:xfrm>
            <a:off x="3686078" y="2635370"/>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neNote</a:t>
            </a:r>
          </a:p>
        </p:txBody>
      </p:sp>
      <p:sp>
        <p:nvSpPr>
          <p:cNvPr id="57" name="Rectangle 56">
            <a:extLst>
              <a:ext uri="{FF2B5EF4-FFF2-40B4-BE49-F238E27FC236}">
                <a16:creationId xmlns:a16="http://schemas.microsoft.com/office/drawing/2014/main" id="{44C542F9-C115-462E-A525-C1626A1674FE}"/>
              </a:ext>
            </a:extLst>
          </p:cNvPr>
          <p:cNvSpPr/>
          <p:nvPr/>
        </p:nvSpPr>
        <p:spPr>
          <a:xfrm>
            <a:off x="6369810" y="2634524"/>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Trello</a:t>
            </a:r>
          </a:p>
        </p:txBody>
      </p:sp>
      <p:sp>
        <p:nvSpPr>
          <p:cNvPr id="58" name="Rectangle 57">
            <a:extLst>
              <a:ext uri="{FF2B5EF4-FFF2-40B4-BE49-F238E27FC236}">
                <a16:creationId xmlns:a16="http://schemas.microsoft.com/office/drawing/2014/main" id="{B0C7ED60-75B9-462F-8E61-B779EC2F7A9F}"/>
              </a:ext>
            </a:extLst>
          </p:cNvPr>
          <p:cNvSpPr/>
          <p:nvPr/>
        </p:nvSpPr>
        <p:spPr>
          <a:xfrm>
            <a:off x="7716025" y="2632536"/>
            <a:ext cx="1342954" cy="265009"/>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50" dirty="0">
                <a:solidFill>
                  <a:srgbClr val="575757"/>
                </a:solidFill>
              </a:rPr>
              <a:t>Messaging</a:t>
            </a:r>
            <a:r>
              <a:rPr lang="en-US" sz="1200" baseline="30000" dirty="0">
                <a:solidFill>
                  <a:srgbClr val="575757"/>
                </a:solidFill>
              </a:rPr>
              <a:t>3</a:t>
            </a:r>
          </a:p>
        </p:txBody>
      </p:sp>
      <p:sp>
        <p:nvSpPr>
          <p:cNvPr id="66" name="Rectangle 65">
            <a:extLst>
              <a:ext uri="{FF2B5EF4-FFF2-40B4-BE49-F238E27FC236}">
                <a16:creationId xmlns:a16="http://schemas.microsoft.com/office/drawing/2014/main" id="{47F9E694-85F0-4841-98CF-BCC7DF5461D5}"/>
              </a:ext>
            </a:extLst>
          </p:cNvPr>
          <p:cNvSpPr/>
          <p:nvPr/>
        </p:nvSpPr>
        <p:spPr>
          <a:xfrm>
            <a:off x="10408399" y="2627978"/>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VPN</a:t>
            </a:r>
          </a:p>
        </p:txBody>
      </p:sp>
      <p:sp>
        <p:nvSpPr>
          <p:cNvPr id="67" name="Rectangle 66">
            <a:extLst>
              <a:ext uri="{FF2B5EF4-FFF2-40B4-BE49-F238E27FC236}">
                <a16:creationId xmlns:a16="http://schemas.microsoft.com/office/drawing/2014/main" id="{55033F74-E40B-4103-968B-2222966F835C}"/>
              </a:ext>
            </a:extLst>
          </p:cNvPr>
          <p:cNvSpPr/>
          <p:nvPr/>
        </p:nvSpPr>
        <p:spPr>
          <a:xfrm>
            <a:off x="9059612" y="2626859"/>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Time &amp; Expense</a:t>
            </a:r>
            <a:r>
              <a:rPr lang="en-US" sz="1200" baseline="30000" dirty="0">
                <a:solidFill>
                  <a:srgbClr val="575757"/>
                </a:solidFill>
              </a:rPr>
              <a:t>4</a:t>
            </a:r>
          </a:p>
        </p:txBody>
      </p:sp>
      <p:sp>
        <p:nvSpPr>
          <p:cNvPr id="28" name="Rectangle 27">
            <a:extLst>
              <a:ext uri="{FF2B5EF4-FFF2-40B4-BE49-F238E27FC236}">
                <a16:creationId xmlns:a16="http://schemas.microsoft.com/office/drawing/2014/main" id="{64327E51-1A76-4C41-B404-CEBCC8638A7F}"/>
              </a:ext>
            </a:extLst>
          </p:cNvPr>
          <p:cNvSpPr/>
          <p:nvPr/>
        </p:nvSpPr>
        <p:spPr>
          <a:xfrm>
            <a:off x="3690873" y="4109347"/>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Rectangle 33">
            <a:extLst>
              <a:ext uri="{FF2B5EF4-FFF2-40B4-BE49-F238E27FC236}">
                <a16:creationId xmlns:a16="http://schemas.microsoft.com/office/drawing/2014/main" id="{4CAE6A2B-7538-4997-897C-623AD8C79507}"/>
              </a:ext>
            </a:extLst>
          </p:cNvPr>
          <p:cNvSpPr/>
          <p:nvPr/>
        </p:nvSpPr>
        <p:spPr>
          <a:xfrm>
            <a:off x="5036253" y="526593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34">
            <a:extLst>
              <a:ext uri="{FF2B5EF4-FFF2-40B4-BE49-F238E27FC236}">
                <a16:creationId xmlns:a16="http://schemas.microsoft.com/office/drawing/2014/main" id="{9B1D0651-028F-440E-B4BD-A4DDBBC7CC61}"/>
              </a:ext>
            </a:extLst>
          </p:cNvPr>
          <p:cNvSpPr/>
          <p:nvPr/>
        </p:nvSpPr>
        <p:spPr>
          <a:xfrm>
            <a:off x="5779220" y="526593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Rectangle 37">
            <a:extLst>
              <a:ext uri="{FF2B5EF4-FFF2-40B4-BE49-F238E27FC236}">
                <a16:creationId xmlns:a16="http://schemas.microsoft.com/office/drawing/2014/main" id="{92A54BDE-854A-4976-9D45-F664665660D7}"/>
              </a:ext>
            </a:extLst>
          </p:cNvPr>
          <p:cNvSpPr/>
          <p:nvPr/>
        </p:nvSpPr>
        <p:spPr>
          <a:xfrm>
            <a:off x="8456187" y="526593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9" name="Rectangle 38">
            <a:extLst>
              <a:ext uri="{FF2B5EF4-FFF2-40B4-BE49-F238E27FC236}">
                <a16:creationId xmlns:a16="http://schemas.microsoft.com/office/drawing/2014/main" id="{9E4021CE-077D-422D-AAB6-59CEF4934E81}"/>
              </a:ext>
            </a:extLst>
          </p:cNvPr>
          <p:cNvSpPr/>
          <p:nvPr/>
        </p:nvSpPr>
        <p:spPr>
          <a:xfrm>
            <a:off x="8456382" y="5268776"/>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Rectangle 39">
            <a:extLst>
              <a:ext uri="{FF2B5EF4-FFF2-40B4-BE49-F238E27FC236}">
                <a16:creationId xmlns:a16="http://schemas.microsoft.com/office/drawing/2014/main" id="{75284A92-A557-4EEC-8885-3A4330885470}"/>
              </a:ext>
            </a:extLst>
          </p:cNvPr>
          <p:cNvSpPr/>
          <p:nvPr/>
        </p:nvSpPr>
        <p:spPr>
          <a:xfrm>
            <a:off x="5031458" y="541192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Rectangle 40">
            <a:extLst>
              <a:ext uri="{FF2B5EF4-FFF2-40B4-BE49-F238E27FC236}">
                <a16:creationId xmlns:a16="http://schemas.microsoft.com/office/drawing/2014/main" id="{6B766601-BC6E-46CE-A452-2864389ACDD7}"/>
              </a:ext>
            </a:extLst>
          </p:cNvPr>
          <p:cNvSpPr/>
          <p:nvPr/>
        </p:nvSpPr>
        <p:spPr>
          <a:xfrm>
            <a:off x="6374500" y="541192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3" name="Rectangle 42">
            <a:extLst>
              <a:ext uri="{FF2B5EF4-FFF2-40B4-BE49-F238E27FC236}">
                <a16:creationId xmlns:a16="http://schemas.microsoft.com/office/drawing/2014/main" id="{A992383F-A594-42C3-AD8A-C416AC32F558}"/>
              </a:ext>
            </a:extLst>
          </p:cNvPr>
          <p:cNvSpPr/>
          <p:nvPr/>
        </p:nvSpPr>
        <p:spPr>
          <a:xfrm>
            <a:off x="7708429" y="5411928"/>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2" name="Rectangle 61">
            <a:extLst>
              <a:ext uri="{FF2B5EF4-FFF2-40B4-BE49-F238E27FC236}">
                <a16:creationId xmlns:a16="http://schemas.microsoft.com/office/drawing/2014/main" id="{3D875CDA-FA0B-42F6-A3BD-1EFF2463CCC3}"/>
              </a:ext>
            </a:extLst>
          </p:cNvPr>
          <p:cNvSpPr/>
          <p:nvPr/>
        </p:nvSpPr>
        <p:spPr>
          <a:xfrm>
            <a:off x="7709492" y="5977134"/>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Search</a:t>
            </a:r>
          </a:p>
        </p:txBody>
      </p:sp>
      <p:sp>
        <p:nvSpPr>
          <p:cNvPr id="63" name="Rectangle 62">
            <a:extLst>
              <a:ext uri="{FF2B5EF4-FFF2-40B4-BE49-F238E27FC236}">
                <a16:creationId xmlns:a16="http://schemas.microsoft.com/office/drawing/2014/main" id="{11D9C97C-7F57-4707-BDCC-0EEED815CC29}"/>
              </a:ext>
            </a:extLst>
          </p:cNvPr>
          <p:cNvSpPr/>
          <p:nvPr/>
        </p:nvSpPr>
        <p:spPr>
          <a:xfrm>
            <a:off x="9051598" y="597370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rowsers</a:t>
            </a:r>
          </a:p>
        </p:txBody>
      </p:sp>
      <p:sp>
        <p:nvSpPr>
          <p:cNvPr id="70" name="Rectangle 69">
            <a:extLst>
              <a:ext uri="{FF2B5EF4-FFF2-40B4-BE49-F238E27FC236}">
                <a16:creationId xmlns:a16="http://schemas.microsoft.com/office/drawing/2014/main" id="{AFF90AED-B6BC-4EA1-8891-03E41C7B02AF}"/>
              </a:ext>
            </a:extLst>
          </p:cNvPr>
          <p:cNvSpPr/>
          <p:nvPr/>
        </p:nvSpPr>
        <p:spPr>
          <a:xfrm>
            <a:off x="5031506" y="5971878"/>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Digital Learning</a:t>
            </a:r>
          </a:p>
        </p:txBody>
      </p:sp>
      <p:sp>
        <p:nvSpPr>
          <p:cNvPr id="71" name="Rectangle 70">
            <a:extLst>
              <a:ext uri="{FF2B5EF4-FFF2-40B4-BE49-F238E27FC236}">
                <a16:creationId xmlns:a16="http://schemas.microsoft.com/office/drawing/2014/main" id="{4BA5AD5D-DB0D-4B17-8740-92D16B4D2847}"/>
              </a:ext>
            </a:extLst>
          </p:cNvPr>
          <p:cNvSpPr/>
          <p:nvPr/>
        </p:nvSpPr>
        <p:spPr>
          <a:xfrm>
            <a:off x="6374584" y="5971878"/>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LAB</a:t>
            </a:r>
          </a:p>
        </p:txBody>
      </p:sp>
      <p:sp>
        <p:nvSpPr>
          <p:cNvPr id="72" name="Rectangle 71">
            <a:extLst>
              <a:ext uri="{FF2B5EF4-FFF2-40B4-BE49-F238E27FC236}">
                <a16:creationId xmlns:a16="http://schemas.microsoft.com/office/drawing/2014/main" id="{26FE7CFD-DEE4-497F-83AE-E62DD024BE72}"/>
              </a:ext>
            </a:extLst>
          </p:cNvPr>
          <p:cNvSpPr/>
          <p:nvPr/>
        </p:nvSpPr>
        <p:spPr>
          <a:xfrm>
            <a:off x="9838114" y="4931286"/>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IT Comms</a:t>
            </a:r>
          </a:p>
        </p:txBody>
      </p:sp>
      <p:sp>
        <p:nvSpPr>
          <p:cNvPr id="29" name="Rectangle 28">
            <a:extLst>
              <a:ext uri="{FF2B5EF4-FFF2-40B4-BE49-F238E27FC236}">
                <a16:creationId xmlns:a16="http://schemas.microsoft.com/office/drawing/2014/main" id="{A5D14625-840F-43E4-848E-9431EBDE96A8}"/>
              </a:ext>
            </a:extLst>
          </p:cNvPr>
          <p:cNvSpPr/>
          <p:nvPr/>
        </p:nvSpPr>
        <p:spPr>
          <a:xfrm>
            <a:off x="5814808" y="4380459"/>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a:extLst>
              <a:ext uri="{FF2B5EF4-FFF2-40B4-BE49-F238E27FC236}">
                <a16:creationId xmlns:a16="http://schemas.microsoft.com/office/drawing/2014/main" id="{4A2E3354-06E9-43D1-B12F-7E74A23923E7}"/>
              </a:ext>
            </a:extLst>
          </p:cNvPr>
          <p:cNvSpPr/>
          <p:nvPr/>
        </p:nvSpPr>
        <p:spPr>
          <a:xfrm>
            <a:off x="7157846" y="4380459"/>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1" name="Rectangle 30">
            <a:extLst>
              <a:ext uri="{FF2B5EF4-FFF2-40B4-BE49-F238E27FC236}">
                <a16:creationId xmlns:a16="http://schemas.microsoft.com/office/drawing/2014/main" id="{B5699E18-8C7A-4988-92A4-EAFB6DC89C77}"/>
              </a:ext>
            </a:extLst>
          </p:cNvPr>
          <p:cNvSpPr/>
          <p:nvPr/>
        </p:nvSpPr>
        <p:spPr>
          <a:xfrm>
            <a:off x="8500888" y="4380459"/>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 name="Rectangle 31">
            <a:extLst>
              <a:ext uri="{FF2B5EF4-FFF2-40B4-BE49-F238E27FC236}">
                <a16:creationId xmlns:a16="http://schemas.microsoft.com/office/drawing/2014/main" id="{B0E78B71-3DDB-4AC4-B0B8-37A6106DF778}"/>
              </a:ext>
            </a:extLst>
          </p:cNvPr>
          <p:cNvSpPr/>
          <p:nvPr/>
        </p:nvSpPr>
        <p:spPr>
          <a:xfrm>
            <a:off x="9843926" y="4380459"/>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6" name="Rectangle 55">
            <a:extLst>
              <a:ext uri="{FF2B5EF4-FFF2-40B4-BE49-F238E27FC236}">
                <a16:creationId xmlns:a16="http://schemas.microsoft.com/office/drawing/2014/main" id="{C35A5532-898D-407B-9658-9C2B367296F2}"/>
              </a:ext>
            </a:extLst>
          </p:cNvPr>
          <p:cNvSpPr/>
          <p:nvPr/>
        </p:nvSpPr>
        <p:spPr>
          <a:xfrm>
            <a:off x="5820620" y="4941106"/>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Mobile Apps</a:t>
            </a:r>
            <a:r>
              <a:rPr lang="en-US" sz="1200" baseline="30000" dirty="0">
                <a:solidFill>
                  <a:srgbClr val="575757"/>
                </a:solidFill>
              </a:rPr>
              <a:t>8</a:t>
            </a:r>
          </a:p>
        </p:txBody>
      </p:sp>
      <p:sp>
        <p:nvSpPr>
          <p:cNvPr id="59" name="Rectangle 58">
            <a:extLst>
              <a:ext uri="{FF2B5EF4-FFF2-40B4-BE49-F238E27FC236}">
                <a16:creationId xmlns:a16="http://schemas.microsoft.com/office/drawing/2014/main" id="{B6500DB6-8FCF-4CF4-942C-E71FB1C1EB8A}"/>
              </a:ext>
            </a:extLst>
          </p:cNvPr>
          <p:cNvSpPr/>
          <p:nvPr/>
        </p:nvSpPr>
        <p:spPr>
          <a:xfrm>
            <a:off x="7155528" y="493497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Inside BCG</a:t>
            </a:r>
          </a:p>
        </p:txBody>
      </p:sp>
      <p:sp>
        <p:nvSpPr>
          <p:cNvPr id="60" name="Rectangle 59">
            <a:extLst>
              <a:ext uri="{FF2B5EF4-FFF2-40B4-BE49-F238E27FC236}">
                <a16:creationId xmlns:a16="http://schemas.microsoft.com/office/drawing/2014/main" id="{4A97F31F-0A38-4BFE-844F-636B50C92250}"/>
              </a:ext>
            </a:extLst>
          </p:cNvPr>
          <p:cNvSpPr/>
          <p:nvPr/>
        </p:nvSpPr>
        <p:spPr>
          <a:xfrm>
            <a:off x="8498606" y="4934972"/>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KN</a:t>
            </a:r>
          </a:p>
        </p:txBody>
      </p:sp>
      <p:sp>
        <p:nvSpPr>
          <p:cNvPr id="64" name="Rectangle 63">
            <a:extLst>
              <a:ext uri="{FF2B5EF4-FFF2-40B4-BE49-F238E27FC236}">
                <a16:creationId xmlns:a16="http://schemas.microsoft.com/office/drawing/2014/main" id="{BB53BDA8-8C01-4B01-8373-EE88675DF11A}"/>
              </a:ext>
            </a:extLst>
          </p:cNvPr>
          <p:cNvSpPr/>
          <p:nvPr/>
        </p:nvSpPr>
        <p:spPr>
          <a:xfrm>
            <a:off x="4471698" y="4941825"/>
            <a:ext cx="1343026" cy="254035"/>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IT Connect</a:t>
            </a:r>
          </a:p>
        </p:txBody>
      </p:sp>
      <p:sp>
        <p:nvSpPr>
          <p:cNvPr id="132" name="AutoShape 3">
            <a:extLst>
              <a:ext uri="{FF2B5EF4-FFF2-40B4-BE49-F238E27FC236}">
                <a16:creationId xmlns:a16="http://schemas.microsoft.com/office/drawing/2014/main" id="{4580AC3A-D76D-4010-BB33-5CCB69F942DB}"/>
              </a:ext>
            </a:extLst>
          </p:cNvPr>
          <p:cNvSpPr>
            <a:spLocks noChangeAspect="1" noChangeArrowheads="1" noTextEdit="1"/>
          </p:cNvSpPr>
          <p:nvPr/>
        </p:nvSpPr>
        <p:spPr bwMode="auto">
          <a:xfrm>
            <a:off x="6263746" y="4424682"/>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AutoShape 3">
            <a:extLst>
              <a:ext uri="{FF2B5EF4-FFF2-40B4-BE49-F238E27FC236}">
                <a16:creationId xmlns:a16="http://schemas.microsoft.com/office/drawing/2014/main" id="{7B66489E-7467-40C4-B20D-43D60B61B47B}"/>
              </a:ext>
            </a:extLst>
          </p:cNvPr>
          <p:cNvSpPr>
            <a:spLocks noChangeAspect="1" noChangeArrowheads="1" noTextEdit="1"/>
          </p:cNvSpPr>
          <p:nvPr/>
        </p:nvSpPr>
        <p:spPr bwMode="auto">
          <a:xfrm>
            <a:off x="8871668" y="4381730"/>
            <a:ext cx="538876" cy="538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AutoShape 3">
            <a:extLst>
              <a:ext uri="{FF2B5EF4-FFF2-40B4-BE49-F238E27FC236}">
                <a16:creationId xmlns:a16="http://schemas.microsoft.com/office/drawing/2014/main" id="{3DD24CD6-F066-482A-B1E7-B92232D2EA94}"/>
              </a:ext>
            </a:extLst>
          </p:cNvPr>
          <p:cNvSpPr>
            <a:spLocks noChangeAspect="1" noChangeArrowheads="1" noTextEdit="1"/>
          </p:cNvSpPr>
          <p:nvPr/>
        </p:nvSpPr>
        <p:spPr bwMode="auto">
          <a:xfrm>
            <a:off x="4939534" y="4439278"/>
            <a:ext cx="449616" cy="450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AutoShape 34">
            <a:extLst>
              <a:ext uri="{FF2B5EF4-FFF2-40B4-BE49-F238E27FC236}">
                <a16:creationId xmlns:a16="http://schemas.microsoft.com/office/drawing/2014/main" id="{3AB45BDE-9F85-41DF-AB07-14637453280A}"/>
              </a:ext>
            </a:extLst>
          </p:cNvPr>
          <p:cNvSpPr>
            <a:spLocks noChangeAspect="1" noChangeArrowheads="1" noTextEdit="1"/>
          </p:cNvSpPr>
          <p:nvPr/>
        </p:nvSpPr>
        <p:spPr bwMode="auto">
          <a:xfrm>
            <a:off x="7611444" y="4426077"/>
            <a:ext cx="429606" cy="430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AutoShape 7">
            <a:extLst>
              <a:ext uri="{FF2B5EF4-FFF2-40B4-BE49-F238E27FC236}">
                <a16:creationId xmlns:a16="http://schemas.microsoft.com/office/drawing/2014/main" id="{3C104680-3438-41CC-947C-1CF2130A9EDC}"/>
              </a:ext>
            </a:extLst>
          </p:cNvPr>
          <p:cNvSpPr>
            <a:spLocks noChangeAspect="1" noChangeArrowheads="1" noTextEdit="1"/>
          </p:cNvSpPr>
          <p:nvPr/>
        </p:nvSpPr>
        <p:spPr bwMode="auto">
          <a:xfrm>
            <a:off x="10282354" y="442589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cxnSp>
        <p:nvCxnSpPr>
          <p:cNvPr id="186" name="Straight Connector 185">
            <a:extLst>
              <a:ext uri="{FF2B5EF4-FFF2-40B4-BE49-F238E27FC236}">
                <a16:creationId xmlns:a16="http://schemas.microsoft.com/office/drawing/2014/main" id="{C1A1F5F7-3E80-49BC-A322-9CFF79B57372}"/>
              </a:ext>
            </a:extLst>
          </p:cNvPr>
          <p:cNvCxnSpPr>
            <a:cxnSpLocks/>
          </p:cNvCxnSpPr>
          <p:nvPr/>
        </p:nvCxnSpPr>
        <p:spPr>
          <a:xfrm>
            <a:off x="3693185" y="1605428"/>
            <a:ext cx="0" cy="5002987"/>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429F1EB-D287-416E-A170-A9CC725E14CA}"/>
              </a:ext>
            </a:extLst>
          </p:cNvPr>
          <p:cNvCxnSpPr/>
          <p:nvPr/>
        </p:nvCxnSpPr>
        <p:spPr>
          <a:xfrm>
            <a:off x="671505" y="4123037"/>
            <a:ext cx="11121425"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ADE1B770-6622-4349-825F-F9CA39DEE577}"/>
              </a:ext>
            </a:extLst>
          </p:cNvPr>
          <p:cNvCxnSpPr/>
          <p:nvPr/>
        </p:nvCxnSpPr>
        <p:spPr>
          <a:xfrm>
            <a:off x="630000" y="1173429"/>
            <a:ext cx="11121425"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976892A-834B-4026-A6B2-7C4726D99139}"/>
              </a:ext>
            </a:extLst>
          </p:cNvPr>
          <p:cNvSpPr/>
          <p:nvPr/>
        </p:nvSpPr>
        <p:spPr>
          <a:xfrm>
            <a:off x="553441" y="3420337"/>
            <a:ext cx="3135539" cy="39906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575757"/>
                </a:solidFill>
              </a:rPr>
              <a:t>Critical services need to meet or exceed the Best-in-Class E-SAT of</a:t>
            </a:r>
            <a:r>
              <a:rPr lang="en-US" sz="1200" b="1" i="1" dirty="0">
                <a:solidFill>
                  <a:srgbClr val="575757"/>
                </a:solidFill>
              </a:rPr>
              <a:t> </a:t>
            </a:r>
            <a:r>
              <a:rPr lang="en-US" sz="1200" b="1" i="1" dirty="0">
                <a:solidFill>
                  <a:srgbClr val="E71C57"/>
                </a:solidFill>
              </a:rPr>
              <a:t>80%</a:t>
            </a:r>
          </a:p>
        </p:txBody>
      </p:sp>
      <p:sp>
        <p:nvSpPr>
          <p:cNvPr id="182" name="Rectangle 181">
            <a:extLst>
              <a:ext uri="{FF2B5EF4-FFF2-40B4-BE49-F238E27FC236}">
                <a16:creationId xmlns:a16="http://schemas.microsoft.com/office/drawing/2014/main" id="{1E3BD973-2AC3-45CA-A4CC-A480485866AF}"/>
              </a:ext>
            </a:extLst>
          </p:cNvPr>
          <p:cNvSpPr/>
          <p:nvPr/>
        </p:nvSpPr>
        <p:spPr>
          <a:xfrm>
            <a:off x="571554" y="6137839"/>
            <a:ext cx="3202774" cy="39906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575757"/>
                </a:solidFill>
              </a:rPr>
              <a:t>Business Supporting services need to meet or exceed the Best-in-Class E-SAT of </a:t>
            </a:r>
            <a:r>
              <a:rPr lang="en-US" sz="1200" b="1" i="1" dirty="0">
                <a:solidFill>
                  <a:srgbClr val="295E7E"/>
                </a:solidFill>
              </a:rPr>
              <a:t>70%</a:t>
            </a:r>
          </a:p>
        </p:txBody>
      </p:sp>
      <p:grpSp>
        <p:nvGrpSpPr>
          <p:cNvPr id="5" name="Group 4">
            <a:extLst>
              <a:ext uri="{FF2B5EF4-FFF2-40B4-BE49-F238E27FC236}">
                <a16:creationId xmlns:a16="http://schemas.microsoft.com/office/drawing/2014/main" id="{D6F85BD9-D012-4BE4-B75A-3218D2AB4C7E}"/>
              </a:ext>
            </a:extLst>
          </p:cNvPr>
          <p:cNvGrpSpPr/>
          <p:nvPr/>
        </p:nvGrpSpPr>
        <p:grpSpPr>
          <a:xfrm>
            <a:off x="4535273" y="2935695"/>
            <a:ext cx="6664809" cy="934117"/>
            <a:chOff x="4535273" y="2935695"/>
            <a:chExt cx="6664809" cy="934117"/>
          </a:xfrm>
        </p:grpSpPr>
        <p:sp>
          <p:nvSpPr>
            <p:cNvPr id="23" name="Rectangle 22">
              <a:extLst>
                <a:ext uri="{FF2B5EF4-FFF2-40B4-BE49-F238E27FC236}">
                  <a16:creationId xmlns:a16="http://schemas.microsoft.com/office/drawing/2014/main" id="{62DEF3B8-8F2D-4701-AAEB-DF36E562683B}"/>
                </a:ext>
              </a:extLst>
            </p:cNvPr>
            <p:cNvSpPr/>
            <p:nvPr/>
          </p:nvSpPr>
          <p:spPr>
            <a:xfrm>
              <a:off x="5796826" y="299250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ectangle 23">
              <a:extLst>
                <a:ext uri="{FF2B5EF4-FFF2-40B4-BE49-F238E27FC236}">
                  <a16:creationId xmlns:a16="http://schemas.microsoft.com/office/drawing/2014/main" id="{44ACC68C-ED6B-40EF-8FC1-3F8A62C58F72}"/>
                </a:ext>
              </a:extLst>
            </p:cNvPr>
            <p:cNvSpPr/>
            <p:nvPr/>
          </p:nvSpPr>
          <p:spPr>
            <a:xfrm>
              <a:off x="7139868" y="2992504"/>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Rectangle 24">
              <a:extLst>
                <a:ext uri="{FF2B5EF4-FFF2-40B4-BE49-F238E27FC236}">
                  <a16:creationId xmlns:a16="http://schemas.microsoft.com/office/drawing/2014/main" id="{4438A7D1-F0CB-432B-989A-8C28E835CEC3}"/>
                </a:ext>
              </a:extLst>
            </p:cNvPr>
            <p:cNvSpPr/>
            <p:nvPr/>
          </p:nvSpPr>
          <p:spPr>
            <a:xfrm>
              <a:off x="6248163" y="2935695"/>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Rectangle 25">
              <a:extLst>
                <a:ext uri="{FF2B5EF4-FFF2-40B4-BE49-F238E27FC236}">
                  <a16:creationId xmlns:a16="http://schemas.microsoft.com/office/drawing/2014/main" id="{C2C2A6A8-8C95-42B4-8AB3-AE3400B36C5D}"/>
                </a:ext>
              </a:extLst>
            </p:cNvPr>
            <p:cNvSpPr/>
            <p:nvPr/>
          </p:nvSpPr>
          <p:spPr>
            <a:xfrm>
              <a:off x="7591205" y="2935695"/>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Rectangle 26">
              <a:extLst>
                <a:ext uri="{FF2B5EF4-FFF2-40B4-BE49-F238E27FC236}">
                  <a16:creationId xmlns:a16="http://schemas.microsoft.com/office/drawing/2014/main" id="{1078FDE7-5B1C-46D1-8C87-FFD77A425C80}"/>
                </a:ext>
              </a:extLst>
            </p:cNvPr>
            <p:cNvSpPr/>
            <p:nvPr/>
          </p:nvSpPr>
          <p:spPr>
            <a:xfrm>
              <a:off x="8934243" y="2935695"/>
              <a:ext cx="1343042" cy="8205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Rectangle 49">
              <a:extLst>
                <a:ext uri="{FF2B5EF4-FFF2-40B4-BE49-F238E27FC236}">
                  <a16:creationId xmlns:a16="http://schemas.microsoft.com/office/drawing/2014/main" id="{82A872FF-88B2-431C-8A5C-1E7D1807A7A8}"/>
                </a:ext>
              </a:extLst>
            </p:cNvPr>
            <p:cNvSpPr/>
            <p:nvPr/>
          </p:nvSpPr>
          <p:spPr>
            <a:xfrm>
              <a:off x="8506280" y="3566840"/>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Mtg Experience</a:t>
              </a:r>
              <a:r>
                <a:rPr lang="en-US" sz="1200" baseline="30000" dirty="0">
                  <a:solidFill>
                    <a:srgbClr val="575757"/>
                  </a:solidFill>
                </a:rPr>
                <a:t>7</a:t>
              </a:r>
            </a:p>
          </p:txBody>
        </p:sp>
        <p:sp>
          <p:nvSpPr>
            <p:cNvPr id="90" name="AutoShape 28">
              <a:extLst>
                <a:ext uri="{FF2B5EF4-FFF2-40B4-BE49-F238E27FC236}">
                  <a16:creationId xmlns:a16="http://schemas.microsoft.com/office/drawing/2014/main" id="{7E120FDE-808F-40EB-8B28-460782E2CB76}"/>
                </a:ext>
              </a:extLst>
            </p:cNvPr>
            <p:cNvSpPr>
              <a:spLocks noChangeAspect="1" noChangeArrowheads="1" noTextEdit="1"/>
            </p:cNvSpPr>
            <p:nvPr/>
          </p:nvSpPr>
          <p:spPr bwMode="auto">
            <a:xfrm>
              <a:off x="8898899" y="3014846"/>
              <a:ext cx="557769" cy="558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64">
              <a:extLst>
                <a:ext uri="{FF2B5EF4-FFF2-40B4-BE49-F238E27FC236}">
                  <a16:creationId xmlns:a16="http://schemas.microsoft.com/office/drawing/2014/main" id="{B6D4846B-9718-4502-A0A2-37E3D945400D}"/>
                </a:ext>
              </a:extLst>
            </p:cNvPr>
            <p:cNvSpPr/>
            <p:nvPr/>
          </p:nvSpPr>
          <p:spPr>
            <a:xfrm>
              <a:off x="5870671" y="3569148"/>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kta</a:t>
              </a:r>
            </a:p>
          </p:txBody>
        </p:sp>
        <p:sp>
          <p:nvSpPr>
            <p:cNvPr id="68" name="Rectangle 67">
              <a:extLst>
                <a:ext uri="{FF2B5EF4-FFF2-40B4-BE49-F238E27FC236}">
                  <a16:creationId xmlns:a16="http://schemas.microsoft.com/office/drawing/2014/main" id="{6FEEE9BD-A588-4AF8-9DFF-D19D26991A3D}"/>
                </a:ext>
              </a:extLst>
            </p:cNvPr>
            <p:cNvSpPr/>
            <p:nvPr/>
          </p:nvSpPr>
          <p:spPr>
            <a:xfrm>
              <a:off x="7171495" y="3569094"/>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ffice WiFi</a:t>
              </a:r>
              <a:r>
                <a:rPr lang="en-US" sz="1200" baseline="30000" dirty="0">
                  <a:solidFill>
                    <a:srgbClr val="575757"/>
                  </a:solidFill>
                </a:rPr>
                <a:t>6</a:t>
              </a:r>
            </a:p>
          </p:txBody>
        </p:sp>
        <p:sp>
          <p:nvSpPr>
            <p:cNvPr id="69" name="Rectangle 68">
              <a:extLst>
                <a:ext uri="{FF2B5EF4-FFF2-40B4-BE49-F238E27FC236}">
                  <a16:creationId xmlns:a16="http://schemas.microsoft.com/office/drawing/2014/main" id="{0A1D46AE-A964-4B59-882F-D06CF3FA1536}"/>
                </a:ext>
              </a:extLst>
            </p:cNvPr>
            <p:cNvSpPr/>
            <p:nvPr/>
          </p:nvSpPr>
          <p:spPr>
            <a:xfrm>
              <a:off x="9857056" y="3569110"/>
              <a:ext cx="1343026" cy="261226"/>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Security</a:t>
              </a:r>
            </a:p>
          </p:txBody>
        </p:sp>
        <p:sp>
          <p:nvSpPr>
            <p:cNvPr id="118" name="AutoShape 2">
              <a:extLst>
                <a:ext uri="{FF2B5EF4-FFF2-40B4-BE49-F238E27FC236}">
                  <a16:creationId xmlns:a16="http://schemas.microsoft.com/office/drawing/2014/main" id="{F6F1B4D0-C357-4103-A580-3A5D495E07E1}"/>
                </a:ext>
              </a:extLst>
            </p:cNvPr>
            <p:cNvSpPr>
              <a:spLocks noChangeAspect="1" noChangeArrowheads="1" noTextEdit="1"/>
            </p:cNvSpPr>
            <p:nvPr/>
          </p:nvSpPr>
          <p:spPr bwMode="auto">
            <a:xfrm>
              <a:off x="7614575" y="3083580"/>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AutoShape 20">
              <a:extLst>
                <a:ext uri="{FF2B5EF4-FFF2-40B4-BE49-F238E27FC236}">
                  <a16:creationId xmlns:a16="http://schemas.microsoft.com/office/drawing/2014/main" id="{B671B326-74AA-423E-9778-587354ED62E2}"/>
                </a:ext>
              </a:extLst>
            </p:cNvPr>
            <p:cNvSpPr>
              <a:spLocks noChangeAspect="1" noChangeArrowheads="1" noTextEdit="1"/>
            </p:cNvSpPr>
            <p:nvPr/>
          </p:nvSpPr>
          <p:spPr bwMode="auto">
            <a:xfrm>
              <a:off x="10300156" y="3084272"/>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AutoShape 159">
              <a:extLst>
                <a:ext uri="{FF2B5EF4-FFF2-40B4-BE49-F238E27FC236}">
                  <a16:creationId xmlns:a16="http://schemas.microsoft.com/office/drawing/2014/main" id="{E62128A1-88F3-4893-AF1B-020034F65070}"/>
                </a:ext>
              </a:extLst>
            </p:cNvPr>
            <p:cNvSpPr>
              <a:spLocks noChangeAspect="1" noChangeArrowheads="1" noTextEdit="1"/>
            </p:cNvSpPr>
            <p:nvPr/>
          </p:nvSpPr>
          <p:spPr bwMode="auto">
            <a:xfrm>
              <a:off x="6306279" y="3111750"/>
              <a:ext cx="457200" cy="457200"/>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Rectangle 190">
              <a:extLst>
                <a:ext uri="{FF2B5EF4-FFF2-40B4-BE49-F238E27FC236}">
                  <a16:creationId xmlns:a16="http://schemas.microsoft.com/office/drawing/2014/main" id="{68602DDD-6169-43E1-B7E6-5F1A6CB51D71}"/>
                </a:ext>
              </a:extLst>
            </p:cNvPr>
            <p:cNvSpPr/>
            <p:nvPr/>
          </p:nvSpPr>
          <p:spPr>
            <a:xfrm>
              <a:off x="4535273" y="3570689"/>
              <a:ext cx="1505869" cy="299123"/>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Outlook for Mobile</a:t>
              </a:r>
              <a:r>
                <a:rPr lang="en-US" sz="1200" baseline="30000" dirty="0">
                  <a:solidFill>
                    <a:srgbClr val="575757"/>
                  </a:solidFill>
                </a:rPr>
                <a:t>5</a:t>
              </a:r>
            </a:p>
          </p:txBody>
        </p:sp>
        <p:sp>
          <p:nvSpPr>
            <p:cNvPr id="193" name="AutoShape 3">
              <a:extLst>
                <a:ext uri="{FF2B5EF4-FFF2-40B4-BE49-F238E27FC236}">
                  <a16:creationId xmlns:a16="http://schemas.microsoft.com/office/drawing/2014/main" id="{43D66FAB-7F38-4D3A-B308-71FF5983DC2D}"/>
                </a:ext>
              </a:extLst>
            </p:cNvPr>
            <p:cNvSpPr>
              <a:spLocks noChangeAspect="1" noChangeArrowheads="1" noTextEdit="1"/>
            </p:cNvSpPr>
            <p:nvPr/>
          </p:nvSpPr>
          <p:spPr bwMode="auto">
            <a:xfrm>
              <a:off x="4978400" y="3054266"/>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9" name="bcgBugs_Laptop">
            <a:extLst>
              <a:ext uri="{FF2B5EF4-FFF2-40B4-BE49-F238E27FC236}">
                <a16:creationId xmlns:a16="http://schemas.microsoft.com/office/drawing/2014/main" id="{6A3B360F-B888-46B7-8187-35D75AF0059B}"/>
              </a:ext>
            </a:extLst>
          </p:cNvPr>
          <p:cNvGrpSpPr>
            <a:grpSpLocks noChangeAspect="1"/>
          </p:cNvGrpSpPr>
          <p:nvPr/>
        </p:nvGrpSpPr>
        <p:grpSpPr bwMode="auto">
          <a:xfrm>
            <a:off x="4111402" y="1218189"/>
            <a:ext cx="544496" cy="545029"/>
            <a:chOff x="2818" y="1137"/>
            <a:chExt cx="2044" cy="2046"/>
          </a:xfrm>
        </p:grpSpPr>
        <p:sp>
          <p:nvSpPr>
            <p:cNvPr id="190" name="AutoShape 11">
              <a:extLst>
                <a:ext uri="{FF2B5EF4-FFF2-40B4-BE49-F238E27FC236}">
                  <a16:creationId xmlns:a16="http://schemas.microsoft.com/office/drawing/2014/main" id="{BEF29D06-10FC-4F18-99A6-CD47430DA6E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13">
              <a:extLst>
                <a:ext uri="{FF2B5EF4-FFF2-40B4-BE49-F238E27FC236}">
                  <a16:creationId xmlns:a16="http://schemas.microsoft.com/office/drawing/2014/main" id="{89CFF0BF-397B-41DD-A983-F10B8BF17DBA}"/>
                </a:ext>
              </a:extLst>
            </p:cNvPr>
            <p:cNvSpPr>
              <a:spLocks noEditPoints="1"/>
            </p:cNvSpPr>
            <p:nvPr/>
          </p:nvSpPr>
          <p:spPr bwMode="auto">
            <a:xfrm>
              <a:off x="2945" y="1514"/>
              <a:ext cx="1792" cy="1290"/>
            </a:xfrm>
            <a:custGeom>
              <a:avLst/>
              <a:gdLst>
                <a:gd name="T0" fmla="*/ 792 w 876"/>
                <a:gd name="T1" fmla="*/ 0 h 630"/>
                <a:gd name="T2" fmla="*/ 84 w 876"/>
                <a:gd name="T3" fmla="*/ 0 h 630"/>
                <a:gd name="T4" fmla="*/ 62 w 876"/>
                <a:gd name="T5" fmla="*/ 22 h 630"/>
                <a:gd name="T6" fmla="*/ 62 w 876"/>
                <a:gd name="T7" fmla="*/ 488 h 630"/>
                <a:gd name="T8" fmla="*/ 84 w 876"/>
                <a:gd name="T9" fmla="*/ 510 h 630"/>
                <a:gd name="T10" fmla="*/ 792 w 876"/>
                <a:gd name="T11" fmla="*/ 510 h 630"/>
                <a:gd name="T12" fmla="*/ 814 w 876"/>
                <a:gd name="T13" fmla="*/ 488 h 630"/>
                <a:gd name="T14" fmla="*/ 814 w 876"/>
                <a:gd name="T15" fmla="*/ 22 h 630"/>
                <a:gd name="T16" fmla="*/ 792 w 876"/>
                <a:gd name="T17" fmla="*/ 0 h 630"/>
                <a:gd name="T18" fmla="*/ 763 w 876"/>
                <a:gd name="T19" fmla="*/ 442 h 630"/>
                <a:gd name="T20" fmla="*/ 753 w 876"/>
                <a:gd name="T21" fmla="*/ 452 h 630"/>
                <a:gd name="T22" fmla="*/ 123 w 876"/>
                <a:gd name="T23" fmla="*/ 452 h 630"/>
                <a:gd name="T24" fmla="*/ 113 w 876"/>
                <a:gd name="T25" fmla="*/ 442 h 630"/>
                <a:gd name="T26" fmla="*/ 113 w 876"/>
                <a:gd name="T27" fmla="*/ 68 h 630"/>
                <a:gd name="T28" fmla="*/ 123 w 876"/>
                <a:gd name="T29" fmla="*/ 58 h 630"/>
                <a:gd name="T30" fmla="*/ 753 w 876"/>
                <a:gd name="T31" fmla="*/ 58 h 630"/>
                <a:gd name="T32" fmla="*/ 763 w 876"/>
                <a:gd name="T33" fmla="*/ 68 h 630"/>
                <a:gd name="T34" fmla="*/ 763 w 876"/>
                <a:gd name="T35" fmla="*/ 442 h 630"/>
                <a:gd name="T36" fmla="*/ 874 w 876"/>
                <a:gd name="T37" fmla="*/ 563 h 630"/>
                <a:gd name="T38" fmla="*/ 858 w 876"/>
                <a:gd name="T39" fmla="*/ 614 h 630"/>
                <a:gd name="T40" fmla="*/ 837 w 876"/>
                <a:gd name="T41" fmla="*/ 630 h 630"/>
                <a:gd name="T42" fmla="*/ 39 w 876"/>
                <a:gd name="T43" fmla="*/ 630 h 630"/>
                <a:gd name="T44" fmla="*/ 18 w 876"/>
                <a:gd name="T45" fmla="*/ 614 h 630"/>
                <a:gd name="T46" fmla="*/ 2 w 876"/>
                <a:gd name="T47" fmla="*/ 563 h 630"/>
                <a:gd name="T48" fmla="*/ 6 w 876"/>
                <a:gd name="T49" fmla="*/ 543 h 630"/>
                <a:gd name="T50" fmla="*/ 23 w 876"/>
                <a:gd name="T51" fmla="*/ 534 h 630"/>
                <a:gd name="T52" fmla="*/ 322 w 876"/>
                <a:gd name="T53" fmla="*/ 534 h 630"/>
                <a:gd name="T54" fmla="*/ 343 w 876"/>
                <a:gd name="T55" fmla="*/ 549 h 630"/>
                <a:gd name="T56" fmla="*/ 533 w 876"/>
                <a:gd name="T57" fmla="*/ 549 h 630"/>
                <a:gd name="T58" fmla="*/ 554 w 876"/>
                <a:gd name="T59" fmla="*/ 534 h 630"/>
                <a:gd name="T60" fmla="*/ 853 w 876"/>
                <a:gd name="T61" fmla="*/ 534 h 630"/>
                <a:gd name="T62" fmla="*/ 870 w 876"/>
                <a:gd name="T63" fmla="*/ 543 h 630"/>
                <a:gd name="T64" fmla="*/ 874 w 876"/>
                <a:gd name="T65" fmla="*/ 56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630">
                  <a:moveTo>
                    <a:pt x="792" y="0"/>
                  </a:moveTo>
                  <a:cubicBezTo>
                    <a:pt x="84" y="0"/>
                    <a:pt x="84" y="0"/>
                    <a:pt x="84" y="0"/>
                  </a:cubicBezTo>
                  <a:cubicBezTo>
                    <a:pt x="72" y="0"/>
                    <a:pt x="62" y="10"/>
                    <a:pt x="62" y="22"/>
                  </a:cubicBezTo>
                  <a:cubicBezTo>
                    <a:pt x="62" y="488"/>
                    <a:pt x="62" y="488"/>
                    <a:pt x="62" y="488"/>
                  </a:cubicBezTo>
                  <a:cubicBezTo>
                    <a:pt x="62" y="500"/>
                    <a:pt x="72" y="510"/>
                    <a:pt x="84" y="510"/>
                  </a:cubicBezTo>
                  <a:cubicBezTo>
                    <a:pt x="792" y="510"/>
                    <a:pt x="792" y="510"/>
                    <a:pt x="792" y="510"/>
                  </a:cubicBezTo>
                  <a:cubicBezTo>
                    <a:pt x="804" y="510"/>
                    <a:pt x="814" y="500"/>
                    <a:pt x="814" y="488"/>
                  </a:cubicBezTo>
                  <a:cubicBezTo>
                    <a:pt x="814" y="22"/>
                    <a:pt x="814" y="22"/>
                    <a:pt x="814" y="22"/>
                  </a:cubicBezTo>
                  <a:cubicBezTo>
                    <a:pt x="814" y="10"/>
                    <a:pt x="804" y="0"/>
                    <a:pt x="792" y="0"/>
                  </a:cubicBezTo>
                  <a:close/>
                  <a:moveTo>
                    <a:pt x="763" y="442"/>
                  </a:moveTo>
                  <a:cubicBezTo>
                    <a:pt x="763" y="448"/>
                    <a:pt x="759" y="452"/>
                    <a:pt x="753" y="452"/>
                  </a:cubicBezTo>
                  <a:cubicBezTo>
                    <a:pt x="123" y="452"/>
                    <a:pt x="123" y="452"/>
                    <a:pt x="123" y="452"/>
                  </a:cubicBezTo>
                  <a:cubicBezTo>
                    <a:pt x="117" y="452"/>
                    <a:pt x="113" y="448"/>
                    <a:pt x="113" y="442"/>
                  </a:cubicBezTo>
                  <a:cubicBezTo>
                    <a:pt x="113" y="68"/>
                    <a:pt x="113" y="68"/>
                    <a:pt x="113" y="68"/>
                  </a:cubicBezTo>
                  <a:cubicBezTo>
                    <a:pt x="113" y="62"/>
                    <a:pt x="117" y="58"/>
                    <a:pt x="123" y="58"/>
                  </a:cubicBezTo>
                  <a:cubicBezTo>
                    <a:pt x="753" y="58"/>
                    <a:pt x="753" y="58"/>
                    <a:pt x="753" y="58"/>
                  </a:cubicBezTo>
                  <a:cubicBezTo>
                    <a:pt x="759" y="58"/>
                    <a:pt x="763" y="62"/>
                    <a:pt x="763" y="68"/>
                  </a:cubicBezTo>
                  <a:lnTo>
                    <a:pt x="763" y="442"/>
                  </a:lnTo>
                  <a:close/>
                  <a:moveTo>
                    <a:pt x="874" y="563"/>
                  </a:moveTo>
                  <a:cubicBezTo>
                    <a:pt x="858" y="614"/>
                    <a:pt x="858" y="614"/>
                    <a:pt x="858" y="614"/>
                  </a:cubicBezTo>
                  <a:cubicBezTo>
                    <a:pt x="855" y="623"/>
                    <a:pt x="846" y="630"/>
                    <a:pt x="837" y="630"/>
                  </a:cubicBezTo>
                  <a:cubicBezTo>
                    <a:pt x="39" y="630"/>
                    <a:pt x="39" y="630"/>
                    <a:pt x="39" y="630"/>
                  </a:cubicBezTo>
                  <a:cubicBezTo>
                    <a:pt x="30" y="630"/>
                    <a:pt x="21" y="623"/>
                    <a:pt x="18" y="614"/>
                  </a:cubicBezTo>
                  <a:cubicBezTo>
                    <a:pt x="2" y="563"/>
                    <a:pt x="2" y="563"/>
                    <a:pt x="2" y="563"/>
                  </a:cubicBezTo>
                  <a:cubicBezTo>
                    <a:pt x="0" y="556"/>
                    <a:pt x="1" y="549"/>
                    <a:pt x="6" y="543"/>
                  </a:cubicBezTo>
                  <a:cubicBezTo>
                    <a:pt x="10" y="538"/>
                    <a:pt x="16" y="534"/>
                    <a:pt x="23" y="534"/>
                  </a:cubicBezTo>
                  <a:cubicBezTo>
                    <a:pt x="322" y="534"/>
                    <a:pt x="322" y="534"/>
                    <a:pt x="322" y="534"/>
                  </a:cubicBezTo>
                  <a:cubicBezTo>
                    <a:pt x="331" y="534"/>
                    <a:pt x="340" y="541"/>
                    <a:pt x="343" y="549"/>
                  </a:cubicBezTo>
                  <a:cubicBezTo>
                    <a:pt x="533" y="549"/>
                    <a:pt x="533" y="549"/>
                    <a:pt x="533" y="549"/>
                  </a:cubicBezTo>
                  <a:cubicBezTo>
                    <a:pt x="536" y="541"/>
                    <a:pt x="545" y="534"/>
                    <a:pt x="554" y="534"/>
                  </a:cubicBezTo>
                  <a:cubicBezTo>
                    <a:pt x="853" y="534"/>
                    <a:pt x="853" y="534"/>
                    <a:pt x="853" y="534"/>
                  </a:cubicBezTo>
                  <a:cubicBezTo>
                    <a:pt x="860" y="534"/>
                    <a:pt x="866" y="538"/>
                    <a:pt x="870" y="543"/>
                  </a:cubicBezTo>
                  <a:cubicBezTo>
                    <a:pt x="875" y="549"/>
                    <a:pt x="876" y="556"/>
                    <a:pt x="874" y="56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0" name="AutoShape 3">
            <a:extLst>
              <a:ext uri="{FF2B5EF4-FFF2-40B4-BE49-F238E27FC236}">
                <a16:creationId xmlns:a16="http://schemas.microsoft.com/office/drawing/2014/main" id="{1905A549-3974-42A0-9A73-166B325B05A5}"/>
              </a:ext>
            </a:extLst>
          </p:cNvPr>
          <p:cNvSpPr>
            <a:spLocks noChangeAspect="1" noChangeArrowheads="1" noTextEdit="1"/>
          </p:cNvSpPr>
          <p:nvPr/>
        </p:nvSpPr>
        <p:spPr bwMode="auto">
          <a:xfrm>
            <a:off x="5273675" y="261143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7">
            <a:extLst>
              <a:ext uri="{FF2B5EF4-FFF2-40B4-BE49-F238E27FC236}">
                <a16:creationId xmlns:a16="http://schemas.microsoft.com/office/drawing/2014/main" id="{D1AACC27-C7F8-4166-AF89-28C5B54AEB3C}"/>
              </a:ext>
            </a:extLst>
          </p:cNvPr>
          <p:cNvSpPr>
            <a:spLocks/>
          </p:cNvSpPr>
          <p:nvPr/>
        </p:nvSpPr>
        <p:spPr bwMode="auto">
          <a:xfrm>
            <a:off x="5486504" y="1295580"/>
            <a:ext cx="414797" cy="380628"/>
          </a:xfrm>
          <a:custGeom>
            <a:avLst/>
            <a:gdLst>
              <a:gd name="connsiteX0" fmla="*/ 434470 w 1285344"/>
              <a:gd name="connsiteY0" fmla="*/ 973136 h 1266823"/>
              <a:gd name="connsiteX1" fmla="*/ 638744 w 1285344"/>
              <a:gd name="connsiteY1" fmla="*/ 1139630 h 1266823"/>
              <a:gd name="connsiteX2" fmla="*/ 647315 w 1285344"/>
              <a:gd name="connsiteY2" fmla="*/ 1139630 h 1266823"/>
              <a:gd name="connsiteX3" fmla="*/ 851588 w 1285344"/>
              <a:gd name="connsiteY3" fmla="*/ 973136 h 1266823"/>
              <a:gd name="connsiteX4" fmla="*/ 1128715 w 1285344"/>
              <a:gd name="connsiteY4" fmla="*/ 1019583 h 1266823"/>
              <a:gd name="connsiteX5" fmla="*/ 1284420 w 1285344"/>
              <a:gd name="connsiteY5" fmla="*/ 1245386 h 1266823"/>
              <a:gd name="connsiteX6" fmla="*/ 1269421 w 1285344"/>
              <a:gd name="connsiteY6" fmla="*/ 1266823 h 1266823"/>
              <a:gd name="connsiteX7" fmla="*/ 15923 w 1285344"/>
              <a:gd name="connsiteY7" fmla="*/ 1266823 h 1266823"/>
              <a:gd name="connsiteX8" fmla="*/ 924 w 1285344"/>
              <a:gd name="connsiteY8" fmla="*/ 1245386 h 1266823"/>
              <a:gd name="connsiteX9" fmla="*/ 157343 w 1285344"/>
              <a:gd name="connsiteY9" fmla="*/ 1019583 h 1266823"/>
              <a:gd name="connsiteX10" fmla="*/ 434470 w 1285344"/>
              <a:gd name="connsiteY10" fmla="*/ 973136 h 1266823"/>
              <a:gd name="connsiteX11" fmla="*/ 643132 w 1285344"/>
              <a:gd name="connsiteY11" fmla="*/ 69849 h 1266823"/>
              <a:gd name="connsiteX12" fmla="*/ 979349 w 1285344"/>
              <a:gd name="connsiteY12" fmla="*/ 410239 h 1266823"/>
              <a:gd name="connsiteX13" fmla="*/ 978634 w 1285344"/>
              <a:gd name="connsiteY13" fmla="*/ 474464 h 1266823"/>
              <a:gd name="connsiteX14" fmla="*/ 1002240 w 1285344"/>
              <a:gd name="connsiteY14" fmla="*/ 547965 h 1266823"/>
              <a:gd name="connsiteX15" fmla="*/ 979349 w 1285344"/>
              <a:gd name="connsiteY15" fmla="*/ 561524 h 1266823"/>
              <a:gd name="connsiteX16" fmla="*/ 950735 w 1285344"/>
              <a:gd name="connsiteY16" fmla="*/ 575082 h 1266823"/>
              <a:gd name="connsiteX17" fmla="*/ 899229 w 1285344"/>
              <a:gd name="connsiteY17" fmla="*/ 577936 h 1266823"/>
              <a:gd name="connsiteX18" fmla="*/ 490046 w 1285344"/>
              <a:gd name="connsiteY18" fmla="*/ 336738 h 1266823"/>
              <a:gd name="connsiteX19" fmla="*/ 457140 w 1285344"/>
              <a:gd name="connsiteY19" fmla="*/ 355291 h 1266823"/>
              <a:gd name="connsiteX20" fmla="*/ 325514 w 1285344"/>
              <a:gd name="connsiteY20" fmla="*/ 550106 h 1266823"/>
              <a:gd name="connsiteX21" fmla="*/ 306915 w 1285344"/>
              <a:gd name="connsiteY21" fmla="*/ 410239 h 1266823"/>
              <a:gd name="connsiteX22" fmla="*/ 643132 w 1285344"/>
              <a:gd name="connsiteY22" fmla="*/ 69849 h 1266823"/>
              <a:gd name="connsiteX23" fmla="*/ 644260 w 1285344"/>
              <a:gd name="connsiteY23" fmla="*/ 0 h 1266823"/>
              <a:gd name="connsiteX24" fmla="*/ 1039440 w 1285344"/>
              <a:gd name="connsiteY24" fmla="*/ 341858 h 1266823"/>
              <a:gd name="connsiteX25" fmla="*/ 1057273 w 1285344"/>
              <a:gd name="connsiteY25" fmla="*/ 341858 h 1266823"/>
              <a:gd name="connsiteX26" fmla="*/ 1073679 w 1285344"/>
              <a:gd name="connsiteY26" fmla="*/ 358307 h 1266823"/>
              <a:gd name="connsiteX27" fmla="*/ 1073679 w 1285344"/>
              <a:gd name="connsiteY27" fmla="*/ 577153 h 1266823"/>
              <a:gd name="connsiteX28" fmla="*/ 1057273 w 1285344"/>
              <a:gd name="connsiteY28" fmla="*/ 593602 h 1266823"/>
              <a:gd name="connsiteX29" fmla="*/ 1028740 w 1285344"/>
              <a:gd name="connsiteY29" fmla="*/ 593602 h 1266823"/>
              <a:gd name="connsiteX30" fmla="*/ 1014474 w 1285344"/>
              <a:gd name="connsiteY30" fmla="*/ 585020 h 1266823"/>
              <a:gd name="connsiteX31" fmla="*/ 1012334 w 1285344"/>
              <a:gd name="connsiteY31" fmla="*/ 577153 h 1266823"/>
              <a:gd name="connsiteX32" fmla="*/ 1012334 w 1285344"/>
              <a:gd name="connsiteY32" fmla="*/ 388345 h 1266823"/>
              <a:gd name="connsiteX33" fmla="*/ 644260 w 1285344"/>
              <a:gd name="connsiteY33" fmla="*/ 32899 h 1266823"/>
              <a:gd name="connsiteX34" fmla="*/ 276187 w 1285344"/>
              <a:gd name="connsiteY34" fmla="*/ 388345 h 1266823"/>
              <a:gd name="connsiteX35" fmla="*/ 274760 w 1285344"/>
              <a:gd name="connsiteY35" fmla="*/ 420528 h 1266823"/>
              <a:gd name="connsiteX36" fmla="*/ 276187 w 1285344"/>
              <a:gd name="connsiteY36" fmla="*/ 451996 h 1266823"/>
              <a:gd name="connsiteX37" fmla="*/ 309713 w 1285344"/>
              <a:gd name="connsiteY37" fmla="*/ 584305 h 1266823"/>
              <a:gd name="connsiteX38" fmla="*/ 411718 w 1285344"/>
              <a:gd name="connsiteY38" fmla="*/ 721620 h 1266823"/>
              <a:gd name="connsiteX39" fmla="*/ 579348 w 1285344"/>
              <a:gd name="connsiteY39" fmla="*/ 802436 h 1266823"/>
              <a:gd name="connsiteX40" fmla="*/ 644260 w 1285344"/>
              <a:gd name="connsiteY40" fmla="*/ 770968 h 1266823"/>
              <a:gd name="connsiteX41" fmla="*/ 709172 w 1285344"/>
              <a:gd name="connsiteY41" fmla="*/ 802436 h 1266823"/>
              <a:gd name="connsiteX42" fmla="*/ 714166 w 1285344"/>
              <a:gd name="connsiteY42" fmla="*/ 820316 h 1266823"/>
              <a:gd name="connsiteX43" fmla="*/ 710599 w 1285344"/>
              <a:gd name="connsiteY43" fmla="*/ 835334 h 1266823"/>
              <a:gd name="connsiteX44" fmla="*/ 644260 w 1285344"/>
              <a:gd name="connsiteY44" fmla="*/ 869663 h 1266823"/>
              <a:gd name="connsiteX45" fmla="*/ 577921 w 1285344"/>
              <a:gd name="connsiteY45" fmla="*/ 835334 h 1266823"/>
              <a:gd name="connsiteX46" fmla="*/ 438824 w 1285344"/>
              <a:gd name="connsiteY46" fmla="*/ 781696 h 1266823"/>
              <a:gd name="connsiteX47" fmla="*/ 483050 w 1285344"/>
              <a:gd name="connsiteY47" fmla="*/ 861081 h 1266823"/>
              <a:gd name="connsiteX48" fmla="*/ 644260 w 1285344"/>
              <a:gd name="connsiteY48" fmla="*/ 941897 h 1266823"/>
              <a:gd name="connsiteX49" fmla="*/ 805471 w 1285344"/>
              <a:gd name="connsiteY49" fmla="*/ 861081 h 1266823"/>
              <a:gd name="connsiteX50" fmla="*/ 908189 w 1285344"/>
              <a:gd name="connsiteY50" fmla="*/ 645096 h 1266823"/>
              <a:gd name="connsiteX51" fmla="*/ 915322 w 1285344"/>
              <a:gd name="connsiteY51" fmla="*/ 637229 h 1266823"/>
              <a:gd name="connsiteX52" fmla="*/ 947421 w 1285344"/>
              <a:gd name="connsiteY52" fmla="*/ 600754 h 1266823"/>
              <a:gd name="connsiteX53" fmla="*/ 984514 w 1285344"/>
              <a:gd name="connsiteY53" fmla="*/ 582875 h 1266823"/>
              <a:gd name="connsiteX54" fmla="*/ 984514 w 1285344"/>
              <a:gd name="connsiteY54" fmla="*/ 583590 h 1266823"/>
              <a:gd name="connsiteX55" fmla="*/ 935295 w 1285344"/>
              <a:gd name="connsiteY55" fmla="*/ 662260 h 1266823"/>
              <a:gd name="connsiteX56" fmla="*/ 832577 w 1285344"/>
              <a:gd name="connsiteY56" fmla="*/ 878245 h 1266823"/>
              <a:gd name="connsiteX57" fmla="*/ 832577 w 1285344"/>
              <a:gd name="connsiteY57" fmla="*/ 947618 h 1266823"/>
              <a:gd name="connsiteX58" fmla="*/ 827584 w 1285344"/>
              <a:gd name="connsiteY58" fmla="*/ 954770 h 1266823"/>
              <a:gd name="connsiteX59" fmla="*/ 801191 w 1285344"/>
              <a:gd name="connsiteY59" fmla="*/ 982662 h 1266823"/>
              <a:gd name="connsiteX60" fmla="*/ 801191 w 1285344"/>
              <a:gd name="connsiteY60" fmla="*/ 904707 h 1266823"/>
              <a:gd name="connsiteX61" fmla="*/ 644260 w 1285344"/>
              <a:gd name="connsiteY61" fmla="*/ 973365 h 1266823"/>
              <a:gd name="connsiteX62" fmla="*/ 487330 w 1285344"/>
              <a:gd name="connsiteY62" fmla="*/ 904707 h 1266823"/>
              <a:gd name="connsiteX63" fmla="*/ 487330 w 1285344"/>
              <a:gd name="connsiteY63" fmla="*/ 982662 h 1266823"/>
              <a:gd name="connsiteX64" fmla="*/ 460937 w 1285344"/>
              <a:gd name="connsiteY64" fmla="*/ 954770 h 1266823"/>
              <a:gd name="connsiteX65" fmla="*/ 455944 w 1285344"/>
              <a:gd name="connsiteY65" fmla="*/ 947618 h 1266823"/>
              <a:gd name="connsiteX66" fmla="*/ 455944 w 1285344"/>
              <a:gd name="connsiteY66" fmla="*/ 878245 h 1266823"/>
              <a:gd name="connsiteX67" fmla="*/ 386752 w 1285344"/>
              <a:gd name="connsiteY67" fmla="*/ 743076 h 1266823"/>
              <a:gd name="connsiteX68" fmla="*/ 274047 w 1285344"/>
              <a:gd name="connsiteY68" fmla="*/ 585020 h 1266823"/>
              <a:gd name="connsiteX69" fmla="*/ 259780 w 1285344"/>
              <a:gd name="connsiteY69" fmla="*/ 593602 h 1266823"/>
              <a:gd name="connsiteX70" fmla="*/ 231248 w 1285344"/>
              <a:gd name="connsiteY70" fmla="*/ 593602 h 1266823"/>
              <a:gd name="connsiteX71" fmla="*/ 214841 w 1285344"/>
              <a:gd name="connsiteY71" fmla="*/ 577153 h 1266823"/>
              <a:gd name="connsiteX72" fmla="*/ 214841 w 1285344"/>
              <a:gd name="connsiteY72" fmla="*/ 358307 h 1266823"/>
              <a:gd name="connsiteX73" fmla="*/ 231248 w 1285344"/>
              <a:gd name="connsiteY73" fmla="*/ 341858 h 1266823"/>
              <a:gd name="connsiteX74" fmla="*/ 249081 w 1285344"/>
              <a:gd name="connsiteY74" fmla="*/ 341858 h 1266823"/>
              <a:gd name="connsiteX75" fmla="*/ 644260 w 1285344"/>
              <a:gd name="connsiteY75" fmla="*/ 0 h 126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85344" h="1266823">
                <a:moveTo>
                  <a:pt x="434470" y="973136"/>
                </a:moveTo>
                <a:cubicBezTo>
                  <a:pt x="434470" y="973136"/>
                  <a:pt x="573033" y="1087467"/>
                  <a:pt x="638744" y="1139630"/>
                </a:cubicBezTo>
                <a:cubicBezTo>
                  <a:pt x="641601" y="1141774"/>
                  <a:pt x="645172" y="1141774"/>
                  <a:pt x="647315" y="1139630"/>
                </a:cubicBezTo>
                <a:cubicBezTo>
                  <a:pt x="736595" y="1068174"/>
                  <a:pt x="851588" y="973136"/>
                  <a:pt x="851588" y="973136"/>
                </a:cubicBezTo>
                <a:cubicBezTo>
                  <a:pt x="851588" y="973136"/>
                  <a:pt x="1031578" y="975280"/>
                  <a:pt x="1128715" y="1019583"/>
                </a:cubicBezTo>
                <a:cubicBezTo>
                  <a:pt x="1207282" y="1055311"/>
                  <a:pt x="1264421" y="1193223"/>
                  <a:pt x="1284420" y="1245386"/>
                </a:cubicBezTo>
                <a:cubicBezTo>
                  <a:pt x="1287991" y="1256105"/>
                  <a:pt x="1280849" y="1266823"/>
                  <a:pt x="1269421" y="1266823"/>
                </a:cubicBezTo>
                <a:cubicBezTo>
                  <a:pt x="1269421" y="1266823"/>
                  <a:pt x="1269421" y="1266823"/>
                  <a:pt x="15923" y="1266823"/>
                </a:cubicBezTo>
                <a:cubicBezTo>
                  <a:pt x="4495" y="1266823"/>
                  <a:pt x="-2647" y="1256105"/>
                  <a:pt x="924" y="1245386"/>
                </a:cubicBezTo>
                <a:cubicBezTo>
                  <a:pt x="20923" y="1193223"/>
                  <a:pt x="78777" y="1055311"/>
                  <a:pt x="157343" y="1019583"/>
                </a:cubicBezTo>
                <a:cubicBezTo>
                  <a:pt x="254480" y="975280"/>
                  <a:pt x="434470" y="973136"/>
                  <a:pt x="434470" y="973136"/>
                </a:cubicBezTo>
                <a:close/>
                <a:moveTo>
                  <a:pt x="643132" y="69849"/>
                </a:moveTo>
                <a:cubicBezTo>
                  <a:pt x="833416" y="69849"/>
                  <a:pt x="979349" y="221847"/>
                  <a:pt x="979349" y="410239"/>
                </a:cubicBezTo>
                <a:cubicBezTo>
                  <a:pt x="979349" y="432361"/>
                  <a:pt x="980064" y="453055"/>
                  <a:pt x="978634" y="474464"/>
                </a:cubicBezTo>
                <a:cubicBezTo>
                  <a:pt x="977203" y="492304"/>
                  <a:pt x="982926" y="520134"/>
                  <a:pt x="1002240" y="547965"/>
                </a:cubicBezTo>
                <a:cubicBezTo>
                  <a:pt x="1002240" y="547965"/>
                  <a:pt x="992941" y="554387"/>
                  <a:pt x="979349" y="561524"/>
                </a:cubicBezTo>
                <a:cubicBezTo>
                  <a:pt x="970765" y="566519"/>
                  <a:pt x="960750" y="571514"/>
                  <a:pt x="950735" y="575082"/>
                </a:cubicBezTo>
                <a:cubicBezTo>
                  <a:pt x="932135" y="582218"/>
                  <a:pt x="912821" y="585786"/>
                  <a:pt x="899229" y="577936"/>
                </a:cubicBezTo>
                <a:cubicBezTo>
                  <a:pt x="861315" y="557242"/>
                  <a:pt x="700360" y="336738"/>
                  <a:pt x="490046" y="336738"/>
                </a:cubicBezTo>
                <a:cubicBezTo>
                  <a:pt x="490046" y="336738"/>
                  <a:pt x="467870" y="349583"/>
                  <a:pt x="457140" y="355291"/>
                </a:cubicBezTo>
                <a:cubicBezTo>
                  <a:pt x="362713" y="420230"/>
                  <a:pt x="358421" y="580077"/>
                  <a:pt x="325514" y="550106"/>
                </a:cubicBezTo>
                <a:cubicBezTo>
                  <a:pt x="313353" y="535120"/>
                  <a:pt x="306915" y="451628"/>
                  <a:pt x="306915" y="410239"/>
                </a:cubicBezTo>
                <a:cubicBezTo>
                  <a:pt x="306915" y="221847"/>
                  <a:pt x="452848" y="69849"/>
                  <a:pt x="643132" y="69849"/>
                </a:cubicBezTo>
                <a:close/>
                <a:moveTo>
                  <a:pt x="644260" y="0"/>
                </a:moveTo>
                <a:cubicBezTo>
                  <a:pt x="840423" y="0"/>
                  <a:pt x="1003774" y="147328"/>
                  <a:pt x="1039440" y="341858"/>
                </a:cubicBezTo>
                <a:cubicBezTo>
                  <a:pt x="1057273" y="341858"/>
                  <a:pt x="1057273" y="341858"/>
                  <a:pt x="1057273" y="341858"/>
                </a:cubicBezTo>
                <a:cubicBezTo>
                  <a:pt x="1065833" y="341858"/>
                  <a:pt x="1073679" y="349010"/>
                  <a:pt x="1073679" y="358307"/>
                </a:cubicBezTo>
                <a:cubicBezTo>
                  <a:pt x="1073679" y="577153"/>
                  <a:pt x="1073679" y="577153"/>
                  <a:pt x="1073679" y="577153"/>
                </a:cubicBezTo>
                <a:cubicBezTo>
                  <a:pt x="1073679" y="585735"/>
                  <a:pt x="1065833" y="593602"/>
                  <a:pt x="1057273" y="593602"/>
                </a:cubicBezTo>
                <a:cubicBezTo>
                  <a:pt x="1028740" y="593602"/>
                  <a:pt x="1028740" y="593602"/>
                  <a:pt x="1028740" y="593602"/>
                </a:cubicBezTo>
                <a:cubicBezTo>
                  <a:pt x="1022320" y="593602"/>
                  <a:pt x="1017327" y="590026"/>
                  <a:pt x="1014474" y="585020"/>
                </a:cubicBezTo>
                <a:cubicBezTo>
                  <a:pt x="1013047" y="582159"/>
                  <a:pt x="1012334" y="580014"/>
                  <a:pt x="1012334" y="577153"/>
                </a:cubicBezTo>
                <a:cubicBezTo>
                  <a:pt x="1012334" y="577153"/>
                  <a:pt x="1013047" y="399072"/>
                  <a:pt x="1012334" y="388345"/>
                </a:cubicBezTo>
                <a:cubicBezTo>
                  <a:pt x="996641" y="189524"/>
                  <a:pt x="837570" y="32899"/>
                  <a:pt x="644260" y="32899"/>
                </a:cubicBezTo>
                <a:cubicBezTo>
                  <a:pt x="450950" y="32899"/>
                  <a:pt x="291880" y="189524"/>
                  <a:pt x="276187" y="388345"/>
                </a:cubicBezTo>
                <a:cubicBezTo>
                  <a:pt x="275473" y="399072"/>
                  <a:pt x="274760" y="409800"/>
                  <a:pt x="274760" y="420528"/>
                </a:cubicBezTo>
                <a:cubicBezTo>
                  <a:pt x="274760" y="431256"/>
                  <a:pt x="275473" y="441983"/>
                  <a:pt x="276187" y="451996"/>
                </a:cubicBezTo>
                <a:cubicBezTo>
                  <a:pt x="279753" y="499198"/>
                  <a:pt x="291880" y="543540"/>
                  <a:pt x="309713" y="584305"/>
                </a:cubicBezTo>
                <a:cubicBezTo>
                  <a:pt x="333252" y="637944"/>
                  <a:pt x="368918" y="684431"/>
                  <a:pt x="411718" y="721620"/>
                </a:cubicBezTo>
                <a:cubicBezTo>
                  <a:pt x="459510" y="762386"/>
                  <a:pt x="516576" y="790278"/>
                  <a:pt x="579348" y="802436"/>
                </a:cubicBezTo>
                <a:cubicBezTo>
                  <a:pt x="589335" y="783841"/>
                  <a:pt x="614301" y="770968"/>
                  <a:pt x="644260" y="770968"/>
                </a:cubicBezTo>
                <a:cubicBezTo>
                  <a:pt x="674220" y="770968"/>
                  <a:pt x="699186" y="783841"/>
                  <a:pt x="709172" y="802436"/>
                </a:cubicBezTo>
                <a:cubicBezTo>
                  <a:pt x="712739" y="808157"/>
                  <a:pt x="714166" y="813879"/>
                  <a:pt x="714166" y="820316"/>
                </a:cubicBezTo>
                <a:cubicBezTo>
                  <a:pt x="714166" y="825322"/>
                  <a:pt x="712739" y="830328"/>
                  <a:pt x="710599" y="835334"/>
                </a:cubicBezTo>
                <a:cubicBezTo>
                  <a:pt x="702039" y="855360"/>
                  <a:pt x="675646" y="869663"/>
                  <a:pt x="644260" y="869663"/>
                </a:cubicBezTo>
                <a:cubicBezTo>
                  <a:pt x="612874" y="869663"/>
                  <a:pt x="586481" y="855360"/>
                  <a:pt x="577921" y="835334"/>
                </a:cubicBezTo>
                <a:cubicBezTo>
                  <a:pt x="527989" y="826752"/>
                  <a:pt x="480910" y="808157"/>
                  <a:pt x="438824" y="781696"/>
                </a:cubicBezTo>
                <a:cubicBezTo>
                  <a:pt x="456657" y="821031"/>
                  <a:pt x="473777" y="852499"/>
                  <a:pt x="483050" y="861081"/>
                </a:cubicBezTo>
                <a:cubicBezTo>
                  <a:pt x="515149" y="889688"/>
                  <a:pt x="597894" y="941897"/>
                  <a:pt x="644260" y="941897"/>
                </a:cubicBezTo>
                <a:cubicBezTo>
                  <a:pt x="690626" y="941897"/>
                  <a:pt x="773371" y="889688"/>
                  <a:pt x="805471" y="861081"/>
                </a:cubicBezTo>
                <a:cubicBezTo>
                  <a:pt x="825444" y="843201"/>
                  <a:pt x="878943" y="718759"/>
                  <a:pt x="908189" y="645096"/>
                </a:cubicBezTo>
                <a:cubicBezTo>
                  <a:pt x="908902" y="641520"/>
                  <a:pt x="911755" y="638659"/>
                  <a:pt x="915322" y="637229"/>
                </a:cubicBezTo>
                <a:cubicBezTo>
                  <a:pt x="932442" y="628646"/>
                  <a:pt x="942428" y="613628"/>
                  <a:pt x="947421" y="600754"/>
                </a:cubicBezTo>
                <a:cubicBezTo>
                  <a:pt x="947421" y="600754"/>
                  <a:pt x="947421" y="600754"/>
                  <a:pt x="984514" y="582875"/>
                </a:cubicBezTo>
                <a:cubicBezTo>
                  <a:pt x="984514" y="583590"/>
                  <a:pt x="984514" y="583590"/>
                  <a:pt x="984514" y="583590"/>
                </a:cubicBezTo>
                <a:cubicBezTo>
                  <a:pt x="982374" y="600039"/>
                  <a:pt x="972388" y="640089"/>
                  <a:pt x="935295" y="662260"/>
                </a:cubicBezTo>
                <a:cubicBezTo>
                  <a:pt x="919602" y="701595"/>
                  <a:pt x="864676" y="838195"/>
                  <a:pt x="832577" y="878245"/>
                </a:cubicBezTo>
                <a:cubicBezTo>
                  <a:pt x="832577" y="947618"/>
                  <a:pt x="832577" y="947618"/>
                  <a:pt x="832577" y="947618"/>
                </a:cubicBezTo>
                <a:cubicBezTo>
                  <a:pt x="827584" y="954770"/>
                  <a:pt x="827584" y="954770"/>
                  <a:pt x="827584" y="954770"/>
                </a:cubicBezTo>
                <a:cubicBezTo>
                  <a:pt x="826157" y="956200"/>
                  <a:pt x="817597" y="967643"/>
                  <a:pt x="801191" y="982662"/>
                </a:cubicBezTo>
                <a:cubicBezTo>
                  <a:pt x="801191" y="904707"/>
                  <a:pt x="801191" y="904707"/>
                  <a:pt x="801191" y="904707"/>
                </a:cubicBezTo>
                <a:cubicBezTo>
                  <a:pt x="759105" y="935460"/>
                  <a:pt x="690626" y="973365"/>
                  <a:pt x="644260" y="973365"/>
                </a:cubicBezTo>
                <a:cubicBezTo>
                  <a:pt x="597894" y="973365"/>
                  <a:pt x="529416" y="935460"/>
                  <a:pt x="487330" y="904707"/>
                </a:cubicBezTo>
                <a:cubicBezTo>
                  <a:pt x="487330" y="982662"/>
                  <a:pt x="487330" y="982662"/>
                  <a:pt x="487330" y="982662"/>
                </a:cubicBezTo>
                <a:cubicBezTo>
                  <a:pt x="470923" y="967643"/>
                  <a:pt x="462363" y="956200"/>
                  <a:pt x="460937" y="954770"/>
                </a:cubicBezTo>
                <a:cubicBezTo>
                  <a:pt x="455944" y="947618"/>
                  <a:pt x="455944" y="947618"/>
                  <a:pt x="455944" y="947618"/>
                </a:cubicBezTo>
                <a:cubicBezTo>
                  <a:pt x="455944" y="878245"/>
                  <a:pt x="455944" y="878245"/>
                  <a:pt x="455944" y="878245"/>
                </a:cubicBezTo>
                <a:cubicBezTo>
                  <a:pt x="436684" y="853929"/>
                  <a:pt x="408864" y="795284"/>
                  <a:pt x="386752" y="743076"/>
                </a:cubicBezTo>
                <a:cubicBezTo>
                  <a:pt x="338246" y="700880"/>
                  <a:pt x="299726" y="646526"/>
                  <a:pt x="274047" y="585020"/>
                </a:cubicBezTo>
                <a:cubicBezTo>
                  <a:pt x="271194" y="590026"/>
                  <a:pt x="266200" y="593602"/>
                  <a:pt x="259780" y="593602"/>
                </a:cubicBezTo>
                <a:cubicBezTo>
                  <a:pt x="231248" y="593602"/>
                  <a:pt x="231248" y="593602"/>
                  <a:pt x="231248" y="593602"/>
                </a:cubicBezTo>
                <a:cubicBezTo>
                  <a:pt x="222688" y="593602"/>
                  <a:pt x="214841" y="585735"/>
                  <a:pt x="214841" y="577153"/>
                </a:cubicBezTo>
                <a:cubicBezTo>
                  <a:pt x="214841" y="358307"/>
                  <a:pt x="214841" y="358307"/>
                  <a:pt x="214841" y="358307"/>
                </a:cubicBezTo>
                <a:cubicBezTo>
                  <a:pt x="214841" y="349010"/>
                  <a:pt x="222688" y="341858"/>
                  <a:pt x="231248" y="341858"/>
                </a:cubicBezTo>
                <a:cubicBezTo>
                  <a:pt x="249081" y="341858"/>
                  <a:pt x="249081" y="341858"/>
                  <a:pt x="249081" y="341858"/>
                </a:cubicBezTo>
                <a:cubicBezTo>
                  <a:pt x="284747" y="147328"/>
                  <a:pt x="448097" y="0"/>
                  <a:pt x="644260"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6E6F73"/>
              </a:solidFill>
            </a:endParaRPr>
          </a:p>
        </p:txBody>
      </p:sp>
      <p:grpSp>
        <p:nvGrpSpPr>
          <p:cNvPr id="202" name="bcgBugs_Email">
            <a:extLst>
              <a:ext uri="{FF2B5EF4-FFF2-40B4-BE49-F238E27FC236}">
                <a16:creationId xmlns:a16="http://schemas.microsoft.com/office/drawing/2014/main" id="{3A248581-F49A-4500-9216-C2EE2900B9B3}"/>
              </a:ext>
            </a:extLst>
          </p:cNvPr>
          <p:cNvGrpSpPr>
            <a:grpSpLocks noChangeAspect="1"/>
          </p:cNvGrpSpPr>
          <p:nvPr/>
        </p:nvGrpSpPr>
        <p:grpSpPr bwMode="auto">
          <a:xfrm>
            <a:off x="6803159" y="1217804"/>
            <a:ext cx="563412" cy="563963"/>
            <a:chOff x="2818" y="1137"/>
            <a:chExt cx="2044" cy="2046"/>
          </a:xfrm>
        </p:grpSpPr>
        <p:sp>
          <p:nvSpPr>
            <p:cNvPr id="203" name="AutoShape 7">
              <a:extLst>
                <a:ext uri="{FF2B5EF4-FFF2-40B4-BE49-F238E27FC236}">
                  <a16:creationId xmlns:a16="http://schemas.microsoft.com/office/drawing/2014/main" id="{B02124C6-7CC9-43B6-AAA2-9C6DCA7AF76A}"/>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9">
              <a:extLst>
                <a:ext uri="{FF2B5EF4-FFF2-40B4-BE49-F238E27FC236}">
                  <a16:creationId xmlns:a16="http://schemas.microsoft.com/office/drawing/2014/main" id="{448DEB76-BF38-45A4-8157-C057D7E6C750}"/>
                </a:ext>
              </a:extLst>
            </p:cNvPr>
            <p:cNvSpPr>
              <a:spLocks noEditPoints="1"/>
            </p:cNvSpPr>
            <p:nvPr/>
          </p:nvSpPr>
          <p:spPr bwMode="auto">
            <a:xfrm>
              <a:off x="2941" y="1512"/>
              <a:ext cx="1800" cy="1298"/>
            </a:xfrm>
            <a:custGeom>
              <a:avLst/>
              <a:gdLst>
                <a:gd name="T0" fmla="*/ 880 w 880"/>
                <a:gd name="T1" fmla="*/ 38 h 634"/>
                <a:gd name="T2" fmla="*/ 880 w 880"/>
                <a:gd name="T3" fmla="*/ 621 h 634"/>
                <a:gd name="T4" fmla="*/ 874 w 880"/>
                <a:gd name="T5" fmla="*/ 624 h 634"/>
                <a:gd name="T6" fmla="*/ 579 w 880"/>
                <a:gd name="T7" fmla="*/ 292 h 634"/>
                <a:gd name="T8" fmla="*/ 579 w 880"/>
                <a:gd name="T9" fmla="*/ 286 h 634"/>
                <a:gd name="T10" fmla="*/ 880 w 880"/>
                <a:gd name="T11" fmla="*/ 38 h 634"/>
                <a:gd name="T12" fmla="*/ 880 w 880"/>
                <a:gd name="T13" fmla="*/ 38 h 634"/>
                <a:gd name="T14" fmla="*/ 0 w 880"/>
                <a:gd name="T15" fmla="*/ 38 h 634"/>
                <a:gd name="T16" fmla="*/ 0 w 880"/>
                <a:gd name="T17" fmla="*/ 621 h 634"/>
                <a:gd name="T18" fmla="*/ 6 w 880"/>
                <a:gd name="T19" fmla="*/ 624 h 634"/>
                <a:gd name="T20" fmla="*/ 301 w 880"/>
                <a:gd name="T21" fmla="*/ 292 h 634"/>
                <a:gd name="T22" fmla="*/ 301 w 880"/>
                <a:gd name="T23" fmla="*/ 286 h 634"/>
                <a:gd name="T24" fmla="*/ 0 w 880"/>
                <a:gd name="T25" fmla="*/ 38 h 634"/>
                <a:gd name="T26" fmla="*/ 0 w 880"/>
                <a:gd name="T27" fmla="*/ 38 h 634"/>
                <a:gd name="T28" fmla="*/ 828 w 880"/>
                <a:gd name="T29" fmla="*/ 634 h 634"/>
                <a:gd name="T30" fmla="*/ 828 w 880"/>
                <a:gd name="T31" fmla="*/ 634 h 634"/>
                <a:gd name="T32" fmla="*/ 552 w 880"/>
                <a:gd name="T33" fmla="*/ 323 h 634"/>
                <a:gd name="T34" fmla="*/ 547 w 880"/>
                <a:gd name="T35" fmla="*/ 322 h 634"/>
                <a:gd name="T36" fmla="*/ 444 w 880"/>
                <a:gd name="T37" fmla="*/ 414 h 634"/>
                <a:gd name="T38" fmla="*/ 439 w 880"/>
                <a:gd name="T39" fmla="*/ 414 h 634"/>
                <a:gd name="T40" fmla="*/ 335 w 880"/>
                <a:gd name="T41" fmla="*/ 322 h 634"/>
                <a:gd name="T42" fmla="*/ 330 w 880"/>
                <a:gd name="T43" fmla="*/ 323 h 634"/>
                <a:gd name="T44" fmla="*/ 53 w 880"/>
                <a:gd name="T45" fmla="*/ 627 h 634"/>
                <a:gd name="T46" fmla="*/ 56 w 880"/>
                <a:gd name="T47" fmla="*/ 634 h 634"/>
                <a:gd name="T48" fmla="*/ 828 w 880"/>
                <a:gd name="T49" fmla="*/ 634 h 634"/>
                <a:gd name="T50" fmla="*/ 828 w 880"/>
                <a:gd name="T51" fmla="*/ 634 h 634"/>
                <a:gd name="T52" fmla="*/ 864 w 880"/>
                <a:gd name="T53" fmla="*/ 0 h 634"/>
                <a:gd name="T54" fmla="*/ 16 w 880"/>
                <a:gd name="T55" fmla="*/ 0 h 634"/>
                <a:gd name="T56" fmla="*/ 14 w 880"/>
                <a:gd name="T57" fmla="*/ 7 h 634"/>
                <a:gd name="T58" fmla="*/ 437 w 880"/>
                <a:gd name="T59" fmla="*/ 358 h 634"/>
                <a:gd name="T60" fmla="*/ 441 w 880"/>
                <a:gd name="T61" fmla="*/ 358 h 634"/>
                <a:gd name="T62" fmla="*/ 866 w 880"/>
                <a:gd name="T63" fmla="*/ 7 h 634"/>
                <a:gd name="T64" fmla="*/ 864 w 880"/>
                <a:gd name="T6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634">
                  <a:moveTo>
                    <a:pt x="880" y="38"/>
                  </a:moveTo>
                  <a:cubicBezTo>
                    <a:pt x="880" y="621"/>
                    <a:pt x="880" y="621"/>
                    <a:pt x="880" y="621"/>
                  </a:cubicBezTo>
                  <a:cubicBezTo>
                    <a:pt x="880" y="625"/>
                    <a:pt x="876" y="626"/>
                    <a:pt x="874" y="624"/>
                  </a:cubicBezTo>
                  <a:cubicBezTo>
                    <a:pt x="579" y="292"/>
                    <a:pt x="579" y="292"/>
                    <a:pt x="579" y="292"/>
                  </a:cubicBezTo>
                  <a:cubicBezTo>
                    <a:pt x="577" y="291"/>
                    <a:pt x="577" y="288"/>
                    <a:pt x="579" y="286"/>
                  </a:cubicBezTo>
                  <a:cubicBezTo>
                    <a:pt x="880" y="38"/>
                    <a:pt x="880" y="38"/>
                    <a:pt x="880" y="38"/>
                  </a:cubicBezTo>
                  <a:cubicBezTo>
                    <a:pt x="880" y="38"/>
                    <a:pt x="880" y="38"/>
                    <a:pt x="880" y="38"/>
                  </a:cubicBezTo>
                  <a:close/>
                  <a:moveTo>
                    <a:pt x="0" y="38"/>
                  </a:moveTo>
                  <a:cubicBezTo>
                    <a:pt x="0" y="621"/>
                    <a:pt x="0" y="621"/>
                    <a:pt x="0" y="621"/>
                  </a:cubicBezTo>
                  <a:cubicBezTo>
                    <a:pt x="0" y="625"/>
                    <a:pt x="4" y="626"/>
                    <a:pt x="6" y="624"/>
                  </a:cubicBezTo>
                  <a:cubicBezTo>
                    <a:pt x="301" y="292"/>
                    <a:pt x="301" y="292"/>
                    <a:pt x="301" y="292"/>
                  </a:cubicBezTo>
                  <a:cubicBezTo>
                    <a:pt x="303" y="291"/>
                    <a:pt x="303" y="288"/>
                    <a:pt x="301" y="286"/>
                  </a:cubicBezTo>
                  <a:cubicBezTo>
                    <a:pt x="0" y="38"/>
                    <a:pt x="0" y="38"/>
                    <a:pt x="0" y="38"/>
                  </a:cubicBezTo>
                  <a:cubicBezTo>
                    <a:pt x="0" y="38"/>
                    <a:pt x="0" y="38"/>
                    <a:pt x="0" y="38"/>
                  </a:cubicBezTo>
                  <a:close/>
                  <a:moveTo>
                    <a:pt x="828" y="634"/>
                  </a:moveTo>
                  <a:cubicBezTo>
                    <a:pt x="828" y="634"/>
                    <a:pt x="828" y="634"/>
                    <a:pt x="828" y="634"/>
                  </a:cubicBezTo>
                  <a:cubicBezTo>
                    <a:pt x="552" y="323"/>
                    <a:pt x="552" y="323"/>
                    <a:pt x="552" y="323"/>
                  </a:cubicBezTo>
                  <a:cubicBezTo>
                    <a:pt x="551" y="321"/>
                    <a:pt x="549" y="321"/>
                    <a:pt x="547" y="322"/>
                  </a:cubicBezTo>
                  <a:cubicBezTo>
                    <a:pt x="444" y="414"/>
                    <a:pt x="444" y="414"/>
                    <a:pt x="444" y="414"/>
                  </a:cubicBezTo>
                  <a:cubicBezTo>
                    <a:pt x="442" y="416"/>
                    <a:pt x="440" y="416"/>
                    <a:pt x="439" y="414"/>
                  </a:cubicBezTo>
                  <a:cubicBezTo>
                    <a:pt x="335" y="322"/>
                    <a:pt x="335" y="322"/>
                    <a:pt x="335" y="322"/>
                  </a:cubicBezTo>
                  <a:cubicBezTo>
                    <a:pt x="334" y="321"/>
                    <a:pt x="331" y="321"/>
                    <a:pt x="330" y="323"/>
                  </a:cubicBezTo>
                  <a:cubicBezTo>
                    <a:pt x="53" y="627"/>
                    <a:pt x="53" y="627"/>
                    <a:pt x="53" y="627"/>
                  </a:cubicBezTo>
                  <a:cubicBezTo>
                    <a:pt x="51" y="630"/>
                    <a:pt x="53" y="634"/>
                    <a:pt x="56" y="634"/>
                  </a:cubicBezTo>
                  <a:cubicBezTo>
                    <a:pt x="828" y="634"/>
                    <a:pt x="828" y="634"/>
                    <a:pt x="828" y="634"/>
                  </a:cubicBezTo>
                  <a:cubicBezTo>
                    <a:pt x="828" y="634"/>
                    <a:pt x="828" y="634"/>
                    <a:pt x="828" y="634"/>
                  </a:cubicBezTo>
                  <a:close/>
                  <a:moveTo>
                    <a:pt x="864" y="0"/>
                  </a:moveTo>
                  <a:cubicBezTo>
                    <a:pt x="16" y="0"/>
                    <a:pt x="16" y="0"/>
                    <a:pt x="16" y="0"/>
                  </a:cubicBezTo>
                  <a:cubicBezTo>
                    <a:pt x="12" y="0"/>
                    <a:pt x="11" y="5"/>
                    <a:pt x="14" y="7"/>
                  </a:cubicBezTo>
                  <a:cubicBezTo>
                    <a:pt x="437" y="358"/>
                    <a:pt x="437" y="358"/>
                    <a:pt x="437" y="358"/>
                  </a:cubicBezTo>
                  <a:cubicBezTo>
                    <a:pt x="438" y="359"/>
                    <a:pt x="440" y="359"/>
                    <a:pt x="441" y="358"/>
                  </a:cubicBezTo>
                  <a:cubicBezTo>
                    <a:pt x="866" y="7"/>
                    <a:pt x="866" y="7"/>
                    <a:pt x="866" y="7"/>
                  </a:cubicBezTo>
                  <a:cubicBezTo>
                    <a:pt x="869" y="5"/>
                    <a:pt x="867" y="0"/>
                    <a:pt x="86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5" name="bcgBugs_GrowthChart">
            <a:extLst>
              <a:ext uri="{FF2B5EF4-FFF2-40B4-BE49-F238E27FC236}">
                <a16:creationId xmlns:a16="http://schemas.microsoft.com/office/drawing/2014/main" id="{2359CA8D-613D-4DC4-884B-C891BE1458AA}"/>
              </a:ext>
            </a:extLst>
          </p:cNvPr>
          <p:cNvGrpSpPr>
            <a:grpSpLocks noChangeAspect="1"/>
          </p:cNvGrpSpPr>
          <p:nvPr/>
        </p:nvGrpSpPr>
        <p:grpSpPr bwMode="auto">
          <a:xfrm>
            <a:off x="8184165" y="1266696"/>
            <a:ext cx="456753" cy="457200"/>
            <a:chOff x="2818" y="1137"/>
            <a:chExt cx="2044" cy="2046"/>
          </a:xfrm>
        </p:grpSpPr>
        <p:sp>
          <p:nvSpPr>
            <p:cNvPr id="206" name="AutoShape 3">
              <a:extLst>
                <a:ext uri="{FF2B5EF4-FFF2-40B4-BE49-F238E27FC236}">
                  <a16:creationId xmlns:a16="http://schemas.microsoft.com/office/drawing/2014/main" id="{BBFD54A3-67BA-42A4-A6E8-7DDC4A1C163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4">
              <a:extLst>
                <a:ext uri="{FF2B5EF4-FFF2-40B4-BE49-F238E27FC236}">
                  <a16:creationId xmlns:a16="http://schemas.microsoft.com/office/drawing/2014/main" id="{ADD10DAE-1D7C-4ABA-B534-7E5B9684FCC6}"/>
                </a:ext>
              </a:extLst>
            </p:cNvPr>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8" name="Group 207">
            <a:extLst>
              <a:ext uri="{FF2B5EF4-FFF2-40B4-BE49-F238E27FC236}">
                <a16:creationId xmlns:a16="http://schemas.microsoft.com/office/drawing/2014/main" id="{24249DD1-F1CB-47FA-BE09-56C9034C5455}"/>
              </a:ext>
            </a:extLst>
          </p:cNvPr>
          <p:cNvGrpSpPr>
            <a:grpSpLocks noChangeAspect="1"/>
          </p:cNvGrpSpPr>
          <p:nvPr/>
        </p:nvGrpSpPr>
        <p:grpSpPr>
          <a:xfrm>
            <a:off x="9475733" y="1283206"/>
            <a:ext cx="457200" cy="457200"/>
            <a:chOff x="5868000" y="3191828"/>
            <a:chExt cx="457200" cy="457200"/>
          </a:xfrm>
        </p:grpSpPr>
        <p:sp>
          <p:nvSpPr>
            <p:cNvPr id="209" name="AutoShape 3">
              <a:extLst>
                <a:ext uri="{FF2B5EF4-FFF2-40B4-BE49-F238E27FC236}">
                  <a16:creationId xmlns:a16="http://schemas.microsoft.com/office/drawing/2014/main" id="{EBAF98A1-A812-454F-996C-AA9E859AAFB5}"/>
                </a:ext>
              </a:extLst>
            </p:cNvPr>
            <p:cNvSpPr>
              <a:spLocks noChangeAspect="1" noChangeArrowheads="1" noTextEdit="1"/>
            </p:cNvSpPr>
            <p:nvPr/>
          </p:nvSpPr>
          <p:spPr bwMode="auto">
            <a:xfrm>
              <a:off x="5868000" y="3191828"/>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5">
              <a:extLst>
                <a:ext uri="{FF2B5EF4-FFF2-40B4-BE49-F238E27FC236}">
                  <a16:creationId xmlns:a16="http://schemas.microsoft.com/office/drawing/2014/main" id="{E7129CAD-18AB-4CD1-8D7D-007722AF1172}"/>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3" name="Freeform 41">
            <a:extLst>
              <a:ext uri="{FF2B5EF4-FFF2-40B4-BE49-F238E27FC236}">
                <a16:creationId xmlns:a16="http://schemas.microsoft.com/office/drawing/2014/main" id="{B2BE11C8-2089-43ED-82CC-B2D3D393485E}"/>
              </a:ext>
            </a:extLst>
          </p:cNvPr>
          <p:cNvSpPr>
            <a:spLocks/>
          </p:cNvSpPr>
          <p:nvPr/>
        </p:nvSpPr>
        <p:spPr bwMode="auto">
          <a:xfrm>
            <a:off x="10884681" y="1337181"/>
            <a:ext cx="389677" cy="350987"/>
          </a:xfrm>
          <a:custGeom>
            <a:avLst/>
            <a:gdLst>
              <a:gd name="connsiteX0" fmla="*/ 971387 w 1308100"/>
              <a:gd name="connsiteY0" fmla="*/ 862012 h 998538"/>
              <a:gd name="connsiteX1" fmla="*/ 1203489 w 1308100"/>
              <a:gd name="connsiteY1" fmla="*/ 862012 h 998538"/>
              <a:gd name="connsiteX2" fmla="*/ 1219200 w 1308100"/>
              <a:gd name="connsiteY2" fmla="*/ 878311 h 998538"/>
              <a:gd name="connsiteX3" fmla="*/ 1203489 w 1308100"/>
              <a:gd name="connsiteY3" fmla="*/ 895350 h 998538"/>
              <a:gd name="connsiteX4" fmla="*/ 971387 w 1308100"/>
              <a:gd name="connsiteY4" fmla="*/ 895350 h 998538"/>
              <a:gd name="connsiteX5" fmla="*/ 955675 w 1308100"/>
              <a:gd name="connsiteY5" fmla="*/ 878311 h 998538"/>
              <a:gd name="connsiteX6" fmla="*/ 971387 w 1308100"/>
              <a:gd name="connsiteY6" fmla="*/ 862012 h 998538"/>
              <a:gd name="connsiteX7" fmla="*/ 541113 w 1308100"/>
              <a:gd name="connsiteY7" fmla="*/ 862012 h 998538"/>
              <a:gd name="connsiteX8" fmla="*/ 770875 w 1308100"/>
              <a:gd name="connsiteY8" fmla="*/ 862012 h 998538"/>
              <a:gd name="connsiteX9" fmla="*/ 785813 w 1308100"/>
              <a:gd name="connsiteY9" fmla="*/ 878311 h 998538"/>
              <a:gd name="connsiteX10" fmla="*/ 770875 w 1308100"/>
              <a:gd name="connsiteY10" fmla="*/ 895350 h 998538"/>
              <a:gd name="connsiteX11" fmla="*/ 541113 w 1308100"/>
              <a:gd name="connsiteY11" fmla="*/ 895350 h 998538"/>
              <a:gd name="connsiteX12" fmla="*/ 525463 w 1308100"/>
              <a:gd name="connsiteY12" fmla="*/ 878311 h 998538"/>
              <a:gd name="connsiteX13" fmla="*/ 541113 w 1308100"/>
              <a:gd name="connsiteY13" fmla="*/ 862012 h 998538"/>
              <a:gd name="connsiteX14" fmla="*/ 107787 w 1308100"/>
              <a:gd name="connsiteY14" fmla="*/ 862012 h 998538"/>
              <a:gd name="connsiteX15" fmla="*/ 339889 w 1308100"/>
              <a:gd name="connsiteY15" fmla="*/ 862012 h 998538"/>
              <a:gd name="connsiteX16" fmla="*/ 355600 w 1308100"/>
              <a:gd name="connsiteY16" fmla="*/ 878311 h 998538"/>
              <a:gd name="connsiteX17" fmla="*/ 339889 w 1308100"/>
              <a:gd name="connsiteY17" fmla="*/ 895350 h 998538"/>
              <a:gd name="connsiteX18" fmla="*/ 107787 w 1308100"/>
              <a:gd name="connsiteY18" fmla="*/ 895350 h 998538"/>
              <a:gd name="connsiteX19" fmla="*/ 92075 w 1308100"/>
              <a:gd name="connsiteY19" fmla="*/ 878311 h 998538"/>
              <a:gd name="connsiteX20" fmla="*/ 107787 w 1308100"/>
              <a:gd name="connsiteY20" fmla="*/ 862012 h 998538"/>
              <a:gd name="connsiteX21" fmla="*/ 887413 w 1308100"/>
              <a:gd name="connsiteY21" fmla="*/ 809625 h 998538"/>
              <a:gd name="connsiteX22" fmla="*/ 887413 w 1308100"/>
              <a:gd name="connsiteY22" fmla="*/ 966788 h 998538"/>
              <a:gd name="connsiteX23" fmla="*/ 1276351 w 1308100"/>
              <a:gd name="connsiteY23" fmla="*/ 966788 h 998538"/>
              <a:gd name="connsiteX24" fmla="*/ 1276351 w 1308100"/>
              <a:gd name="connsiteY24" fmla="*/ 809625 h 998538"/>
              <a:gd name="connsiteX25" fmla="*/ 887413 w 1308100"/>
              <a:gd name="connsiteY25" fmla="*/ 809625 h 998538"/>
              <a:gd name="connsiteX26" fmla="*/ 450850 w 1308100"/>
              <a:gd name="connsiteY26" fmla="*/ 809625 h 998538"/>
              <a:gd name="connsiteX27" fmla="*/ 450850 w 1308100"/>
              <a:gd name="connsiteY27" fmla="*/ 966788 h 998538"/>
              <a:gd name="connsiteX28" fmla="*/ 855663 w 1308100"/>
              <a:gd name="connsiteY28" fmla="*/ 966788 h 998538"/>
              <a:gd name="connsiteX29" fmla="*/ 855663 w 1308100"/>
              <a:gd name="connsiteY29" fmla="*/ 809625 h 998538"/>
              <a:gd name="connsiteX30" fmla="*/ 450850 w 1308100"/>
              <a:gd name="connsiteY30" fmla="*/ 809625 h 998538"/>
              <a:gd name="connsiteX31" fmla="*/ 30163 w 1308100"/>
              <a:gd name="connsiteY31" fmla="*/ 809625 h 998538"/>
              <a:gd name="connsiteX32" fmla="*/ 30163 w 1308100"/>
              <a:gd name="connsiteY32" fmla="*/ 966788 h 998538"/>
              <a:gd name="connsiteX33" fmla="*/ 419101 w 1308100"/>
              <a:gd name="connsiteY33" fmla="*/ 966788 h 998538"/>
              <a:gd name="connsiteX34" fmla="*/ 419101 w 1308100"/>
              <a:gd name="connsiteY34" fmla="*/ 809625 h 998538"/>
              <a:gd name="connsiteX35" fmla="*/ 30163 w 1308100"/>
              <a:gd name="connsiteY35" fmla="*/ 809625 h 998538"/>
              <a:gd name="connsiteX36" fmla="*/ 971387 w 1308100"/>
              <a:gd name="connsiteY36" fmla="*/ 690562 h 998538"/>
              <a:gd name="connsiteX37" fmla="*/ 1203489 w 1308100"/>
              <a:gd name="connsiteY37" fmla="*/ 690562 h 998538"/>
              <a:gd name="connsiteX38" fmla="*/ 1219200 w 1308100"/>
              <a:gd name="connsiteY38" fmla="*/ 706084 h 998538"/>
              <a:gd name="connsiteX39" fmla="*/ 1203489 w 1308100"/>
              <a:gd name="connsiteY39" fmla="*/ 722312 h 998538"/>
              <a:gd name="connsiteX40" fmla="*/ 971387 w 1308100"/>
              <a:gd name="connsiteY40" fmla="*/ 722312 h 998538"/>
              <a:gd name="connsiteX41" fmla="*/ 955675 w 1308100"/>
              <a:gd name="connsiteY41" fmla="*/ 706084 h 998538"/>
              <a:gd name="connsiteX42" fmla="*/ 971387 w 1308100"/>
              <a:gd name="connsiteY42" fmla="*/ 690562 h 998538"/>
              <a:gd name="connsiteX43" fmla="*/ 541113 w 1308100"/>
              <a:gd name="connsiteY43" fmla="*/ 690562 h 998538"/>
              <a:gd name="connsiteX44" fmla="*/ 770875 w 1308100"/>
              <a:gd name="connsiteY44" fmla="*/ 690562 h 998538"/>
              <a:gd name="connsiteX45" fmla="*/ 785813 w 1308100"/>
              <a:gd name="connsiteY45" fmla="*/ 706084 h 998538"/>
              <a:gd name="connsiteX46" fmla="*/ 770875 w 1308100"/>
              <a:gd name="connsiteY46" fmla="*/ 722312 h 998538"/>
              <a:gd name="connsiteX47" fmla="*/ 541113 w 1308100"/>
              <a:gd name="connsiteY47" fmla="*/ 722312 h 998538"/>
              <a:gd name="connsiteX48" fmla="*/ 525463 w 1308100"/>
              <a:gd name="connsiteY48" fmla="*/ 706084 h 998538"/>
              <a:gd name="connsiteX49" fmla="*/ 541113 w 1308100"/>
              <a:gd name="connsiteY49" fmla="*/ 690562 h 998538"/>
              <a:gd name="connsiteX50" fmla="*/ 107787 w 1308100"/>
              <a:gd name="connsiteY50" fmla="*/ 690562 h 998538"/>
              <a:gd name="connsiteX51" fmla="*/ 339889 w 1308100"/>
              <a:gd name="connsiteY51" fmla="*/ 690562 h 998538"/>
              <a:gd name="connsiteX52" fmla="*/ 355600 w 1308100"/>
              <a:gd name="connsiteY52" fmla="*/ 706084 h 998538"/>
              <a:gd name="connsiteX53" fmla="*/ 339889 w 1308100"/>
              <a:gd name="connsiteY53" fmla="*/ 722312 h 998538"/>
              <a:gd name="connsiteX54" fmla="*/ 107787 w 1308100"/>
              <a:gd name="connsiteY54" fmla="*/ 722312 h 998538"/>
              <a:gd name="connsiteX55" fmla="*/ 92075 w 1308100"/>
              <a:gd name="connsiteY55" fmla="*/ 706084 h 998538"/>
              <a:gd name="connsiteX56" fmla="*/ 107787 w 1308100"/>
              <a:gd name="connsiteY56" fmla="*/ 690562 h 998538"/>
              <a:gd name="connsiteX57" fmla="*/ 887413 w 1308100"/>
              <a:gd name="connsiteY57" fmla="*/ 636587 h 998538"/>
              <a:gd name="connsiteX58" fmla="*/ 887413 w 1308100"/>
              <a:gd name="connsiteY58" fmla="*/ 777875 h 998538"/>
              <a:gd name="connsiteX59" fmla="*/ 1276351 w 1308100"/>
              <a:gd name="connsiteY59" fmla="*/ 777875 h 998538"/>
              <a:gd name="connsiteX60" fmla="*/ 1276351 w 1308100"/>
              <a:gd name="connsiteY60" fmla="*/ 636587 h 998538"/>
              <a:gd name="connsiteX61" fmla="*/ 887413 w 1308100"/>
              <a:gd name="connsiteY61" fmla="*/ 636587 h 998538"/>
              <a:gd name="connsiteX62" fmla="*/ 450850 w 1308100"/>
              <a:gd name="connsiteY62" fmla="*/ 636587 h 998538"/>
              <a:gd name="connsiteX63" fmla="*/ 450850 w 1308100"/>
              <a:gd name="connsiteY63" fmla="*/ 777875 h 998538"/>
              <a:gd name="connsiteX64" fmla="*/ 855663 w 1308100"/>
              <a:gd name="connsiteY64" fmla="*/ 777875 h 998538"/>
              <a:gd name="connsiteX65" fmla="*/ 855663 w 1308100"/>
              <a:gd name="connsiteY65" fmla="*/ 636587 h 998538"/>
              <a:gd name="connsiteX66" fmla="*/ 450850 w 1308100"/>
              <a:gd name="connsiteY66" fmla="*/ 636587 h 998538"/>
              <a:gd name="connsiteX67" fmla="*/ 30163 w 1308100"/>
              <a:gd name="connsiteY67" fmla="*/ 636587 h 998538"/>
              <a:gd name="connsiteX68" fmla="*/ 30163 w 1308100"/>
              <a:gd name="connsiteY68" fmla="*/ 777875 h 998538"/>
              <a:gd name="connsiteX69" fmla="*/ 419101 w 1308100"/>
              <a:gd name="connsiteY69" fmla="*/ 777875 h 998538"/>
              <a:gd name="connsiteX70" fmla="*/ 419101 w 1308100"/>
              <a:gd name="connsiteY70" fmla="*/ 636587 h 998538"/>
              <a:gd name="connsiteX71" fmla="*/ 30163 w 1308100"/>
              <a:gd name="connsiteY71" fmla="*/ 636587 h 998538"/>
              <a:gd name="connsiteX72" fmla="*/ 971387 w 1308100"/>
              <a:gd name="connsiteY72" fmla="*/ 517525 h 998538"/>
              <a:gd name="connsiteX73" fmla="*/ 1203489 w 1308100"/>
              <a:gd name="connsiteY73" fmla="*/ 517525 h 998538"/>
              <a:gd name="connsiteX74" fmla="*/ 1219200 w 1308100"/>
              <a:gd name="connsiteY74" fmla="*/ 533400 h 998538"/>
              <a:gd name="connsiteX75" fmla="*/ 1203489 w 1308100"/>
              <a:gd name="connsiteY75" fmla="*/ 549275 h 998538"/>
              <a:gd name="connsiteX76" fmla="*/ 971387 w 1308100"/>
              <a:gd name="connsiteY76" fmla="*/ 549275 h 998538"/>
              <a:gd name="connsiteX77" fmla="*/ 955675 w 1308100"/>
              <a:gd name="connsiteY77" fmla="*/ 533400 h 998538"/>
              <a:gd name="connsiteX78" fmla="*/ 971387 w 1308100"/>
              <a:gd name="connsiteY78" fmla="*/ 517525 h 998538"/>
              <a:gd name="connsiteX79" fmla="*/ 541113 w 1308100"/>
              <a:gd name="connsiteY79" fmla="*/ 517525 h 998538"/>
              <a:gd name="connsiteX80" fmla="*/ 770875 w 1308100"/>
              <a:gd name="connsiteY80" fmla="*/ 517525 h 998538"/>
              <a:gd name="connsiteX81" fmla="*/ 785813 w 1308100"/>
              <a:gd name="connsiteY81" fmla="*/ 533400 h 998538"/>
              <a:gd name="connsiteX82" fmla="*/ 770875 w 1308100"/>
              <a:gd name="connsiteY82" fmla="*/ 549275 h 998538"/>
              <a:gd name="connsiteX83" fmla="*/ 541113 w 1308100"/>
              <a:gd name="connsiteY83" fmla="*/ 549275 h 998538"/>
              <a:gd name="connsiteX84" fmla="*/ 525463 w 1308100"/>
              <a:gd name="connsiteY84" fmla="*/ 533400 h 998538"/>
              <a:gd name="connsiteX85" fmla="*/ 541113 w 1308100"/>
              <a:gd name="connsiteY85" fmla="*/ 517525 h 998538"/>
              <a:gd name="connsiteX86" fmla="*/ 107787 w 1308100"/>
              <a:gd name="connsiteY86" fmla="*/ 517525 h 998538"/>
              <a:gd name="connsiteX87" fmla="*/ 339889 w 1308100"/>
              <a:gd name="connsiteY87" fmla="*/ 517525 h 998538"/>
              <a:gd name="connsiteX88" fmla="*/ 355600 w 1308100"/>
              <a:gd name="connsiteY88" fmla="*/ 533400 h 998538"/>
              <a:gd name="connsiteX89" fmla="*/ 339889 w 1308100"/>
              <a:gd name="connsiteY89" fmla="*/ 549275 h 998538"/>
              <a:gd name="connsiteX90" fmla="*/ 107787 w 1308100"/>
              <a:gd name="connsiteY90" fmla="*/ 549275 h 998538"/>
              <a:gd name="connsiteX91" fmla="*/ 92075 w 1308100"/>
              <a:gd name="connsiteY91" fmla="*/ 533400 h 998538"/>
              <a:gd name="connsiteX92" fmla="*/ 107787 w 1308100"/>
              <a:gd name="connsiteY92" fmla="*/ 517525 h 998538"/>
              <a:gd name="connsiteX93" fmla="*/ 887413 w 1308100"/>
              <a:gd name="connsiteY93" fmla="*/ 463550 h 998538"/>
              <a:gd name="connsiteX94" fmla="*/ 887413 w 1308100"/>
              <a:gd name="connsiteY94" fmla="*/ 604838 h 998538"/>
              <a:gd name="connsiteX95" fmla="*/ 1276351 w 1308100"/>
              <a:gd name="connsiteY95" fmla="*/ 604838 h 998538"/>
              <a:gd name="connsiteX96" fmla="*/ 1276351 w 1308100"/>
              <a:gd name="connsiteY96" fmla="*/ 463550 h 998538"/>
              <a:gd name="connsiteX97" fmla="*/ 887413 w 1308100"/>
              <a:gd name="connsiteY97" fmla="*/ 463550 h 998538"/>
              <a:gd name="connsiteX98" fmla="*/ 450850 w 1308100"/>
              <a:gd name="connsiteY98" fmla="*/ 463550 h 998538"/>
              <a:gd name="connsiteX99" fmla="*/ 450850 w 1308100"/>
              <a:gd name="connsiteY99" fmla="*/ 604838 h 998538"/>
              <a:gd name="connsiteX100" fmla="*/ 855663 w 1308100"/>
              <a:gd name="connsiteY100" fmla="*/ 604838 h 998538"/>
              <a:gd name="connsiteX101" fmla="*/ 855663 w 1308100"/>
              <a:gd name="connsiteY101" fmla="*/ 463550 h 998538"/>
              <a:gd name="connsiteX102" fmla="*/ 450850 w 1308100"/>
              <a:gd name="connsiteY102" fmla="*/ 463550 h 998538"/>
              <a:gd name="connsiteX103" fmla="*/ 30163 w 1308100"/>
              <a:gd name="connsiteY103" fmla="*/ 463550 h 998538"/>
              <a:gd name="connsiteX104" fmla="*/ 30163 w 1308100"/>
              <a:gd name="connsiteY104" fmla="*/ 604838 h 998538"/>
              <a:gd name="connsiteX105" fmla="*/ 419101 w 1308100"/>
              <a:gd name="connsiteY105" fmla="*/ 604838 h 998538"/>
              <a:gd name="connsiteX106" fmla="*/ 419101 w 1308100"/>
              <a:gd name="connsiteY106" fmla="*/ 463550 h 998538"/>
              <a:gd name="connsiteX107" fmla="*/ 30163 w 1308100"/>
              <a:gd name="connsiteY107" fmla="*/ 463550 h 998538"/>
              <a:gd name="connsiteX108" fmla="*/ 971387 w 1308100"/>
              <a:gd name="connsiteY108" fmla="*/ 346075 h 998538"/>
              <a:gd name="connsiteX109" fmla="*/ 1203489 w 1308100"/>
              <a:gd name="connsiteY109" fmla="*/ 346075 h 998538"/>
              <a:gd name="connsiteX110" fmla="*/ 1219200 w 1308100"/>
              <a:gd name="connsiteY110" fmla="*/ 361157 h 998538"/>
              <a:gd name="connsiteX111" fmla="*/ 1203489 w 1308100"/>
              <a:gd name="connsiteY111" fmla="*/ 376238 h 998538"/>
              <a:gd name="connsiteX112" fmla="*/ 971387 w 1308100"/>
              <a:gd name="connsiteY112" fmla="*/ 376238 h 998538"/>
              <a:gd name="connsiteX113" fmla="*/ 955675 w 1308100"/>
              <a:gd name="connsiteY113" fmla="*/ 361157 h 998538"/>
              <a:gd name="connsiteX114" fmla="*/ 971387 w 1308100"/>
              <a:gd name="connsiteY114" fmla="*/ 346075 h 998538"/>
              <a:gd name="connsiteX115" fmla="*/ 541113 w 1308100"/>
              <a:gd name="connsiteY115" fmla="*/ 346075 h 998538"/>
              <a:gd name="connsiteX116" fmla="*/ 770875 w 1308100"/>
              <a:gd name="connsiteY116" fmla="*/ 346075 h 998538"/>
              <a:gd name="connsiteX117" fmla="*/ 785813 w 1308100"/>
              <a:gd name="connsiteY117" fmla="*/ 361157 h 998538"/>
              <a:gd name="connsiteX118" fmla="*/ 770875 w 1308100"/>
              <a:gd name="connsiteY118" fmla="*/ 376238 h 998538"/>
              <a:gd name="connsiteX119" fmla="*/ 541113 w 1308100"/>
              <a:gd name="connsiteY119" fmla="*/ 376238 h 998538"/>
              <a:gd name="connsiteX120" fmla="*/ 525463 w 1308100"/>
              <a:gd name="connsiteY120" fmla="*/ 361157 h 998538"/>
              <a:gd name="connsiteX121" fmla="*/ 541113 w 1308100"/>
              <a:gd name="connsiteY121" fmla="*/ 346075 h 998538"/>
              <a:gd name="connsiteX122" fmla="*/ 107787 w 1308100"/>
              <a:gd name="connsiteY122" fmla="*/ 346075 h 998538"/>
              <a:gd name="connsiteX123" fmla="*/ 339889 w 1308100"/>
              <a:gd name="connsiteY123" fmla="*/ 346075 h 998538"/>
              <a:gd name="connsiteX124" fmla="*/ 355600 w 1308100"/>
              <a:gd name="connsiteY124" fmla="*/ 361157 h 998538"/>
              <a:gd name="connsiteX125" fmla="*/ 339889 w 1308100"/>
              <a:gd name="connsiteY125" fmla="*/ 376238 h 998538"/>
              <a:gd name="connsiteX126" fmla="*/ 107787 w 1308100"/>
              <a:gd name="connsiteY126" fmla="*/ 376238 h 998538"/>
              <a:gd name="connsiteX127" fmla="*/ 92075 w 1308100"/>
              <a:gd name="connsiteY127" fmla="*/ 361157 h 998538"/>
              <a:gd name="connsiteX128" fmla="*/ 107787 w 1308100"/>
              <a:gd name="connsiteY128" fmla="*/ 346075 h 998538"/>
              <a:gd name="connsiteX129" fmla="*/ 887413 w 1308100"/>
              <a:gd name="connsiteY129" fmla="*/ 273050 h 998538"/>
              <a:gd name="connsiteX130" fmla="*/ 887413 w 1308100"/>
              <a:gd name="connsiteY130" fmla="*/ 431800 h 998538"/>
              <a:gd name="connsiteX131" fmla="*/ 1276351 w 1308100"/>
              <a:gd name="connsiteY131" fmla="*/ 431800 h 998538"/>
              <a:gd name="connsiteX132" fmla="*/ 1276351 w 1308100"/>
              <a:gd name="connsiteY132" fmla="*/ 273050 h 998538"/>
              <a:gd name="connsiteX133" fmla="*/ 887413 w 1308100"/>
              <a:gd name="connsiteY133" fmla="*/ 273050 h 998538"/>
              <a:gd name="connsiteX134" fmla="*/ 450850 w 1308100"/>
              <a:gd name="connsiteY134" fmla="*/ 273050 h 998538"/>
              <a:gd name="connsiteX135" fmla="*/ 450850 w 1308100"/>
              <a:gd name="connsiteY135" fmla="*/ 431800 h 998538"/>
              <a:gd name="connsiteX136" fmla="*/ 855663 w 1308100"/>
              <a:gd name="connsiteY136" fmla="*/ 431800 h 998538"/>
              <a:gd name="connsiteX137" fmla="*/ 855663 w 1308100"/>
              <a:gd name="connsiteY137" fmla="*/ 273050 h 998538"/>
              <a:gd name="connsiteX138" fmla="*/ 450850 w 1308100"/>
              <a:gd name="connsiteY138" fmla="*/ 273050 h 998538"/>
              <a:gd name="connsiteX139" fmla="*/ 30163 w 1308100"/>
              <a:gd name="connsiteY139" fmla="*/ 273050 h 998538"/>
              <a:gd name="connsiteX140" fmla="*/ 30163 w 1308100"/>
              <a:gd name="connsiteY140" fmla="*/ 431800 h 998538"/>
              <a:gd name="connsiteX141" fmla="*/ 419101 w 1308100"/>
              <a:gd name="connsiteY141" fmla="*/ 431800 h 998538"/>
              <a:gd name="connsiteX142" fmla="*/ 419101 w 1308100"/>
              <a:gd name="connsiteY142" fmla="*/ 273050 h 998538"/>
              <a:gd name="connsiteX143" fmla="*/ 30163 w 1308100"/>
              <a:gd name="connsiteY143" fmla="*/ 273050 h 998538"/>
              <a:gd name="connsiteX144" fmla="*/ 889000 w 1308100"/>
              <a:gd name="connsiteY144" fmla="*/ 63500 h 998538"/>
              <a:gd name="connsiteX145" fmla="*/ 1247775 w 1308100"/>
              <a:gd name="connsiteY145" fmla="*/ 63500 h 998538"/>
              <a:gd name="connsiteX146" fmla="*/ 1247775 w 1308100"/>
              <a:gd name="connsiteY146" fmla="*/ 211138 h 998538"/>
              <a:gd name="connsiteX147" fmla="*/ 889000 w 1308100"/>
              <a:gd name="connsiteY147" fmla="*/ 211138 h 998538"/>
              <a:gd name="connsiteX148" fmla="*/ 889000 w 1308100"/>
              <a:gd name="connsiteY148" fmla="*/ 96838 h 998538"/>
              <a:gd name="connsiteX149" fmla="*/ 454025 w 1308100"/>
              <a:gd name="connsiteY149" fmla="*/ 63500 h 998538"/>
              <a:gd name="connsiteX150" fmla="*/ 857250 w 1308100"/>
              <a:gd name="connsiteY150" fmla="*/ 63500 h 998538"/>
              <a:gd name="connsiteX151" fmla="*/ 857250 w 1308100"/>
              <a:gd name="connsiteY151" fmla="*/ 96838 h 998538"/>
              <a:gd name="connsiteX152" fmla="*/ 857250 w 1308100"/>
              <a:gd name="connsiteY152" fmla="*/ 211138 h 998538"/>
              <a:gd name="connsiteX153" fmla="*/ 454025 w 1308100"/>
              <a:gd name="connsiteY153" fmla="*/ 211138 h 998538"/>
              <a:gd name="connsiteX154" fmla="*/ 454025 w 1308100"/>
              <a:gd name="connsiteY154" fmla="*/ 96838 h 998538"/>
              <a:gd name="connsiteX155" fmla="*/ 63500 w 1308100"/>
              <a:gd name="connsiteY155" fmla="*/ 63500 h 998538"/>
              <a:gd name="connsiteX156" fmla="*/ 420688 w 1308100"/>
              <a:gd name="connsiteY156" fmla="*/ 63500 h 998538"/>
              <a:gd name="connsiteX157" fmla="*/ 420688 w 1308100"/>
              <a:gd name="connsiteY157" fmla="*/ 96838 h 998538"/>
              <a:gd name="connsiteX158" fmla="*/ 420688 w 1308100"/>
              <a:gd name="connsiteY158" fmla="*/ 211138 h 998538"/>
              <a:gd name="connsiteX159" fmla="*/ 63500 w 1308100"/>
              <a:gd name="connsiteY159" fmla="*/ 211138 h 998538"/>
              <a:gd name="connsiteX160" fmla="*/ 31750 w 1308100"/>
              <a:gd name="connsiteY160" fmla="*/ 31750 h 998538"/>
              <a:gd name="connsiteX161" fmla="*/ 31750 w 1308100"/>
              <a:gd name="connsiteY161" fmla="*/ 241300 h 998538"/>
              <a:gd name="connsiteX162" fmla="*/ 419213 w 1308100"/>
              <a:gd name="connsiteY162" fmla="*/ 241300 h 998538"/>
              <a:gd name="connsiteX163" fmla="*/ 450668 w 1308100"/>
              <a:gd name="connsiteY163" fmla="*/ 241300 h 998538"/>
              <a:gd name="connsiteX164" fmla="*/ 856003 w 1308100"/>
              <a:gd name="connsiteY164" fmla="*/ 241300 h 998538"/>
              <a:gd name="connsiteX165" fmla="*/ 887457 w 1308100"/>
              <a:gd name="connsiteY165" fmla="*/ 241300 h 998538"/>
              <a:gd name="connsiteX166" fmla="*/ 1276350 w 1308100"/>
              <a:gd name="connsiteY166" fmla="*/ 241300 h 998538"/>
              <a:gd name="connsiteX167" fmla="*/ 1276350 w 1308100"/>
              <a:gd name="connsiteY167" fmla="*/ 31750 h 998538"/>
              <a:gd name="connsiteX168" fmla="*/ 887457 w 1308100"/>
              <a:gd name="connsiteY168" fmla="*/ 31750 h 998538"/>
              <a:gd name="connsiteX169" fmla="*/ 856003 w 1308100"/>
              <a:gd name="connsiteY169" fmla="*/ 31750 h 998538"/>
              <a:gd name="connsiteX170" fmla="*/ 450668 w 1308100"/>
              <a:gd name="connsiteY170" fmla="*/ 31750 h 998538"/>
              <a:gd name="connsiteX171" fmla="*/ 419213 w 1308100"/>
              <a:gd name="connsiteY171" fmla="*/ 31750 h 998538"/>
              <a:gd name="connsiteX172" fmla="*/ 31750 w 1308100"/>
              <a:gd name="connsiteY172" fmla="*/ 31750 h 998538"/>
              <a:gd name="connsiteX173" fmla="*/ 16441 w 1308100"/>
              <a:gd name="connsiteY173" fmla="*/ 0 h 998538"/>
              <a:gd name="connsiteX174" fmla="*/ 1292374 w 1308100"/>
              <a:gd name="connsiteY174" fmla="*/ 0 h 998538"/>
              <a:gd name="connsiteX175" fmla="*/ 1308100 w 1308100"/>
              <a:gd name="connsiteY175" fmla="*/ 15748 h 998538"/>
              <a:gd name="connsiteX176" fmla="*/ 1308100 w 1308100"/>
              <a:gd name="connsiteY176" fmla="*/ 256972 h 998538"/>
              <a:gd name="connsiteX177" fmla="*/ 1307385 w 1308100"/>
              <a:gd name="connsiteY177" fmla="*/ 261266 h 998538"/>
              <a:gd name="connsiteX178" fmla="*/ 1307385 w 1308100"/>
              <a:gd name="connsiteY178" fmla="*/ 967043 h 998538"/>
              <a:gd name="connsiteX179" fmla="*/ 1276649 w 1308100"/>
              <a:gd name="connsiteY179" fmla="*/ 998538 h 998538"/>
              <a:gd name="connsiteX180" fmla="*/ 887793 w 1308100"/>
              <a:gd name="connsiteY180" fmla="*/ 998538 h 998538"/>
              <a:gd name="connsiteX181" fmla="*/ 856341 w 1308100"/>
              <a:gd name="connsiteY181" fmla="*/ 998538 h 998538"/>
              <a:gd name="connsiteX182" fmla="*/ 451045 w 1308100"/>
              <a:gd name="connsiteY182" fmla="*/ 998538 h 998538"/>
              <a:gd name="connsiteX183" fmla="*/ 419593 w 1308100"/>
              <a:gd name="connsiteY183" fmla="*/ 998538 h 998538"/>
              <a:gd name="connsiteX184" fmla="*/ 30737 w 1308100"/>
              <a:gd name="connsiteY184" fmla="*/ 998538 h 998538"/>
              <a:gd name="connsiteX185" fmla="*/ 0 w 1308100"/>
              <a:gd name="connsiteY185" fmla="*/ 967043 h 998538"/>
              <a:gd name="connsiteX186" fmla="*/ 0 w 1308100"/>
              <a:gd name="connsiteY186" fmla="*/ 95917 h 998538"/>
              <a:gd name="connsiteX187" fmla="*/ 715 w 1308100"/>
              <a:gd name="connsiteY187" fmla="*/ 90906 h 998538"/>
              <a:gd name="connsiteX188" fmla="*/ 715 w 1308100"/>
              <a:gd name="connsiteY188" fmla="*/ 15748 h 998538"/>
              <a:gd name="connsiteX189" fmla="*/ 16441 w 1308100"/>
              <a:gd name="connsiteY189" fmla="*/ 0 h 99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08100" h="998538">
                <a:moveTo>
                  <a:pt x="971387" y="862012"/>
                </a:moveTo>
                <a:cubicBezTo>
                  <a:pt x="971387" y="862012"/>
                  <a:pt x="971387" y="862012"/>
                  <a:pt x="1203489" y="862012"/>
                </a:cubicBezTo>
                <a:cubicBezTo>
                  <a:pt x="1212059" y="862012"/>
                  <a:pt x="1219200" y="869421"/>
                  <a:pt x="1219200" y="878311"/>
                </a:cubicBezTo>
                <a:cubicBezTo>
                  <a:pt x="1219200" y="887942"/>
                  <a:pt x="1212059" y="895350"/>
                  <a:pt x="1203489" y="895350"/>
                </a:cubicBezTo>
                <a:cubicBezTo>
                  <a:pt x="1203489" y="895350"/>
                  <a:pt x="1203489" y="895350"/>
                  <a:pt x="971387" y="895350"/>
                </a:cubicBezTo>
                <a:cubicBezTo>
                  <a:pt x="962817" y="895350"/>
                  <a:pt x="955675" y="887942"/>
                  <a:pt x="955675" y="878311"/>
                </a:cubicBezTo>
                <a:cubicBezTo>
                  <a:pt x="955675" y="869421"/>
                  <a:pt x="962817" y="862012"/>
                  <a:pt x="971387" y="862012"/>
                </a:cubicBezTo>
                <a:close/>
                <a:moveTo>
                  <a:pt x="541113" y="862012"/>
                </a:moveTo>
                <a:cubicBezTo>
                  <a:pt x="541113" y="862012"/>
                  <a:pt x="541113" y="862012"/>
                  <a:pt x="770875" y="862012"/>
                </a:cubicBezTo>
                <a:cubicBezTo>
                  <a:pt x="778700" y="862012"/>
                  <a:pt x="785813" y="869421"/>
                  <a:pt x="785813" y="878311"/>
                </a:cubicBezTo>
                <a:cubicBezTo>
                  <a:pt x="785813" y="887942"/>
                  <a:pt x="778700" y="895350"/>
                  <a:pt x="770875" y="895350"/>
                </a:cubicBezTo>
                <a:cubicBezTo>
                  <a:pt x="770875" y="895350"/>
                  <a:pt x="770875" y="895350"/>
                  <a:pt x="541113" y="895350"/>
                </a:cubicBezTo>
                <a:cubicBezTo>
                  <a:pt x="532577" y="895350"/>
                  <a:pt x="525463" y="887942"/>
                  <a:pt x="525463" y="878311"/>
                </a:cubicBezTo>
                <a:cubicBezTo>
                  <a:pt x="525463" y="869421"/>
                  <a:pt x="532577" y="862012"/>
                  <a:pt x="541113" y="862012"/>
                </a:cubicBezTo>
                <a:close/>
                <a:moveTo>
                  <a:pt x="107787" y="862012"/>
                </a:moveTo>
                <a:cubicBezTo>
                  <a:pt x="107787" y="862012"/>
                  <a:pt x="107787" y="862012"/>
                  <a:pt x="339889" y="862012"/>
                </a:cubicBezTo>
                <a:cubicBezTo>
                  <a:pt x="348459" y="862012"/>
                  <a:pt x="355600" y="869421"/>
                  <a:pt x="355600" y="878311"/>
                </a:cubicBezTo>
                <a:cubicBezTo>
                  <a:pt x="355600" y="887942"/>
                  <a:pt x="348459" y="895350"/>
                  <a:pt x="339889" y="895350"/>
                </a:cubicBezTo>
                <a:cubicBezTo>
                  <a:pt x="339889" y="895350"/>
                  <a:pt x="339889" y="895350"/>
                  <a:pt x="107787" y="895350"/>
                </a:cubicBezTo>
                <a:cubicBezTo>
                  <a:pt x="99217" y="895350"/>
                  <a:pt x="92075" y="887942"/>
                  <a:pt x="92075" y="878311"/>
                </a:cubicBezTo>
                <a:cubicBezTo>
                  <a:pt x="92075" y="869421"/>
                  <a:pt x="99217" y="862012"/>
                  <a:pt x="107787" y="862012"/>
                </a:cubicBezTo>
                <a:close/>
                <a:moveTo>
                  <a:pt x="887413" y="809625"/>
                </a:moveTo>
                <a:cubicBezTo>
                  <a:pt x="887413" y="809625"/>
                  <a:pt x="887413" y="809625"/>
                  <a:pt x="887413" y="966788"/>
                </a:cubicBezTo>
                <a:cubicBezTo>
                  <a:pt x="1276351" y="966788"/>
                  <a:pt x="1276351" y="966788"/>
                  <a:pt x="1276351" y="966788"/>
                </a:cubicBezTo>
                <a:cubicBezTo>
                  <a:pt x="1276351" y="911067"/>
                  <a:pt x="1276351" y="858203"/>
                  <a:pt x="1276351" y="809625"/>
                </a:cubicBezTo>
                <a:cubicBezTo>
                  <a:pt x="1276351" y="809625"/>
                  <a:pt x="1276351" y="809625"/>
                  <a:pt x="887413" y="809625"/>
                </a:cubicBezTo>
                <a:close/>
                <a:moveTo>
                  <a:pt x="450850" y="809625"/>
                </a:moveTo>
                <a:cubicBezTo>
                  <a:pt x="450850" y="809625"/>
                  <a:pt x="450850" y="809625"/>
                  <a:pt x="450850" y="966788"/>
                </a:cubicBezTo>
                <a:cubicBezTo>
                  <a:pt x="616488" y="966788"/>
                  <a:pt x="749998" y="966788"/>
                  <a:pt x="855663" y="966788"/>
                </a:cubicBezTo>
                <a:cubicBezTo>
                  <a:pt x="855663" y="966788"/>
                  <a:pt x="855663" y="966788"/>
                  <a:pt x="855663" y="809625"/>
                </a:cubicBezTo>
                <a:cubicBezTo>
                  <a:pt x="855663" y="809625"/>
                  <a:pt x="855663" y="809625"/>
                  <a:pt x="450850" y="809625"/>
                </a:cubicBezTo>
                <a:close/>
                <a:moveTo>
                  <a:pt x="30163" y="809625"/>
                </a:moveTo>
                <a:cubicBezTo>
                  <a:pt x="30163" y="938213"/>
                  <a:pt x="30163" y="966788"/>
                  <a:pt x="30163" y="966788"/>
                </a:cubicBezTo>
                <a:cubicBezTo>
                  <a:pt x="176015" y="966788"/>
                  <a:pt x="305423" y="966788"/>
                  <a:pt x="419101" y="966788"/>
                </a:cubicBezTo>
                <a:cubicBezTo>
                  <a:pt x="419101" y="966788"/>
                  <a:pt x="419101" y="966788"/>
                  <a:pt x="419101" y="809625"/>
                </a:cubicBezTo>
                <a:cubicBezTo>
                  <a:pt x="419101" y="809625"/>
                  <a:pt x="419101" y="809625"/>
                  <a:pt x="30163" y="809625"/>
                </a:cubicBezTo>
                <a:close/>
                <a:moveTo>
                  <a:pt x="971387" y="690562"/>
                </a:moveTo>
                <a:cubicBezTo>
                  <a:pt x="971387" y="690562"/>
                  <a:pt x="971387" y="690562"/>
                  <a:pt x="1203489" y="690562"/>
                </a:cubicBezTo>
                <a:cubicBezTo>
                  <a:pt x="1212059" y="690562"/>
                  <a:pt x="1219200" y="697618"/>
                  <a:pt x="1219200" y="706084"/>
                </a:cubicBezTo>
                <a:cubicBezTo>
                  <a:pt x="1219200" y="714551"/>
                  <a:pt x="1212059" y="722312"/>
                  <a:pt x="1203489" y="722312"/>
                </a:cubicBezTo>
                <a:cubicBezTo>
                  <a:pt x="1203489" y="722312"/>
                  <a:pt x="1203489" y="722312"/>
                  <a:pt x="971387" y="722312"/>
                </a:cubicBezTo>
                <a:cubicBezTo>
                  <a:pt x="962817" y="722312"/>
                  <a:pt x="955675" y="714551"/>
                  <a:pt x="955675" y="706084"/>
                </a:cubicBezTo>
                <a:cubicBezTo>
                  <a:pt x="955675" y="697618"/>
                  <a:pt x="962817" y="690562"/>
                  <a:pt x="971387" y="690562"/>
                </a:cubicBezTo>
                <a:close/>
                <a:moveTo>
                  <a:pt x="541113" y="690562"/>
                </a:moveTo>
                <a:cubicBezTo>
                  <a:pt x="541113" y="690562"/>
                  <a:pt x="541113" y="690562"/>
                  <a:pt x="770875" y="690562"/>
                </a:cubicBezTo>
                <a:cubicBezTo>
                  <a:pt x="778700" y="690562"/>
                  <a:pt x="785813" y="697618"/>
                  <a:pt x="785813" y="706084"/>
                </a:cubicBezTo>
                <a:cubicBezTo>
                  <a:pt x="785813" y="714551"/>
                  <a:pt x="778700" y="722312"/>
                  <a:pt x="770875" y="722312"/>
                </a:cubicBezTo>
                <a:cubicBezTo>
                  <a:pt x="770875" y="722312"/>
                  <a:pt x="770875" y="722312"/>
                  <a:pt x="541113" y="722312"/>
                </a:cubicBezTo>
                <a:cubicBezTo>
                  <a:pt x="532577" y="722312"/>
                  <a:pt x="525463" y="714551"/>
                  <a:pt x="525463" y="706084"/>
                </a:cubicBezTo>
                <a:cubicBezTo>
                  <a:pt x="525463" y="697618"/>
                  <a:pt x="532577" y="690562"/>
                  <a:pt x="541113" y="690562"/>
                </a:cubicBezTo>
                <a:close/>
                <a:moveTo>
                  <a:pt x="107787" y="690562"/>
                </a:moveTo>
                <a:cubicBezTo>
                  <a:pt x="107787" y="690562"/>
                  <a:pt x="107787" y="690562"/>
                  <a:pt x="339889" y="690562"/>
                </a:cubicBezTo>
                <a:cubicBezTo>
                  <a:pt x="348459" y="690562"/>
                  <a:pt x="355600" y="697618"/>
                  <a:pt x="355600" y="706084"/>
                </a:cubicBezTo>
                <a:cubicBezTo>
                  <a:pt x="355600" y="714551"/>
                  <a:pt x="348459" y="722312"/>
                  <a:pt x="339889" y="722312"/>
                </a:cubicBezTo>
                <a:cubicBezTo>
                  <a:pt x="339889" y="722312"/>
                  <a:pt x="339889" y="722312"/>
                  <a:pt x="107787" y="722312"/>
                </a:cubicBezTo>
                <a:cubicBezTo>
                  <a:pt x="99217" y="722312"/>
                  <a:pt x="92075" y="714551"/>
                  <a:pt x="92075" y="706084"/>
                </a:cubicBezTo>
                <a:cubicBezTo>
                  <a:pt x="92075" y="697618"/>
                  <a:pt x="99217" y="690562"/>
                  <a:pt x="107787" y="690562"/>
                </a:cubicBezTo>
                <a:close/>
                <a:moveTo>
                  <a:pt x="887413" y="636587"/>
                </a:moveTo>
                <a:cubicBezTo>
                  <a:pt x="887413" y="636587"/>
                  <a:pt x="887413" y="636587"/>
                  <a:pt x="887413" y="777875"/>
                </a:cubicBezTo>
                <a:cubicBezTo>
                  <a:pt x="887413" y="777875"/>
                  <a:pt x="887413" y="777875"/>
                  <a:pt x="1276351" y="777875"/>
                </a:cubicBezTo>
                <a:cubicBezTo>
                  <a:pt x="1276351" y="727211"/>
                  <a:pt x="1276351" y="680115"/>
                  <a:pt x="1276351" y="636587"/>
                </a:cubicBezTo>
                <a:cubicBezTo>
                  <a:pt x="1276351" y="636587"/>
                  <a:pt x="1276351" y="636587"/>
                  <a:pt x="887413" y="636587"/>
                </a:cubicBezTo>
                <a:close/>
                <a:moveTo>
                  <a:pt x="450850" y="636587"/>
                </a:moveTo>
                <a:cubicBezTo>
                  <a:pt x="450850" y="636587"/>
                  <a:pt x="450850" y="636587"/>
                  <a:pt x="450850" y="777875"/>
                </a:cubicBezTo>
                <a:cubicBezTo>
                  <a:pt x="450850" y="777875"/>
                  <a:pt x="450850" y="777875"/>
                  <a:pt x="855663" y="777875"/>
                </a:cubicBezTo>
                <a:cubicBezTo>
                  <a:pt x="855663" y="777875"/>
                  <a:pt x="855663" y="777875"/>
                  <a:pt x="855663" y="636587"/>
                </a:cubicBezTo>
                <a:cubicBezTo>
                  <a:pt x="855663" y="636587"/>
                  <a:pt x="855663" y="636587"/>
                  <a:pt x="450850" y="636587"/>
                </a:cubicBezTo>
                <a:close/>
                <a:moveTo>
                  <a:pt x="30163" y="636587"/>
                </a:moveTo>
                <a:cubicBezTo>
                  <a:pt x="30163" y="692246"/>
                  <a:pt x="30163" y="738628"/>
                  <a:pt x="30163" y="777875"/>
                </a:cubicBezTo>
                <a:cubicBezTo>
                  <a:pt x="30163" y="777875"/>
                  <a:pt x="30163" y="777875"/>
                  <a:pt x="419101" y="777875"/>
                </a:cubicBezTo>
                <a:cubicBezTo>
                  <a:pt x="419101" y="777875"/>
                  <a:pt x="419101" y="777875"/>
                  <a:pt x="419101" y="636587"/>
                </a:cubicBezTo>
                <a:cubicBezTo>
                  <a:pt x="419101" y="636587"/>
                  <a:pt x="419101" y="636587"/>
                  <a:pt x="30163" y="636587"/>
                </a:cubicBezTo>
                <a:close/>
                <a:moveTo>
                  <a:pt x="971387" y="517525"/>
                </a:moveTo>
                <a:cubicBezTo>
                  <a:pt x="971387" y="517525"/>
                  <a:pt x="971387" y="517525"/>
                  <a:pt x="1203489" y="517525"/>
                </a:cubicBezTo>
                <a:cubicBezTo>
                  <a:pt x="1212059" y="517525"/>
                  <a:pt x="1219200" y="524741"/>
                  <a:pt x="1219200" y="533400"/>
                </a:cubicBezTo>
                <a:cubicBezTo>
                  <a:pt x="1219200" y="542059"/>
                  <a:pt x="1212059" y="549275"/>
                  <a:pt x="1203489" y="549275"/>
                </a:cubicBezTo>
                <a:cubicBezTo>
                  <a:pt x="1203489" y="549275"/>
                  <a:pt x="1203489" y="549275"/>
                  <a:pt x="971387" y="549275"/>
                </a:cubicBezTo>
                <a:cubicBezTo>
                  <a:pt x="962817" y="549275"/>
                  <a:pt x="955675" y="542059"/>
                  <a:pt x="955675" y="533400"/>
                </a:cubicBezTo>
                <a:cubicBezTo>
                  <a:pt x="955675" y="524741"/>
                  <a:pt x="962817" y="517525"/>
                  <a:pt x="971387" y="517525"/>
                </a:cubicBezTo>
                <a:close/>
                <a:moveTo>
                  <a:pt x="541113" y="517525"/>
                </a:moveTo>
                <a:cubicBezTo>
                  <a:pt x="541113" y="517525"/>
                  <a:pt x="541113" y="517525"/>
                  <a:pt x="770875" y="517525"/>
                </a:cubicBezTo>
                <a:cubicBezTo>
                  <a:pt x="778700" y="517525"/>
                  <a:pt x="785813" y="524741"/>
                  <a:pt x="785813" y="533400"/>
                </a:cubicBezTo>
                <a:cubicBezTo>
                  <a:pt x="785813" y="542059"/>
                  <a:pt x="778700" y="549275"/>
                  <a:pt x="770875" y="549275"/>
                </a:cubicBezTo>
                <a:cubicBezTo>
                  <a:pt x="770875" y="549275"/>
                  <a:pt x="770875" y="549275"/>
                  <a:pt x="541113" y="549275"/>
                </a:cubicBezTo>
                <a:cubicBezTo>
                  <a:pt x="532577" y="549275"/>
                  <a:pt x="525463" y="542059"/>
                  <a:pt x="525463" y="533400"/>
                </a:cubicBezTo>
                <a:cubicBezTo>
                  <a:pt x="525463" y="524741"/>
                  <a:pt x="532577" y="517525"/>
                  <a:pt x="541113" y="517525"/>
                </a:cubicBezTo>
                <a:close/>
                <a:moveTo>
                  <a:pt x="107787" y="517525"/>
                </a:moveTo>
                <a:cubicBezTo>
                  <a:pt x="107787" y="517525"/>
                  <a:pt x="107787" y="517525"/>
                  <a:pt x="339889" y="517525"/>
                </a:cubicBezTo>
                <a:cubicBezTo>
                  <a:pt x="348459" y="517525"/>
                  <a:pt x="355600" y="524741"/>
                  <a:pt x="355600" y="533400"/>
                </a:cubicBezTo>
                <a:cubicBezTo>
                  <a:pt x="355600" y="542059"/>
                  <a:pt x="348459" y="549275"/>
                  <a:pt x="339889" y="549275"/>
                </a:cubicBezTo>
                <a:cubicBezTo>
                  <a:pt x="339889" y="549275"/>
                  <a:pt x="339889" y="549275"/>
                  <a:pt x="107787" y="549275"/>
                </a:cubicBezTo>
                <a:cubicBezTo>
                  <a:pt x="99217" y="549275"/>
                  <a:pt x="92075" y="542059"/>
                  <a:pt x="92075" y="533400"/>
                </a:cubicBezTo>
                <a:cubicBezTo>
                  <a:pt x="92075" y="524741"/>
                  <a:pt x="99217" y="517525"/>
                  <a:pt x="107787" y="517525"/>
                </a:cubicBezTo>
                <a:close/>
                <a:moveTo>
                  <a:pt x="887413" y="463550"/>
                </a:moveTo>
                <a:cubicBezTo>
                  <a:pt x="887413" y="463550"/>
                  <a:pt x="887413" y="463550"/>
                  <a:pt x="887413" y="604838"/>
                </a:cubicBezTo>
                <a:cubicBezTo>
                  <a:pt x="887413" y="604838"/>
                  <a:pt x="887413" y="604838"/>
                  <a:pt x="1276351" y="604838"/>
                </a:cubicBezTo>
                <a:cubicBezTo>
                  <a:pt x="1276351" y="552483"/>
                  <a:pt x="1276351" y="505865"/>
                  <a:pt x="1276351" y="463550"/>
                </a:cubicBezTo>
                <a:cubicBezTo>
                  <a:pt x="1276351" y="463550"/>
                  <a:pt x="1276351" y="463550"/>
                  <a:pt x="887413" y="463550"/>
                </a:cubicBezTo>
                <a:close/>
                <a:moveTo>
                  <a:pt x="450850" y="463550"/>
                </a:moveTo>
                <a:cubicBezTo>
                  <a:pt x="450850" y="463550"/>
                  <a:pt x="450850" y="463550"/>
                  <a:pt x="450850" y="604838"/>
                </a:cubicBezTo>
                <a:cubicBezTo>
                  <a:pt x="450850" y="604838"/>
                  <a:pt x="450850" y="604838"/>
                  <a:pt x="855663" y="604838"/>
                </a:cubicBezTo>
                <a:cubicBezTo>
                  <a:pt x="855663" y="604838"/>
                  <a:pt x="855663" y="604838"/>
                  <a:pt x="855663" y="463550"/>
                </a:cubicBezTo>
                <a:cubicBezTo>
                  <a:pt x="855663" y="463550"/>
                  <a:pt x="855663" y="463550"/>
                  <a:pt x="450850" y="463550"/>
                </a:cubicBezTo>
                <a:close/>
                <a:moveTo>
                  <a:pt x="30163" y="463550"/>
                </a:moveTo>
                <a:cubicBezTo>
                  <a:pt x="30163" y="515188"/>
                  <a:pt x="30163" y="562523"/>
                  <a:pt x="30163" y="604838"/>
                </a:cubicBezTo>
                <a:cubicBezTo>
                  <a:pt x="30163" y="604838"/>
                  <a:pt x="30163" y="604838"/>
                  <a:pt x="419101" y="604838"/>
                </a:cubicBezTo>
                <a:cubicBezTo>
                  <a:pt x="419101" y="604838"/>
                  <a:pt x="419101" y="604838"/>
                  <a:pt x="419101" y="463550"/>
                </a:cubicBezTo>
                <a:cubicBezTo>
                  <a:pt x="419101" y="463550"/>
                  <a:pt x="419101" y="463550"/>
                  <a:pt x="30163" y="463550"/>
                </a:cubicBezTo>
                <a:close/>
                <a:moveTo>
                  <a:pt x="971387" y="346075"/>
                </a:moveTo>
                <a:cubicBezTo>
                  <a:pt x="971387" y="346075"/>
                  <a:pt x="971387" y="346075"/>
                  <a:pt x="1203489" y="346075"/>
                </a:cubicBezTo>
                <a:cubicBezTo>
                  <a:pt x="1212059" y="346075"/>
                  <a:pt x="1219200" y="352539"/>
                  <a:pt x="1219200" y="361157"/>
                </a:cubicBezTo>
                <a:cubicBezTo>
                  <a:pt x="1219200" y="369056"/>
                  <a:pt x="1212059" y="376238"/>
                  <a:pt x="1203489" y="376238"/>
                </a:cubicBezTo>
                <a:cubicBezTo>
                  <a:pt x="1203489" y="376238"/>
                  <a:pt x="1203489" y="376238"/>
                  <a:pt x="971387" y="376238"/>
                </a:cubicBezTo>
                <a:cubicBezTo>
                  <a:pt x="962817" y="376238"/>
                  <a:pt x="955675" y="369056"/>
                  <a:pt x="955675" y="361157"/>
                </a:cubicBezTo>
                <a:cubicBezTo>
                  <a:pt x="955675" y="352539"/>
                  <a:pt x="962817" y="346075"/>
                  <a:pt x="971387" y="346075"/>
                </a:cubicBezTo>
                <a:close/>
                <a:moveTo>
                  <a:pt x="541113" y="346075"/>
                </a:moveTo>
                <a:cubicBezTo>
                  <a:pt x="541113" y="346075"/>
                  <a:pt x="541113" y="346075"/>
                  <a:pt x="770875" y="346075"/>
                </a:cubicBezTo>
                <a:cubicBezTo>
                  <a:pt x="778700" y="346075"/>
                  <a:pt x="785813" y="352539"/>
                  <a:pt x="785813" y="361157"/>
                </a:cubicBezTo>
                <a:cubicBezTo>
                  <a:pt x="785813" y="369056"/>
                  <a:pt x="778700" y="376238"/>
                  <a:pt x="770875" y="376238"/>
                </a:cubicBezTo>
                <a:cubicBezTo>
                  <a:pt x="770875" y="376238"/>
                  <a:pt x="770875" y="376238"/>
                  <a:pt x="541113" y="376238"/>
                </a:cubicBezTo>
                <a:cubicBezTo>
                  <a:pt x="532577" y="376238"/>
                  <a:pt x="525463" y="369056"/>
                  <a:pt x="525463" y="361157"/>
                </a:cubicBezTo>
                <a:cubicBezTo>
                  <a:pt x="525463" y="352539"/>
                  <a:pt x="532577" y="346075"/>
                  <a:pt x="541113" y="346075"/>
                </a:cubicBezTo>
                <a:close/>
                <a:moveTo>
                  <a:pt x="107787" y="346075"/>
                </a:moveTo>
                <a:cubicBezTo>
                  <a:pt x="107787" y="346075"/>
                  <a:pt x="107787" y="346075"/>
                  <a:pt x="339889" y="346075"/>
                </a:cubicBezTo>
                <a:cubicBezTo>
                  <a:pt x="348459" y="346075"/>
                  <a:pt x="355600" y="352539"/>
                  <a:pt x="355600" y="361157"/>
                </a:cubicBezTo>
                <a:cubicBezTo>
                  <a:pt x="355600" y="369056"/>
                  <a:pt x="348459" y="376238"/>
                  <a:pt x="339889" y="376238"/>
                </a:cubicBezTo>
                <a:cubicBezTo>
                  <a:pt x="339889" y="376238"/>
                  <a:pt x="339889" y="376238"/>
                  <a:pt x="107787" y="376238"/>
                </a:cubicBezTo>
                <a:cubicBezTo>
                  <a:pt x="99217" y="376238"/>
                  <a:pt x="92075" y="369056"/>
                  <a:pt x="92075" y="361157"/>
                </a:cubicBezTo>
                <a:cubicBezTo>
                  <a:pt x="92075" y="352539"/>
                  <a:pt x="99217" y="346075"/>
                  <a:pt x="107787" y="346075"/>
                </a:cubicBezTo>
                <a:close/>
                <a:moveTo>
                  <a:pt x="887413" y="273050"/>
                </a:moveTo>
                <a:cubicBezTo>
                  <a:pt x="887413" y="273050"/>
                  <a:pt x="887413" y="273050"/>
                  <a:pt x="887413" y="431800"/>
                </a:cubicBezTo>
                <a:cubicBezTo>
                  <a:pt x="887413" y="431800"/>
                  <a:pt x="887413" y="431800"/>
                  <a:pt x="1276351" y="431800"/>
                </a:cubicBezTo>
                <a:cubicBezTo>
                  <a:pt x="1276351" y="367442"/>
                  <a:pt x="1276351" y="315240"/>
                  <a:pt x="1276351" y="273050"/>
                </a:cubicBezTo>
                <a:cubicBezTo>
                  <a:pt x="1276351" y="273050"/>
                  <a:pt x="1276351" y="273050"/>
                  <a:pt x="887413" y="273050"/>
                </a:cubicBezTo>
                <a:close/>
                <a:moveTo>
                  <a:pt x="450850" y="273050"/>
                </a:moveTo>
                <a:cubicBezTo>
                  <a:pt x="450850" y="273050"/>
                  <a:pt x="450850" y="273050"/>
                  <a:pt x="450850" y="431800"/>
                </a:cubicBezTo>
                <a:cubicBezTo>
                  <a:pt x="450850" y="431800"/>
                  <a:pt x="450850" y="431800"/>
                  <a:pt x="855663" y="431800"/>
                </a:cubicBezTo>
                <a:cubicBezTo>
                  <a:pt x="855663" y="431800"/>
                  <a:pt x="855663" y="431800"/>
                  <a:pt x="855663" y="273050"/>
                </a:cubicBezTo>
                <a:cubicBezTo>
                  <a:pt x="855663" y="273050"/>
                  <a:pt x="855663" y="273050"/>
                  <a:pt x="450850" y="273050"/>
                </a:cubicBezTo>
                <a:close/>
                <a:moveTo>
                  <a:pt x="30163" y="273050"/>
                </a:moveTo>
                <a:cubicBezTo>
                  <a:pt x="30163" y="330257"/>
                  <a:pt x="30163" y="383174"/>
                  <a:pt x="30163" y="431800"/>
                </a:cubicBezTo>
                <a:cubicBezTo>
                  <a:pt x="30163" y="431800"/>
                  <a:pt x="30163" y="431800"/>
                  <a:pt x="419101" y="431800"/>
                </a:cubicBezTo>
                <a:cubicBezTo>
                  <a:pt x="419101" y="431800"/>
                  <a:pt x="419101" y="431800"/>
                  <a:pt x="419101" y="273050"/>
                </a:cubicBezTo>
                <a:cubicBezTo>
                  <a:pt x="419101" y="273050"/>
                  <a:pt x="419101" y="273050"/>
                  <a:pt x="30163" y="273050"/>
                </a:cubicBezTo>
                <a:close/>
                <a:moveTo>
                  <a:pt x="889000" y="63500"/>
                </a:moveTo>
                <a:lnTo>
                  <a:pt x="1247775" y="63500"/>
                </a:lnTo>
                <a:lnTo>
                  <a:pt x="1247775" y="211138"/>
                </a:lnTo>
                <a:lnTo>
                  <a:pt x="889000" y="211138"/>
                </a:lnTo>
                <a:lnTo>
                  <a:pt x="889000" y="96838"/>
                </a:lnTo>
                <a:close/>
                <a:moveTo>
                  <a:pt x="454025" y="63500"/>
                </a:moveTo>
                <a:lnTo>
                  <a:pt x="857250" y="63500"/>
                </a:lnTo>
                <a:lnTo>
                  <a:pt x="857250" y="96838"/>
                </a:lnTo>
                <a:lnTo>
                  <a:pt x="857250" y="211138"/>
                </a:lnTo>
                <a:lnTo>
                  <a:pt x="454025" y="211138"/>
                </a:lnTo>
                <a:lnTo>
                  <a:pt x="454025" y="96838"/>
                </a:lnTo>
                <a:close/>
                <a:moveTo>
                  <a:pt x="63500" y="63500"/>
                </a:moveTo>
                <a:lnTo>
                  <a:pt x="420688" y="63500"/>
                </a:lnTo>
                <a:lnTo>
                  <a:pt x="420688" y="96838"/>
                </a:lnTo>
                <a:lnTo>
                  <a:pt x="420688" y="211138"/>
                </a:lnTo>
                <a:lnTo>
                  <a:pt x="63500" y="211138"/>
                </a:lnTo>
                <a:close/>
                <a:moveTo>
                  <a:pt x="31750" y="31750"/>
                </a:moveTo>
                <a:cubicBezTo>
                  <a:pt x="31750" y="31750"/>
                  <a:pt x="31750" y="31750"/>
                  <a:pt x="31750" y="241300"/>
                </a:cubicBezTo>
                <a:cubicBezTo>
                  <a:pt x="31750" y="241300"/>
                  <a:pt x="31750" y="241300"/>
                  <a:pt x="419213" y="241300"/>
                </a:cubicBezTo>
                <a:cubicBezTo>
                  <a:pt x="419213" y="241300"/>
                  <a:pt x="419213" y="241300"/>
                  <a:pt x="450668" y="241300"/>
                </a:cubicBezTo>
                <a:cubicBezTo>
                  <a:pt x="450668" y="241300"/>
                  <a:pt x="450668" y="241300"/>
                  <a:pt x="856003" y="241300"/>
                </a:cubicBezTo>
                <a:cubicBezTo>
                  <a:pt x="856003" y="241300"/>
                  <a:pt x="856003" y="241300"/>
                  <a:pt x="887457" y="241300"/>
                </a:cubicBezTo>
                <a:cubicBezTo>
                  <a:pt x="887457" y="241300"/>
                  <a:pt x="887457" y="241300"/>
                  <a:pt x="1276350" y="241300"/>
                </a:cubicBezTo>
                <a:cubicBezTo>
                  <a:pt x="1276350" y="241300"/>
                  <a:pt x="1276350" y="241300"/>
                  <a:pt x="1276350" y="31750"/>
                </a:cubicBezTo>
                <a:cubicBezTo>
                  <a:pt x="1276350" y="31750"/>
                  <a:pt x="1276350" y="31750"/>
                  <a:pt x="887457" y="31750"/>
                </a:cubicBezTo>
                <a:cubicBezTo>
                  <a:pt x="887457" y="31750"/>
                  <a:pt x="887457" y="31750"/>
                  <a:pt x="856003" y="31750"/>
                </a:cubicBezTo>
                <a:cubicBezTo>
                  <a:pt x="856003" y="31750"/>
                  <a:pt x="856003" y="31750"/>
                  <a:pt x="450668" y="31750"/>
                </a:cubicBezTo>
                <a:cubicBezTo>
                  <a:pt x="450668" y="31750"/>
                  <a:pt x="450668" y="31750"/>
                  <a:pt x="419213" y="31750"/>
                </a:cubicBezTo>
                <a:cubicBezTo>
                  <a:pt x="419213" y="31750"/>
                  <a:pt x="419213" y="31750"/>
                  <a:pt x="31750" y="31750"/>
                </a:cubicBezTo>
                <a:close/>
                <a:moveTo>
                  <a:pt x="16441" y="0"/>
                </a:moveTo>
                <a:cubicBezTo>
                  <a:pt x="16441" y="0"/>
                  <a:pt x="16441" y="0"/>
                  <a:pt x="1292374" y="0"/>
                </a:cubicBezTo>
                <a:cubicBezTo>
                  <a:pt x="1300952" y="0"/>
                  <a:pt x="1308100" y="6442"/>
                  <a:pt x="1308100" y="15748"/>
                </a:cubicBezTo>
                <a:cubicBezTo>
                  <a:pt x="1308100" y="15748"/>
                  <a:pt x="1308100" y="15748"/>
                  <a:pt x="1308100" y="256972"/>
                </a:cubicBezTo>
                <a:cubicBezTo>
                  <a:pt x="1308100" y="258403"/>
                  <a:pt x="1308100" y="259835"/>
                  <a:pt x="1307385" y="261266"/>
                </a:cubicBezTo>
                <a:cubicBezTo>
                  <a:pt x="1307385" y="873989"/>
                  <a:pt x="1307385" y="967043"/>
                  <a:pt x="1307385" y="967043"/>
                </a:cubicBezTo>
                <a:cubicBezTo>
                  <a:pt x="1307385" y="984222"/>
                  <a:pt x="1293804" y="998538"/>
                  <a:pt x="1276649" y="998538"/>
                </a:cubicBezTo>
                <a:cubicBezTo>
                  <a:pt x="1130828" y="998538"/>
                  <a:pt x="1001447" y="998538"/>
                  <a:pt x="887793" y="998538"/>
                </a:cubicBezTo>
                <a:cubicBezTo>
                  <a:pt x="887793" y="998538"/>
                  <a:pt x="887793" y="998538"/>
                  <a:pt x="856341" y="998538"/>
                </a:cubicBezTo>
                <a:cubicBezTo>
                  <a:pt x="690505" y="998538"/>
                  <a:pt x="556836" y="998538"/>
                  <a:pt x="451045" y="998538"/>
                </a:cubicBezTo>
                <a:cubicBezTo>
                  <a:pt x="451045" y="998538"/>
                  <a:pt x="451045" y="998538"/>
                  <a:pt x="419593" y="998538"/>
                </a:cubicBezTo>
                <a:cubicBezTo>
                  <a:pt x="30737" y="998538"/>
                  <a:pt x="30737" y="998538"/>
                  <a:pt x="30737" y="998538"/>
                </a:cubicBezTo>
                <a:cubicBezTo>
                  <a:pt x="13582" y="998538"/>
                  <a:pt x="0" y="984222"/>
                  <a:pt x="0" y="967043"/>
                </a:cubicBezTo>
                <a:cubicBezTo>
                  <a:pt x="0" y="204003"/>
                  <a:pt x="0" y="95917"/>
                  <a:pt x="0" y="95917"/>
                </a:cubicBezTo>
                <a:cubicBezTo>
                  <a:pt x="0" y="94485"/>
                  <a:pt x="0" y="93054"/>
                  <a:pt x="715" y="90906"/>
                </a:cubicBezTo>
                <a:cubicBezTo>
                  <a:pt x="715" y="90906"/>
                  <a:pt x="715" y="90906"/>
                  <a:pt x="715" y="15748"/>
                </a:cubicBezTo>
                <a:cubicBezTo>
                  <a:pt x="715" y="6442"/>
                  <a:pt x="7863" y="0"/>
                  <a:pt x="16441" y="0"/>
                </a:cubicBezTo>
                <a:close/>
              </a:path>
            </a:pathLst>
          </a:custGeom>
          <a:solidFill>
            <a:srgbClr val="6E6F73"/>
          </a:solidFill>
          <a:ln w="9525" cap="flat" cmpd="sng" algn="ctr">
            <a:solidFill>
              <a:srgbClr val="9A9A9A"/>
            </a:solidFill>
            <a:prstDash val="solid"/>
            <a:round/>
            <a:headEnd type="none" w="med" len="med"/>
            <a:tailEnd type="none" w="med" len="med"/>
          </a:ln>
        </p:spPr>
        <p:txBody>
          <a:bodyPr vert="horz" wrap="square" lIns="91440" tIns="45720" rIns="91440" bIns="45720" numCol="1" anchor="t" anchorCtr="0" compatLnSpc="1">
            <a:prstTxWarp prst="textNoShape">
              <a:avLst/>
            </a:prstTxWarp>
            <a:noAutofit/>
          </a:bodyPr>
          <a:lstStyle/>
          <a:p>
            <a:endParaRPr lang="en-US" dirty="0"/>
          </a:p>
        </p:txBody>
      </p:sp>
      <p:sp>
        <p:nvSpPr>
          <p:cNvPr id="215" name="AutoShape 3">
            <a:extLst>
              <a:ext uri="{FF2B5EF4-FFF2-40B4-BE49-F238E27FC236}">
                <a16:creationId xmlns:a16="http://schemas.microsoft.com/office/drawing/2014/main" id="{82FE5DA9-0349-4BC3-828A-C23E0C801697}"/>
              </a:ext>
            </a:extLst>
          </p:cNvPr>
          <p:cNvSpPr>
            <a:spLocks noChangeAspect="1" noChangeArrowheads="1" noTextEdit="1"/>
          </p:cNvSpPr>
          <p:nvPr/>
        </p:nvSpPr>
        <p:spPr bwMode="auto">
          <a:xfrm>
            <a:off x="5272088" y="26050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7">
            <a:extLst>
              <a:ext uri="{FF2B5EF4-FFF2-40B4-BE49-F238E27FC236}">
                <a16:creationId xmlns:a16="http://schemas.microsoft.com/office/drawing/2014/main" id="{582FEA34-85C7-44C6-8F96-EE893D81A93A}"/>
              </a:ext>
            </a:extLst>
          </p:cNvPr>
          <p:cNvSpPr>
            <a:spLocks/>
          </p:cNvSpPr>
          <p:nvPr/>
        </p:nvSpPr>
        <p:spPr bwMode="auto">
          <a:xfrm>
            <a:off x="4135975" y="2098616"/>
            <a:ext cx="439977" cy="457201"/>
          </a:xfrm>
          <a:custGeom>
            <a:avLst/>
            <a:gdLst>
              <a:gd name="connsiteX0" fmla="*/ 130931 w 1100137"/>
              <a:gd name="connsiteY0" fmla="*/ 1016000 h 1192212"/>
              <a:gd name="connsiteX1" fmla="*/ 206866 w 1100137"/>
              <a:gd name="connsiteY1" fmla="*/ 1016000 h 1192212"/>
              <a:gd name="connsiteX2" fmla="*/ 222627 w 1100137"/>
              <a:gd name="connsiteY2" fmla="*/ 1016000 h 1192212"/>
              <a:gd name="connsiteX3" fmla="*/ 238387 w 1100137"/>
              <a:gd name="connsiteY3" fmla="*/ 1016000 h 1192212"/>
              <a:gd name="connsiteX4" fmla="*/ 251998 w 1100137"/>
              <a:gd name="connsiteY4" fmla="*/ 1016000 h 1192212"/>
              <a:gd name="connsiteX5" fmla="*/ 556455 w 1100137"/>
              <a:gd name="connsiteY5" fmla="*/ 1016000 h 1192212"/>
              <a:gd name="connsiteX6" fmla="*/ 570066 w 1100137"/>
              <a:gd name="connsiteY6" fmla="*/ 1025119 h 1192212"/>
              <a:gd name="connsiteX7" fmla="*/ 571499 w 1100137"/>
              <a:gd name="connsiteY7" fmla="*/ 1031432 h 1192212"/>
              <a:gd name="connsiteX8" fmla="*/ 571499 w 1100137"/>
              <a:gd name="connsiteY8" fmla="*/ 1032835 h 1192212"/>
              <a:gd name="connsiteX9" fmla="*/ 570783 w 1100137"/>
              <a:gd name="connsiteY9" fmla="*/ 1036342 h 1192212"/>
              <a:gd name="connsiteX10" fmla="*/ 561470 w 1100137"/>
              <a:gd name="connsiteY10" fmla="*/ 1045461 h 1192212"/>
              <a:gd name="connsiteX11" fmla="*/ 560037 w 1100137"/>
              <a:gd name="connsiteY11" fmla="*/ 1046162 h 1192212"/>
              <a:gd name="connsiteX12" fmla="*/ 559321 w 1100137"/>
              <a:gd name="connsiteY12" fmla="*/ 1046162 h 1192212"/>
              <a:gd name="connsiteX13" fmla="*/ 556455 w 1100137"/>
              <a:gd name="connsiteY13" fmla="*/ 1046162 h 1192212"/>
              <a:gd name="connsiteX14" fmla="*/ 222627 w 1100137"/>
              <a:gd name="connsiteY14" fmla="*/ 1046162 h 1192212"/>
              <a:gd name="connsiteX15" fmla="*/ 206866 w 1100137"/>
              <a:gd name="connsiteY15" fmla="*/ 1046162 h 1192212"/>
              <a:gd name="connsiteX16" fmla="*/ 130931 w 1100137"/>
              <a:gd name="connsiteY16" fmla="*/ 1046162 h 1192212"/>
              <a:gd name="connsiteX17" fmla="*/ 130215 w 1100137"/>
              <a:gd name="connsiteY17" fmla="*/ 1046162 h 1192212"/>
              <a:gd name="connsiteX18" fmla="*/ 115887 w 1100137"/>
              <a:gd name="connsiteY18" fmla="*/ 1031432 h 1192212"/>
              <a:gd name="connsiteX19" fmla="*/ 130931 w 1100137"/>
              <a:gd name="connsiteY19" fmla="*/ 1016000 h 1192212"/>
              <a:gd name="connsiteX20" fmla="*/ 130931 w 1100137"/>
              <a:gd name="connsiteY20" fmla="*/ 912812 h 1192212"/>
              <a:gd name="connsiteX21" fmla="*/ 206866 w 1100137"/>
              <a:gd name="connsiteY21" fmla="*/ 912812 h 1192212"/>
              <a:gd name="connsiteX22" fmla="*/ 222627 w 1100137"/>
              <a:gd name="connsiteY22" fmla="*/ 912812 h 1192212"/>
              <a:gd name="connsiteX23" fmla="*/ 238387 w 1100137"/>
              <a:gd name="connsiteY23" fmla="*/ 912812 h 1192212"/>
              <a:gd name="connsiteX24" fmla="*/ 251998 w 1100137"/>
              <a:gd name="connsiteY24" fmla="*/ 912812 h 1192212"/>
              <a:gd name="connsiteX25" fmla="*/ 267758 w 1100137"/>
              <a:gd name="connsiteY25" fmla="*/ 912812 h 1192212"/>
              <a:gd name="connsiteX26" fmla="*/ 283518 w 1100137"/>
              <a:gd name="connsiteY26" fmla="*/ 912812 h 1192212"/>
              <a:gd name="connsiteX27" fmla="*/ 325068 w 1100137"/>
              <a:gd name="connsiteY27" fmla="*/ 912812 h 1192212"/>
              <a:gd name="connsiteX28" fmla="*/ 382377 w 1100137"/>
              <a:gd name="connsiteY28" fmla="*/ 912812 h 1192212"/>
              <a:gd name="connsiteX29" fmla="*/ 398137 w 1100137"/>
              <a:gd name="connsiteY29" fmla="*/ 912812 h 1192212"/>
              <a:gd name="connsiteX30" fmla="*/ 413898 w 1100137"/>
              <a:gd name="connsiteY30" fmla="*/ 912812 h 1192212"/>
              <a:gd name="connsiteX31" fmla="*/ 429658 w 1100137"/>
              <a:gd name="connsiteY31" fmla="*/ 912812 h 1192212"/>
              <a:gd name="connsiteX32" fmla="*/ 556455 w 1100137"/>
              <a:gd name="connsiteY32" fmla="*/ 912812 h 1192212"/>
              <a:gd name="connsiteX33" fmla="*/ 566485 w 1100137"/>
              <a:gd name="connsiteY33" fmla="*/ 917142 h 1192212"/>
              <a:gd name="connsiteX34" fmla="*/ 567917 w 1100137"/>
              <a:gd name="connsiteY34" fmla="*/ 918585 h 1192212"/>
              <a:gd name="connsiteX35" fmla="*/ 570066 w 1100137"/>
              <a:gd name="connsiteY35" fmla="*/ 921471 h 1192212"/>
              <a:gd name="connsiteX36" fmla="*/ 571499 w 1100137"/>
              <a:gd name="connsiteY36" fmla="*/ 927244 h 1192212"/>
              <a:gd name="connsiteX37" fmla="*/ 571499 w 1100137"/>
              <a:gd name="connsiteY37" fmla="*/ 928687 h 1192212"/>
              <a:gd name="connsiteX38" fmla="*/ 571499 w 1100137"/>
              <a:gd name="connsiteY38" fmla="*/ 931573 h 1192212"/>
              <a:gd name="connsiteX39" fmla="*/ 570783 w 1100137"/>
              <a:gd name="connsiteY39" fmla="*/ 933017 h 1192212"/>
              <a:gd name="connsiteX40" fmla="*/ 570783 w 1100137"/>
              <a:gd name="connsiteY40" fmla="*/ 933738 h 1192212"/>
              <a:gd name="connsiteX41" fmla="*/ 563619 w 1100137"/>
              <a:gd name="connsiteY41" fmla="*/ 943119 h 1192212"/>
              <a:gd name="connsiteX42" fmla="*/ 561470 w 1100137"/>
              <a:gd name="connsiteY42" fmla="*/ 943841 h 1192212"/>
              <a:gd name="connsiteX43" fmla="*/ 560754 w 1100137"/>
              <a:gd name="connsiteY43" fmla="*/ 943841 h 1192212"/>
              <a:gd name="connsiteX44" fmla="*/ 559321 w 1100137"/>
              <a:gd name="connsiteY44" fmla="*/ 944562 h 1192212"/>
              <a:gd name="connsiteX45" fmla="*/ 556455 w 1100137"/>
              <a:gd name="connsiteY45" fmla="*/ 944562 h 1192212"/>
              <a:gd name="connsiteX46" fmla="*/ 403868 w 1100137"/>
              <a:gd name="connsiteY46" fmla="*/ 944562 h 1192212"/>
              <a:gd name="connsiteX47" fmla="*/ 385959 w 1100137"/>
              <a:gd name="connsiteY47" fmla="*/ 944562 h 1192212"/>
              <a:gd name="connsiteX48" fmla="*/ 283518 w 1100137"/>
              <a:gd name="connsiteY48" fmla="*/ 944562 h 1192212"/>
              <a:gd name="connsiteX49" fmla="*/ 267758 w 1100137"/>
              <a:gd name="connsiteY49" fmla="*/ 944562 h 1192212"/>
              <a:gd name="connsiteX50" fmla="*/ 251998 w 1100137"/>
              <a:gd name="connsiteY50" fmla="*/ 944562 h 1192212"/>
              <a:gd name="connsiteX51" fmla="*/ 238387 w 1100137"/>
              <a:gd name="connsiteY51" fmla="*/ 944562 h 1192212"/>
              <a:gd name="connsiteX52" fmla="*/ 222627 w 1100137"/>
              <a:gd name="connsiteY52" fmla="*/ 944562 h 1192212"/>
              <a:gd name="connsiteX53" fmla="*/ 206866 w 1100137"/>
              <a:gd name="connsiteY53" fmla="*/ 944562 h 1192212"/>
              <a:gd name="connsiteX54" fmla="*/ 130931 w 1100137"/>
              <a:gd name="connsiteY54" fmla="*/ 944562 h 1192212"/>
              <a:gd name="connsiteX55" fmla="*/ 115887 w 1100137"/>
              <a:gd name="connsiteY55" fmla="*/ 928687 h 1192212"/>
              <a:gd name="connsiteX56" fmla="*/ 130931 w 1100137"/>
              <a:gd name="connsiteY56" fmla="*/ 912812 h 1192212"/>
              <a:gd name="connsiteX57" fmla="*/ 717550 w 1100137"/>
              <a:gd name="connsiteY57" fmla="*/ 890587 h 1192212"/>
              <a:gd name="connsiteX58" fmla="*/ 762794 w 1100137"/>
              <a:gd name="connsiteY58" fmla="*/ 890587 h 1192212"/>
              <a:gd name="connsiteX59" fmla="*/ 776439 w 1100137"/>
              <a:gd name="connsiteY59" fmla="*/ 899706 h 1192212"/>
              <a:gd name="connsiteX60" fmla="*/ 777875 w 1100137"/>
              <a:gd name="connsiteY60" fmla="*/ 906019 h 1192212"/>
              <a:gd name="connsiteX61" fmla="*/ 777157 w 1100137"/>
              <a:gd name="connsiteY61" fmla="*/ 910929 h 1192212"/>
              <a:gd name="connsiteX62" fmla="*/ 762794 w 1100137"/>
              <a:gd name="connsiteY62" fmla="*/ 920749 h 1192212"/>
              <a:gd name="connsiteX63" fmla="*/ 717550 w 1100137"/>
              <a:gd name="connsiteY63" fmla="*/ 920749 h 1192212"/>
              <a:gd name="connsiteX64" fmla="*/ 717550 w 1100137"/>
              <a:gd name="connsiteY64" fmla="*/ 910929 h 1192212"/>
              <a:gd name="connsiteX65" fmla="*/ 717550 w 1100137"/>
              <a:gd name="connsiteY65" fmla="*/ 899706 h 1192212"/>
              <a:gd name="connsiteX66" fmla="*/ 717550 w 1100137"/>
              <a:gd name="connsiteY66" fmla="*/ 890587 h 1192212"/>
              <a:gd name="connsiteX67" fmla="*/ 130931 w 1100137"/>
              <a:gd name="connsiteY67" fmla="*/ 811212 h 1192212"/>
              <a:gd name="connsiteX68" fmla="*/ 206866 w 1100137"/>
              <a:gd name="connsiteY68" fmla="*/ 811212 h 1192212"/>
              <a:gd name="connsiteX69" fmla="*/ 222627 w 1100137"/>
              <a:gd name="connsiteY69" fmla="*/ 811212 h 1192212"/>
              <a:gd name="connsiteX70" fmla="*/ 238387 w 1100137"/>
              <a:gd name="connsiteY70" fmla="*/ 811212 h 1192212"/>
              <a:gd name="connsiteX71" fmla="*/ 251998 w 1100137"/>
              <a:gd name="connsiteY71" fmla="*/ 811212 h 1192212"/>
              <a:gd name="connsiteX72" fmla="*/ 267758 w 1100137"/>
              <a:gd name="connsiteY72" fmla="*/ 811212 h 1192212"/>
              <a:gd name="connsiteX73" fmla="*/ 283518 w 1100137"/>
              <a:gd name="connsiteY73" fmla="*/ 811212 h 1192212"/>
              <a:gd name="connsiteX74" fmla="*/ 325068 w 1100137"/>
              <a:gd name="connsiteY74" fmla="*/ 811212 h 1192212"/>
              <a:gd name="connsiteX75" fmla="*/ 382377 w 1100137"/>
              <a:gd name="connsiteY75" fmla="*/ 811212 h 1192212"/>
              <a:gd name="connsiteX76" fmla="*/ 398137 w 1100137"/>
              <a:gd name="connsiteY76" fmla="*/ 811212 h 1192212"/>
              <a:gd name="connsiteX77" fmla="*/ 413898 w 1100137"/>
              <a:gd name="connsiteY77" fmla="*/ 811212 h 1192212"/>
              <a:gd name="connsiteX78" fmla="*/ 429658 w 1100137"/>
              <a:gd name="connsiteY78" fmla="*/ 811212 h 1192212"/>
              <a:gd name="connsiteX79" fmla="*/ 445418 w 1100137"/>
              <a:gd name="connsiteY79" fmla="*/ 811212 h 1192212"/>
              <a:gd name="connsiteX80" fmla="*/ 459029 w 1100137"/>
              <a:gd name="connsiteY80" fmla="*/ 811212 h 1192212"/>
              <a:gd name="connsiteX81" fmla="*/ 474789 w 1100137"/>
              <a:gd name="connsiteY81" fmla="*/ 811212 h 1192212"/>
              <a:gd name="connsiteX82" fmla="*/ 490549 w 1100137"/>
              <a:gd name="connsiteY82" fmla="*/ 811212 h 1192212"/>
              <a:gd name="connsiteX83" fmla="*/ 556455 w 1100137"/>
              <a:gd name="connsiteY83" fmla="*/ 811212 h 1192212"/>
              <a:gd name="connsiteX84" fmla="*/ 570066 w 1100137"/>
              <a:gd name="connsiteY84" fmla="*/ 819629 h 1192212"/>
              <a:gd name="connsiteX85" fmla="*/ 571499 w 1100137"/>
              <a:gd name="connsiteY85" fmla="*/ 826644 h 1192212"/>
              <a:gd name="connsiteX86" fmla="*/ 556455 w 1100137"/>
              <a:gd name="connsiteY86" fmla="*/ 841374 h 1192212"/>
              <a:gd name="connsiteX87" fmla="*/ 490549 w 1100137"/>
              <a:gd name="connsiteY87" fmla="*/ 841374 h 1192212"/>
              <a:gd name="connsiteX88" fmla="*/ 474789 w 1100137"/>
              <a:gd name="connsiteY88" fmla="*/ 841374 h 1192212"/>
              <a:gd name="connsiteX89" fmla="*/ 459029 w 1100137"/>
              <a:gd name="connsiteY89" fmla="*/ 841374 h 1192212"/>
              <a:gd name="connsiteX90" fmla="*/ 445418 w 1100137"/>
              <a:gd name="connsiteY90" fmla="*/ 841374 h 1192212"/>
              <a:gd name="connsiteX91" fmla="*/ 429658 w 1100137"/>
              <a:gd name="connsiteY91" fmla="*/ 841374 h 1192212"/>
              <a:gd name="connsiteX92" fmla="*/ 413898 w 1100137"/>
              <a:gd name="connsiteY92" fmla="*/ 841374 h 1192212"/>
              <a:gd name="connsiteX93" fmla="*/ 398137 w 1100137"/>
              <a:gd name="connsiteY93" fmla="*/ 841374 h 1192212"/>
              <a:gd name="connsiteX94" fmla="*/ 382377 w 1100137"/>
              <a:gd name="connsiteY94" fmla="*/ 841374 h 1192212"/>
              <a:gd name="connsiteX95" fmla="*/ 283518 w 1100137"/>
              <a:gd name="connsiteY95" fmla="*/ 841374 h 1192212"/>
              <a:gd name="connsiteX96" fmla="*/ 267758 w 1100137"/>
              <a:gd name="connsiteY96" fmla="*/ 841374 h 1192212"/>
              <a:gd name="connsiteX97" fmla="*/ 251998 w 1100137"/>
              <a:gd name="connsiteY97" fmla="*/ 841374 h 1192212"/>
              <a:gd name="connsiteX98" fmla="*/ 238387 w 1100137"/>
              <a:gd name="connsiteY98" fmla="*/ 841374 h 1192212"/>
              <a:gd name="connsiteX99" fmla="*/ 222627 w 1100137"/>
              <a:gd name="connsiteY99" fmla="*/ 841374 h 1192212"/>
              <a:gd name="connsiteX100" fmla="*/ 206866 w 1100137"/>
              <a:gd name="connsiteY100" fmla="*/ 841374 h 1192212"/>
              <a:gd name="connsiteX101" fmla="*/ 130931 w 1100137"/>
              <a:gd name="connsiteY101" fmla="*/ 841374 h 1192212"/>
              <a:gd name="connsiteX102" fmla="*/ 115887 w 1100137"/>
              <a:gd name="connsiteY102" fmla="*/ 826644 h 1192212"/>
              <a:gd name="connsiteX103" fmla="*/ 130931 w 1100137"/>
              <a:gd name="connsiteY103" fmla="*/ 811212 h 1192212"/>
              <a:gd name="connsiteX104" fmla="*/ 717550 w 1100137"/>
              <a:gd name="connsiteY104" fmla="*/ 787400 h 1192212"/>
              <a:gd name="connsiteX105" fmla="*/ 762794 w 1100137"/>
              <a:gd name="connsiteY105" fmla="*/ 787400 h 1192212"/>
              <a:gd name="connsiteX106" fmla="*/ 776439 w 1100137"/>
              <a:gd name="connsiteY106" fmla="*/ 796059 h 1192212"/>
              <a:gd name="connsiteX107" fmla="*/ 777875 w 1100137"/>
              <a:gd name="connsiteY107" fmla="*/ 803275 h 1192212"/>
              <a:gd name="connsiteX108" fmla="*/ 762794 w 1100137"/>
              <a:gd name="connsiteY108" fmla="*/ 819150 h 1192212"/>
              <a:gd name="connsiteX109" fmla="*/ 717550 w 1100137"/>
              <a:gd name="connsiteY109" fmla="*/ 819150 h 1192212"/>
              <a:gd name="connsiteX110" fmla="*/ 717550 w 1100137"/>
              <a:gd name="connsiteY110" fmla="*/ 796059 h 1192212"/>
              <a:gd name="connsiteX111" fmla="*/ 717550 w 1100137"/>
              <a:gd name="connsiteY111" fmla="*/ 787400 h 1192212"/>
              <a:gd name="connsiteX112" fmla="*/ 923925 w 1100137"/>
              <a:gd name="connsiteY112" fmla="*/ 765175 h 1192212"/>
              <a:gd name="connsiteX113" fmla="*/ 969813 w 1100137"/>
              <a:gd name="connsiteY113" fmla="*/ 765175 h 1192212"/>
              <a:gd name="connsiteX114" fmla="*/ 985837 w 1100137"/>
              <a:gd name="connsiteY114" fmla="*/ 780681 h 1192212"/>
              <a:gd name="connsiteX115" fmla="*/ 969813 w 1100137"/>
              <a:gd name="connsiteY115" fmla="*/ 796925 h 1192212"/>
              <a:gd name="connsiteX116" fmla="*/ 923925 w 1100137"/>
              <a:gd name="connsiteY116" fmla="*/ 796925 h 1192212"/>
              <a:gd name="connsiteX117" fmla="*/ 923925 w 1100137"/>
              <a:gd name="connsiteY117" fmla="*/ 765175 h 1192212"/>
              <a:gd name="connsiteX118" fmla="*/ 130931 w 1100137"/>
              <a:gd name="connsiteY118" fmla="*/ 708025 h 1192212"/>
              <a:gd name="connsiteX119" fmla="*/ 206866 w 1100137"/>
              <a:gd name="connsiteY119" fmla="*/ 708025 h 1192212"/>
              <a:gd name="connsiteX120" fmla="*/ 222627 w 1100137"/>
              <a:gd name="connsiteY120" fmla="*/ 708025 h 1192212"/>
              <a:gd name="connsiteX121" fmla="*/ 238387 w 1100137"/>
              <a:gd name="connsiteY121" fmla="*/ 708025 h 1192212"/>
              <a:gd name="connsiteX122" fmla="*/ 251998 w 1100137"/>
              <a:gd name="connsiteY122" fmla="*/ 708025 h 1192212"/>
              <a:gd name="connsiteX123" fmla="*/ 267758 w 1100137"/>
              <a:gd name="connsiteY123" fmla="*/ 708025 h 1192212"/>
              <a:gd name="connsiteX124" fmla="*/ 283518 w 1100137"/>
              <a:gd name="connsiteY124" fmla="*/ 708025 h 1192212"/>
              <a:gd name="connsiteX125" fmla="*/ 325068 w 1100137"/>
              <a:gd name="connsiteY125" fmla="*/ 708025 h 1192212"/>
              <a:gd name="connsiteX126" fmla="*/ 382377 w 1100137"/>
              <a:gd name="connsiteY126" fmla="*/ 708025 h 1192212"/>
              <a:gd name="connsiteX127" fmla="*/ 398137 w 1100137"/>
              <a:gd name="connsiteY127" fmla="*/ 708025 h 1192212"/>
              <a:gd name="connsiteX128" fmla="*/ 413898 w 1100137"/>
              <a:gd name="connsiteY128" fmla="*/ 708025 h 1192212"/>
              <a:gd name="connsiteX129" fmla="*/ 429658 w 1100137"/>
              <a:gd name="connsiteY129" fmla="*/ 708025 h 1192212"/>
              <a:gd name="connsiteX130" fmla="*/ 445418 w 1100137"/>
              <a:gd name="connsiteY130" fmla="*/ 708025 h 1192212"/>
              <a:gd name="connsiteX131" fmla="*/ 459029 w 1100137"/>
              <a:gd name="connsiteY131" fmla="*/ 708025 h 1192212"/>
              <a:gd name="connsiteX132" fmla="*/ 474789 w 1100137"/>
              <a:gd name="connsiteY132" fmla="*/ 708025 h 1192212"/>
              <a:gd name="connsiteX133" fmla="*/ 490549 w 1100137"/>
              <a:gd name="connsiteY133" fmla="*/ 708025 h 1192212"/>
              <a:gd name="connsiteX134" fmla="*/ 556455 w 1100137"/>
              <a:gd name="connsiteY134" fmla="*/ 708025 h 1192212"/>
              <a:gd name="connsiteX135" fmla="*/ 570066 w 1100137"/>
              <a:gd name="connsiteY135" fmla="*/ 716643 h 1192212"/>
              <a:gd name="connsiteX136" fmla="*/ 571499 w 1100137"/>
              <a:gd name="connsiteY136" fmla="*/ 723106 h 1192212"/>
              <a:gd name="connsiteX137" fmla="*/ 556455 w 1100137"/>
              <a:gd name="connsiteY137" fmla="*/ 738187 h 1192212"/>
              <a:gd name="connsiteX138" fmla="*/ 490549 w 1100137"/>
              <a:gd name="connsiteY138" fmla="*/ 738187 h 1192212"/>
              <a:gd name="connsiteX139" fmla="*/ 474789 w 1100137"/>
              <a:gd name="connsiteY139" fmla="*/ 738187 h 1192212"/>
              <a:gd name="connsiteX140" fmla="*/ 459029 w 1100137"/>
              <a:gd name="connsiteY140" fmla="*/ 738187 h 1192212"/>
              <a:gd name="connsiteX141" fmla="*/ 445418 w 1100137"/>
              <a:gd name="connsiteY141" fmla="*/ 738187 h 1192212"/>
              <a:gd name="connsiteX142" fmla="*/ 429658 w 1100137"/>
              <a:gd name="connsiteY142" fmla="*/ 738187 h 1192212"/>
              <a:gd name="connsiteX143" fmla="*/ 413898 w 1100137"/>
              <a:gd name="connsiteY143" fmla="*/ 738187 h 1192212"/>
              <a:gd name="connsiteX144" fmla="*/ 398137 w 1100137"/>
              <a:gd name="connsiteY144" fmla="*/ 738187 h 1192212"/>
              <a:gd name="connsiteX145" fmla="*/ 382377 w 1100137"/>
              <a:gd name="connsiteY145" fmla="*/ 738187 h 1192212"/>
              <a:gd name="connsiteX146" fmla="*/ 283518 w 1100137"/>
              <a:gd name="connsiteY146" fmla="*/ 738187 h 1192212"/>
              <a:gd name="connsiteX147" fmla="*/ 267758 w 1100137"/>
              <a:gd name="connsiteY147" fmla="*/ 738187 h 1192212"/>
              <a:gd name="connsiteX148" fmla="*/ 251998 w 1100137"/>
              <a:gd name="connsiteY148" fmla="*/ 738187 h 1192212"/>
              <a:gd name="connsiteX149" fmla="*/ 238387 w 1100137"/>
              <a:gd name="connsiteY149" fmla="*/ 738187 h 1192212"/>
              <a:gd name="connsiteX150" fmla="*/ 222627 w 1100137"/>
              <a:gd name="connsiteY150" fmla="*/ 738187 h 1192212"/>
              <a:gd name="connsiteX151" fmla="*/ 206866 w 1100137"/>
              <a:gd name="connsiteY151" fmla="*/ 738187 h 1192212"/>
              <a:gd name="connsiteX152" fmla="*/ 130931 w 1100137"/>
              <a:gd name="connsiteY152" fmla="*/ 738187 h 1192212"/>
              <a:gd name="connsiteX153" fmla="*/ 115887 w 1100137"/>
              <a:gd name="connsiteY153" fmla="*/ 723106 h 1192212"/>
              <a:gd name="connsiteX154" fmla="*/ 130931 w 1100137"/>
              <a:gd name="connsiteY154" fmla="*/ 708025 h 1192212"/>
              <a:gd name="connsiteX155" fmla="*/ 717550 w 1100137"/>
              <a:gd name="connsiteY155" fmla="*/ 685800 h 1192212"/>
              <a:gd name="connsiteX156" fmla="*/ 762794 w 1100137"/>
              <a:gd name="connsiteY156" fmla="*/ 685800 h 1192212"/>
              <a:gd name="connsiteX157" fmla="*/ 776439 w 1100137"/>
              <a:gd name="connsiteY157" fmla="*/ 694217 h 1192212"/>
              <a:gd name="connsiteX158" fmla="*/ 777875 w 1100137"/>
              <a:gd name="connsiteY158" fmla="*/ 701232 h 1192212"/>
              <a:gd name="connsiteX159" fmla="*/ 762794 w 1100137"/>
              <a:gd name="connsiteY159" fmla="*/ 715962 h 1192212"/>
              <a:gd name="connsiteX160" fmla="*/ 717550 w 1100137"/>
              <a:gd name="connsiteY160" fmla="*/ 715962 h 1192212"/>
              <a:gd name="connsiteX161" fmla="*/ 717550 w 1100137"/>
              <a:gd name="connsiteY161" fmla="*/ 694217 h 1192212"/>
              <a:gd name="connsiteX162" fmla="*/ 717550 w 1100137"/>
              <a:gd name="connsiteY162" fmla="*/ 685800 h 1192212"/>
              <a:gd name="connsiteX163" fmla="*/ 923925 w 1100137"/>
              <a:gd name="connsiteY163" fmla="*/ 661987 h 1192212"/>
              <a:gd name="connsiteX164" fmla="*/ 969813 w 1100137"/>
              <a:gd name="connsiteY164" fmla="*/ 661987 h 1192212"/>
              <a:gd name="connsiteX165" fmla="*/ 985837 w 1100137"/>
              <a:gd name="connsiteY165" fmla="*/ 677862 h 1192212"/>
              <a:gd name="connsiteX166" fmla="*/ 969813 w 1100137"/>
              <a:gd name="connsiteY166" fmla="*/ 693737 h 1192212"/>
              <a:gd name="connsiteX167" fmla="*/ 923925 w 1100137"/>
              <a:gd name="connsiteY167" fmla="*/ 693737 h 1192212"/>
              <a:gd name="connsiteX168" fmla="*/ 923925 w 1100137"/>
              <a:gd name="connsiteY168" fmla="*/ 661987 h 1192212"/>
              <a:gd name="connsiteX169" fmla="*/ 130931 w 1100137"/>
              <a:gd name="connsiteY169" fmla="*/ 604837 h 1192212"/>
              <a:gd name="connsiteX170" fmla="*/ 206866 w 1100137"/>
              <a:gd name="connsiteY170" fmla="*/ 604837 h 1192212"/>
              <a:gd name="connsiteX171" fmla="*/ 222627 w 1100137"/>
              <a:gd name="connsiteY171" fmla="*/ 604837 h 1192212"/>
              <a:gd name="connsiteX172" fmla="*/ 238387 w 1100137"/>
              <a:gd name="connsiteY172" fmla="*/ 604837 h 1192212"/>
              <a:gd name="connsiteX173" fmla="*/ 251998 w 1100137"/>
              <a:gd name="connsiteY173" fmla="*/ 604837 h 1192212"/>
              <a:gd name="connsiteX174" fmla="*/ 267758 w 1100137"/>
              <a:gd name="connsiteY174" fmla="*/ 604837 h 1192212"/>
              <a:gd name="connsiteX175" fmla="*/ 283518 w 1100137"/>
              <a:gd name="connsiteY175" fmla="*/ 604837 h 1192212"/>
              <a:gd name="connsiteX176" fmla="*/ 324351 w 1100137"/>
              <a:gd name="connsiteY176" fmla="*/ 604837 h 1192212"/>
              <a:gd name="connsiteX177" fmla="*/ 382377 w 1100137"/>
              <a:gd name="connsiteY177" fmla="*/ 604837 h 1192212"/>
              <a:gd name="connsiteX178" fmla="*/ 398137 w 1100137"/>
              <a:gd name="connsiteY178" fmla="*/ 604837 h 1192212"/>
              <a:gd name="connsiteX179" fmla="*/ 413898 w 1100137"/>
              <a:gd name="connsiteY179" fmla="*/ 604837 h 1192212"/>
              <a:gd name="connsiteX180" fmla="*/ 429658 w 1100137"/>
              <a:gd name="connsiteY180" fmla="*/ 604837 h 1192212"/>
              <a:gd name="connsiteX181" fmla="*/ 445418 w 1100137"/>
              <a:gd name="connsiteY181" fmla="*/ 604837 h 1192212"/>
              <a:gd name="connsiteX182" fmla="*/ 459029 w 1100137"/>
              <a:gd name="connsiteY182" fmla="*/ 604837 h 1192212"/>
              <a:gd name="connsiteX183" fmla="*/ 474789 w 1100137"/>
              <a:gd name="connsiteY183" fmla="*/ 604837 h 1192212"/>
              <a:gd name="connsiteX184" fmla="*/ 490549 w 1100137"/>
              <a:gd name="connsiteY184" fmla="*/ 604837 h 1192212"/>
              <a:gd name="connsiteX185" fmla="*/ 556455 w 1100137"/>
              <a:gd name="connsiteY185" fmla="*/ 604837 h 1192212"/>
              <a:gd name="connsiteX186" fmla="*/ 570066 w 1100137"/>
              <a:gd name="connsiteY186" fmla="*/ 613254 h 1192212"/>
              <a:gd name="connsiteX187" fmla="*/ 571499 w 1100137"/>
              <a:gd name="connsiteY187" fmla="*/ 620269 h 1192212"/>
              <a:gd name="connsiteX188" fmla="*/ 556455 w 1100137"/>
              <a:gd name="connsiteY188" fmla="*/ 634999 h 1192212"/>
              <a:gd name="connsiteX189" fmla="*/ 490549 w 1100137"/>
              <a:gd name="connsiteY189" fmla="*/ 634999 h 1192212"/>
              <a:gd name="connsiteX190" fmla="*/ 474789 w 1100137"/>
              <a:gd name="connsiteY190" fmla="*/ 634999 h 1192212"/>
              <a:gd name="connsiteX191" fmla="*/ 459029 w 1100137"/>
              <a:gd name="connsiteY191" fmla="*/ 634999 h 1192212"/>
              <a:gd name="connsiteX192" fmla="*/ 445418 w 1100137"/>
              <a:gd name="connsiteY192" fmla="*/ 634999 h 1192212"/>
              <a:gd name="connsiteX193" fmla="*/ 429658 w 1100137"/>
              <a:gd name="connsiteY193" fmla="*/ 634999 h 1192212"/>
              <a:gd name="connsiteX194" fmla="*/ 413898 w 1100137"/>
              <a:gd name="connsiteY194" fmla="*/ 634999 h 1192212"/>
              <a:gd name="connsiteX195" fmla="*/ 398137 w 1100137"/>
              <a:gd name="connsiteY195" fmla="*/ 634999 h 1192212"/>
              <a:gd name="connsiteX196" fmla="*/ 382377 w 1100137"/>
              <a:gd name="connsiteY196" fmla="*/ 634999 h 1192212"/>
              <a:gd name="connsiteX197" fmla="*/ 283518 w 1100137"/>
              <a:gd name="connsiteY197" fmla="*/ 634999 h 1192212"/>
              <a:gd name="connsiteX198" fmla="*/ 267758 w 1100137"/>
              <a:gd name="connsiteY198" fmla="*/ 634999 h 1192212"/>
              <a:gd name="connsiteX199" fmla="*/ 251998 w 1100137"/>
              <a:gd name="connsiteY199" fmla="*/ 634999 h 1192212"/>
              <a:gd name="connsiteX200" fmla="*/ 238387 w 1100137"/>
              <a:gd name="connsiteY200" fmla="*/ 634999 h 1192212"/>
              <a:gd name="connsiteX201" fmla="*/ 222627 w 1100137"/>
              <a:gd name="connsiteY201" fmla="*/ 634999 h 1192212"/>
              <a:gd name="connsiteX202" fmla="*/ 206866 w 1100137"/>
              <a:gd name="connsiteY202" fmla="*/ 634999 h 1192212"/>
              <a:gd name="connsiteX203" fmla="*/ 130931 w 1100137"/>
              <a:gd name="connsiteY203" fmla="*/ 634999 h 1192212"/>
              <a:gd name="connsiteX204" fmla="*/ 115887 w 1100137"/>
              <a:gd name="connsiteY204" fmla="*/ 620269 h 1192212"/>
              <a:gd name="connsiteX205" fmla="*/ 130931 w 1100137"/>
              <a:gd name="connsiteY205" fmla="*/ 604837 h 1192212"/>
              <a:gd name="connsiteX206" fmla="*/ 717550 w 1100137"/>
              <a:gd name="connsiteY206" fmla="*/ 582612 h 1192212"/>
              <a:gd name="connsiteX207" fmla="*/ 762794 w 1100137"/>
              <a:gd name="connsiteY207" fmla="*/ 582612 h 1192212"/>
              <a:gd name="connsiteX208" fmla="*/ 776439 w 1100137"/>
              <a:gd name="connsiteY208" fmla="*/ 591230 h 1192212"/>
              <a:gd name="connsiteX209" fmla="*/ 777875 w 1100137"/>
              <a:gd name="connsiteY209" fmla="*/ 597693 h 1192212"/>
              <a:gd name="connsiteX210" fmla="*/ 762794 w 1100137"/>
              <a:gd name="connsiteY210" fmla="*/ 612774 h 1192212"/>
              <a:gd name="connsiteX211" fmla="*/ 717550 w 1100137"/>
              <a:gd name="connsiteY211" fmla="*/ 612774 h 1192212"/>
              <a:gd name="connsiteX212" fmla="*/ 717550 w 1100137"/>
              <a:gd name="connsiteY212" fmla="*/ 591230 h 1192212"/>
              <a:gd name="connsiteX213" fmla="*/ 717550 w 1100137"/>
              <a:gd name="connsiteY213" fmla="*/ 582612 h 1192212"/>
              <a:gd name="connsiteX214" fmla="*/ 923925 w 1100137"/>
              <a:gd name="connsiteY214" fmla="*/ 560387 h 1192212"/>
              <a:gd name="connsiteX215" fmla="*/ 969813 w 1100137"/>
              <a:gd name="connsiteY215" fmla="*/ 560387 h 1192212"/>
              <a:gd name="connsiteX216" fmla="*/ 985837 w 1100137"/>
              <a:gd name="connsiteY216" fmla="*/ 575117 h 1192212"/>
              <a:gd name="connsiteX217" fmla="*/ 969813 w 1100137"/>
              <a:gd name="connsiteY217" fmla="*/ 590549 h 1192212"/>
              <a:gd name="connsiteX218" fmla="*/ 923925 w 1100137"/>
              <a:gd name="connsiteY218" fmla="*/ 590549 h 1192212"/>
              <a:gd name="connsiteX219" fmla="*/ 923925 w 1100137"/>
              <a:gd name="connsiteY219" fmla="*/ 560387 h 1192212"/>
              <a:gd name="connsiteX220" fmla="*/ 130931 w 1100137"/>
              <a:gd name="connsiteY220" fmla="*/ 501650 h 1192212"/>
              <a:gd name="connsiteX221" fmla="*/ 206866 w 1100137"/>
              <a:gd name="connsiteY221" fmla="*/ 501650 h 1192212"/>
              <a:gd name="connsiteX222" fmla="*/ 222627 w 1100137"/>
              <a:gd name="connsiteY222" fmla="*/ 501650 h 1192212"/>
              <a:gd name="connsiteX223" fmla="*/ 238387 w 1100137"/>
              <a:gd name="connsiteY223" fmla="*/ 501650 h 1192212"/>
              <a:gd name="connsiteX224" fmla="*/ 251998 w 1100137"/>
              <a:gd name="connsiteY224" fmla="*/ 501650 h 1192212"/>
              <a:gd name="connsiteX225" fmla="*/ 267758 w 1100137"/>
              <a:gd name="connsiteY225" fmla="*/ 501650 h 1192212"/>
              <a:gd name="connsiteX226" fmla="*/ 283518 w 1100137"/>
              <a:gd name="connsiteY226" fmla="*/ 501650 h 1192212"/>
              <a:gd name="connsiteX227" fmla="*/ 325068 w 1100137"/>
              <a:gd name="connsiteY227" fmla="*/ 501650 h 1192212"/>
              <a:gd name="connsiteX228" fmla="*/ 382377 w 1100137"/>
              <a:gd name="connsiteY228" fmla="*/ 501650 h 1192212"/>
              <a:gd name="connsiteX229" fmla="*/ 398137 w 1100137"/>
              <a:gd name="connsiteY229" fmla="*/ 501650 h 1192212"/>
              <a:gd name="connsiteX230" fmla="*/ 413898 w 1100137"/>
              <a:gd name="connsiteY230" fmla="*/ 501650 h 1192212"/>
              <a:gd name="connsiteX231" fmla="*/ 429658 w 1100137"/>
              <a:gd name="connsiteY231" fmla="*/ 501650 h 1192212"/>
              <a:gd name="connsiteX232" fmla="*/ 445418 w 1100137"/>
              <a:gd name="connsiteY232" fmla="*/ 501650 h 1192212"/>
              <a:gd name="connsiteX233" fmla="*/ 459029 w 1100137"/>
              <a:gd name="connsiteY233" fmla="*/ 501650 h 1192212"/>
              <a:gd name="connsiteX234" fmla="*/ 474789 w 1100137"/>
              <a:gd name="connsiteY234" fmla="*/ 501650 h 1192212"/>
              <a:gd name="connsiteX235" fmla="*/ 490549 w 1100137"/>
              <a:gd name="connsiteY235" fmla="*/ 501650 h 1192212"/>
              <a:gd name="connsiteX236" fmla="*/ 556455 w 1100137"/>
              <a:gd name="connsiteY236" fmla="*/ 501650 h 1192212"/>
              <a:gd name="connsiteX237" fmla="*/ 570066 w 1100137"/>
              <a:gd name="connsiteY237" fmla="*/ 510309 h 1192212"/>
              <a:gd name="connsiteX238" fmla="*/ 571499 w 1100137"/>
              <a:gd name="connsiteY238" fmla="*/ 517525 h 1192212"/>
              <a:gd name="connsiteX239" fmla="*/ 556455 w 1100137"/>
              <a:gd name="connsiteY239" fmla="*/ 533400 h 1192212"/>
              <a:gd name="connsiteX240" fmla="*/ 490549 w 1100137"/>
              <a:gd name="connsiteY240" fmla="*/ 533400 h 1192212"/>
              <a:gd name="connsiteX241" fmla="*/ 474789 w 1100137"/>
              <a:gd name="connsiteY241" fmla="*/ 533400 h 1192212"/>
              <a:gd name="connsiteX242" fmla="*/ 459029 w 1100137"/>
              <a:gd name="connsiteY242" fmla="*/ 533400 h 1192212"/>
              <a:gd name="connsiteX243" fmla="*/ 445418 w 1100137"/>
              <a:gd name="connsiteY243" fmla="*/ 533400 h 1192212"/>
              <a:gd name="connsiteX244" fmla="*/ 429658 w 1100137"/>
              <a:gd name="connsiteY244" fmla="*/ 533400 h 1192212"/>
              <a:gd name="connsiteX245" fmla="*/ 413898 w 1100137"/>
              <a:gd name="connsiteY245" fmla="*/ 533400 h 1192212"/>
              <a:gd name="connsiteX246" fmla="*/ 398137 w 1100137"/>
              <a:gd name="connsiteY246" fmla="*/ 533400 h 1192212"/>
              <a:gd name="connsiteX247" fmla="*/ 382377 w 1100137"/>
              <a:gd name="connsiteY247" fmla="*/ 533400 h 1192212"/>
              <a:gd name="connsiteX248" fmla="*/ 283518 w 1100137"/>
              <a:gd name="connsiteY248" fmla="*/ 533400 h 1192212"/>
              <a:gd name="connsiteX249" fmla="*/ 267758 w 1100137"/>
              <a:gd name="connsiteY249" fmla="*/ 533400 h 1192212"/>
              <a:gd name="connsiteX250" fmla="*/ 251998 w 1100137"/>
              <a:gd name="connsiteY250" fmla="*/ 533400 h 1192212"/>
              <a:gd name="connsiteX251" fmla="*/ 238387 w 1100137"/>
              <a:gd name="connsiteY251" fmla="*/ 533400 h 1192212"/>
              <a:gd name="connsiteX252" fmla="*/ 222627 w 1100137"/>
              <a:gd name="connsiteY252" fmla="*/ 533400 h 1192212"/>
              <a:gd name="connsiteX253" fmla="*/ 206866 w 1100137"/>
              <a:gd name="connsiteY253" fmla="*/ 533400 h 1192212"/>
              <a:gd name="connsiteX254" fmla="*/ 130931 w 1100137"/>
              <a:gd name="connsiteY254" fmla="*/ 533400 h 1192212"/>
              <a:gd name="connsiteX255" fmla="*/ 115887 w 1100137"/>
              <a:gd name="connsiteY255" fmla="*/ 517525 h 1192212"/>
              <a:gd name="connsiteX256" fmla="*/ 130931 w 1100137"/>
              <a:gd name="connsiteY256" fmla="*/ 501650 h 1192212"/>
              <a:gd name="connsiteX257" fmla="*/ 717550 w 1100137"/>
              <a:gd name="connsiteY257" fmla="*/ 479425 h 1192212"/>
              <a:gd name="connsiteX258" fmla="*/ 762794 w 1100137"/>
              <a:gd name="connsiteY258" fmla="*/ 479425 h 1192212"/>
              <a:gd name="connsiteX259" fmla="*/ 776439 w 1100137"/>
              <a:gd name="connsiteY259" fmla="*/ 487842 h 1192212"/>
              <a:gd name="connsiteX260" fmla="*/ 777875 w 1100137"/>
              <a:gd name="connsiteY260" fmla="*/ 494155 h 1192212"/>
              <a:gd name="connsiteX261" fmla="*/ 762794 w 1100137"/>
              <a:gd name="connsiteY261" fmla="*/ 509587 h 1192212"/>
              <a:gd name="connsiteX262" fmla="*/ 717550 w 1100137"/>
              <a:gd name="connsiteY262" fmla="*/ 509587 h 1192212"/>
              <a:gd name="connsiteX263" fmla="*/ 717550 w 1100137"/>
              <a:gd name="connsiteY263" fmla="*/ 487842 h 1192212"/>
              <a:gd name="connsiteX264" fmla="*/ 717550 w 1100137"/>
              <a:gd name="connsiteY264" fmla="*/ 479425 h 1192212"/>
              <a:gd name="connsiteX265" fmla="*/ 923925 w 1100137"/>
              <a:gd name="connsiteY265" fmla="*/ 457200 h 1192212"/>
              <a:gd name="connsiteX266" fmla="*/ 969813 w 1100137"/>
              <a:gd name="connsiteY266" fmla="*/ 457200 h 1192212"/>
              <a:gd name="connsiteX267" fmla="*/ 985837 w 1100137"/>
              <a:gd name="connsiteY267" fmla="*/ 472281 h 1192212"/>
              <a:gd name="connsiteX268" fmla="*/ 969813 w 1100137"/>
              <a:gd name="connsiteY268" fmla="*/ 487362 h 1192212"/>
              <a:gd name="connsiteX269" fmla="*/ 923925 w 1100137"/>
              <a:gd name="connsiteY269" fmla="*/ 487362 h 1192212"/>
              <a:gd name="connsiteX270" fmla="*/ 923925 w 1100137"/>
              <a:gd name="connsiteY270" fmla="*/ 457200 h 1192212"/>
              <a:gd name="connsiteX271" fmla="*/ 130931 w 1100137"/>
              <a:gd name="connsiteY271" fmla="*/ 398462 h 1192212"/>
              <a:gd name="connsiteX272" fmla="*/ 206866 w 1100137"/>
              <a:gd name="connsiteY272" fmla="*/ 398462 h 1192212"/>
              <a:gd name="connsiteX273" fmla="*/ 222627 w 1100137"/>
              <a:gd name="connsiteY273" fmla="*/ 398462 h 1192212"/>
              <a:gd name="connsiteX274" fmla="*/ 238387 w 1100137"/>
              <a:gd name="connsiteY274" fmla="*/ 398462 h 1192212"/>
              <a:gd name="connsiteX275" fmla="*/ 251998 w 1100137"/>
              <a:gd name="connsiteY275" fmla="*/ 398462 h 1192212"/>
              <a:gd name="connsiteX276" fmla="*/ 267758 w 1100137"/>
              <a:gd name="connsiteY276" fmla="*/ 398462 h 1192212"/>
              <a:gd name="connsiteX277" fmla="*/ 283518 w 1100137"/>
              <a:gd name="connsiteY277" fmla="*/ 398462 h 1192212"/>
              <a:gd name="connsiteX278" fmla="*/ 325068 w 1100137"/>
              <a:gd name="connsiteY278" fmla="*/ 398462 h 1192212"/>
              <a:gd name="connsiteX279" fmla="*/ 382377 w 1100137"/>
              <a:gd name="connsiteY279" fmla="*/ 398462 h 1192212"/>
              <a:gd name="connsiteX280" fmla="*/ 398137 w 1100137"/>
              <a:gd name="connsiteY280" fmla="*/ 398462 h 1192212"/>
              <a:gd name="connsiteX281" fmla="*/ 413898 w 1100137"/>
              <a:gd name="connsiteY281" fmla="*/ 398462 h 1192212"/>
              <a:gd name="connsiteX282" fmla="*/ 429658 w 1100137"/>
              <a:gd name="connsiteY282" fmla="*/ 398462 h 1192212"/>
              <a:gd name="connsiteX283" fmla="*/ 445418 w 1100137"/>
              <a:gd name="connsiteY283" fmla="*/ 398462 h 1192212"/>
              <a:gd name="connsiteX284" fmla="*/ 459029 w 1100137"/>
              <a:gd name="connsiteY284" fmla="*/ 398462 h 1192212"/>
              <a:gd name="connsiteX285" fmla="*/ 474789 w 1100137"/>
              <a:gd name="connsiteY285" fmla="*/ 398462 h 1192212"/>
              <a:gd name="connsiteX286" fmla="*/ 490549 w 1100137"/>
              <a:gd name="connsiteY286" fmla="*/ 398462 h 1192212"/>
              <a:gd name="connsiteX287" fmla="*/ 556455 w 1100137"/>
              <a:gd name="connsiteY287" fmla="*/ 398462 h 1192212"/>
              <a:gd name="connsiteX288" fmla="*/ 570066 w 1100137"/>
              <a:gd name="connsiteY288" fmla="*/ 407322 h 1192212"/>
              <a:gd name="connsiteX289" fmla="*/ 571499 w 1100137"/>
              <a:gd name="connsiteY289" fmla="*/ 414706 h 1192212"/>
              <a:gd name="connsiteX290" fmla="*/ 556455 w 1100137"/>
              <a:gd name="connsiteY290" fmla="*/ 430212 h 1192212"/>
              <a:gd name="connsiteX291" fmla="*/ 490549 w 1100137"/>
              <a:gd name="connsiteY291" fmla="*/ 430212 h 1192212"/>
              <a:gd name="connsiteX292" fmla="*/ 474789 w 1100137"/>
              <a:gd name="connsiteY292" fmla="*/ 430212 h 1192212"/>
              <a:gd name="connsiteX293" fmla="*/ 459029 w 1100137"/>
              <a:gd name="connsiteY293" fmla="*/ 430212 h 1192212"/>
              <a:gd name="connsiteX294" fmla="*/ 445418 w 1100137"/>
              <a:gd name="connsiteY294" fmla="*/ 430212 h 1192212"/>
              <a:gd name="connsiteX295" fmla="*/ 429658 w 1100137"/>
              <a:gd name="connsiteY295" fmla="*/ 430212 h 1192212"/>
              <a:gd name="connsiteX296" fmla="*/ 413898 w 1100137"/>
              <a:gd name="connsiteY296" fmla="*/ 430212 h 1192212"/>
              <a:gd name="connsiteX297" fmla="*/ 398137 w 1100137"/>
              <a:gd name="connsiteY297" fmla="*/ 430212 h 1192212"/>
              <a:gd name="connsiteX298" fmla="*/ 382377 w 1100137"/>
              <a:gd name="connsiteY298" fmla="*/ 430212 h 1192212"/>
              <a:gd name="connsiteX299" fmla="*/ 283518 w 1100137"/>
              <a:gd name="connsiteY299" fmla="*/ 430212 h 1192212"/>
              <a:gd name="connsiteX300" fmla="*/ 267758 w 1100137"/>
              <a:gd name="connsiteY300" fmla="*/ 430212 h 1192212"/>
              <a:gd name="connsiteX301" fmla="*/ 251998 w 1100137"/>
              <a:gd name="connsiteY301" fmla="*/ 430212 h 1192212"/>
              <a:gd name="connsiteX302" fmla="*/ 238387 w 1100137"/>
              <a:gd name="connsiteY302" fmla="*/ 430212 h 1192212"/>
              <a:gd name="connsiteX303" fmla="*/ 222627 w 1100137"/>
              <a:gd name="connsiteY303" fmla="*/ 430212 h 1192212"/>
              <a:gd name="connsiteX304" fmla="*/ 206866 w 1100137"/>
              <a:gd name="connsiteY304" fmla="*/ 430212 h 1192212"/>
              <a:gd name="connsiteX305" fmla="*/ 130931 w 1100137"/>
              <a:gd name="connsiteY305" fmla="*/ 430212 h 1192212"/>
              <a:gd name="connsiteX306" fmla="*/ 115887 w 1100137"/>
              <a:gd name="connsiteY306" fmla="*/ 414706 h 1192212"/>
              <a:gd name="connsiteX307" fmla="*/ 130931 w 1100137"/>
              <a:gd name="connsiteY307" fmla="*/ 398462 h 1192212"/>
              <a:gd name="connsiteX308" fmla="*/ 717550 w 1100137"/>
              <a:gd name="connsiteY308" fmla="*/ 376237 h 1192212"/>
              <a:gd name="connsiteX309" fmla="*/ 762794 w 1100137"/>
              <a:gd name="connsiteY309" fmla="*/ 376237 h 1192212"/>
              <a:gd name="connsiteX310" fmla="*/ 776439 w 1100137"/>
              <a:gd name="connsiteY310" fmla="*/ 384896 h 1192212"/>
              <a:gd name="connsiteX311" fmla="*/ 777875 w 1100137"/>
              <a:gd name="connsiteY311" fmla="*/ 392112 h 1192212"/>
              <a:gd name="connsiteX312" fmla="*/ 762794 w 1100137"/>
              <a:gd name="connsiteY312" fmla="*/ 407987 h 1192212"/>
              <a:gd name="connsiteX313" fmla="*/ 717550 w 1100137"/>
              <a:gd name="connsiteY313" fmla="*/ 407987 h 1192212"/>
              <a:gd name="connsiteX314" fmla="*/ 717550 w 1100137"/>
              <a:gd name="connsiteY314" fmla="*/ 384896 h 1192212"/>
              <a:gd name="connsiteX315" fmla="*/ 717550 w 1100137"/>
              <a:gd name="connsiteY315" fmla="*/ 376237 h 1192212"/>
              <a:gd name="connsiteX316" fmla="*/ 923925 w 1100137"/>
              <a:gd name="connsiteY316" fmla="*/ 354012 h 1192212"/>
              <a:gd name="connsiteX317" fmla="*/ 969813 w 1100137"/>
              <a:gd name="connsiteY317" fmla="*/ 354012 h 1192212"/>
              <a:gd name="connsiteX318" fmla="*/ 985837 w 1100137"/>
              <a:gd name="connsiteY318" fmla="*/ 368742 h 1192212"/>
              <a:gd name="connsiteX319" fmla="*/ 969813 w 1100137"/>
              <a:gd name="connsiteY319" fmla="*/ 384174 h 1192212"/>
              <a:gd name="connsiteX320" fmla="*/ 923925 w 1100137"/>
              <a:gd name="connsiteY320" fmla="*/ 384174 h 1192212"/>
              <a:gd name="connsiteX321" fmla="*/ 923925 w 1100137"/>
              <a:gd name="connsiteY321" fmla="*/ 354012 h 1192212"/>
              <a:gd name="connsiteX322" fmla="*/ 31750 w 1100137"/>
              <a:gd name="connsiteY322" fmla="*/ 280987 h 1192212"/>
              <a:gd name="connsiteX323" fmla="*/ 31750 w 1100137"/>
              <a:gd name="connsiteY323" fmla="*/ 1162049 h 1192212"/>
              <a:gd name="connsiteX324" fmla="*/ 655637 w 1100137"/>
              <a:gd name="connsiteY324" fmla="*/ 1162049 h 1192212"/>
              <a:gd name="connsiteX325" fmla="*/ 655637 w 1100137"/>
              <a:gd name="connsiteY325" fmla="*/ 1068387 h 1192212"/>
              <a:gd name="connsiteX326" fmla="*/ 655637 w 1100137"/>
              <a:gd name="connsiteY326" fmla="*/ 1052512 h 1192212"/>
              <a:gd name="connsiteX327" fmla="*/ 655637 w 1100137"/>
              <a:gd name="connsiteY327" fmla="*/ 1036637 h 1192212"/>
              <a:gd name="connsiteX328" fmla="*/ 655637 w 1100137"/>
              <a:gd name="connsiteY328" fmla="*/ 1025524 h 1192212"/>
              <a:gd name="connsiteX329" fmla="*/ 655637 w 1100137"/>
              <a:gd name="connsiteY329" fmla="*/ 1009649 h 1192212"/>
              <a:gd name="connsiteX330" fmla="*/ 655637 w 1100137"/>
              <a:gd name="connsiteY330" fmla="*/ 993774 h 1192212"/>
              <a:gd name="connsiteX331" fmla="*/ 655637 w 1100137"/>
              <a:gd name="connsiteY331" fmla="*/ 974724 h 1192212"/>
              <a:gd name="connsiteX332" fmla="*/ 655637 w 1100137"/>
              <a:gd name="connsiteY332" fmla="*/ 958849 h 1192212"/>
              <a:gd name="connsiteX333" fmla="*/ 655637 w 1100137"/>
              <a:gd name="connsiteY333" fmla="*/ 942974 h 1192212"/>
              <a:gd name="connsiteX334" fmla="*/ 655637 w 1100137"/>
              <a:gd name="connsiteY334" fmla="*/ 927099 h 1192212"/>
              <a:gd name="connsiteX335" fmla="*/ 655637 w 1100137"/>
              <a:gd name="connsiteY335" fmla="*/ 920749 h 1192212"/>
              <a:gd name="connsiteX336" fmla="*/ 655637 w 1100137"/>
              <a:gd name="connsiteY336" fmla="*/ 911224 h 1192212"/>
              <a:gd name="connsiteX337" fmla="*/ 655637 w 1100137"/>
              <a:gd name="connsiteY337" fmla="*/ 900112 h 1192212"/>
              <a:gd name="connsiteX338" fmla="*/ 655637 w 1100137"/>
              <a:gd name="connsiteY338" fmla="*/ 890587 h 1192212"/>
              <a:gd name="connsiteX339" fmla="*/ 655637 w 1100137"/>
              <a:gd name="connsiteY339" fmla="*/ 884237 h 1192212"/>
              <a:gd name="connsiteX340" fmla="*/ 655637 w 1100137"/>
              <a:gd name="connsiteY340" fmla="*/ 868362 h 1192212"/>
              <a:gd name="connsiteX341" fmla="*/ 655637 w 1100137"/>
              <a:gd name="connsiteY341" fmla="*/ 819149 h 1192212"/>
              <a:gd name="connsiteX342" fmla="*/ 655637 w 1100137"/>
              <a:gd name="connsiteY342" fmla="*/ 796924 h 1192212"/>
              <a:gd name="connsiteX343" fmla="*/ 655637 w 1100137"/>
              <a:gd name="connsiteY343" fmla="*/ 787399 h 1192212"/>
              <a:gd name="connsiteX344" fmla="*/ 655637 w 1100137"/>
              <a:gd name="connsiteY344" fmla="*/ 765174 h 1192212"/>
              <a:gd name="connsiteX345" fmla="*/ 655637 w 1100137"/>
              <a:gd name="connsiteY345" fmla="*/ 715962 h 1192212"/>
              <a:gd name="connsiteX346" fmla="*/ 655637 w 1100137"/>
              <a:gd name="connsiteY346" fmla="*/ 693737 h 1192212"/>
              <a:gd name="connsiteX347" fmla="*/ 655637 w 1100137"/>
              <a:gd name="connsiteY347" fmla="*/ 685799 h 1192212"/>
              <a:gd name="connsiteX348" fmla="*/ 655637 w 1100137"/>
              <a:gd name="connsiteY348" fmla="*/ 661987 h 1192212"/>
              <a:gd name="connsiteX349" fmla="*/ 655637 w 1100137"/>
              <a:gd name="connsiteY349" fmla="*/ 612774 h 1192212"/>
              <a:gd name="connsiteX350" fmla="*/ 655637 w 1100137"/>
              <a:gd name="connsiteY350" fmla="*/ 590549 h 1192212"/>
              <a:gd name="connsiteX351" fmla="*/ 655637 w 1100137"/>
              <a:gd name="connsiteY351" fmla="*/ 582612 h 1192212"/>
              <a:gd name="connsiteX352" fmla="*/ 655637 w 1100137"/>
              <a:gd name="connsiteY352" fmla="*/ 560387 h 1192212"/>
              <a:gd name="connsiteX353" fmla="*/ 655637 w 1100137"/>
              <a:gd name="connsiteY353" fmla="*/ 509587 h 1192212"/>
              <a:gd name="connsiteX354" fmla="*/ 655637 w 1100137"/>
              <a:gd name="connsiteY354" fmla="*/ 487362 h 1192212"/>
              <a:gd name="connsiteX355" fmla="*/ 655637 w 1100137"/>
              <a:gd name="connsiteY355" fmla="*/ 479425 h 1192212"/>
              <a:gd name="connsiteX356" fmla="*/ 655637 w 1100137"/>
              <a:gd name="connsiteY356" fmla="*/ 457200 h 1192212"/>
              <a:gd name="connsiteX357" fmla="*/ 655637 w 1100137"/>
              <a:gd name="connsiteY357" fmla="*/ 407987 h 1192212"/>
              <a:gd name="connsiteX358" fmla="*/ 655637 w 1100137"/>
              <a:gd name="connsiteY358" fmla="*/ 384175 h 1192212"/>
              <a:gd name="connsiteX359" fmla="*/ 655637 w 1100137"/>
              <a:gd name="connsiteY359" fmla="*/ 376237 h 1192212"/>
              <a:gd name="connsiteX360" fmla="*/ 655637 w 1100137"/>
              <a:gd name="connsiteY360" fmla="*/ 354012 h 1192212"/>
              <a:gd name="connsiteX361" fmla="*/ 655637 w 1100137"/>
              <a:gd name="connsiteY361" fmla="*/ 304800 h 1192212"/>
              <a:gd name="connsiteX362" fmla="*/ 655637 w 1100137"/>
              <a:gd name="connsiteY362" fmla="*/ 282575 h 1192212"/>
              <a:gd name="connsiteX363" fmla="*/ 655637 w 1100137"/>
              <a:gd name="connsiteY363" fmla="*/ 280987 h 1192212"/>
              <a:gd name="connsiteX364" fmla="*/ 539750 w 1100137"/>
              <a:gd name="connsiteY364" fmla="*/ 280987 h 1192212"/>
              <a:gd name="connsiteX365" fmla="*/ 490537 w 1100137"/>
              <a:gd name="connsiteY365" fmla="*/ 280987 h 1192212"/>
              <a:gd name="connsiteX366" fmla="*/ 474662 w 1100137"/>
              <a:gd name="connsiteY366" fmla="*/ 280987 h 1192212"/>
              <a:gd name="connsiteX367" fmla="*/ 458787 w 1100137"/>
              <a:gd name="connsiteY367" fmla="*/ 280987 h 1192212"/>
              <a:gd name="connsiteX368" fmla="*/ 444500 w 1100137"/>
              <a:gd name="connsiteY368" fmla="*/ 280987 h 1192212"/>
              <a:gd name="connsiteX369" fmla="*/ 428625 w 1100137"/>
              <a:gd name="connsiteY369" fmla="*/ 280987 h 1192212"/>
              <a:gd name="connsiteX370" fmla="*/ 414337 w 1100137"/>
              <a:gd name="connsiteY370" fmla="*/ 280987 h 1192212"/>
              <a:gd name="connsiteX371" fmla="*/ 398462 w 1100137"/>
              <a:gd name="connsiteY371" fmla="*/ 280987 h 1192212"/>
              <a:gd name="connsiteX372" fmla="*/ 382587 w 1100137"/>
              <a:gd name="connsiteY372" fmla="*/ 280987 h 1192212"/>
              <a:gd name="connsiteX373" fmla="*/ 325437 w 1100137"/>
              <a:gd name="connsiteY373" fmla="*/ 280987 h 1192212"/>
              <a:gd name="connsiteX374" fmla="*/ 284163 w 1100137"/>
              <a:gd name="connsiteY374" fmla="*/ 280987 h 1192212"/>
              <a:gd name="connsiteX375" fmla="*/ 268288 w 1100137"/>
              <a:gd name="connsiteY375" fmla="*/ 280987 h 1192212"/>
              <a:gd name="connsiteX376" fmla="*/ 252413 w 1100137"/>
              <a:gd name="connsiteY376" fmla="*/ 280987 h 1192212"/>
              <a:gd name="connsiteX377" fmla="*/ 238125 w 1100137"/>
              <a:gd name="connsiteY377" fmla="*/ 280987 h 1192212"/>
              <a:gd name="connsiteX378" fmla="*/ 222250 w 1100137"/>
              <a:gd name="connsiteY378" fmla="*/ 280987 h 1192212"/>
              <a:gd name="connsiteX379" fmla="*/ 206375 w 1100137"/>
              <a:gd name="connsiteY379" fmla="*/ 280987 h 1192212"/>
              <a:gd name="connsiteX380" fmla="*/ 717550 w 1100137"/>
              <a:gd name="connsiteY380" fmla="*/ 274637 h 1192212"/>
              <a:gd name="connsiteX381" fmla="*/ 762794 w 1100137"/>
              <a:gd name="connsiteY381" fmla="*/ 274637 h 1192212"/>
              <a:gd name="connsiteX382" fmla="*/ 776439 w 1100137"/>
              <a:gd name="connsiteY382" fmla="*/ 283054 h 1192212"/>
              <a:gd name="connsiteX383" fmla="*/ 777875 w 1100137"/>
              <a:gd name="connsiteY383" fmla="*/ 289367 h 1192212"/>
              <a:gd name="connsiteX384" fmla="*/ 762794 w 1100137"/>
              <a:gd name="connsiteY384" fmla="*/ 304799 h 1192212"/>
              <a:gd name="connsiteX385" fmla="*/ 717550 w 1100137"/>
              <a:gd name="connsiteY385" fmla="*/ 304799 h 1192212"/>
              <a:gd name="connsiteX386" fmla="*/ 717550 w 1100137"/>
              <a:gd name="connsiteY386" fmla="*/ 283054 h 1192212"/>
              <a:gd name="connsiteX387" fmla="*/ 717550 w 1100137"/>
              <a:gd name="connsiteY387" fmla="*/ 274637 h 1192212"/>
              <a:gd name="connsiteX388" fmla="*/ 923925 w 1100137"/>
              <a:gd name="connsiteY388" fmla="*/ 250825 h 1192212"/>
              <a:gd name="connsiteX389" fmla="*/ 969813 w 1100137"/>
              <a:gd name="connsiteY389" fmla="*/ 250825 h 1192212"/>
              <a:gd name="connsiteX390" fmla="*/ 985837 w 1100137"/>
              <a:gd name="connsiteY390" fmla="*/ 266700 h 1192212"/>
              <a:gd name="connsiteX391" fmla="*/ 969813 w 1100137"/>
              <a:gd name="connsiteY391" fmla="*/ 282575 h 1192212"/>
              <a:gd name="connsiteX392" fmla="*/ 923925 w 1100137"/>
              <a:gd name="connsiteY392" fmla="*/ 282575 h 1192212"/>
              <a:gd name="connsiteX393" fmla="*/ 923925 w 1100137"/>
              <a:gd name="connsiteY393" fmla="*/ 250825 h 1192212"/>
              <a:gd name="connsiteX394" fmla="*/ 238125 w 1100137"/>
              <a:gd name="connsiteY394" fmla="*/ 155575 h 1192212"/>
              <a:gd name="connsiteX395" fmla="*/ 238125 w 1100137"/>
              <a:gd name="connsiteY395" fmla="*/ 249259 h 1192212"/>
              <a:gd name="connsiteX396" fmla="*/ 251719 w 1100137"/>
              <a:gd name="connsiteY396" fmla="*/ 249259 h 1192212"/>
              <a:gd name="connsiteX397" fmla="*/ 267459 w 1100137"/>
              <a:gd name="connsiteY397" fmla="*/ 249259 h 1192212"/>
              <a:gd name="connsiteX398" fmla="*/ 283200 w 1100137"/>
              <a:gd name="connsiteY398" fmla="*/ 249259 h 1192212"/>
              <a:gd name="connsiteX399" fmla="*/ 381934 w 1100137"/>
              <a:gd name="connsiteY399" fmla="*/ 249259 h 1192212"/>
              <a:gd name="connsiteX400" fmla="*/ 397674 w 1100137"/>
              <a:gd name="connsiteY400" fmla="*/ 249259 h 1192212"/>
              <a:gd name="connsiteX401" fmla="*/ 413415 w 1100137"/>
              <a:gd name="connsiteY401" fmla="*/ 249259 h 1192212"/>
              <a:gd name="connsiteX402" fmla="*/ 429155 w 1100137"/>
              <a:gd name="connsiteY402" fmla="*/ 249259 h 1192212"/>
              <a:gd name="connsiteX403" fmla="*/ 444895 w 1100137"/>
              <a:gd name="connsiteY403" fmla="*/ 249259 h 1192212"/>
              <a:gd name="connsiteX404" fmla="*/ 458489 w 1100137"/>
              <a:gd name="connsiteY404" fmla="*/ 249259 h 1192212"/>
              <a:gd name="connsiteX405" fmla="*/ 474229 w 1100137"/>
              <a:gd name="connsiteY405" fmla="*/ 249259 h 1192212"/>
              <a:gd name="connsiteX406" fmla="*/ 489970 w 1100137"/>
              <a:gd name="connsiteY406" fmla="*/ 249259 h 1192212"/>
              <a:gd name="connsiteX407" fmla="*/ 670983 w 1100137"/>
              <a:gd name="connsiteY407" fmla="*/ 249259 h 1192212"/>
              <a:gd name="connsiteX408" fmla="*/ 677422 w 1100137"/>
              <a:gd name="connsiteY408" fmla="*/ 250690 h 1192212"/>
              <a:gd name="connsiteX409" fmla="*/ 686723 w 1100137"/>
              <a:gd name="connsiteY409" fmla="*/ 264993 h 1192212"/>
              <a:gd name="connsiteX410" fmla="*/ 686723 w 1100137"/>
              <a:gd name="connsiteY410" fmla="*/ 273575 h 1192212"/>
              <a:gd name="connsiteX411" fmla="*/ 686723 w 1100137"/>
              <a:gd name="connsiteY411" fmla="*/ 282156 h 1192212"/>
              <a:gd name="connsiteX412" fmla="*/ 686723 w 1100137"/>
              <a:gd name="connsiteY412" fmla="*/ 304326 h 1192212"/>
              <a:gd name="connsiteX413" fmla="*/ 686723 w 1100137"/>
              <a:gd name="connsiteY413" fmla="*/ 353671 h 1192212"/>
              <a:gd name="connsiteX414" fmla="*/ 686723 w 1100137"/>
              <a:gd name="connsiteY414" fmla="*/ 375841 h 1192212"/>
              <a:gd name="connsiteX415" fmla="*/ 686723 w 1100137"/>
              <a:gd name="connsiteY415" fmla="*/ 384422 h 1192212"/>
              <a:gd name="connsiteX416" fmla="*/ 686723 w 1100137"/>
              <a:gd name="connsiteY416" fmla="*/ 407307 h 1192212"/>
              <a:gd name="connsiteX417" fmla="*/ 686723 w 1100137"/>
              <a:gd name="connsiteY417" fmla="*/ 457367 h 1192212"/>
              <a:gd name="connsiteX418" fmla="*/ 686723 w 1100137"/>
              <a:gd name="connsiteY418" fmla="*/ 478822 h 1192212"/>
              <a:gd name="connsiteX419" fmla="*/ 686723 w 1100137"/>
              <a:gd name="connsiteY419" fmla="*/ 487404 h 1192212"/>
              <a:gd name="connsiteX420" fmla="*/ 686723 w 1100137"/>
              <a:gd name="connsiteY420" fmla="*/ 509573 h 1192212"/>
              <a:gd name="connsiteX421" fmla="*/ 686723 w 1100137"/>
              <a:gd name="connsiteY421" fmla="*/ 560349 h 1192212"/>
              <a:gd name="connsiteX422" fmla="*/ 686723 w 1100137"/>
              <a:gd name="connsiteY422" fmla="*/ 582518 h 1192212"/>
              <a:gd name="connsiteX423" fmla="*/ 686723 w 1100137"/>
              <a:gd name="connsiteY423" fmla="*/ 591100 h 1192212"/>
              <a:gd name="connsiteX424" fmla="*/ 686723 w 1100137"/>
              <a:gd name="connsiteY424" fmla="*/ 612555 h 1192212"/>
              <a:gd name="connsiteX425" fmla="*/ 686723 w 1100137"/>
              <a:gd name="connsiteY425" fmla="*/ 662615 h 1192212"/>
              <a:gd name="connsiteX426" fmla="*/ 686723 w 1100137"/>
              <a:gd name="connsiteY426" fmla="*/ 685500 h 1192212"/>
              <a:gd name="connsiteX427" fmla="*/ 686723 w 1100137"/>
              <a:gd name="connsiteY427" fmla="*/ 694081 h 1192212"/>
              <a:gd name="connsiteX428" fmla="*/ 686723 w 1100137"/>
              <a:gd name="connsiteY428" fmla="*/ 716251 h 1192212"/>
              <a:gd name="connsiteX429" fmla="*/ 686723 w 1100137"/>
              <a:gd name="connsiteY429" fmla="*/ 765596 h 1192212"/>
              <a:gd name="connsiteX430" fmla="*/ 686723 w 1100137"/>
              <a:gd name="connsiteY430" fmla="*/ 787766 h 1192212"/>
              <a:gd name="connsiteX431" fmla="*/ 686723 w 1100137"/>
              <a:gd name="connsiteY431" fmla="*/ 796348 h 1192212"/>
              <a:gd name="connsiteX432" fmla="*/ 686723 w 1100137"/>
              <a:gd name="connsiteY432" fmla="*/ 819232 h 1192212"/>
              <a:gd name="connsiteX433" fmla="*/ 686723 w 1100137"/>
              <a:gd name="connsiteY433" fmla="*/ 868577 h 1192212"/>
              <a:gd name="connsiteX434" fmla="*/ 686723 w 1100137"/>
              <a:gd name="connsiteY434" fmla="*/ 884311 h 1192212"/>
              <a:gd name="connsiteX435" fmla="*/ 686723 w 1100137"/>
              <a:gd name="connsiteY435" fmla="*/ 890747 h 1192212"/>
              <a:gd name="connsiteX436" fmla="*/ 686723 w 1100137"/>
              <a:gd name="connsiteY436" fmla="*/ 900044 h 1192212"/>
              <a:gd name="connsiteX437" fmla="*/ 686723 w 1100137"/>
              <a:gd name="connsiteY437" fmla="*/ 911486 h 1192212"/>
              <a:gd name="connsiteX438" fmla="*/ 686723 w 1100137"/>
              <a:gd name="connsiteY438" fmla="*/ 921498 h 1192212"/>
              <a:gd name="connsiteX439" fmla="*/ 686723 w 1100137"/>
              <a:gd name="connsiteY439" fmla="*/ 927220 h 1192212"/>
              <a:gd name="connsiteX440" fmla="*/ 686723 w 1100137"/>
              <a:gd name="connsiteY440" fmla="*/ 942953 h 1192212"/>
              <a:gd name="connsiteX441" fmla="*/ 686723 w 1100137"/>
              <a:gd name="connsiteY441" fmla="*/ 958686 h 1192212"/>
              <a:gd name="connsiteX442" fmla="*/ 686723 w 1100137"/>
              <a:gd name="connsiteY442" fmla="*/ 974419 h 1192212"/>
              <a:gd name="connsiteX443" fmla="*/ 686723 w 1100137"/>
              <a:gd name="connsiteY443" fmla="*/ 1009462 h 1192212"/>
              <a:gd name="connsiteX444" fmla="*/ 686723 w 1100137"/>
              <a:gd name="connsiteY444" fmla="*/ 1025195 h 1192212"/>
              <a:gd name="connsiteX445" fmla="*/ 686723 w 1100137"/>
              <a:gd name="connsiteY445" fmla="*/ 1036637 h 1192212"/>
              <a:gd name="connsiteX446" fmla="*/ 862012 w 1100137"/>
              <a:gd name="connsiteY446" fmla="*/ 1036637 h 1192212"/>
              <a:gd name="connsiteX447" fmla="*/ 862012 w 1100137"/>
              <a:gd name="connsiteY447" fmla="*/ 974419 h 1192212"/>
              <a:gd name="connsiteX448" fmla="*/ 862012 w 1100137"/>
              <a:gd name="connsiteY448" fmla="*/ 958686 h 1192212"/>
              <a:gd name="connsiteX449" fmla="*/ 862012 w 1100137"/>
              <a:gd name="connsiteY449" fmla="*/ 942953 h 1192212"/>
              <a:gd name="connsiteX450" fmla="*/ 862012 w 1100137"/>
              <a:gd name="connsiteY450" fmla="*/ 927220 h 1192212"/>
              <a:gd name="connsiteX451" fmla="*/ 862012 w 1100137"/>
              <a:gd name="connsiteY451" fmla="*/ 911486 h 1192212"/>
              <a:gd name="connsiteX452" fmla="*/ 862012 w 1100137"/>
              <a:gd name="connsiteY452" fmla="*/ 900044 h 1192212"/>
              <a:gd name="connsiteX453" fmla="*/ 862012 w 1100137"/>
              <a:gd name="connsiteY453" fmla="*/ 884311 h 1192212"/>
              <a:gd name="connsiteX454" fmla="*/ 862012 w 1100137"/>
              <a:gd name="connsiteY454" fmla="*/ 868577 h 1192212"/>
              <a:gd name="connsiteX455" fmla="*/ 862012 w 1100137"/>
              <a:gd name="connsiteY455" fmla="*/ 796348 h 1192212"/>
              <a:gd name="connsiteX456" fmla="*/ 862012 w 1100137"/>
              <a:gd name="connsiteY456" fmla="*/ 765596 h 1192212"/>
              <a:gd name="connsiteX457" fmla="*/ 862012 w 1100137"/>
              <a:gd name="connsiteY457" fmla="*/ 694081 h 1192212"/>
              <a:gd name="connsiteX458" fmla="*/ 862012 w 1100137"/>
              <a:gd name="connsiteY458" fmla="*/ 662615 h 1192212"/>
              <a:gd name="connsiteX459" fmla="*/ 862012 w 1100137"/>
              <a:gd name="connsiteY459" fmla="*/ 591100 h 1192212"/>
              <a:gd name="connsiteX460" fmla="*/ 862012 w 1100137"/>
              <a:gd name="connsiteY460" fmla="*/ 560349 h 1192212"/>
              <a:gd name="connsiteX461" fmla="*/ 862012 w 1100137"/>
              <a:gd name="connsiteY461" fmla="*/ 487404 h 1192212"/>
              <a:gd name="connsiteX462" fmla="*/ 862012 w 1100137"/>
              <a:gd name="connsiteY462" fmla="*/ 457367 h 1192212"/>
              <a:gd name="connsiteX463" fmla="*/ 862012 w 1100137"/>
              <a:gd name="connsiteY463" fmla="*/ 384422 h 1192212"/>
              <a:gd name="connsiteX464" fmla="*/ 862012 w 1100137"/>
              <a:gd name="connsiteY464" fmla="*/ 353671 h 1192212"/>
              <a:gd name="connsiteX465" fmla="*/ 862012 w 1100137"/>
              <a:gd name="connsiteY465" fmla="*/ 282156 h 1192212"/>
              <a:gd name="connsiteX466" fmla="*/ 862012 w 1100137"/>
              <a:gd name="connsiteY466" fmla="*/ 250690 h 1192212"/>
              <a:gd name="connsiteX467" fmla="*/ 862012 w 1100137"/>
              <a:gd name="connsiteY467" fmla="*/ 179175 h 1192212"/>
              <a:gd name="connsiteX468" fmla="*/ 862012 w 1100137"/>
              <a:gd name="connsiteY468" fmla="*/ 155575 h 1192212"/>
              <a:gd name="connsiteX469" fmla="*/ 532182 w 1100137"/>
              <a:gd name="connsiteY469" fmla="*/ 155575 h 1192212"/>
              <a:gd name="connsiteX470" fmla="*/ 489970 w 1100137"/>
              <a:gd name="connsiteY470" fmla="*/ 155575 h 1192212"/>
              <a:gd name="connsiteX471" fmla="*/ 474229 w 1100137"/>
              <a:gd name="connsiteY471" fmla="*/ 155575 h 1192212"/>
              <a:gd name="connsiteX472" fmla="*/ 458489 w 1100137"/>
              <a:gd name="connsiteY472" fmla="*/ 155575 h 1192212"/>
              <a:gd name="connsiteX473" fmla="*/ 444895 w 1100137"/>
              <a:gd name="connsiteY473" fmla="*/ 155575 h 1192212"/>
              <a:gd name="connsiteX474" fmla="*/ 429155 w 1100137"/>
              <a:gd name="connsiteY474" fmla="*/ 155575 h 1192212"/>
              <a:gd name="connsiteX475" fmla="*/ 413415 w 1100137"/>
              <a:gd name="connsiteY475" fmla="*/ 155575 h 1192212"/>
              <a:gd name="connsiteX476" fmla="*/ 397674 w 1100137"/>
              <a:gd name="connsiteY476" fmla="*/ 155575 h 1192212"/>
              <a:gd name="connsiteX477" fmla="*/ 381934 w 1100137"/>
              <a:gd name="connsiteY477" fmla="*/ 155575 h 1192212"/>
              <a:gd name="connsiteX478" fmla="*/ 238125 w 1100137"/>
              <a:gd name="connsiteY478" fmla="*/ 155575 h 1192212"/>
              <a:gd name="connsiteX479" fmla="*/ 923925 w 1100137"/>
              <a:gd name="connsiteY479" fmla="*/ 149225 h 1192212"/>
              <a:gd name="connsiteX480" fmla="*/ 969813 w 1100137"/>
              <a:gd name="connsiteY480" fmla="*/ 149225 h 1192212"/>
              <a:gd name="connsiteX481" fmla="*/ 985837 w 1100137"/>
              <a:gd name="connsiteY481" fmla="*/ 163955 h 1192212"/>
              <a:gd name="connsiteX482" fmla="*/ 969813 w 1100137"/>
              <a:gd name="connsiteY482" fmla="*/ 179387 h 1192212"/>
              <a:gd name="connsiteX483" fmla="*/ 923925 w 1100137"/>
              <a:gd name="connsiteY483" fmla="*/ 179387 h 1192212"/>
              <a:gd name="connsiteX484" fmla="*/ 923925 w 1100137"/>
              <a:gd name="connsiteY484" fmla="*/ 149225 h 1192212"/>
              <a:gd name="connsiteX485" fmla="*/ 444500 w 1100137"/>
              <a:gd name="connsiteY485" fmla="*/ 31750 h 1192212"/>
              <a:gd name="connsiteX486" fmla="*/ 444500 w 1100137"/>
              <a:gd name="connsiteY486" fmla="*/ 125266 h 1192212"/>
              <a:gd name="connsiteX487" fmla="*/ 458079 w 1100137"/>
              <a:gd name="connsiteY487" fmla="*/ 125266 h 1192212"/>
              <a:gd name="connsiteX488" fmla="*/ 473801 w 1100137"/>
              <a:gd name="connsiteY488" fmla="*/ 125266 h 1192212"/>
              <a:gd name="connsiteX489" fmla="*/ 489523 w 1100137"/>
              <a:gd name="connsiteY489" fmla="*/ 125266 h 1192212"/>
              <a:gd name="connsiteX490" fmla="*/ 876862 w 1100137"/>
              <a:gd name="connsiteY490" fmla="*/ 125266 h 1192212"/>
              <a:gd name="connsiteX491" fmla="*/ 879006 w 1100137"/>
              <a:gd name="connsiteY491" fmla="*/ 125266 h 1192212"/>
              <a:gd name="connsiteX492" fmla="*/ 892584 w 1100137"/>
              <a:gd name="connsiteY492" fmla="*/ 140971 h 1192212"/>
              <a:gd name="connsiteX493" fmla="*/ 892584 w 1100137"/>
              <a:gd name="connsiteY493" fmla="*/ 149537 h 1192212"/>
              <a:gd name="connsiteX494" fmla="*/ 892584 w 1100137"/>
              <a:gd name="connsiteY494" fmla="*/ 180233 h 1192212"/>
              <a:gd name="connsiteX495" fmla="*/ 892584 w 1100137"/>
              <a:gd name="connsiteY495" fmla="*/ 251619 h 1192212"/>
              <a:gd name="connsiteX496" fmla="*/ 892584 w 1100137"/>
              <a:gd name="connsiteY496" fmla="*/ 283029 h 1192212"/>
              <a:gd name="connsiteX497" fmla="*/ 892584 w 1100137"/>
              <a:gd name="connsiteY497" fmla="*/ 354415 h 1192212"/>
              <a:gd name="connsiteX498" fmla="*/ 892584 w 1100137"/>
              <a:gd name="connsiteY498" fmla="*/ 385111 h 1192212"/>
              <a:gd name="connsiteX499" fmla="*/ 892584 w 1100137"/>
              <a:gd name="connsiteY499" fmla="*/ 457924 h 1192212"/>
              <a:gd name="connsiteX500" fmla="*/ 892584 w 1100137"/>
              <a:gd name="connsiteY500" fmla="*/ 487906 h 1192212"/>
              <a:gd name="connsiteX501" fmla="*/ 892584 w 1100137"/>
              <a:gd name="connsiteY501" fmla="*/ 560720 h 1192212"/>
              <a:gd name="connsiteX502" fmla="*/ 892584 w 1100137"/>
              <a:gd name="connsiteY502" fmla="*/ 591416 h 1192212"/>
              <a:gd name="connsiteX503" fmla="*/ 892584 w 1100137"/>
              <a:gd name="connsiteY503" fmla="*/ 662802 h 1192212"/>
              <a:gd name="connsiteX504" fmla="*/ 892584 w 1100137"/>
              <a:gd name="connsiteY504" fmla="*/ 694212 h 1192212"/>
              <a:gd name="connsiteX505" fmla="*/ 892584 w 1100137"/>
              <a:gd name="connsiteY505" fmla="*/ 765598 h 1192212"/>
              <a:gd name="connsiteX506" fmla="*/ 892584 w 1100137"/>
              <a:gd name="connsiteY506" fmla="*/ 796294 h 1192212"/>
              <a:gd name="connsiteX507" fmla="*/ 892584 w 1100137"/>
              <a:gd name="connsiteY507" fmla="*/ 884098 h 1192212"/>
              <a:gd name="connsiteX508" fmla="*/ 892584 w 1100137"/>
              <a:gd name="connsiteY508" fmla="*/ 899803 h 1192212"/>
              <a:gd name="connsiteX509" fmla="*/ 892584 w 1100137"/>
              <a:gd name="connsiteY509" fmla="*/ 911225 h 1192212"/>
              <a:gd name="connsiteX510" fmla="*/ 1068387 w 1100137"/>
              <a:gd name="connsiteY510" fmla="*/ 911225 h 1192212"/>
              <a:gd name="connsiteX511" fmla="*/ 1068387 w 1100137"/>
              <a:gd name="connsiteY511" fmla="*/ 31750 h 1192212"/>
              <a:gd name="connsiteX512" fmla="*/ 444500 w 1100137"/>
              <a:gd name="connsiteY512" fmla="*/ 31750 h 1192212"/>
              <a:gd name="connsiteX513" fmla="*/ 427911 w 1100137"/>
              <a:gd name="connsiteY513" fmla="*/ 0 h 1192212"/>
              <a:gd name="connsiteX514" fmla="*/ 429339 w 1100137"/>
              <a:gd name="connsiteY514" fmla="*/ 0 h 1192212"/>
              <a:gd name="connsiteX515" fmla="*/ 1084421 w 1100137"/>
              <a:gd name="connsiteY515" fmla="*/ 0 h 1192212"/>
              <a:gd name="connsiteX516" fmla="*/ 1086564 w 1100137"/>
              <a:gd name="connsiteY516" fmla="*/ 0 h 1192212"/>
              <a:gd name="connsiteX517" fmla="*/ 1100137 w 1100137"/>
              <a:gd name="connsiteY517" fmla="*/ 15706 h 1192212"/>
              <a:gd name="connsiteX518" fmla="*/ 1100137 w 1100137"/>
              <a:gd name="connsiteY518" fmla="*/ 926642 h 1192212"/>
              <a:gd name="connsiteX519" fmla="*/ 1084421 w 1100137"/>
              <a:gd name="connsiteY519" fmla="*/ 942347 h 1192212"/>
              <a:gd name="connsiteX520" fmla="*/ 892969 w 1100137"/>
              <a:gd name="connsiteY520" fmla="*/ 942347 h 1192212"/>
              <a:gd name="connsiteX521" fmla="*/ 892969 w 1100137"/>
              <a:gd name="connsiteY521" fmla="*/ 958053 h 1192212"/>
              <a:gd name="connsiteX522" fmla="*/ 892969 w 1100137"/>
              <a:gd name="connsiteY522" fmla="*/ 973759 h 1192212"/>
              <a:gd name="connsiteX523" fmla="*/ 892969 w 1100137"/>
              <a:gd name="connsiteY523" fmla="*/ 1051574 h 1192212"/>
              <a:gd name="connsiteX524" fmla="*/ 877252 w 1100137"/>
              <a:gd name="connsiteY524" fmla="*/ 1067280 h 1192212"/>
              <a:gd name="connsiteX525" fmla="*/ 686514 w 1100137"/>
              <a:gd name="connsiteY525" fmla="*/ 1067280 h 1192212"/>
              <a:gd name="connsiteX526" fmla="*/ 686514 w 1100137"/>
              <a:gd name="connsiteY526" fmla="*/ 1176506 h 1192212"/>
              <a:gd name="connsiteX527" fmla="*/ 670798 w 1100137"/>
              <a:gd name="connsiteY527" fmla="*/ 1192212 h 1192212"/>
              <a:gd name="connsiteX528" fmla="*/ 15716 w 1100137"/>
              <a:gd name="connsiteY528" fmla="*/ 1192212 h 1192212"/>
              <a:gd name="connsiteX529" fmla="*/ 0 w 1100137"/>
              <a:gd name="connsiteY529" fmla="*/ 1176506 h 1192212"/>
              <a:gd name="connsiteX530" fmla="*/ 0 w 1100137"/>
              <a:gd name="connsiteY530" fmla="*/ 265571 h 1192212"/>
              <a:gd name="connsiteX531" fmla="*/ 15716 w 1100137"/>
              <a:gd name="connsiteY531" fmla="*/ 249865 h 1192212"/>
              <a:gd name="connsiteX532" fmla="*/ 207169 w 1100137"/>
              <a:gd name="connsiteY532" fmla="*/ 249865 h 1192212"/>
              <a:gd name="connsiteX533" fmla="*/ 207169 w 1100137"/>
              <a:gd name="connsiteY533" fmla="*/ 140638 h 1192212"/>
              <a:gd name="connsiteX534" fmla="*/ 222885 w 1100137"/>
              <a:gd name="connsiteY534" fmla="*/ 124933 h 1192212"/>
              <a:gd name="connsiteX535" fmla="*/ 382191 w 1100137"/>
              <a:gd name="connsiteY535" fmla="*/ 124933 h 1192212"/>
              <a:gd name="connsiteX536" fmla="*/ 397907 w 1100137"/>
              <a:gd name="connsiteY536" fmla="*/ 124933 h 1192212"/>
              <a:gd name="connsiteX537" fmla="*/ 413623 w 1100137"/>
              <a:gd name="connsiteY537" fmla="*/ 124933 h 1192212"/>
              <a:gd name="connsiteX538" fmla="*/ 413623 w 1100137"/>
              <a:gd name="connsiteY538" fmla="*/ 15706 h 1192212"/>
              <a:gd name="connsiteX539" fmla="*/ 427911 w 1100137"/>
              <a:gd name="connsiteY539" fmla="*/ 0 h 119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1100137" h="1192212">
                <a:moveTo>
                  <a:pt x="130931" y="1016000"/>
                </a:moveTo>
                <a:cubicBezTo>
                  <a:pt x="158153" y="1016000"/>
                  <a:pt x="183226" y="1016000"/>
                  <a:pt x="206866" y="1016000"/>
                </a:cubicBezTo>
                <a:cubicBezTo>
                  <a:pt x="211881" y="1016000"/>
                  <a:pt x="216896" y="1016000"/>
                  <a:pt x="222627" y="1016000"/>
                </a:cubicBezTo>
                <a:cubicBezTo>
                  <a:pt x="227641" y="1016000"/>
                  <a:pt x="232656" y="1016000"/>
                  <a:pt x="238387" y="1016000"/>
                </a:cubicBezTo>
                <a:cubicBezTo>
                  <a:pt x="242685" y="1016000"/>
                  <a:pt x="246983" y="1016000"/>
                  <a:pt x="251998" y="1016000"/>
                </a:cubicBezTo>
                <a:cubicBezTo>
                  <a:pt x="556455" y="1016000"/>
                  <a:pt x="556455" y="1016000"/>
                  <a:pt x="556455" y="1016000"/>
                </a:cubicBezTo>
                <a:cubicBezTo>
                  <a:pt x="562903" y="1016000"/>
                  <a:pt x="567917" y="1019507"/>
                  <a:pt x="570066" y="1025119"/>
                </a:cubicBezTo>
                <a:cubicBezTo>
                  <a:pt x="571499" y="1026522"/>
                  <a:pt x="571499" y="1028626"/>
                  <a:pt x="571499" y="1031432"/>
                </a:cubicBezTo>
                <a:cubicBezTo>
                  <a:pt x="571499" y="1032133"/>
                  <a:pt x="571499" y="1032133"/>
                  <a:pt x="571499" y="1032835"/>
                </a:cubicBezTo>
                <a:cubicBezTo>
                  <a:pt x="571499" y="1034238"/>
                  <a:pt x="571499" y="1034939"/>
                  <a:pt x="570783" y="1036342"/>
                </a:cubicBezTo>
                <a:cubicBezTo>
                  <a:pt x="569350" y="1040551"/>
                  <a:pt x="566485" y="1044058"/>
                  <a:pt x="561470" y="1045461"/>
                </a:cubicBezTo>
                <a:cubicBezTo>
                  <a:pt x="561470" y="1045461"/>
                  <a:pt x="560754" y="1046162"/>
                  <a:pt x="560037" y="1046162"/>
                </a:cubicBezTo>
                <a:cubicBezTo>
                  <a:pt x="560037" y="1046162"/>
                  <a:pt x="559321" y="1046162"/>
                  <a:pt x="559321" y="1046162"/>
                </a:cubicBezTo>
                <a:cubicBezTo>
                  <a:pt x="558605" y="1046162"/>
                  <a:pt x="557172" y="1046162"/>
                  <a:pt x="556455" y="1046162"/>
                </a:cubicBezTo>
                <a:cubicBezTo>
                  <a:pt x="385959" y="1046162"/>
                  <a:pt x="283518" y="1046162"/>
                  <a:pt x="222627" y="1046162"/>
                </a:cubicBezTo>
                <a:cubicBezTo>
                  <a:pt x="216896" y="1046162"/>
                  <a:pt x="211165" y="1046162"/>
                  <a:pt x="206866" y="1046162"/>
                </a:cubicBezTo>
                <a:cubicBezTo>
                  <a:pt x="130931" y="1046162"/>
                  <a:pt x="130931" y="1046162"/>
                  <a:pt x="130931" y="1046162"/>
                </a:cubicBezTo>
                <a:cubicBezTo>
                  <a:pt x="130931" y="1046162"/>
                  <a:pt x="130931" y="1046162"/>
                  <a:pt x="130215" y="1046162"/>
                </a:cubicBezTo>
                <a:cubicBezTo>
                  <a:pt x="122335" y="1046162"/>
                  <a:pt x="115887" y="1039849"/>
                  <a:pt x="115887" y="1031432"/>
                </a:cubicBezTo>
                <a:cubicBezTo>
                  <a:pt x="115887" y="1023015"/>
                  <a:pt x="122335" y="1016000"/>
                  <a:pt x="130931" y="1016000"/>
                </a:cubicBezTo>
                <a:close/>
                <a:moveTo>
                  <a:pt x="130931" y="912812"/>
                </a:moveTo>
                <a:cubicBezTo>
                  <a:pt x="158153" y="912812"/>
                  <a:pt x="183226" y="912812"/>
                  <a:pt x="206866" y="912812"/>
                </a:cubicBezTo>
                <a:cubicBezTo>
                  <a:pt x="211881" y="912812"/>
                  <a:pt x="216896" y="912812"/>
                  <a:pt x="222627" y="912812"/>
                </a:cubicBezTo>
                <a:cubicBezTo>
                  <a:pt x="227641" y="912812"/>
                  <a:pt x="232656" y="912812"/>
                  <a:pt x="238387" y="912812"/>
                </a:cubicBezTo>
                <a:cubicBezTo>
                  <a:pt x="242685" y="912812"/>
                  <a:pt x="246983" y="912812"/>
                  <a:pt x="251998" y="912812"/>
                </a:cubicBezTo>
                <a:cubicBezTo>
                  <a:pt x="257012" y="912812"/>
                  <a:pt x="262027" y="912812"/>
                  <a:pt x="267758" y="912812"/>
                </a:cubicBezTo>
                <a:cubicBezTo>
                  <a:pt x="272773" y="912812"/>
                  <a:pt x="277787" y="912812"/>
                  <a:pt x="283518" y="912812"/>
                </a:cubicBezTo>
                <a:cubicBezTo>
                  <a:pt x="297845" y="912812"/>
                  <a:pt x="311457" y="912812"/>
                  <a:pt x="325068" y="912812"/>
                </a:cubicBezTo>
                <a:cubicBezTo>
                  <a:pt x="345842" y="912812"/>
                  <a:pt x="365184" y="912812"/>
                  <a:pt x="382377" y="912812"/>
                </a:cubicBezTo>
                <a:cubicBezTo>
                  <a:pt x="388108" y="912812"/>
                  <a:pt x="393123" y="912812"/>
                  <a:pt x="398137" y="912812"/>
                </a:cubicBezTo>
                <a:cubicBezTo>
                  <a:pt x="403868" y="912812"/>
                  <a:pt x="408883" y="912812"/>
                  <a:pt x="413898" y="912812"/>
                </a:cubicBezTo>
                <a:cubicBezTo>
                  <a:pt x="419629" y="912812"/>
                  <a:pt x="424643" y="912812"/>
                  <a:pt x="429658" y="912812"/>
                </a:cubicBezTo>
                <a:cubicBezTo>
                  <a:pt x="556455" y="912812"/>
                  <a:pt x="556455" y="912812"/>
                  <a:pt x="556455" y="912812"/>
                </a:cubicBezTo>
                <a:cubicBezTo>
                  <a:pt x="560754" y="912812"/>
                  <a:pt x="564336" y="914977"/>
                  <a:pt x="566485" y="917142"/>
                </a:cubicBezTo>
                <a:cubicBezTo>
                  <a:pt x="567201" y="917142"/>
                  <a:pt x="567201" y="917863"/>
                  <a:pt x="567917" y="918585"/>
                </a:cubicBezTo>
                <a:cubicBezTo>
                  <a:pt x="568634" y="919306"/>
                  <a:pt x="569350" y="920750"/>
                  <a:pt x="570066" y="921471"/>
                </a:cubicBezTo>
                <a:cubicBezTo>
                  <a:pt x="570783" y="923636"/>
                  <a:pt x="571499" y="925079"/>
                  <a:pt x="571499" y="927244"/>
                </a:cubicBezTo>
                <a:cubicBezTo>
                  <a:pt x="571499" y="927966"/>
                  <a:pt x="571499" y="927966"/>
                  <a:pt x="571499" y="928687"/>
                </a:cubicBezTo>
                <a:cubicBezTo>
                  <a:pt x="571499" y="930130"/>
                  <a:pt x="571499" y="930852"/>
                  <a:pt x="571499" y="931573"/>
                </a:cubicBezTo>
                <a:cubicBezTo>
                  <a:pt x="571499" y="932295"/>
                  <a:pt x="571499" y="933017"/>
                  <a:pt x="570783" y="933017"/>
                </a:cubicBezTo>
                <a:cubicBezTo>
                  <a:pt x="570783" y="933738"/>
                  <a:pt x="570783" y="933738"/>
                  <a:pt x="570783" y="933738"/>
                </a:cubicBezTo>
                <a:cubicBezTo>
                  <a:pt x="570066" y="938068"/>
                  <a:pt x="567201" y="940954"/>
                  <a:pt x="563619" y="943119"/>
                </a:cubicBezTo>
                <a:cubicBezTo>
                  <a:pt x="562903" y="943119"/>
                  <a:pt x="562186" y="943841"/>
                  <a:pt x="561470" y="943841"/>
                </a:cubicBezTo>
                <a:cubicBezTo>
                  <a:pt x="560754" y="943841"/>
                  <a:pt x="560754" y="943841"/>
                  <a:pt x="560754" y="943841"/>
                </a:cubicBezTo>
                <a:cubicBezTo>
                  <a:pt x="560037" y="943841"/>
                  <a:pt x="559321" y="943841"/>
                  <a:pt x="559321" y="944562"/>
                </a:cubicBezTo>
                <a:cubicBezTo>
                  <a:pt x="557888" y="944562"/>
                  <a:pt x="557172" y="944562"/>
                  <a:pt x="556455" y="944562"/>
                </a:cubicBezTo>
                <a:cubicBezTo>
                  <a:pt x="497713" y="944562"/>
                  <a:pt x="446851" y="944562"/>
                  <a:pt x="403868" y="944562"/>
                </a:cubicBezTo>
                <a:cubicBezTo>
                  <a:pt x="397421" y="944562"/>
                  <a:pt x="391690" y="944562"/>
                  <a:pt x="385959" y="944562"/>
                </a:cubicBezTo>
                <a:cubicBezTo>
                  <a:pt x="345842" y="944562"/>
                  <a:pt x="312173" y="944562"/>
                  <a:pt x="283518" y="944562"/>
                </a:cubicBezTo>
                <a:cubicBezTo>
                  <a:pt x="277787" y="944562"/>
                  <a:pt x="272773" y="944562"/>
                  <a:pt x="267758" y="944562"/>
                </a:cubicBezTo>
                <a:cubicBezTo>
                  <a:pt x="262027" y="944562"/>
                  <a:pt x="257012" y="944562"/>
                  <a:pt x="251998" y="944562"/>
                </a:cubicBezTo>
                <a:cubicBezTo>
                  <a:pt x="246983" y="944562"/>
                  <a:pt x="242685" y="944562"/>
                  <a:pt x="238387" y="944562"/>
                </a:cubicBezTo>
                <a:cubicBezTo>
                  <a:pt x="232656" y="944562"/>
                  <a:pt x="226925" y="944562"/>
                  <a:pt x="222627" y="944562"/>
                </a:cubicBezTo>
                <a:cubicBezTo>
                  <a:pt x="216896" y="944562"/>
                  <a:pt x="211165" y="944562"/>
                  <a:pt x="206866" y="944562"/>
                </a:cubicBezTo>
                <a:cubicBezTo>
                  <a:pt x="130931" y="944562"/>
                  <a:pt x="130931" y="944562"/>
                  <a:pt x="130931" y="944562"/>
                </a:cubicBezTo>
                <a:cubicBezTo>
                  <a:pt x="122335" y="944562"/>
                  <a:pt x="115887" y="938068"/>
                  <a:pt x="115887" y="928687"/>
                </a:cubicBezTo>
                <a:cubicBezTo>
                  <a:pt x="115887" y="920028"/>
                  <a:pt x="122335" y="912812"/>
                  <a:pt x="130931" y="912812"/>
                </a:cubicBezTo>
                <a:close/>
                <a:moveTo>
                  <a:pt x="717550" y="890587"/>
                </a:moveTo>
                <a:cubicBezTo>
                  <a:pt x="762794" y="890587"/>
                  <a:pt x="762794" y="890587"/>
                  <a:pt x="762794" y="890587"/>
                </a:cubicBezTo>
                <a:cubicBezTo>
                  <a:pt x="769257" y="890587"/>
                  <a:pt x="774284" y="894094"/>
                  <a:pt x="776439" y="899706"/>
                </a:cubicBezTo>
                <a:cubicBezTo>
                  <a:pt x="777157" y="901109"/>
                  <a:pt x="777875" y="903213"/>
                  <a:pt x="777875" y="906019"/>
                </a:cubicBezTo>
                <a:cubicBezTo>
                  <a:pt x="777875" y="907422"/>
                  <a:pt x="777875" y="909526"/>
                  <a:pt x="777157" y="910929"/>
                </a:cubicBezTo>
                <a:cubicBezTo>
                  <a:pt x="775003" y="916540"/>
                  <a:pt x="769976" y="920749"/>
                  <a:pt x="762794" y="920749"/>
                </a:cubicBezTo>
                <a:cubicBezTo>
                  <a:pt x="746995" y="920749"/>
                  <a:pt x="731913" y="920749"/>
                  <a:pt x="717550" y="920749"/>
                </a:cubicBezTo>
                <a:cubicBezTo>
                  <a:pt x="717550" y="920749"/>
                  <a:pt x="717550" y="920749"/>
                  <a:pt x="717550" y="910929"/>
                </a:cubicBezTo>
                <a:cubicBezTo>
                  <a:pt x="717550" y="910929"/>
                  <a:pt x="717550" y="910929"/>
                  <a:pt x="717550" y="899706"/>
                </a:cubicBezTo>
                <a:cubicBezTo>
                  <a:pt x="717550" y="899706"/>
                  <a:pt x="717550" y="899706"/>
                  <a:pt x="717550" y="890587"/>
                </a:cubicBezTo>
                <a:close/>
                <a:moveTo>
                  <a:pt x="130931" y="811212"/>
                </a:moveTo>
                <a:cubicBezTo>
                  <a:pt x="158153" y="811212"/>
                  <a:pt x="183226" y="811212"/>
                  <a:pt x="206866" y="811212"/>
                </a:cubicBezTo>
                <a:cubicBezTo>
                  <a:pt x="211881" y="811212"/>
                  <a:pt x="216896" y="811212"/>
                  <a:pt x="222627" y="811212"/>
                </a:cubicBezTo>
                <a:cubicBezTo>
                  <a:pt x="227641" y="811212"/>
                  <a:pt x="232656" y="811212"/>
                  <a:pt x="238387" y="811212"/>
                </a:cubicBezTo>
                <a:cubicBezTo>
                  <a:pt x="242685" y="811212"/>
                  <a:pt x="246983" y="811212"/>
                  <a:pt x="251998" y="811212"/>
                </a:cubicBezTo>
                <a:cubicBezTo>
                  <a:pt x="257012" y="811212"/>
                  <a:pt x="262027" y="811212"/>
                  <a:pt x="267758" y="811212"/>
                </a:cubicBezTo>
                <a:cubicBezTo>
                  <a:pt x="272773" y="811212"/>
                  <a:pt x="277787" y="811212"/>
                  <a:pt x="283518" y="811212"/>
                </a:cubicBezTo>
                <a:cubicBezTo>
                  <a:pt x="297845" y="811212"/>
                  <a:pt x="311457" y="811212"/>
                  <a:pt x="325068" y="811212"/>
                </a:cubicBezTo>
                <a:cubicBezTo>
                  <a:pt x="345842" y="811212"/>
                  <a:pt x="365184" y="811212"/>
                  <a:pt x="382377" y="811212"/>
                </a:cubicBezTo>
                <a:cubicBezTo>
                  <a:pt x="388108" y="811212"/>
                  <a:pt x="393123" y="811212"/>
                  <a:pt x="398137" y="811212"/>
                </a:cubicBezTo>
                <a:cubicBezTo>
                  <a:pt x="403868" y="811212"/>
                  <a:pt x="408883" y="811212"/>
                  <a:pt x="413898" y="811212"/>
                </a:cubicBezTo>
                <a:cubicBezTo>
                  <a:pt x="419629" y="811212"/>
                  <a:pt x="424643" y="811212"/>
                  <a:pt x="429658" y="811212"/>
                </a:cubicBezTo>
                <a:cubicBezTo>
                  <a:pt x="435389" y="811212"/>
                  <a:pt x="440403" y="811212"/>
                  <a:pt x="445418" y="811212"/>
                </a:cubicBezTo>
                <a:cubicBezTo>
                  <a:pt x="450433" y="811212"/>
                  <a:pt x="454731" y="811212"/>
                  <a:pt x="459029" y="811212"/>
                </a:cubicBezTo>
                <a:cubicBezTo>
                  <a:pt x="464760" y="811212"/>
                  <a:pt x="470491" y="811212"/>
                  <a:pt x="474789" y="811212"/>
                </a:cubicBezTo>
                <a:cubicBezTo>
                  <a:pt x="480520" y="811212"/>
                  <a:pt x="486251" y="811212"/>
                  <a:pt x="490549" y="811212"/>
                </a:cubicBezTo>
                <a:cubicBezTo>
                  <a:pt x="556455" y="811212"/>
                  <a:pt x="556455" y="811212"/>
                  <a:pt x="556455" y="811212"/>
                </a:cubicBezTo>
                <a:cubicBezTo>
                  <a:pt x="562903" y="811212"/>
                  <a:pt x="567917" y="814719"/>
                  <a:pt x="570066" y="819629"/>
                </a:cubicBezTo>
                <a:cubicBezTo>
                  <a:pt x="571499" y="821734"/>
                  <a:pt x="571499" y="823838"/>
                  <a:pt x="571499" y="826644"/>
                </a:cubicBezTo>
                <a:cubicBezTo>
                  <a:pt x="571499" y="835061"/>
                  <a:pt x="565768" y="841374"/>
                  <a:pt x="556455" y="841374"/>
                </a:cubicBezTo>
                <a:cubicBezTo>
                  <a:pt x="533532" y="841374"/>
                  <a:pt x="511324" y="841374"/>
                  <a:pt x="490549" y="841374"/>
                </a:cubicBezTo>
                <a:cubicBezTo>
                  <a:pt x="485535" y="841374"/>
                  <a:pt x="480520" y="841374"/>
                  <a:pt x="474789" y="841374"/>
                </a:cubicBezTo>
                <a:cubicBezTo>
                  <a:pt x="469775" y="841374"/>
                  <a:pt x="464760" y="841374"/>
                  <a:pt x="459029" y="841374"/>
                </a:cubicBezTo>
                <a:cubicBezTo>
                  <a:pt x="454731" y="841374"/>
                  <a:pt x="450433" y="841374"/>
                  <a:pt x="445418" y="841374"/>
                </a:cubicBezTo>
                <a:cubicBezTo>
                  <a:pt x="440403" y="841374"/>
                  <a:pt x="435389" y="841374"/>
                  <a:pt x="429658" y="841374"/>
                </a:cubicBezTo>
                <a:cubicBezTo>
                  <a:pt x="424643" y="841374"/>
                  <a:pt x="419629" y="841374"/>
                  <a:pt x="413898" y="841374"/>
                </a:cubicBezTo>
                <a:cubicBezTo>
                  <a:pt x="408883" y="841374"/>
                  <a:pt x="403868" y="841374"/>
                  <a:pt x="398137" y="841374"/>
                </a:cubicBezTo>
                <a:cubicBezTo>
                  <a:pt x="393123" y="841374"/>
                  <a:pt x="388108" y="841374"/>
                  <a:pt x="382377" y="841374"/>
                </a:cubicBezTo>
                <a:cubicBezTo>
                  <a:pt x="343693" y="841374"/>
                  <a:pt x="310740" y="841374"/>
                  <a:pt x="283518" y="841374"/>
                </a:cubicBezTo>
                <a:cubicBezTo>
                  <a:pt x="277787" y="841374"/>
                  <a:pt x="272773" y="841374"/>
                  <a:pt x="267758" y="841374"/>
                </a:cubicBezTo>
                <a:cubicBezTo>
                  <a:pt x="262027" y="841374"/>
                  <a:pt x="257012" y="841374"/>
                  <a:pt x="251998" y="841374"/>
                </a:cubicBezTo>
                <a:cubicBezTo>
                  <a:pt x="246983" y="841374"/>
                  <a:pt x="242685" y="841374"/>
                  <a:pt x="238387" y="841374"/>
                </a:cubicBezTo>
                <a:cubicBezTo>
                  <a:pt x="232656" y="841374"/>
                  <a:pt x="226925" y="841374"/>
                  <a:pt x="222627" y="841374"/>
                </a:cubicBezTo>
                <a:cubicBezTo>
                  <a:pt x="216896" y="841374"/>
                  <a:pt x="211165" y="841374"/>
                  <a:pt x="206866" y="841374"/>
                </a:cubicBezTo>
                <a:cubicBezTo>
                  <a:pt x="130931" y="841374"/>
                  <a:pt x="130931" y="841374"/>
                  <a:pt x="130931" y="841374"/>
                </a:cubicBezTo>
                <a:cubicBezTo>
                  <a:pt x="122335" y="841374"/>
                  <a:pt x="115887" y="835061"/>
                  <a:pt x="115887" y="826644"/>
                </a:cubicBezTo>
                <a:cubicBezTo>
                  <a:pt x="115887" y="818227"/>
                  <a:pt x="122335" y="811212"/>
                  <a:pt x="130931" y="811212"/>
                </a:cubicBezTo>
                <a:close/>
                <a:moveTo>
                  <a:pt x="717550" y="787400"/>
                </a:moveTo>
                <a:cubicBezTo>
                  <a:pt x="762794" y="787400"/>
                  <a:pt x="762794" y="787400"/>
                  <a:pt x="762794" y="787400"/>
                </a:cubicBezTo>
                <a:cubicBezTo>
                  <a:pt x="769257" y="787400"/>
                  <a:pt x="774284" y="791008"/>
                  <a:pt x="776439" y="796059"/>
                </a:cubicBezTo>
                <a:cubicBezTo>
                  <a:pt x="777157" y="798224"/>
                  <a:pt x="777875" y="801110"/>
                  <a:pt x="777875" y="803275"/>
                </a:cubicBezTo>
                <a:cubicBezTo>
                  <a:pt x="777875" y="812656"/>
                  <a:pt x="771412" y="819150"/>
                  <a:pt x="762794" y="819150"/>
                </a:cubicBezTo>
                <a:cubicBezTo>
                  <a:pt x="746995" y="819150"/>
                  <a:pt x="731913" y="819150"/>
                  <a:pt x="717550" y="819150"/>
                </a:cubicBezTo>
                <a:cubicBezTo>
                  <a:pt x="717550" y="819150"/>
                  <a:pt x="717550" y="819150"/>
                  <a:pt x="717550" y="796059"/>
                </a:cubicBezTo>
                <a:cubicBezTo>
                  <a:pt x="717550" y="796059"/>
                  <a:pt x="717550" y="796059"/>
                  <a:pt x="717550" y="787400"/>
                </a:cubicBezTo>
                <a:close/>
                <a:moveTo>
                  <a:pt x="923925" y="765175"/>
                </a:moveTo>
                <a:cubicBezTo>
                  <a:pt x="969813" y="765175"/>
                  <a:pt x="969813" y="765175"/>
                  <a:pt x="969813" y="765175"/>
                </a:cubicBezTo>
                <a:cubicBezTo>
                  <a:pt x="979282" y="765175"/>
                  <a:pt x="985837" y="772559"/>
                  <a:pt x="985837" y="780681"/>
                </a:cubicBezTo>
                <a:cubicBezTo>
                  <a:pt x="985837" y="789541"/>
                  <a:pt x="979282" y="796925"/>
                  <a:pt x="969813" y="796925"/>
                </a:cubicBezTo>
                <a:cubicBezTo>
                  <a:pt x="954517" y="796925"/>
                  <a:pt x="939221" y="796925"/>
                  <a:pt x="923925" y="796925"/>
                </a:cubicBezTo>
                <a:cubicBezTo>
                  <a:pt x="923925" y="796925"/>
                  <a:pt x="923925" y="796925"/>
                  <a:pt x="923925" y="765175"/>
                </a:cubicBezTo>
                <a:close/>
                <a:moveTo>
                  <a:pt x="130931" y="708025"/>
                </a:moveTo>
                <a:cubicBezTo>
                  <a:pt x="158153" y="708025"/>
                  <a:pt x="183226" y="708025"/>
                  <a:pt x="206866" y="708025"/>
                </a:cubicBezTo>
                <a:cubicBezTo>
                  <a:pt x="211881" y="708025"/>
                  <a:pt x="216896" y="708025"/>
                  <a:pt x="222627" y="708025"/>
                </a:cubicBezTo>
                <a:cubicBezTo>
                  <a:pt x="227641" y="708025"/>
                  <a:pt x="232656" y="708025"/>
                  <a:pt x="238387" y="708025"/>
                </a:cubicBezTo>
                <a:cubicBezTo>
                  <a:pt x="242685" y="708025"/>
                  <a:pt x="246983" y="708025"/>
                  <a:pt x="251998" y="708025"/>
                </a:cubicBezTo>
                <a:cubicBezTo>
                  <a:pt x="257012" y="708025"/>
                  <a:pt x="262027" y="708025"/>
                  <a:pt x="267758" y="708025"/>
                </a:cubicBezTo>
                <a:cubicBezTo>
                  <a:pt x="272773" y="708025"/>
                  <a:pt x="277787" y="708025"/>
                  <a:pt x="283518" y="708025"/>
                </a:cubicBezTo>
                <a:cubicBezTo>
                  <a:pt x="297845" y="708025"/>
                  <a:pt x="311457" y="708025"/>
                  <a:pt x="325068" y="708025"/>
                </a:cubicBezTo>
                <a:cubicBezTo>
                  <a:pt x="345842" y="708025"/>
                  <a:pt x="365184" y="708025"/>
                  <a:pt x="382377" y="708025"/>
                </a:cubicBezTo>
                <a:cubicBezTo>
                  <a:pt x="388108" y="708025"/>
                  <a:pt x="393123" y="708025"/>
                  <a:pt x="398137" y="708025"/>
                </a:cubicBezTo>
                <a:cubicBezTo>
                  <a:pt x="403868" y="708025"/>
                  <a:pt x="408883" y="708025"/>
                  <a:pt x="413898" y="708025"/>
                </a:cubicBezTo>
                <a:cubicBezTo>
                  <a:pt x="419629" y="708025"/>
                  <a:pt x="424643" y="708025"/>
                  <a:pt x="429658" y="708025"/>
                </a:cubicBezTo>
                <a:cubicBezTo>
                  <a:pt x="435389" y="708025"/>
                  <a:pt x="440403" y="708025"/>
                  <a:pt x="445418" y="708025"/>
                </a:cubicBezTo>
                <a:cubicBezTo>
                  <a:pt x="450433" y="708025"/>
                  <a:pt x="454731" y="708025"/>
                  <a:pt x="459029" y="708025"/>
                </a:cubicBezTo>
                <a:cubicBezTo>
                  <a:pt x="464760" y="708025"/>
                  <a:pt x="470491" y="708025"/>
                  <a:pt x="474789" y="708025"/>
                </a:cubicBezTo>
                <a:cubicBezTo>
                  <a:pt x="480520" y="708025"/>
                  <a:pt x="486251" y="708025"/>
                  <a:pt x="490549" y="708025"/>
                </a:cubicBezTo>
                <a:cubicBezTo>
                  <a:pt x="556455" y="708025"/>
                  <a:pt x="556455" y="708025"/>
                  <a:pt x="556455" y="708025"/>
                </a:cubicBezTo>
                <a:cubicBezTo>
                  <a:pt x="562903" y="708025"/>
                  <a:pt x="567917" y="711616"/>
                  <a:pt x="570066" y="716643"/>
                </a:cubicBezTo>
                <a:cubicBezTo>
                  <a:pt x="571499" y="718797"/>
                  <a:pt x="571499" y="720952"/>
                  <a:pt x="571499" y="723106"/>
                </a:cubicBezTo>
                <a:cubicBezTo>
                  <a:pt x="571499" y="731006"/>
                  <a:pt x="565768" y="738187"/>
                  <a:pt x="556455" y="738187"/>
                </a:cubicBezTo>
                <a:cubicBezTo>
                  <a:pt x="533532" y="738187"/>
                  <a:pt x="511324" y="738187"/>
                  <a:pt x="490549" y="738187"/>
                </a:cubicBezTo>
                <a:cubicBezTo>
                  <a:pt x="485535" y="738187"/>
                  <a:pt x="480520" y="738187"/>
                  <a:pt x="474789" y="738187"/>
                </a:cubicBezTo>
                <a:cubicBezTo>
                  <a:pt x="469775" y="738187"/>
                  <a:pt x="464760" y="738187"/>
                  <a:pt x="459029" y="738187"/>
                </a:cubicBezTo>
                <a:cubicBezTo>
                  <a:pt x="454731" y="738187"/>
                  <a:pt x="450433" y="738187"/>
                  <a:pt x="445418" y="738187"/>
                </a:cubicBezTo>
                <a:cubicBezTo>
                  <a:pt x="440403" y="738187"/>
                  <a:pt x="435389" y="738187"/>
                  <a:pt x="429658" y="738187"/>
                </a:cubicBezTo>
                <a:cubicBezTo>
                  <a:pt x="424643" y="738187"/>
                  <a:pt x="419629" y="738187"/>
                  <a:pt x="413898" y="738187"/>
                </a:cubicBezTo>
                <a:cubicBezTo>
                  <a:pt x="408883" y="738187"/>
                  <a:pt x="403868" y="738187"/>
                  <a:pt x="398137" y="738187"/>
                </a:cubicBezTo>
                <a:cubicBezTo>
                  <a:pt x="393123" y="738187"/>
                  <a:pt x="388108" y="738187"/>
                  <a:pt x="382377" y="738187"/>
                </a:cubicBezTo>
                <a:cubicBezTo>
                  <a:pt x="343693" y="738187"/>
                  <a:pt x="310740" y="738187"/>
                  <a:pt x="283518" y="738187"/>
                </a:cubicBezTo>
                <a:cubicBezTo>
                  <a:pt x="277787" y="738187"/>
                  <a:pt x="272773" y="738187"/>
                  <a:pt x="267758" y="738187"/>
                </a:cubicBezTo>
                <a:cubicBezTo>
                  <a:pt x="262027" y="738187"/>
                  <a:pt x="257012" y="738187"/>
                  <a:pt x="251998" y="738187"/>
                </a:cubicBezTo>
                <a:cubicBezTo>
                  <a:pt x="246983" y="738187"/>
                  <a:pt x="242685" y="738187"/>
                  <a:pt x="238387" y="738187"/>
                </a:cubicBezTo>
                <a:cubicBezTo>
                  <a:pt x="232656" y="738187"/>
                  <a:pt x="226925" y="738187"/>
                  <a:pt x="222627" y="738187"/>
                </a:cubicBezTo>
                <a:cubicBezTo>
                  <a:pt x="216896" y="738187"/>
                  <a:pt x="211165" y="738187"/>
                  <a:pt x="206866" y="738187"/>
                </a:cubicBezTo>
                <a:cubicBezTo>
                  <a:pt x="130931" y="738187"/>
                  <a:pt x="130931" y="738187"/>
                  <a:pt x="130931" y="738187"/>
                </a:cubicBezTo>
                <a:cubicBezTo>
                  <a:pt x="122335" y="738187"/>
                  <a:pt x="115887" y="731006"/>
                  <a:pt x="115887" y="723106"/>
                </a:cubicBezTo>
                <a:cubicBezTo>
                  <a:pt x="115887" y="715207"/>
                  <a:pt x="122335" y="708025"/>
                  <a:pt x="130931" y="708025"/>
                </a:cubicBezTo>
                <a:close/>
                <a:moveTo>
                  <a:pt x="717550" y="685800"/>
                </a:moveTo>
                <a:cubicBezTo>
                  <a:pt x="762794" y="685800"/>
                  <a:pt x="762794" y="685800"/>
                  <a:pt x="762794" y="685800"/>
                </a:cubicBezTo>
                <a:cubicBezTo>
                  <a:pt x="769257" y="685800"/>
                  <a:pt x="774284" y="689307"/>
                  <a:pt x="776439" y="694217"/>
                </a:cubicBezTo>
                <a:cubicBezTo>
                  <a:pt x="777157" y="696322"/>
                  <a:pt x="777875" y="698426"/>
                  <a:pt x="777875" y="701232"/>
                </a:cubicBezTo>
                <a:cubicBezTo>
                  <a:pt x="777875" y="708948"/>
                  <a:pt x="771412" y="715962"/>
                  <a:pt x="762794" y="715962"/>
                </a:cubicBezTo>
                <a:cubicBezTo>
                  <a:pt x="746995" y="715962"/>
                  <a:pt x="731913" y="715962"/>
                  <a:pt x="717550" y="715962"/>
                </a:cubicBezTo>
                <a:cubicBezTo>
                  <a:pt x="717550" y="715962"/>
                  <a:pt x="717550" y="715962"/>
                  <a:pt x="717550" y="694217"/>
                </a:cubicBezTo>
                <a:cubicBezTo>
                  <a:pt x="717550" y="694217"/>
                  <a:pt x="717550" y="694217"/>
                  <a:pt x="717550" y="685800"/>
                </a:cubicBezTo>
                <a:close/>
                <a:moveTo>
                  <a:pt x="923925" y="661987"/>
                </a:moveTo>
                <a:cubicBezTo>
                  <a:pt x="969813" y="661987"/>
                  <a:pt x="969813" y="661987"/>
                  <a:pt x="969813" y="661987"/>
                </a:cubicBezTo>
                <a:cubicBezTo>
                  <a:pt x="979282" y="661987"/>
                  <a:pt x="985837" y="669203"/>
                  <a:pt x="985837" y="677862"/>
                </a:cubicBezTo>
                <a:cubicBezTo>
                  <a:pt x="985837" y="687243"/>
                  <a:pt x="979282" y="693737"/>
                  <a:pt x="969813" y="693737"/>
                </a:cubicBezTo>
                <a:cubicBezTo>
                  <a:pt x="954517" y="693737"/>
                  <a:pt x="939221" y="693737"/>
                  <a:pt x="923925" y="693737"/>
                </a:cubicBezTo>
                <a:cubicBezTo>
                  <a:pt x="923925" y="693737"/>
                  <a:pt x="923925" y="693737"/>
                  <a:pt x="923925" y="661987"/>
                </a:cubicBezTo>
                <a:close/>
                <a:moveTo>
                  <a:pt x="130931" y="604837"/>
                </a:moveTo>
                <a:cubicBezTo>
                  <a:pt x="158153" y="604837"/>
                  <a:pt x="183226" y="604837"/>
                  <a:pt x="206866" y="604837"/>
                </a:cubicBezTo>
                <a:cubicBezTo>
                  <a:pt x="211881" y="604837"/>
                  <a:pt x="216896" y="604837"/>
                  <a:pt x="222627" y="604837"/>
                </a:cubicBezTo>
                <a:cubicBezTo>
                  <a:pt x="227641" y="604837"/>
                  <a:pt x="232656" y="604837"/>
                  <a:pt x="238387" y="604837"/>
                </a:cubicBezTo>
                <a:cubicBezTo>
                  <a:pt x="242685" y="604837"/>
                  <a:pt x="246983" y="604837"/>
                  <a:pt x="251998" y="604837"/>
                </a:cubicBezTo>
                <a:cubicBezTo>
                  <a:pt x="257012" y="604837"/>
                  <a:pt x="262027" y="604837"/>
                  <a:pt x="267758" y="604837"/>
                </a:cubicBezTo>
                <a:cubicBezTo>
                  <a:pt x="272773" y="604837"/>
                  <a:pt x="277787" y="604837"/>
                  <a:pt x="283518" y="604837"/>
                </a:cubicBezTo>
                <a:cubicBezTo>
                  <a:pt x="297845" y="604837"/>
                  <a:pt x="311457" y="604837"/>
                  <a:pt x="324351" y="604837"/>
                </a:cubicBezTo>
                <a:cubicBezTo>
                  <a:pt x="345842" y="604837"/>
                  <a:pt x="365184" y="604837"/>
                  <a:pt x="382377" y="604837"/>
                </a:cubicBezTo>
                <a:cubicBezTo>
                  <a:pt x="388108" y="604837"/>
                  <a:pt x="393123" y="604837"/>
                  <a:pt x="398137" y="604837"/>
                </a:cubicBezTo>
                <a:cubicBezTo>
                  <a:pt x="403868" y="604837"/>
                  <a:pt x="408883" y="604837"/>
                  <a:pt x="413898" y="604837"/>
                </a:cubicBezTo>
                <a:cubicBezTo>
                  <a:pt x="419629" y="604837"/>
                  <a:pt x="424643" y="604837"/>
                  <a:pt x="429658" y="604837"/>
                </a:cubicBezTo>
                <a:cubicBezTo>
                  <a:pt x="435389" y="604837"/>
                  <a:pt x="440403" y="604837"/>
                  <a:pt x="445418" y="604837"/>
                </a:cubicBezTo>
                <a:cubicBezTo>
                  <a:pt x="450433" y="604837"/>
                  <a:pt x="454731" y="604837"/>
                  <a:pt x="459029" y="604837"/>
                </a:cubicBezTo>
                <a:cubicBezTo>
                  <a:pt x="464760" y="604837"/>
                  <a:pt x="470491" y="604837"/>
                  <a:pt x="474789" y="604837"/>
                </a:cubicBezTo>
                <a:cubicBezTo>
                  <a:pt x="480520" y="604837"/>
                  <a:pt x="486251" y="604837"/>
                  <a:pt x="490549" y="604837"/>
                </a:cubicBezTo>
                <a:cubicBezTo>
                  <a:pt x="556455" y="604837"/>
                  <a:pt x="556455" y="604837"/>
                  <a:pt x="556455" y="604837"/>
                </a:cubicBezTo>
                <a:cubicBezTo>
                  <a:pt x="562903" y="604837"/>
                  <a:pt x="567917" y="608344"/>
                  <a:pt x="570066" y="613254"/>
                </a:cubicBezTo>
                <a:cubicBezTo>
                  <a:pt x="571499" y="615359"/>
                  <a:pt x="571499" y="617463"/>
                  <a:pt x="571499" y="620269"/>
                </a:cubicBezTo>
                <a:cubicBezTo>
                  <a:pt x="571499" y="627985"/>
                  <a:pt x="565768" y="634999"/>
                  <a:pt x="556455" y="634999"/>
                </a:cubicBezTo>
                <a:cubicBezTo>
                  <a:pt x="533532" y="634999"/>
                  <a:pt x="511324" y="634999"/>
                  <a:pt x="490549" y="634999"/>
                </a:cubicBezTo>
                <a:cubicBezTo>
                  <a:pt x="485535" y="634999"/>
                  <a:pt x="480520" y="634999"/>
                  <a:pt x="474789" y="634999"/>
                </a:cubicBezTo>
                <a:cubicBezTo>
                  <a:pt x="469775" y="634999"/>
                  <a:pt x="464760" y="634999"/>
                  <a:pt x="459029" y="634999"/>
                </a:cubicBezTo>
                <a:cubicBezTo>
                  <a:pt x="454731" y="634999"/>
                  <a:pt x="450433" y="634999"/>
                  <a:pt x="445418" y="634999"/>
                </a:cubicBezTo>
                <a:cubicBezTo>
                  <a:pt x="440403" y="634999"/>
                  <a:pt x="435389" y="634999"/>
                  <a:pt x="429658" y="634999"/>
                </a:cubicBezTo>
                <a:cubicBezTo>
                  <a:pt x="424643" y="634999"/>
                  <a:pt x="419629" y="634999"/>
                  <a:pt x="413898" y="634999"/>
                </a:cubicBezTo>
                <a:cubicBezTo>
                  <a:pt x="408883" y="634999"/>
                  <a:pt x="403868" y="634999"/>
                  <a:pt x="398137" y="634999"/>
                </a:cubicBezTo>
                <a:cubicBezTo>
                  <a:pt x="393123" y="634999"/>
                  <a:pt x="388108" y="634999"/>
                  <a:pt x="382377" y="634999"/>
                </a:cubicBezTo>
                <a:cubicBezTo>
                  <a:pt x="343693" y="634999"/>
                  <a:pt x="310740" y="634999"/>
                  <a:pt x="283518" y="634999"/>
                </a:cubicBezTo>
                <a:cubicBezTo>
                  <a:pt x="277787" y="634999"/>
                  <a:pt x="272773" y="634999"/>
                  <a:pt x="267758" y="634999"/>
                </a:cubicBezTo>
                <a:cubicBezTo>
                  <a:pt x="262027" y="634999"/>
                  <a:pt x="257012" y="634999"/>
                  <a:pt x="251998" y="634999"/>
                </a:cubicBezTo>
                <a:cubicBezTo>
                  <a:pt x="246983" y="634999"/>
                  <a:pt x="242685" y="634999"/>
                  <a:pt x="238387" y="634999"/>
                </a:cubicBezTo>
                <a:cubicBezTo>
                  <a:pt x="232656" y="634999"/>
                  <a:pt x="226925" y="634999"/>
                  <a:pt x="222627" y="634999"/>
                </a:cubicBezTo>
                <a:cubicBezTo>
                  <a:pt x="216896" y="634999"/>
                  <a:pt x="211165" y="634999"/>
                  <a:pt x="206866" y="634999"/>
                </a:cubicBezTo>
                <a:cubicBezTo>
                  <a:pt x="130931" y="634999"/>
                  <a:pt x="130931" y="634999"/>
                  <a:pt x="130931" y="634999"/>
                </a:cubicBezTo>
                <a:cubicBezTo>
                  <a:pt x="122335" y="634999"/>
                  <a:pt x="115887" y="627985"/>
                  <a:pt x="115887" y="620269"/>
                </a:cubicBezTo>
                <a:cubicBezTo>
                  <a:pt x="115887" y="611852"/>
                  <a:pt x="122335" y="604837"/>
                  <a:pt x="130931" y="604837"/>
                </a:cubicBezTo>
                <a:close/>
                <a:moveTo>
                  <a:pt x="717550" y="582612"/>
                </a:moveTo>
                <a:cubicBezTo>
                  <a:pt x="762794" y="582612"/>
                  <a:pt x="762794" y="582612"/>
                  <a:pt x="762794" y="582612"/>
                </a:cubicBezTo>
                <a:cubicBezTo>
                  <a:pt x="769257" y="582612"/>
                  <a:pt x="774284" y="586203"/>
                  <a:pt x="776439" y="591230"/>
                </a:cubicBezTo>
                <a:cubicBezTo>
                  <a:pt x="777157" y="593384"/>
                  <a:pt x="777875" y="595539"/>
                  <a:pt x="777875" y="597693"/>
                </a:cubicBezTo>
                <a:cubicBezTo>
                  <a:pt x="777875" y="605593"/>
                  <a:pt x="771412" y="612774"/>
                  <a:pt x="762794" y="612774"/>
                </a:cubicBezTo>
                <a:cubicBezTo>
                  <a:pt x="746995" y="612774"/>
                  <a:pt x="731913" y="612774"/>
                  <a:pt x="717550" y="612774"/>
                </a:cubicBezTo>
                <a:cubicBezTo>
                  <a:pt x="717550" y="612774"/>
                  <a:pt x="717550" y="612774"/>
                  <a:pt x="717550" y="591230"/>
                </a:cubicBezTo>
                <a:cubicBezTo>
                  <a:pt x="717550" y="591230"/>
                  <a:pt x="717550" y="591230"/>
                  <a:pt x="717550" y="582612"/>
                </a:cubicBezTo>
                <a:close/>
                <a:moveTo>
                  <a:pt x="923925" y="560387"/>
                </a:moveTo>
                <a:cubicBezTo>
                  <a:pt x="969813" y="560387"/>
                  <a:pt x="969813" y="560387"/>
                  <a:pt x="969813" y="560387"/>
                </a:cubicBezTo>
                <a:cubicBezTo>
                  <a:pt x="979282" y="560387"/>
                  <a:pt x="985837" y="567402"/>
                  <a:pt x="985837" y="575117"/>
                </a:cubicBezTo>
                <a:cubicBezTo>
                  <a:pt x="985837" y="583535"/>
                  <a:pt x="979282" y="590549"/>
                  <a:pt x="969813" y="590549"/>
                </a:cubicBezTo>
                <a:cubicBezTo>
                  <a:pt x="954517" y="590549"/>
                  <a:pt x="939221" y="590549"/>
                  <a:pt x="923925" y="590549"/>
                </a:cubicBezTo>
                <a:cubicBezTo>
                  <a:pt x="923925" y="590549"/>
                  <a:pt x="923925" y="590549"/>
                  <a:pt x="923925" y="560387"/>
                </a:cubicBezTo>
                <a:close/>
                <a:moveTo>
                  <a:pt x="130931" y="501650"/>
                </a:moveTo>
                <a:cubicBezTo>
                  <a:pt x="158153" y="501650"/>
                  <a:pt x="183226" y="501650"/>
                  <a:pt x="206866" y="501650"/>
                </a:cubicBezTo>
                <a:cubicBezTo>
                  <a:pt x="211881" y="501650"/>
                  <a:pt x="216896" y="501650"/>
                  <a:pt x="222627" y="501650"/>
                </a:cubicBezTo>
                <a:cubicBezTo>
                  <a:pt x="227641" y="501650"/>
                  <a:pt x="232656" y="501650"/>
                  <a:pt x="238387" y="501650"/>
                </a:cubicBezTo>
                <a:cubicBezTo>
                  <a:pt x="242685" y="501650"/>
                  <a:pt x="246983" y="501650"/>
                  <a:pt x="251998" y="501650"/>
                </a:cubicBezTo>
                <a:cubicBezTo>
                  <a:pt x="257012" y="501650"/>
                  <a:pt x="262027" y="501650"/>
                  <a:pt x="267758" y="501650"/>
                </a:cubicBezTo>
                <a:cubicBezTo>
                  <a:pt x="272773" y="501650"/>
                  <a:pt x="277787" y="501650"/>
                  <a:pt x="283518" y="501650"/>
                </a:cubicBezTo>
                <a:cubicBezTo>
                  <a:pt x="297845" y="501650"/>
                  <a:pt x="311457" y="501650"/>
                  <a:pt x="325068" y="501650"/>
                </a:cubicBezTo>
                <a:cubicBezTo>
                  <a:pt x="345842" y="501650"/>
                  <a:pt x="365184" y="501650"/>
                  <a:pt x="382377" y="501650"/>
                </a:cubicBezTo>
                <a:cubicBezTo>
                  <a:pt x="388108" y="501650"/>
                  <a:pt x="393123" y="501650"/>
                  <a:pt x="398137" y="501650"/>
                </a:cubicBezTo>
                <a:cubicBezTo>
                  <a:pt x="403868" y="501650"/>
                  <a:pt x="408883" y="501650"/>
                  <a:pt x="413898" y="501650"/>
                </a:cubicBezTo>
                <a:cubicBezTo>
                  <a:pt x="419629" y="501650"/>
                  <a:pt x="424643" y="501650"/>
                  <a:pt x="429658" y="501650"/>
                </a:cubicBezTo>
                <a:cubicBezTo>
                  <a:pt x="435389" y="501650"/>
                  <a:pt x="440403" y="501650"/>
                  <a:pt x="445418" y="501650"/>
                </a:cubicBezTo>
                <a:cubicBezTo>
                  <a:pt x="450433" y="501650"/>
                  <a:pt x="454731" y="501650"/>
                  <a:pt x="459029" y="501650"/>
                </a:cubicBezTo>
                <a:cubicBezTo>
                  <a:pt x="464760" y="501650"/>
                  <a:pt x="470491" y="501650"/>
                  <a:pt x="474789" y="501650"/>
                </a:cubicBezTo>
                <a:cubicBezTo>
                  <a:pt x="480520" y="501650"/>
                  <a:pt x="486251" y="501650"/>
                  <a:pt x="490549" y="501650"/>
                </a:cubicBezTo>
                <a:cubicBezTo>
                  <a:pt x="556455" y="501650"/>
                  <a:pt x="556455" y="501650"/>
                  <a:pt x="556455" y="501650"/>
                </a:cubicBezTo>
                <a:cubicBezTo>
                  <a:pt x="562903" y="501650"/>
                  <a:pt x="567917" y="505258"/>
                  <a:pt x="570066" y="510309"/>
                </a:cubicBezTo>
                <a:cubicBezTo>
                  <a:pt x="571499" y="512474"/>
                  <a:pt x="571499" y="515360"/>
                  <a:pt x="571499" y="517525"/>
                </a:cubicBezTo>
                <a:cubicBezTo>
                  <a:pt x="571499" y="526184"/>
                  <a:pt x="565768" y="533400"/>
                  <a:pt x="556455" y="533400"/>
                </a:cubicBezTo>
                <a:cubicBezTo>
                  <a:pt x="533532" y="533400"/>
                  <a:pt x="511324" y="533400"/>
                  <a:pt x="490549" y="533400"/>
                </a:cubicBezTo>
                <a:cubicBezTo>
                  <a:pt x="485535" y="533400"/>
                  <a:pt x="480520" y="533400"/>
                  <a:pt x="474789" y="533400"/>
                </a:cubicBezTo>
                <a:cubicBezTo>
                  <a:pt x="469775" y="533400"/>
                  <a:pt x="464760" y="533400"/>
                  <a:pt x="459029" y="533400"/>
                </a:cubicBezTo>
                <a:cubicBezTo>
                  <a:pt x="454731" y="533400"/>
                  <a:pt x="450433" y="533400"/>
                  <a:pt x="445418" y="533400"/>
                </a:cubicBezTo>
                <a:cubicBezTo>
                  <a:pt x="440403" y="533400"/>
                  <a:pt x="435389" y="533400"/>
                  <a:pt x="429658" y="533400"/>
                </a:cubicBezTo>
                <a:cubicBezTo>
                  <a:pt x="424643" y="533400"/>
                  <a:pt x="419629" y="533400"/>
                  <a:pt x="413898" y="533400"/>
                </a:cubicBezTo>
                <a:cubicBezTo>
                  <a:pt x="408883" y="533400"/>
                  <a:pt x="403868" y="533400"/>
                  <a:pt x="398137" y="533400"/>
                </a:cubicBezTo>
                <a:cubicBezTo>
                  <a:pt x="393123" y="533400"/>
                  <a:pt x="388108" y="533400"/>
                  <a:pt x="382377" y="533400"/>
                </a:cubicBezTo>
                <a:cubicBezTo>
                  <a:pt x="343693" y="533400"/>
                  <a:pt x="310740" y="533400"/>
                  <a:pt x="283518" y="533400"/>
                </a:cubicBezTo>
                <a:cubicBezTo>
                  <a:pt x="277787" y="533400"/>
                  <a:pt x="272773" y="533400"/>
                  <a:pt x="267758" y="533400"/>
                </a:cubicBezTo>
                <a:cubicBezTo>
                  <a:pt x="262027" y="533400"/>
                  <a:pt x="257012" y="533400"/>
                  <a:pt x="251998" y="533400"/>
                </a:cubicBezTo>
                <a:cubicBezTo>
                  <a:pt x="246983" y="533400"/>
                  <a:pt x="242685" y="533400"/>
                  <a:pt x="238387" y="533400"/>
                </a:cubicBezTo>
                <a:cubicBezTo>
                  <a:pt x="232656" y="533400"/>
                  <a:pt x="226925" y="533400"/>
                  <a:pt x="222627" y="533400"/>
                </a:cubicBezTo>
                <a:cubicBezTo>
                  <a:pt x="216896" y="533400"/>
                  <a:pt x="211165" y="533400"/>
                  <a:pt x="206866" y="533400"/>
                </a:cubicBezTo>
                <a:cubicBezTo>
                  <a:pt x="130931" y="533400"/>
                  <a:pt x="130931" y="533400"/>
                  <a:pt x="130931" y="533400"/>
                </a:cubicBezTo>
                <a:cubicBezTo>
                  <a:pt x="122335" y="533400"/>
                  <a:pt x="115887" y="526184"/>
                  <a:pt x="115887" y="517525"/>
                </a:cubicBezTo>
                <a:cubicBezTo>
                  <a:pt x="115887" y="508866"/>
                  <a:pt x="122335" y="501650"/>
                  <a:pt x="130931" y="501650"/>
                </a:cubicBezTo>
                <a:close/>
                <a:moveTo>
                  <a:pt x="717550" y="479425"/>
                </a:moveTo>
                <a:cubicBezTo>
                  <a:pt x="762794" y="479425"/>
                  <a:pt x="762794" y="479425"/>
                  <a:pt x="762794" y="479425"/>
                </a:cubicBezTo>
                <a:cubicBezTo>
                  <a:pt x="769257" y="479425"/>
                  <a:pt x="774284" y="482932"/>
                  <a:pt x="776439" y="487842"/>
                </a:cubicBezTo>
                <a:cubicBezTo>
                  <a:pt x="777157" y="489947"/>
                  <a:pt x="777875" y="492051"/>
                  <a:pt x="777875" y="494155"/>
                </a:cubicBezTo>
                <a:cubicBezTo>
                  <a:pt x="777875" y="502573"/>
                  <a:pt x="771412" y="509587"/>
                  <a:pt x="762794" y="509587"/>
                </a:cubicBezTo>
                <a:cubicBezTo>
                  <a:pt x="746995" y="509587"/>
                  <a:pt x="731913" y="509587"/>
                  <a:pt x="717550" y="509587"/>
                </a:cubicBezTo>
                <a:cubicBezTo>
                  <a:pt x="717550" y="509587"/>
                  <a:pt x="717550" y="509587"/>
                  <a:pt x="717550" y="487842"/>
                </a:cubicBezTo>
                <a:cubicBezTo>
                  <a:pt x="717550" y="487842"/>
                  <a:pt x="717550" y="487842"/>
                  <a:pt x="717550" y="479425"/>
                </a:cubicBezTo>
                <a:close/>
                <a:moveTo>
                  <a:pt x="923925" y="457200"/>
                </a:moveTo>
                <a:cubicBezTo>
                  <a:pt x="969813" y="457200"/>
                  <a:pt x="969813" y="457200"/>
                  <a:pt x="969813" y="457200"/>
                </a:cubicBezTo>
                <a:cubicBezTo>
                  <a:pt x="979282" y="457200"/>
                  <a:pt x="985837" y="464381"/>
                  <a:pt x="985837" y="472281"/>
                </a:cubicBezTo>
                <a:cubicBezTo>
                  <a:pt x="985837" y="480180"/>
                  <a:pt x="979282" y="487362"/>
                  <a:pt x="969813" y="487362"/>
                </a:cubicBezTo>
                <a:cubicBezTo>
                  <a:pt x="954517" y="487362"/>
                  <a:pt x="939221" y="487362"/>
                  <a:pt x="923925" y="487362"/>
                </a:cubicBezTo>
                <a:cubicBezTo>
                  <a:pt x="923925" y="487362"/>
                  <a:pt x="923925" y="487362"/>
                  <a:pt x="923925" y="457200"/>
                </a:cubicBezTo>
                <a:close/>
                <a:moveTo>
                  <a:pt x="130931" y="398462"/>
                </a:moveTo>
                <a:cubicBezTo>
                  <a:pt x="158153" y="398462"/>
                  <a:pt x="183226" y="398462"/>
                  <a:pt x="206866" y="398462"/>
                </a:cubicBezTo>
                <a:cubicBezTo>
                  <a:pt x="211881" y="398462"/>
                  <a:pt x="216896" y="398462"/>
                  <a:pt x="222627" y="398462"/>
                </a:cubicBezTo>
                <a:cubicBezTo>
                  <a:pt x="227641" y="398462"/>
                  <a:pt x="232656" y="398462"/>
                  <a:pt x="238387" y="398462"/>
                </a:cubicBezTo>
                <a:cubicBezTo>
                  <a:pt x="242685" y="398462"/>
                  <a:pt x="246983" y="398462"/>
                  <a:pt x="251998" y="398462"/>
                </a:cubicBezTo>
                <a:cubicBezTo>
                  <a:pt x="257012" y="398462"/>
                  <a:pt x="262027" y="398462"/>
                  <a:pt x="267758" y="398462"/>
                </a:cubicBezTo>
                <a:cubicBezTo>
                  <a:pt x="272773" y="398462"/>
                  <a:pt x="277787" y="398462"/>
                  <a:pt x="283518" y="398462"/>
                </a:cubicBezTo>
                <a:cubicBezTo>
                  <a:pt x="297845" y="398462"/>
                  <a:pt x="311457" y="398462"/>
                  <a:pt x="325068" y="398462"/>
                </a:cubicBezTo>
                <a:cubicBezTo>
                  <a:pt x="345842" y="398462"/>
                  <a:pt x="365184" y="398462"/>
                  <a:pt x="382377" y="398462"/>
                </a:cubicBezTo>
                <a:cubicBezTo>
                  <a:pt x="388108" y="398462"/>
                  <a:pt x="393123" y="398462"/>
                  <a:pt x="398137" y="398462"/>
                </a:cubicBezTo>
                <a:cubicBezTo>
                  <a:pt x="403868" y="398462"/>
                  <a:pt x="408883" y="398462"/>
                  <a:pt x="413898" y="398462"/>
                </a:cubicBezTo>
                <a:cubicBezTo>
                  <a:pt x="419629" y="398462"/>
                  <a:pt x="424643" y="398462"/>
                  <a:pt x="429658" y="398462"/>
                </a:cubicBezTo>
                <a:cubicBezTo>
                  <a:pt x="435389" y="398462"/>
                  <a:pt x="440403" y="398462"/>
                  <a:pt x="445418" y="398462"/>
                </a:cubicBezTo>
                <a:cubicBezTo>
                  <a:pt x="450433" y="398462"/>
                  <a:pt x="454731" y="398462"/>
                  <a:pt x="459029" y="398462"/>
                </a:cubicBezTo>
                <a:cubicBezTo>
                  <a:pt x="464760" y="398462"/>
                  <a:pt x="470491" y="398462"/>
                  <a:pt x="474789" y="398462"/>
                </a:cubicBezTo>
                <a:cubicBezTo>
                  <a:pt x="480520" y="398462"/>
                  <a:pt x="486251" y="398462"/>
                  <a:pt x="490549" y="398462"/>
                </a:cubicBezTo>
                <a:cubicBezTo>
                  <a:pt x="556455" y="398462"/>
                  <a:pt x="556455" y="398462"/>
                  <a:pt x="556455" y="398462"/>
                </a:cubicBezTo>
                <a:cubicBezTo>
                  <a:pt x="562903" y="398462"/>
                  <a:pt x="567917" y="401415"/>
                  <a:pt x="570066" y="407322"/>
                </a:cubicBezTo>
                <a:cubicBezTo>
                  <a:pt x="571499" y="409537"/>
                  <a:pt x="571499" y="411753"/>
                  <a:pt x="571499" y="414706"/>
                </a:cubicBezTo>
                <a:cubicBezTo>
                  <a:pt x="571499" y="422828"/>
                  <a:pt x="565768" y="430212"/>
                  <a:pt x="556455" y="430212"/>
                </a:cubicBezTo>
                <a:cubicBezTo>
                  <a:pt x="533532" y="430212"/>
                  <a:pt x="511324" y="430212"/>
                  <a:pt x="490549" y="430212"/>
                </a:cubicBezTo>
                <a:cubicBezTo>
                  <a:pt x="485535" y="430212"/>
                  <a:pt x="480520" y="430212"/>
                  <a:pt x="474789" y="430212"/>
                </a:cubicBezTo>
                <a:cubicBezTo>
                  <a:pt x="469775" y="430212"/>
                  <a:pt x="464760" y="430212"/>
                  <a:pt x="459029" y="430212"/>
                </a:cubicBezTo>
                <a:cubicBezTo>
                  <a:pt x="454731" y="430212"/>
                  <a:pt x="450433" y="430212"/>
                  <a:pt x="445418" y="430212"/>
                </a:cubicBezTo>
                <a:cubicBezTo>
                  <a:pt x="440403" y="430212"/>
                  <a:pt x="435389" y="430212"/>
                  <a:pt x="429658" y="430212"/>
                </a:cubicBezTo>
                <a:cubicBezTo>
                  <a:pt x="424643" y="430212"/>
                  <a:pt x="419629" y="430212"/>
                  <a:pt x="413898" y="430212"/>
                </a:cubicBezTo>
                <a:cubicBezTo>
                  <a:pt x="408883" y="430212"/>
                  <a:pt x="403868" y="430212"/>
                  <a:pt x="398137" y="430212"/>
                </a:cubicBezTo>
                <a:cubicBezTo>
                  <a:pt x="393123" y="430212"/>
                  <a:pt x="388108" y="430212"/>
                  <a:pt x="382377" y="430212"/>
                </a:cubicBezTo>
                <a:cubicBezTo>
                  <a:pt x="343693" y="430212"/>
                  <a:pt x="310740" y="430212"/>
                  <a:pt x="283518" y="430212"/>
                </a:cubicBezTo>
                <a:cubicBezTo>
                  <a:pt x="277787" y="430212"/>
                  <a:pt x="272773" y="430212"/>
                  <a:pt x="267758" y="430212"/>
                </a:cubicBezTo>
                <a:cubicBezTo>
                  <a:pt x="262027" y="430212"/>
                  <a:pt x="257012" y="430212"/>
                  <a:pt x="251998" y="430212"/>
                </a:cubicBezTo>
                <a:cubicBezTo>
                  <a:pt x="246983" y="430212"/>
                  <a:pt x="242685" y="430212"/>
                  <a:pt x="238387" y="430212"/>
                </a:cubicBezTo>
                <a:cubicBezTo>
                  <a:pt x="232656" y="430212"/>
                  <a:pt x="226925" y="430212"/>
                  <a:pt x="222627" y="430212"/>
                </a:cubicBezTo>
                <a:cubicBezTo>
                  <a:pt x="216896" y="430212"/>
                  <a:pt x="211165" y="430212"/>
                  <a:pt x="206866" y="430212"/>
                </a:cubicBezTo>
                <a:cubicBezTo>
                  <a:pt x="130931" y="430212"/>
                  <a:pt x="130931" y="430212"/>
                  <a:pt x="130931" y="430212"/>
                </a:cubicBezTo>
                <a:cubicBezTo>
                  <a:pt x="122335" y="430212"/>
                  <a:pt x="115887" y="422828"/>
                  <a:pt x="115887" y="414706"/>
                </a:cubicBezTo>
                <a:cubicBezTo>
                  <a:pt x="115887" y="405107"/>
                  <a:pt x="122335" y="398462"/>
                  <a:pt x="130931" y="398462"/>
                </a:cubicBezTo>
                <a:close/>
                <a:moveTo>
                  <a:pt x="717550" y="376237"/>
                </a:moveTo>
                <a:cubicBezTo>
                  <a:pt x="762794" y="376237"/>
                  <a:pt x="762794" y="376237"/>
                  <a:pt x="762794" y="376237"/>
                </a:cubicBezTo>
                <a:cubicBezTo>
                  <a:pt x="769257" y="376237"/>
                  <a:pt x="774284" y="379845"/>
                  <a:pt x="776439" y="384896"/>
                </a:cubicBezTo>
                <a:cubicBezTo>
                  <a:pt x="777157" y="387061"/>
                  <a:pt x="777875" y="389226"/>
                  <a:pt x="777875" y="392112"/>
                </a:cubicBezTo>
                <a:cubicBezTo>
                  <a:pt x="777875" y="400771"/>
                  <a:pt x="771412" y="407987"/>
                  <a:pt x="762794" y="407987"/>
                </a:cubicBezTo>
                <a:cubicBezTo>
                  <a:pt x="746995" y="407987"/>
                  <a:pt x="731913" y="407987"/>
                  <a:pt x="717550" y="407987"/>
                </a:cubicBezTo>
                <a:cubicBezTo>
                  <a:pt x="717550" y="407987"/>
                  <a:pt x="717550" y="407987"/>
                  <a:pt x="717550" y="384896"/>
                </a:cubicBezTo>
                <a:cubicBezTo>
                  <a:pt x="717550" y="384896"/>
                  <a:pt x="717550" y="384896"/>
                  <a:pt x="717550" y="376237"/>
                </a:cubicBezTo>
                <a:close/>
                <a:moveTo>
                  <a:pt x="923925" y="354012"/>
                </a:moveTo>
                <a:cubicBezTo>
                  <a:pt x="969813" y="354012"/>
                  <a:pt x="969813" y="354012"/>
                  <a:pt x="969813" y="354012"/>
                </a:cubicBezTo>
                <a:cubicBezTo>
                  <a:pt x="979282" y="354012"/>
                  <a:pt x="985837" y="360325"/>
                  <a:pt x="985837" y="368742"/>
                </a:cubicBezTo>
                <a:cubicBezTo>
                  <a:pt x="985837" y="377159"/>
                  <a:pt x="979282" y="384174"/>
                  <a:pt x="969813" y="384174"/>
                </a:cubicBezTo>
                <a:cubicBezTo>
                  <a:pt x="954517" y="384174"/>
                  <a:pt x="939221" y="384174"/>
                  <a:pt x="923925" y="384174"/>
                </a:cubicBezTo>
                <a:cubicBezTo>
                  <a:pt x="923925" y="384174"/>
                  <a:pt x="923925" y="384174"/>
                  <a:pt x="923925" y="354012"/>
                </a:cubicBezTo>
                <a:close/>
                <a:moveTo>
                  <a:pt x="31750" y="280987"/>
                </a:moveTo>
                <a:lnTo>
                  <a:pt x="31750" y="1162049"/>
                </a:lnTo>
                <a:lnTo>
                  <a:pt x="655637" y="1162049"/>
                </a:lnTo>
                <a:lnTo>
                  <a:pt x="655637" y="1068387"/>
                </a:lnTo>
                <a:lnTo>
                  <a:pt x="655637" y="1052512"/>
                </a:lnTo>
                <a:lnTo>
                  <a:pt x="655637" y="1036637"/>
                </a:lnTo>
                <a:lnTo>
                  <a:pt x="655637" y="1025524"/>
                </a:lnTo>
                <a:lnTo>
                  <a:pt x="655637" y="1009649"/>
                </a:lnTo>
                <a:lnTo>
                  <a:pt x="655637" y="993774"/>
                </a:lnTo>
                <a:lnTo>
                  <a:pt x="655637" y="974724"/>
                </a:lnTo>
                <a:lnTo>
                  <a:pt x="655637" y="958849"/>
                </a:lnTo>
                <a:lnTo>
                  <a:pt x="655637" y="942974"/>
                </a:lnTo>
                <a:lnTo>
                  <a:pt x="655637" y="927099"/>
                </a:lnTo>
                <a:lnTo>
                  <a:pt x="655637" y="920749"/>
                </a:lnTo>
                <a:lnTo>
                  <a:pt x="655637" y="911224"/>
                </a:lnTo>
                <a:lnTo>
                  <a:pt x="655637" y="900112"/>
                </a:lnTo>
                <a:lnTo>
                  <a:pt x="655637" y="890587"/>
                </a:lnTo>
                <a:lnTo>
                  <a:pt x="655637" y="884237"/>
                </a:lnTo>
                <a:lnTo>
                  <a:pt x="655637" y="868362"/>
                </a:lnTo>
                <a:lnTo>
                  <a:pt x="655637" y="819149"/>
                </a:lnTo>
                <a:lnTo>
                  <a:pt x="655637" y="796924"/>
                </a:lnTo>
                <a:lnTo>
                  <a:pt x="655637" y="787399"/>
                </a:lnTo>
                <a:lnTo>
                  <a:pt x="655637" y="765174"/>
                </a:lnTo>
                <a:lnTo>
                  <a:pt x="655637" y="715962"/>
                </a:lnTo>
                <a:lnTo>
                  <a:pt x="655637" y="693737"/>
                </a:lnTo>
                <a:lnTo>
                  <a:pt x="655637" y="685799"/>
                </a:lnTo>
                <a:lnTo>
                  <a:pt x="655637" y="661987"/>
                </a:lnTo>
                <a:lnTo>
                  <a:pt x="655637" y="612774"/>
                </a:lnTo>
                <a:lnTo>
                  <a:pt x="655637" y="590549"/>
                </a:lnTo>
                <a:lnTo>
                  <a:pt x="655637" y="582612"/>
                </a:lnTo>
                <a:lnTo>
                  <a:pt x="655637" y="560387"/>
                </a:lnTo>
                <a:lnTo>
                  <a:pt x="655637" y="509587"/>
                </a:lnTo>
                <a:lnTo>
                  <a:pt x="655637" y="487362"/>
                </a:lnTo>
                <a:lnTo>
                  <a:pt x="655637" y="479425"/>
                </a:lnTo>
                <a:lnTo>
                  <a:pt x="655637" y="457200"/>
                </a:lnTo>
                <a:lnTo>
                  <a:pt x="655637" y="407987"/>
                </a:lnTo>
                <a:lnTo>
                  <a:pt x="655637" y="384175"/>
                </a:lnTo>
                <a:lnTo>
                  <a:pt x="655637" y="376237"/>
                </a:lnTo>
                <a:lnTo>
                  <a:pt x="655637" y="354012"/>
                </a:lnTo>
                <a:lnTo>
                  <a:pt x="655637" y="304800"/>
                </a:lnTo>
                <a:lnTo>
                  <a:pt x="655637" y="282575"/>
                </a:lnTo>
                <a:lnTo>
                  <a:pt x="655637" y="280987"/>
                </a:lnTo>
                <a:lnTo>
                  <a:pt x="539750" y="280987"/>
                </a:lnTo>
                <a:lnTo>
                  <a:pt x="490537" y="280987"/>
                </a:lnTo>
                <a:lnTo>
                  <a:pt x="474662" y="280987"/>
                </a:lnTo>
                <a:lnTo>
                  <a:pt x="458787" y="280987"/>
                </a:lnTo>
                <a:lnTo>
                  <a:pt x="444500" y="280987"/>
                </a:lnTo>
                <a:lnTo>
                  <a:pt x="428625" y="280987"/>
                </a:lnTo>
                <a:lnTo>
                  <a:pt x="414337" y="280987"/>
                </a:lnTo>
                <a:lnTo>
                  <a:pt x="398462" y="280987"/>
                </a:lnTo>
                <a:lnTo>
                  <a:pt x="382587" y="280987"/>
                </a:lnTo>
                <a:lnTo>
                  <a:pt x="325437" y="280987"/>
                </a:lnTo>
                <a:lnTo>
                  <a:pt x="284163" y="280987"/>
                </a:lnTo>
                <a:lnTo>
                  <a:pt x="268288" y="280987"/>
                </a:lnTo>
                <a:lnTo>
                  <a:pt x="252413" y="280987"/>
                </a:lnTo>
                <a:lnTo>
                  <a:pt x="238125" y="280987"/>
                </a:lnTo>
                <a:lnTo>
                  <a:pt x="222250" y="280987"/>
                </a:lnTo>
                <a:lnTo>
                  <a:pt x="206375" y="280987"/>
                </a:lnTo>
                <a:close/>
                <a:moveTo>
                  <a:pt x="717550" y="274637"/>
                </a:moveTo>
                <a:cubicBezTo>
                  <a:pt x="762794" y="274637"/>
                  <a:pt x="762794" y="274637"/>
                  <a:pt x="762794" y="274637"/>
                </a:cubicBezTo>
                <a:cubicBezTo>
                  <a:pt x="769257" y="274637"/>
                  <a:pt x="774284" y="277443"/>
                  <a:pt x="776439" y="283054"/>
                </a:cubicBezTo>
                <a:cubicBezTo>
                  <a:pt x="777157" y="285159"/>
                  <a:pt x="777875" y="287263"/>
                  <a:pt x="777875" y="289367"/>
                </a:cubicBezTo>
                <a:cubicBezTo>
                  <a:pt x="777875" y="297784"/>
                  <a:pt x="771412" y="304799"/>
                  <a:pt x="762794" y="304799"/>
                </a:cubicBezTo>
                <a:cubicBezTo>
                  <a:pt x="746995" y="304799"/>
                  <a:pt x="731913" y="304799"/>
                  <a:pt x="717550" y="304799"/>
                </a:cubicBezTo>
                <a:cubicBezTo>
                  <a:pt x="717550" y="304799"/>
                  <a:pt x="717550" y="304799"/>
                  <a:pt x="717550" y="283054"/>
                </a:cubicBezTo>
                <a:cubicBezTo>
                  <a:pt x="717550" y="283054"/>
                  <a:pt x="717550" y="283054"/>
                  <a:pt x="717550" y="274637"/>
                </a:cubicBezTo>
                <a:close/>
                <a:moveTo>
                  <a:pt x="923925" y="250825"/>
                </a:moveTo>
                <a:cubicBezTo>
                  <a:pt x="969813" y="250825"/>
                  <a:pt x="969813" y="250825"/>
                  <a:pt x="969813" y="250825"/>
                </a:cubicBezTo>
                <a:cubicBezTo>
                  <a:pt x="979282" y="250825"/>
                  <a:pt x="985837" y="258041"/>
                  <a:pt x="985837" y="266700"/>
                </a:cubicBezTo>
                <a:cubicBezTo>
                  <a:pt x="985837" y="275359"/>
                  <a:pt x="979282" y="282575"/>
                  <a:pt x="969813" y="282575"/>
                </a:cubicBezTo>
                <a:cubicBezTo>
                  <a:pt x="954517" y="282575"/>
                  <a:pt x="939221" y="282575"/>
                  <a:pt x="923925" y="282575"/>
                </a:cubicBezTo>
                <a:cubicBezTo>
                  <a:pt x="923925" y="282575"/>
                  <a:pt x="923925" y="282575"/>
                  <a:pt x="923925" y="250825"/>
                </a:cubicBezTo>
                <a:close/>
                <a:moveTo>
                  <a:pt x="238125" y="155575"/>
                </a:moveTo>
                <a:cubicBezTo>
                  <a:pt x="238125" y="155575"/>
                  <a:pt x="238125" y="155575"/>
                  <a:pt x="238125" y="249259"/>
                </a:cubicBezTo>
                <a:cubicBezTo>
                  <a:pt x="238125" y="249259"/>
                  <a:pt x="238125" y="249259"/>
                  <a:pt x="251719" y="249259"/>
                </a:cubicBezTo>
                <a:cubicBezTo>
                  <a:pt x="251719" y="249259"/>
                  <a:pt x="251719" y="249259"/>
                  <a:pt x="267459" y="249259"/>
                </a:cubicBezTo>
                <a:cubicBezTo>
                  <a:pt x="267459" y="249259"/>
                  <a:pt x="267459" y="249259"/>
                  <a:pt x="283200" y="249259"/>
                </a:cubicBezTo>
                <a:cubicBezTo>
                  <a:pt x="283200" y="249259"/>
                  <a:pt x="283200" y="249259"/>
                  <a:pt x="381934" y="249259"/>
                </a:cubicBezTo>
                <a:cubicBezTo>
                  <a:pt x="381934" y="249259"/>
                  <a:pt x="381934" y="249259"/>
                  <a:pt x="397674" y="249259"/>
                </a:cubicBezTo>
                <a:cubicBezTo>
                  <a:pt x="397674" y="249259"/>
                  <a:pt x="397674" y="249259"/>
                  <a:pt x="413415" y="249259"/>
                </a:cubicBezTo>
                <a:cubicBezTo>
                  <a:pt x="413415" y="249259"/>
                  <a:pt x="413415" y="249259"/>
                  <a:pt x="429155" y="249259"/>
                </a:cubicBezTo>
                <a:cubicBezTo>
                  <a:pt x="429155" y="249259"/>
                  <a:pt x="429155" y="249259"/>
                  <a:pt x="444895" y="249259"/>
                </a:cubicBezTo>
                <a:cubicBezTo>
                  <a:pt x="444895" y="249259"/>
                  <a:pt x="444895" y="249259"/>
                  <a:pt x="458489" y="249259"/>
                </a:cubicBezTo>
                <a:cubicBezTo>
                  <a:pt x="458489" y="249259"/>
                  <a:pt x="458489" y="249259"/>
                  <a:pt x="474229" y="249259"/>
                </a:cubicBezTo>
                <a:cubicBezTo>
                  <a:pt x="474229" y="249259"/>
                  <a:pt x="474229" y="249259"/>
                  <a:pt x="489970" y="249259"/>
                </a:cubicBezTo>
                <a:cubicBezTo>
                  <a:pt x="489970" y="249259"/>
                  <a:pt x="489970" y="249259"/>
                  <a:pt x="670983" y="249259"/>
                </a:cubicBezTo>
                <a:cubicBezTo>
                  <a:pt x="673129" y="249259"/>
                  <a:pt x="675275" y="249975"/>
                  <a:pt x="677422" y="250690"/>
                </a:cubicBezTo>
                <a:cubicBezTo>
                  <a:pt x="682430" y="253550"/>
                  <a:pt x="686723" y="258556"/>
                  <a:pt x="686723" y="264993"/>
                </a:cubicBezTo>
                <a:cubicBezTo>
                  <a:pt x="686723" y="264993"/>
                  <a:pt x="686723" y="264993"/>
                  <a:pt x="686723" y="273575"/>
                </a:cubicBezTo>
                <a:cubicBezTo>
                  <a:pt x="686723" y="273575"/>
                  <a:pt x="686723" y="273575"/>
                  <a:pt x="686723" y="282156"/>
                </a:cubicBezTo>
                <a:cubicBezTo>
                  <a:pt x="686723" y="282156"/>
                  <a:pt x="686723" y="282156"/>
                  <a:pt x="686723" y="304326"/>
                </a:cubicBezTo>
                <a:cubicBezTo>
                  <a:pt x="686723" y="304326"/>
                  <a:pt x="686723" y="304326"/>
                  <a:pt x="686723" y="353671"/>
                </a:cubicBezTo>
                <a:cubicBezTo>
                  <a:pt x="686723" y="353671"/>
                  <a:pt x="686723" y="353671"/>
                  <a:pt x="686723" y="375841"/>
                </a:cubicBezTo>
                <a:cubicBezTo>
                  <a:pt x="686723" y="375841"/>
                  <a:pt x="686723" y="375841"/>
                  <a:pt x="686723" y="384422"/>
                </a:cubicBezTo>
                <a:cubicBezTo>
                  <a:pt x="686723" y="384422"/>
                  <a:pt x="686723" y="384422"/>
                  <a:pt x="686723" y="407307"/>
                </a:cubicBezTo>
                <a:cubicBezTo>
                  <a:pt x="686723" y="407307"/>
                  <a:pt x="686723" y="407307"/>
                  <a:pt x="686723" y="457367"/>
                </a:cubicBezTo>
                <a:cubicBezTo>
                  <a:pt x="686723" y="457367"/>
                  <a:pt x="686723" y="457367"/>
                  <a:pt x="686723" y="478822"/>
                </a:cubicBezTo>
                <a:cubicBezTo>
                  <a:pt x="686723" y="478822"/>
                  <a:pt x="686723" y="478822"/>
                  <a:pt x="686723" y="487404"/>
                </a:cubicBezTo>
                <a:cubicBezTo>
                  <a:pt x="686723" y="487404"/>
                  <a:pt x="686723" y="487404"/>
                  <a:pt x="686723" y="509573"/>
                </a:cubicBezTo>
                <a:cubicBezTo>
                  <a:pt x="686723" y="509573"/>
                  <a:pt x="686723" y="509573"/>
                  <a:pt x="686723" y="560349"/>
                </a:cubicBezTo>
                <a:cubicBezTo>
                  <a:pt x="686723" y="560349"/>
                  <a:pt x="686723" y="560349"/>
                  <a:pt x="686723" y="582518"/>
                </a:cubicBezTo>
                <a:cubicBezTo>
                  <a:pt x="686723" y="582518"/>
                  <a:pt x="686723" y="582518"/>
                  <a:pt x="686723" y="591100"/>
                </a:cubicBezTo>
                <a:cubicBezTo>
                  <a:pt x="686723" y="591100"/>
                  <a:pt x="686723" y="591100"/>
                  <a:pt x="686723" y="612555"/>
                </a:cubicBezTo>
                <a:cubicBezTo>
                  <a:pt x="686723" y="612555"/>
                  <a:pt x="686723" y="612555"/>
                  <a:pt x="686723" y="662615"/>
                </a:cubicBezTo>
                <a:cubicBezTo>
                  <a:pt x="686723" y="662615"/>
                  <a:pt x="686723" y="662615"/>
                  <a:pt x="686723" y="685500"/>
                </a:cubicBezTo>
                <a:cubicBezTo>
                  <a:pt x="686723" y="685500"/>
                  <a:pt x="686723" y="685500"/>
                  <a:pt x="686723" y="694081"/>
                </a:cubicBezTo>
                <a:cubicBezTo>
                  <a:pt x="686723" y="694081"/>
                  <a:pt x="686723" y="694081"/>
                  <a:pt x="686723" y="716251"/>
                </a:cubicBezTo>
                <a:cubicBezTo>
                  <a:pt x="686723" y="716251"/>
                  <a:pt x="686723" y="716251"/>
                  <a:pt x="686723" y="765596"/>
                </a:cubicBezTo>
                <a:cubicBezTo>
                  <a:pt x="686723" y="765596"/>
                  <a:pt x="686723" y="765596"/>
                  <a:pt x="686723" y="787766"/>
                </a:cubicBezTo>
                <a:cubicBezTo>
                  <a:pt x="686723" y="787766"/>
                  <a:pt x="686723" y="787766"/>
                  <a:pt x="686723" y="796348"/>
                </a:cubicBezTo>
                <a:cubicBezTo>
                  <a:pt x="686723" y="796348"/>
                  <a:pt x="686723" y="796348"/>
                  <a:pt x="686723" y="819232"/>
                </a:cubicBezTo>
                <a:cubicBezTo>
                  <a:pt x="686723" y="819232"/>
                  <a:pt x="686723" y="819232"/>
                  <a:pt x="686723" y="868577"/>
                </a:cubicBezTo>
                <a:cubicBezTo>
                  <a:pt x="686723" y="868577"/>
                  <a:pt x="686723" y="868577"/>
                  <a:pt x="686723" y="884311"/>
                </a:cubicBezTo>
                <a:cubicBezTo>
                  <a:pt x="686723" y="884311"/>
                  <a:pt x="686723" y="884311"/>
                  <a:pt x="686723" y="890747"/>
                </a:cubicBezTo>
                <a:cubicBezTo>
                  <a:pt x="686723" y="890747"/>
                  <a:pt x="686723" y="890747"/>
                  <a:pt x="686723" y="900044"/>
                </a:cubicBezTo>
                <a:cubicBezTo>
                  <a:pt x="686723" y="900044"/>
                  <a:pt x="686723" y="900044"/>
                  <a:pt x="686723" y="911486"/>
                </a:cubicBezTo>
                <a:cubicBezTo>
                  <a:pt x="686723" y="911486"/>
                  <a:pt x="686723" y="911486"/>
                  <a:pt x="686723" y="921498"/>
                </a:cubicBezTo>
                <a:cubicBezTo>
                  <a:pt x="686723" y="921498"/>
                  <a:pt x="686723" y="921498"/>
                  <a:pt x="686723" y="927220"/>
                </a:cubicBezTo>
                <a:cubicBezTo>
                  <a:pt x="686723" y="927220"/>
                  <a:pt x="686723" y="927220"/>
                  <a:pt x="686723" y="942953"/>
                </a:cubicBezTo>
                <a:cubicBezTo>
                  <a:pt x="686723" y="942953"/>
                  <a:pt x="686723" y="942953"/>
                  <a:pt x="686723" y="958686"/>
                </a:cubicBezTo>
                <a:cubicBezTo>
                  <a:pt x="686723" y="958686"/>
                  <a:pt x="686723" y="958686"/>
                  <a:pt x="686723" y="974419"/>
                </a:cubicBezTo>
                <a:cubicBezTo>
                  <a:pt x="686723" y="974419"/>
                  <a:pt x="686723" y="974419"/>
                  <a:pt x="686723" y="1009462"/>
                </a:cubicBezTo>
                <a:cubicBezTo>
                  <a:pt x="686723" y="1009462"/>
                  <a:pt x="686723" y="1009462"/>
                  <a:pt x="686723" y="1025195"/>
                </a:cubicBezTo>
                <a:cubicBezTo>
                  <a:pt x="686723" y="1025195"/>
                  <a:pt x="686723" y="1025195"/>
                  <a:pt x="686723" y="1036637"/>
                </a:cubicBezTo>
                <a:cubicBezTo>
                  <a:pt x="686723" y="1036637"/>
                  <a:pt x="686723" y="1036637"/>
                  <a:pt x="862012" y="1036637"/>
                </a:cubicBezTo>
                <a:cubicBezTo>
                  <a:pt x="862012" y="1036637"/>
                  <a:pt x="862012" y="1036637"/>
                  <a:pt x="862012" y="974419"/>
                </a:cubicBezTo>
                <a:cubicBezTo>
                  <a:pt x="862012" y="974419"/>
                  <a:pt x="862012" y="974419"/>
                  <a:pt x="862012" y="958686"/>
                </a:cubicBezTo>
                <a:cubicBezTo>
                  <a:pt x="862012" y="958686"/>
                  <a:pt x="862012" y="958686"/>
                  <a:pt x="862012" y="942953"/>
                </a:cubicBezTo>
                <a:cubicBezTo>
                  <a:pt x="862012" y="942953"/>
                  <a:pt x="862012" y="942953"/>
                  <a:pt x="862012" y="927220"/>
                </a:cubicBezTo>
                <a:cubicBezTo>
                  <a:pt x="862012" y="927220"/>
                  <a:pt x="862012" y="927220"/>
                  <a:pt x="862012" y="911486"/>
                </a:cubicBezTo>
                <a:cubicBezTo>
                  <a:pt x="862012" y="911486"/>
                  <a:pt x="862012" y="911486"/>
                  <a:pt x="862012" y="900044"/>
                </a:cubicBezTo>
                <a:cubicBezTo>
                  <a:pt x="862012" y="900044"/>
                  <a:pt x="862012" y="900044"/>
                  <a:pt x="862012" y="884311"/>
                </a:cubicBezTo>
                <a:cubicBezTo>
                  <a:pt x="862012" y="884311"/>
                  <a:pt x="862012" y="884311"/>
                  <a:pt x="862012" y="868577"/>
                </a:cubicBezTo>
                <a:cubicBezTo>
                  <a:pt x="862012" y="868577"/>
                  <a:pt x="862012" y="868577"/>
                  <a:pt x="862012" y="796348"/>
                </a:cubicBezTo>
                <a:cubicBezTo>
                  <a:pt x="862012" y="796348"/>
                  <a:pt x="862012" y="796348"/>
                  <a:pt x="862012" y="765596"/>
                </a:cubicBezTo>
                <a:cubicBezTo>
                  <a:pt x="862012" y="765596"/>
                  <a:pt x="862012" y="765596"/>
                  <a:pt x="862012" y="694081"/>
                </a:cubicBezTo>
                <a:cubicBezTo>
                  <a:pt x="862012" y="694081"/>
                  <a:pt x="862012" y="694081"/>
                  <a:pt x="862012" y="662615"/>
                </a:cubicBezTo>
                <a:cubicBezTo>
                  <a:pt x="862012" y="662615"/>
                  <a:pt x="862012" y="662615"/>
                  <a:pt x="862012" y="591100"/>
                </a:cubicBezTo>
                <a:cubicBezTo>
                  <a:pt x="862012" y="591100"/>
                  <a:pt x="862012" y="591100"/>
                  <a:pt x="862012" y="560349"/>
                </a:cubicBezTo>
                <a:cubicBezTo>
                  <a:pt x="862012" y="560349"/>
                  <a:pt x="862012" y="560349"/>
                  <a:pt x="862012" y="487404"/>
                </a:cubicBezTo>
                <a:cubicBezTo>
                  <a:pt x="862012" y="487404"/>
                  <a:pt x="862012" y="487404"/>
                  <a:pt x="862012" y="457367"/>
                </a:cubicBezTo>
                <a:cubicBezTo>
                  <a:pt x="862012" y="457367"/>
                  <a:pt x="862012" y="457367"/>
                  <a:pt x="862012" y="384422"/>
                </a:cubicBezTo>
                <a:cubicBezTo>
                  <a:pt x="862012" y="384422"/>
                  <a:pt x="862012" y="384422"/>
                  <a:pt x="862012" y="353671"/>
                </a:cubicBezTo>
                <a:cubicBezTo>
                  <a:pt x="862012" y="353671"/>
                  <a:pt x="862012" y="353671"/>
                  <a:pt x="862012" y="282156"/>
                </a:cubicBezTo>
                <a:cubicBezTo>
                  <a:pt x="862012" y="282156"/>
                  <a:pt x="862012" y="282156"/>
                  <a:pt x="862012" y="250690"/>
                </a:cubicBezTo>
                <a:cubicBezTo>
                  <a:pt x="862012" y="250690"/>
                  <a:pt x="862012" y="250690"/>
                  <a:pt x="862012" y="179175"/>
                </a:cubicBezTo>
                <a:cubicBezTo>
                  <a:pt x="862012" y="179175"/>
                  <a:pt x="862012" y="179175"/>
                  <a:pt x="862012" y="155575"/>
                </a:cubicBezTo>
                <a:cubicBezTo>
                  <a:pt x="862012" y="155575"/>
                  <a:pt x="862012" y="155575"/>
                  <a:pt x="532182" y="155575"/>
                </a:cubicBezTo>
                <a:cubicBezTo>
                  <a:pt x="532182" y="155575"/>
                  <a:pt x="532182" y="155575"/>
                  <a:pt x="489970" y="155575"/>
                </a:cubicBezTo>
                <a:cubicBezTo>
                  <a:pt x="489970" y="155575"/>
                  <a:pt x="489970" y="155575"/>
                  <a:pt x="474229" y="155575"/>
                </a:cubicBezTo>
                <a:cubicBezTo>
                  <a:pt x="474229" y="155575"/>
                  <a:pt x="474229" y="155575"/>
                  <a:pt x="458489" y="155575"/>
                </a:cubicBezTo>
                <a:cubicBezTo>
                  <a:pt x="458489" y="155575"/>
                  <a:pt x="458489" y="155575"/>
                  <a:pt x="444895" y="155575"/>
                </a:cubicBezTo>
                <a:cubicBezTo>
                  <a:pt x="444895" y="155575"/>
                  <a:pt x="444895" y="155575"/>
                  <a:pt x="429155" y="155575"/>
                </a:cubicBezTo>
                <a:cubicBezTo>
                  <a:pt x="429155" y="155575"/>
                  <a:pt x="429155" y="155575"/>
                  <a:pt x="413415" y="155575"/>
                </a:cubicBezTo>
                <a:cubicBezTo>
                  <a:pt x="413415" y="155575"/>
                  <a:pt x="413415" y="155575"/>
                  <a:pt x="397674" y="155575"/>
                </a:cubicBezTo>
                <a:cubicBezTo>
                  <a:pt x="397674" y="155575"/>
                  <a:pt x="397674" y="155575"/>
                  <a:pt x="381934" y="155575"/>
                </a:cubicBezTo>
                <a:cubicBezTo>
                  <a:pt x="381934" y="155575"/>
                  <a:pt x="381934" y="155575"/>
                  <a:pt x="238125" y="155575"/>
                </a:cubicBezTo>
                <a:close/>
                <a:moveTo>
                  <a:pt x="923925" y="149225"/>
                </a:moveTo>
                <a:cubicBezTo>
                  <a:pt x="969813" y="149225"/>
                  <a:pt x="969813" y="149225"/>
                  <a:pt x="969813" y="149225"/>
                </a:cubicBezTo>
                <a:cubicBezTo>
                  <a:pt x="979282" y="149225"/>
                  <a:pt x="985837" y="155538"/>
                  <a:pt x="985837" y="163955"/>
                </a:cubicBezTo>
                <a:cubicBezTo>
                  <a:pt x="985837" y="172372"/>
                  <a:pt x="979282" y="179387"/>
                  <a:pt x="969813" y="179387"/>
                </a:cubicBezTo>
                <a:cubicBezTo>
                  <a:pt x="954517" y="179387"/>
                  <a:pt x="939221" y="179387"/>
                  <a:pt x="923925" y="179387"/>
                </a:cubicBezTo>
                <a:cubicBezTo>
                  <a:pt x="923925" y="179387"/>
                  <a:pt x="923925" y="179387"/>
                  <a:pt x="923925" y="149225"/>
                </a:cubicBezTo>
                <a:close/>
                <a:moveTo>
                  <a:pt x="444500" y="31750"/>
                </a:moveTo>
                <a:lnTo>
                  <a:pt x="444500" y="125266"/>
                </a:lnTo>
                <a:cubicBezTo>
                  <a:pt x="444500" y="125266"/>
                  <a:pt x="444500" y="125266"/>
                  <a:pt x="458079" y="125266"/>
                </a:cubicBezTo>
                <a:cubicBezTo>
                  <a:pt x="458079" y="125266"/>
                  <a:pt x="458079" y="125266"/>
                  <a:pt x="473801" y="125266"/>
                </a:cubicBezTo>
                <a:cubicBezTo>
                  <a:pt x="473801" y="125266"/>
                  <a:pt x="473801" y="125266"/>
                  <a:pt x="489523" y="125266"/>
                </a:cubicBezTo>
                <a:cubicBezTo>
                  <a:pt x="489523" y="125266"/>
                  <a:pt x="489523" y="125266"/>
                  <a:pt x="876862" y="125266"/>
                </a:cubicBezTo>
                <a:cubicBezTo>
                  <a:pt x="877576" y="125266"/>
                  <a:pt x="878291" y="125266"/>
                  <a:pt x="879006" y="125266"/>
                </a:cubicBezTo>
                <a:cubicBezTo>
                  <a:pt x="886867" y="125980"/>
                  <a:pt x="892584" y="133118"/>
                  <a:pt x="892584" y="140971"/>
                </a:cubicBezTo>
                <a:cubicBezTo>
                  <a:pt x="892584" y="140971"/>
                  <a:pt x="892584" y="140971"/>
                  <a:pt x="892584" y="149537"/>
                </a:cubicBezTo>
                <a:cubicBezTo>
                  <a:pt x="892584" y="149537"/>
                  <a:pt x="892584" y="149537"/>
                  <a:pt x="892584" y="180233"/>
                </a:cubicBezTo>
                <a:cubicBezTo>
                  <a:pt x="892584" y="180233"/>
                  <a:pt x="892584" y="180233"/>
                  <a:pt x="892584" y="251619"/>
                </a:cubicBezTo>
                <a:cubicBezTo>
                  <a:pt x="892584" y="251619"/>
                  <a:pt x="892584" y="251619"/>
                  <a:pt x="892584" y="283029"/>
                </a:cubicBezTo>
                <a:cubicBezTo>
                  <a:pt x="892584" y="283029"/>
                  <a:pt x="892584" y="283029"/>
                  <a:pt x="892584" y="354415"/>
                </a:cubicBezTo>
                <a:cubicBezTo>
                  <a:pt x="892584" y="354415"/>
                  <a:pt x="892584" y="354415"/>
                  <a:pt x="892584" y="385111"/>
                </a:cubicBezTo>
                <a:cubicBezTo>
                  <a:pt x="892584" y="385111"/>
                  <a:pt x="892584" y="385111"/>
                  <a:pt x="892584" y="457924"/>
                </a:cubicBezTo>
                <a:cubicBezTo>
                  <a:pt x="892584" y="457924"/>
                  <a:pt x="892584" y="457924"/>
                  <a:pt x="892584" y="487906"/>
                </a:cubicBezTo>
                <a:cubicBezTo>
                  <a:pt x="892584" y="487906"/>
                  <a:pt x="892584" y="487906"/>
                  <a:pt x="892584" y="560720"/>
                </a:cubicBezTo>
                <a:cubicBezTo>
                  <a:pt x="892584" y="560720"/>
                  <a:pt x="892584" y="560720"/>
                  <a:pt x="892584" y="591416"/>
                </a:cubicBezTo>
                <a:cubicBezTo>
                  <a:pt x="892584" y="591416"/>
                  <a:pt x="892584" y="591416"/>
                  <a:pt x="892584" y="662802"/>
                </a:cubicBezTo>
                <a:cubicBezTo>
                  <a:pt x="892584" y="662802"/>
                  <a:pt x="892584" y="662802"/>
                  <a:pt x="892584" y="694212"/>
                </a:cubicBezTo>
                <a:cubicBezTo>
                  <a:pt x="892584" y="694212"/>
                  <a:pt x="892584" y="694212"/>
                  <a:pt x="892584" y="765598"/>
                </a:cubicBezTo>
                <a:cubicBezTo>
                  <a:pt x="892584" y="765598"/>
                  <a:pt x="892584" y="765598"/>
                  <a:pt x="892584" y="796294"/>
                </a:cubicBezTo>
                <a:cubicBezTo>
                  <a:pt x="892584" y="796294"/>
                  <a:pt x="892584" y="796294"/>
                  <a:pt x="892584" y="884098"/>
                </a:cubicBezTo>
                <a:cubicBezTo>
                  <a:pt x="892584" y="884098"/>
                  <a:pt x="892584" y="884098"/>
                  <a:pt x="892584" y="899803"/>
                </a:cubicBezTo>
                <a:cubicBezTo>
                  <a:pt x="892584" y="899803"/>
                  <a:pt x="892584" y="899803"/>
                  <a:pt x="892584" y="911225"/>
                </a:cubicBezTo>
                <a:cubicBezTo>
                  <a:pt x="892584" y="911225"/>
                  <a:pt x="892584" y="911225"/>
                  <a:pt x="1068387" y="911225"/>
                </a:cubicBezTo>
                <a:cubicBezTo>
                  <a:pt x="1068387" y="911225"/>
                  <a:pt x="1068387" y="911225"/>
                  <a:pt x="1068387" y="31750"/>
                </a:cubicBezTo>
                <a:cubicBezTo>
                  <a:pt x="1068387" y="31750"/>
                  <a:pt x="1068387" y="31750"/>
                  <a:pt x="444500" y="31750"/>
                </a:cubicBezTo>
                <a:close/>
                <a:moveTo>
                  <a:pt x="427911" y="0"/>
                </a:moveTo>
                <a:cubicBezTo>
                  <a:pt x="428625" y="0"/>
                  <a:pt x="428625" y="0"/>
                  <a:pt x="429339" y="0"/>
                </a:cubicBezTo>
                <a:cubicBezTo>
                  <a:pt x="429339" y="0"/>
                  <a:pt x="429339" y="0"/>
                  <a:pt x="1084421" y="0"/>
                </a:cubicBezTo>
                <a:cubicBezTo>
                  <a:pt x="1085135" y="0"/>
                  <a:pt x="1085850" y="0"/>
                  <a:pt x="1086564" y="0"/>
                </a:cubicBezTo>
                <a:cubicBezTo>
                  <a:pt x="1094422" y="714"/>
                  <a:pt x="1100137" y="7853"/>
                  <a:pt x="1100137" y="15706"/>
                </a:cubicBezTo>
                <a:cubicBezTo>
                  <a:pt x="1100137" y="15706"/>
                  <a:pt x="1100137" y="15706"/>
                  <a:pt x="1100137" y="926642"/>
                </a:cubicBezTo>
                <a:cubicBezTo>
                  <a:pt x="1100137" y="935208"/>
                  <a:pt x="1092993" y="942347"/>
                  <a:pt x="1084421" y="942347"/>
                </a:cubicBezTo>
                <a:cubicBezTo>
                  <a:pt x="1084421" y="942347"/>
                  <a:pt x="1084421" y="942347"/>
                  <a:pt x="892969" y="942347"/>
                </a:cubicBezTo>
                <a:cubicBezTo>
                  <a:pt x="892969" y="942347"/>
                  <a:pt x="892969" y="942347"/>
                  <a:pt x="892969" y="958053"/>
                </a:cubicBezTo>
                <a:cubicBezTo>
                  <a:pt x="892969" y="958053"/>
                  <a:pt x="892969" y="958053"/>
                  <a:pt x="892969" y="973759"/>
                </a:cubicBezTo>
                <a:cubicBezTo>
                  <a:pt x="892969" y="973759"/>
                  <a:pt x="892969" y="973759"/>
                  <a:pt x="892969" y="1051574"/>
                </a:cubicBezTo>
                <a:cubicBezTo>
                  <a:pt x="892969" y="1060141"/>
                  <a:pt x="886539" y="1067280"/>
                  <a:pt x="877252" y="1067280"/>
                </a:cubicBezTo>
                <a:cubicBezTo>
                  <a:pt x="877252" y="1067280"/>
                  <a:pt x="877252" y="1067280"/>
                  <a:pt x="686514" y="1067280"/>
                </a:cubicBezTo>
                <a:cubicBezTo>
                  <a:pt x="686514" y="1067280"/>
                  <a:pt x="686514" y="1067280"/>
                  <a:pt x="686514" y="1176506"/>
                </a:cubicBezTo>
                <a:cubicBezTo>
                  <a:pt x="686514" y="1185073"/>
                  <a:pt x="679371" y="1192212"/>
                  <a:pt x="670798" y="1192212"/>
                </a:cubicBezTo>
                <a:cubicBezTo>
                  <a:pt x="670798" y="1192212"/>
                  <a:pt x="670798" y="1192212"/>
                  <a:pt x="15716" y="1192212"/>
                </a:cubicBezTo>
                <a:cubicBezTo>
                  <a:pt x="7144" y="1192212"/>
                  <a:pt x="0" y="1185073"/>
                  <a:pt x="0" y="1176506"/>
                </a:cubicBezTo>
                <a:cubicBezTo>
                  <a:pt x="0" y="1176506"/>
                  <a:pt x="0" y="1176506"/>
                  <a:pt x="0" y="265571"/>
                </a:cubicBezTo>
                <a:cubicBezTo>
                  <a:pt x="0" y="257004"/>
                  <a:pt x="7144" y="249865"/>
                  <a:pt x="15716" y="249865"/>
                </a:cubicBezTo>
                <a:cubicBezTo>
                  <a:pt x="15716" y="249865"/>
                  <a:pt x="15716" y="249865"/>
                  <a:pt x="207169" y="249865"/>
                </a:cubicBezTo>
                <a:cubicBezTo>
                  <a:pt x="207169" y="249865"/>
                  <a:pt x="207169" y="249865"/>
                  <a:pt x="207169" y="140638"/>
                </a:cubicBezTo>
                <a:cubicBezTo>
                  <a:pt x="207169" y="132072"/>
                  <a:pt x="213598" y="124933"/>
                  <a:pt x="222885" y="124933"/>
                </a:cubicBezTo>
                <a:cubicBezTo>
                  <a:pt x="222885" y="124933"/>
                  <a:pt x="222885" y="124933"/>
                  <a:pt x="382191" y="124933"/>
                </a:cubicBezTo>
                <a:cubicBezTo>
                  <a:pt x="382191" y="124933"/>
                  <a:pt x="382191" y="124933"/>
                  <a:pt x="397907" y="124933"/>
                </a:cubicBezTo>
                <a:cubicBezTo>
                  <a:pt x="397907" y="124933"/>
                  <a:pt x="397907" y="124933"/>
                  <a:pt x="413623" y="124933"/>
                </a:cubicBezTo>
                <a:cubicBezTo>
                  <a:pt x="413623" y="124933"/>
                  <a:pt x="413623" y="124933"/>
                  <a:pt x="413623" y="15706"/>
                </a:cubicBezTo>
                <a:cubicBezTo>
                  <a:pt x="413623" y="7853"/>
                  <a:pt x="420053" y="714"/>
                  <a:pt x="427911"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22" name="Group 21">
            <a:extLst>
              <a:ext uri="{FF2B5EF4-FFF2-40B4-BE49-F238E27FC236}">
                <a16:creationId xmlns:a16="http://schemas.microsoft.com/office/drawing/2014/main" id="{8415B57F-7F4A-4E20-AE7E-2C01D101482E}"/>
              </a:ext>
            </a:extLst>
          </p:cNvPr>
          <p:cNvGrpSpPr/>
          <p:nvPr/>
        </p:nvGrpSpPr>
        <p:grpSpPr>
          <a:xfrm>
            <a:off x="6759101" y="2033025"/>
            <a:ext cx="566891" cy="546527"/>
            <a:chOff x="3266731" y="-1741027"/>
            <a:chExt cx="1603375" cy="1603375"/>
          </a:xfrm>
        </p:grpSpPr>
        <p:sp>
          <p:nvSpPr>
            <p:cNvPr id="218" name="AutoShape 3">
              <a:extLst>
                <a:ext uri="{FF2B5EF4-FFF2-40B4-BE49-F238E27FC236}">
                  <a16:creationId xmlns:a16="http://schemas.microsoft.com/office/drawing/2014/main" id="{F410002C-DE33-4D9D-9BDF-8A182DB64B86}"/>
                </a:ext>
              </a:extLst>
            </p:cNvPr>
            <p:cNvSpPr>
              <a:spLocks noChangeAspect="1" noChangeArrowheads="1" noTextEdit="1"/>
            </p:cNvSpPr>
            <p:nvPr/>
          </p:nvSpPr>
          <p:spPr bwMode="auto">
            <a:xfrm>
              <a:off x="3266731" y="-1741027"/>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7">
              <a:extLst>
                <a:ext uri="{FF2B5EF4-FFF2-40B4-BE49-F238E27FC236}">
                  <a16:creationId xmlns:a16="http://schemas.microsoft.com/office/drawing/2014/main" id="{70063BE5-B3F9-4E19-A7C5-7F2C5BC55E4B}"/>
                </a:ext>
              </a:extLst>
            </p:cNvPr>
            <p:cNvSpPr>
              <a:spLocks/>
            </p:cNvSpPr>
            <p:nvPr/>
          </p:nvSpPr>
          <p:spPr bwMode="auto">
            <a:xfrm>
              <a:off x="3630269" y="-1575927"/>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223" name="bcgBugs_Speaking">
            <a:extLst>
              <a:ext uri="{FF2B5EF4-FFF2-40B4-BE49-F238E27FC236}">
                <a16:creationId xmlns:a16="http://schemas.microsoft.com/office/drawing/2014/main" id="{B11A1620-94AB-4BD3-BE15-A9B44FB99094}"/>
              </a:ext>
            </a:extLst>
          </p:cNvPr>
          <p:cNvGrpSpPr>
            <a:grpSpLocks noChangeAspect="1"/>
          </p:cNvGrpSpPr>
          <p:nvPr/>
        </p:nvGrpSpPr>
        <p:grpSpPr bwMode="auto">
          <a:xfrm>
            <a:off x="7926047" y="2128885"/>
            <a:ext cx="389336" cy="389717"/>
            <a:chOff x="2818" y="1137"/>
            <a:chExt cx="2044" cy="2046"/>
          </a:xfrm>
        </p:grpSpPr>
        <p:sp>
          <p:nvSpPr>
            <p:cNvPr id="224" name="AutoShape 3">
              <a:extLst>
                <a:ext uri="{FF2B5EF4-FFF2-40B4-BE49-F238E27FC236}">
                  <a16:creationId xmlns:a16="http://schemas.microsoft.com/office/drawing/2014/main" id="{67661B4F-0657-4D0B-9D73-6702C728BAB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4">
              <a:extLst>
                <a:ext uri="{FF2B5EF4-FFF2-40B4-BE49-F238E27FC236}">
                  <a16:creationId xmlns:a16="http://schemas.microsoft.com/office/drawing/2014/main" id="{E82CBFFC-58DC-45C4-82C5-A8A1CC1141F6}"/>
                </a:ext>
              </a:extLst>
            </p:cNvPr>
            <p:cNvSpPr>
              <a:spLocks noEditPoints="1"/>
            </p:cNvSpPr>
            <p:nvPr/>
          </p:nvSpPr>
          <p:spPr bwMode="auto">
            <a:xfrm>
              <a:off x="2974" y="1276"/>
              <a:ext cx="1735" cy="1770"/>
            </a:xfrm>
            <a:custGeom>
              <a:avLst/>
              <a:gdLst>
                <a:gd name="T0" fmla="*/ 808 w 848"/>
                <a:gd name="T1" fmla="*/ 0 h 864"/>
                <a:gd name="T2" fmla="*/ 40 w 848"/>
                <a:gd name="T3" fmla="*/ 0 h 864"/>
                <a:gd name="T4" fmla="*/ 0 w 848"/>
                <a:gd name="T5" fmla="*/ 40 h 864"/>
                <a:gd name="T6" fmla="*/ 0 w 848"/>
                <a:gd name="T7" fmla="*/ 593 h 864"/>
                <a:gd name="T8" fmla="*/ 40 w 848"/>
                <a:gd name="T9" fmla="*/ 633 h 864"/>
                <a:gd name="T10" fmla="*/ 243 w 848"/>
                <a:gd name="T11" fmla="*/ 633 h 864"/>
                <a:gd name="T12" fmla="*/ 243 w 848"/>
                <a:gd name="T13" fmla="*/ 824 h 864"/>
                <a:gd name="T14" fmla="*/ 244 w 848"/>
                <a:gd name="T15" fmla="*/ 831 h 864"/>
                <a:gd name="T16" fmla="*/ 278 w 848"/>
                <a:gd name="T17" fmla="*/ 863 h 864"/>
                <a:gd name="T18" fmla="*/ 287 w 848"/>
                <a:gd name="T19" fmla="*/ 864 h 864"/>
                <a:gd name="T20" fmla="*/ 333 w 848"/>
                <a:gd name="T21" fmla="*/ 840 h 864"/>
                <a:gd name="T22" fmla="*/ 389 w 848"/>
                <a:gd name="T23" fmla="*/ 779 h 864"/>
                <a:gd name="T24" fmla="*/ 524 w 848"/>
                <a:gd name="T25" fmla="*/ 633 h 864"/>
                <a:gd name="T26" fmla="*/ 808 w 848"/>
                <a:gd name="T27" fmla="*/ 633 h 864"/>
                <a:gd name="T28" fmla="*/ 848 w 848"/>
                <a:gd name="T29" fmla="*/ 593 h 864"/>
                <a:gd name="T30" fmla="*/ 848 w 848"/>
                <a:gd name="T31" fmla="*/ 40 h 864"/>
                <a:gd name="T32" fmla="*/ 808 w 848"/>
                <a:gd name="T33" fmla="*/ 0 h 864"/>
                <a:gd name="T34" fmla="*/ 680 w 848"/>
                <a:gd name="T35" fmla="*/ 487 h 864"/>
                <a:gd name="T36" fmla="*/ 168 w 848"/>
                <a:gd name="T37" fmla="*/ 487 h 864"/>
                <a:gd name="T38" fmla="*/ 146 w 848"/>
                <a:gd name="T39" fmla="*/ 465 h 864"/>
                <a:gd name="T40" fmla="*/ 168 w 848"/>
                <a:gd name="T41" fmla="*/ 443 h 864"/>
                <a:gd name="T42" fmla="*/ 680 w 848"/>
                <a:gd name="T43" fmla="*/ 443 h 864"/>
                <a:gd name="T44" fmla="*/ 702 w 848"/>
                <a:gd name="T45" fmla="*/ 465 h 864"/>
                <a:gd name="T46" fmla="*/ 680 w 848"/>
                <a:gd name="T47" fmla="*/ 487 h 864"/>
                <a:gd name="T48" fmla="*/ 680 w 848"/>
                <a:gd name="T49" fmla="*/ 345 h 864"/>
                <a:gd name="T50" fmla="*/ 168 w 848"/>
                <a:gd name="T51" fmla="*/ 345 h 864"/>
                <a:gd name="T52" fmla="*/ 146 w 848"/>
                <a:gd name="T53" fmla="*/ 323 h 864"/>
                <a:gd name="T54" fmla="*/ 168 w 848"/>
                <a:gd name="T55" fmla="*/ 301 h 864"/>
                <a:gd name="T56" fmla="*/ 680 w 848"/>
                <a:gd name="T57" fmla="*/ 301 h 864"/>
                <a:gd name="T58" fmla="*/ 702 w 848"/>
                <a:gd name="T59" fmla="*/ 323 h 864"/>
                <a:gd name="T60" fmla="*/ 680 w 848"/>
                <a:gd name="T61" fmla="*/ 345 h 864"/>
                <a:gd name="T62" fmla="*/ 680 w 848"/>
                <a:gd name="T63" fmla="*/ 204 h 864"/>
                <a:gd name="T64" fmla="*/ 168 w 848"/>
                <a:gd name="T65" fmla="*/ 204 h 864"/>
                <a:gd name="T66" fmla="*/ 146 w 848"/>
                <a:gd name="T67" fmla="*/ 182 h 864"/>
                <a:gd name="T68" fmla="*/ 168 w 848"/>
                <a:gd name="T69" fmla="*/ 160 h 864"/>
                <a:gd name="T70" fmla="*/ 680 w 848"/>
                <a:gd name="T71" fmla="*/ 160 h 864"/>
                <a:gd name="T72" fmla="*/ 702 w 848"/>
                <a:gd name="T73" fmla="*/ 182 h 864"/>
                <a:gd name="T74" fmla="*/ 680 w 848"/>
                <a:gd name="T75" fmla="*/ 204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8" h="864">
                  <a:moveTo>
                    <a:pt x="808" y="0"/>
                  </a:moveTo>
                  <a:cubicBezTo>
                    <a:pt x="40" y="0"/>
                    <a:pt x="40" y="0"/>
                    <a:pt x="40" y="0"/>
                  </a:cubicBezTo>
                  <a:cubicBezTo>
                    <a:pt x="18" y="0"/>
                    <a:pt x="0" y="18"/>
                    <a:pt x="0" y="40"/>
                  </a:cubicBezTo>
                  <a:cubicBezTo>
                    <a:pt x="0" y="593"/>
                    <a:pt x="0" y="593"/>
                    <a:pt x="0" y="593"/>
                  </a:cubicBezTo>
                  <a:cubicBezTo>
                    <a:pt x="0" y="615"/>
                    <a:pt x="18" y="633"/>
                    <a:pt x="40" y="633"/>
                  </a:cubicBezTo>
                  <a:cubicBezTo>
                    <a:pt x="243" y="633"/>
                    <a:pt x="243" y="633"/>
                    <a:pt x="243" y="633"/>
                  </a:cubicBezTo>
                  <a:cubicBezTo>
                    <a:pt x="243" y="824"/>
                    <a:pt x="243" y="824"/>
                    <a:pt x="243" y="824"/>
                  </a:cubicBezTo>
                  <a:cubicBezTo>
                    <a:pt x="243" y="827"/>
                    <a:pt x="244" y="829"/>
                    <a:pt x="244" y="831"/>
                  </a:cubicBezTo>
                  <a:cubicBezTo>
                    <a:pt x="245" y="834"/>
                    <a:pt x="254" y="858"/>
                    <a:pt x="278" y="863"/>
                  </a:cubicBezTo>
                  <a:cubicBezTo>
                    <a:pt x="281" y="864"/>
                    <a:pt x="284" y="864"/>
                    <a:pt x="287" y="864"/>
                  </a:cubicBezTo>
                  <a:cubicBezTo>
                    <a:pt x="302" y="864"/>
                    <a:pt x="318" y="856"/>
                    <a:pt x="333" y="840"/>
                  </a:cubicBezTo>
                  <a:cubicBezTo>
                    <a:pt x="344" y="829"/>
                    <a:pt x="364" y="807"/>
                    <a:pt x="389" y="779"/>
                  </a:cubicBezTo>
                  <a:cubicBezTo>
                    <a:pt x="426" y="737"/>
                    <a:pt x="477" y="681"/>
                    <a:pt x="524" y="633"/>
                  </a:cubicBezTo>
                  <a:cubicBezTo>
                    <a:pt x="808" y="633"/>
                    <a:pt x="808" y="633"/>
                    <a:pt x="808" y="633"/>
                  </a:cubicBezTo>
                  <a:cubicBezTo>
                    <a:pt x="830" y="633"/>
                    <a:pt x="848" y="615"/>
                    <a:pt x="848" y="593"/>
                  </a:cubicBezTo>
                  <a:cubicBezTo>
                    <a:pt x="848" y="40"/>
                    <a:pt x="848" y="40"/>
                    <a:pt x="848" y="40"/>
                  </a:cubicBezTo>
                  <a:cubicBezTo>
                    <a:pt x="848" y="18"/>
                    <a:pt x="830" y="0"/>
                    <a:pt x="808" y="0"/>
                  </a:cubicBezTo>
                  <a:close/>
                  <a:moveTo>
                    <a:pt x="680" y="487"/>
                  </a:moveTo>
                  <a:cubicBezTo>
                    <a:pt x="168" y="487"/>
                    <a:pt x="168" y="487"/>
                    <a:pt x="168" y="487"/>
                  </a:cubicBezTo>
                  <a:cubicBezTo>
                    <a:pt x="155" y="487"/>
                    <a:pt x="146" y="477"/>
                    <a:pt x="146" y="465"/>
                  </a:cubicBezTo>
                  <a:cubicBezTo>
                    <a:pt x="146" y="453"/>
                    <a:pt x="155" y="443"/>
                    <a:pt x="168" y="443"/>
                  </a:cubicBezTo>
                  <a:cubicBezTo>
                    <a:pt x="680" y="443"/>
                    <a:pt x="680" y="443"/>
                    <a:pt x="680" y="443"/>
                  </a:cubicBezTo>
                  <a:cubicBezTo>
                    <a:pt x="693" y="443"/>
                    <a:pt x="702" y="453"/>
                    <a:pt x="702" y="465"/>
                  </a:cubicBezTo>
                  <a:cubicBezTo>
                    <a:pt x="702" y="477"/>
                    <a:pt x="693" y="487"/>
                    <a:pt x="680" y="487"/>
                  </a:cubicBezTo>
                  <a:close/>
                  <a:moveTo>
                    <a:pt x="680" y="345"/>
                  </a:moveTo>
                  <a:cubicBezTo>
                    <a:pt x="168" y="345"/>
                    <a:pt x="168" y="345"/>
                    <a:pt x="168" y="345"/>
                  </a:cubicBezTo>
                  <a:cubicBezTo>
                    <a:pt x="155" y="345"/>
                    <a:pt x="146" y="335"/>
                    <a:pt x="146" y="323"/>
                  </a:cubicBezTo>
                  <a:cubicBezTo>
                    <a:pt x="146" y="310"/>
                    <a:pt x="155" y="301"/>
                    <a:pt x="168" y="301"/>
                  </a:cubicBezTo>
                  <a:cubicBezTo>
                    <a:pt x="680" y="301"/>
                    <a:pt x="680" y="301"/>
                    <a:pt x="680" y="301"/>
                  </a:cubicBezTo>
                  <a:cubicBezTo>
                    <a:pt x="693" y="301"/>
                    <a:pt x="702" y="310"/>
                    <a:pt x="702" y="323"/>
                  </a:cubicBezTo>
                  <a:cubicBezTo>
                    <a:pt x="702" y="335"/>
                    <a:pt x="693" y="345"/>
                    <a:pt x="680" y="345"/>
                  </a:cubicBezTo>
                  <a:close/>
                  <a:moveTo>
                    <a:pt x="680" y="204"/>
                  </a:moveTo>
                  <a:cubicBezTo>
                    <a:pt x="168" y="204"/>
                    <a:pt x="168" y="204"/>
                    <a:pt x="168" y="204"/>
                  </a:cubicBezTo>
                  <a:cubicBezTo>
                    <a:pt x="155" y="204"/>
                    <a:pt x="146" y="194"/>
                    <a:pt x="146" y="182"/>
                  </a:cubicBezTo>
                  <a:cubicBezTo>
                    <a:pt x="146" y="170"/>
                    <a:pt x="155" y="160"/>
                    <a:pt x="168" y="160"/>
                  </a:cubicBezTo>
                  <a:cubicBezTo>
                    <a:pt x="680" y="160"/>
                    <a:pt x="680" y="160"/>
                    <a:pt x="680" y="160"/>
                  </a:cubicBezTo>
                  <a:cubicBezTo>
                    <a:pt x="693" y="160"/>
                    <a:pt x="702" y="170"/>
                    <a:pt x="702" y="182"/>
                  </a:cubicBezTo>
                  <a:cubicBezTo>
                    <a:pt x="702" y="194"/>
                    <a:pt x="693" y="204"/>
                    <a:pt x="680" y="20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6" name="bcgBugs_Speaking">
            <a:extLst>
              <a:ext uri="{FF2B5EF4-FFF2-40B4-BE49-F238E27FC236}">
                <a16:creationId xmlns:a16="http://schemas.microsoft.com/office/drawing/2014/main" id="{68230DC5-83E9-4BFC-A494-0EDFF5928A1D}"/>
              </a:ext>
            </a:extLst>
          </p:cNvPr>
          <p:cNvGrpSpPr>
            <a:grpSpLocks noChangeAspect="1"/>
          </p:cNvGrpSpPr>
          <p:nvPr/>
        </p:nvGrpSpPr>
        <p:grpSpPr bwMode="auto">
          <a:xfrm>
            <a:off x="8310444" y="2210216"/>
            <a:ext cx="389336" cy="389717"/>
            <a:chOff x="2818" y="1137"/>
            <a:chExt cx="2044" cy="2046"/>
          </a:xfrm>
        </p:grpSpPr>
        <p:sp>
          <p:nvSpPr>
            <p:cNvPr id="227" name="AutoShape 3">
              <a:extLst>
                <a:ext uri="{FF2B5EF4-FFF2-40B4-BE49-F238E27FC236}">
                  <a16:creationId xmlns:a16="http://schemas.microsoft.com/office/drawing/2014/main" id="{FE628A01-5887-4BDF-A08B-E012887B818C}"/>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4">
              <a:extLst>
                <a:ext uri="{FF2B5EF4-FFF2-40B4-BE49-F238E27FC236}">
                  <a16:creationId xmlns:a16="http://schemas.microsoft.com/office/drawing/2014/main" id="{E38B2D11-2D2A-473E-8713-33B163352FA7}"/>
                </a:ext>
              </a:extLst>
            </p:cNvPr>
            <p:cNvSpPr>
              <a:spLocks noEditPoints="1"/>
            </p:cNvSpPr>
            <p:nvPr/>
          </p:nvSpPr>
          <p:spPr bwMode="auto">
            <a:xfrm>
              <a:off x="2974" y="1276"/>
              <a:ext cx="1735" cy="1770"/>
            </a:xfrm>
            <a:custGeom>
              <a:avLst/>
              <a:gdLst>
                <a:gd name="T0" fmla="*/ 808 w 848"/>
                <a:gd name="T1" fmla="*/ 0 h 864"/>
                <a:gd name="T2" fmla="*/ 40 w 848"/>
                <a:gd name="T3" fmla="*/ 0 h 864"/>
                <a:gd name="T4" fmla="*/ 0 w 848"/>
                <a:gd name="T5" fmla="*/ 40 h 864"/>
                <a:gd name="T6" fmla="*/ 0 w 848"/>
                <a:gd name="T7" fmla="*/ 593 h 864"/>
                <a:gd name="T8" fmla="*/ 40 w 848"/>
                <a:gd name="T9" fmla="*/ 633 h 864"/>
                <a:gd name="T10" fmla="*/ 243 w 848"/>
                <a:gd name="T11" fmla="*/ 633 h 864"/>
                <a:gd name="T12" fmla="*/ 243 w 848"/>
                <a:gd name="T13" fmla="*/ 824 h 864"/>
                <a:gd name="T14" fmla="*/ 244 w 848"/>
                <a:gd name="T15" fmla="*/ 831 h 864"/>
                <a:gd name="T16" fmla="*/ 278 w 848"/>
                <a:gd name="T17" fmla="*/ 863 h 864"/>
                <a:gd name="T18" fmla="*/ 287 w 848"/>
                <a:gd name="T19" fmla="*/ 864 h 864"/>
                <a:gd name="T20" fmla="*/ 333 w 848"/>
                <a:gd name="T21" fmla="*/ 840 h 864"/>
                <a:gd name="T22" fmla="*/ 389 w 848"/>
                <a:gd name="T23" fmla="*/ 779 h 864"/>
                <a:gd name="T24" fmla="*/ 524 w 848"/>
                <a:gd name="T25" fmla="*/ 633 h 864"/>
                <a:gd name="T26" fmla="*/ 808 w 848"/>
                <a:gd name="T27" fmla="*/ 633 h 864"/>
                <a:gd name="T28" fmla="*/ 848 w 848"/>
                <a:gd name="T29" fmla="*/ 593 h 864"/>
                <a:gd name="T30" fmla="*/ 848 w 848"/>
                <a:gd name="T31" fmla="*/ 40 h 864"/>
                <a:gd name="T32" fmla="*/ 808 w 848"/>
                <a:gd name="T33" fmla="*/ 0 h 864"/>
                <a:gd name="T34" fmla="*/ 680 w 848"/>
                <a:gd name="T35" fmla="*/ 487 h 864"/>
                <a:gd name="T36" fmla="*/ 168 w 848"/>
                <a:gd name="T37" fmla="*/ 487 h 864"/>
                <a:gd name="T38" fmla="*/ 146 w 848"/>
                <a:gd name="T39" fmla="*/ 465 h 864"/>
                <a:gd name="T40" fmla="*/ 168 w 848"/>
                <a:gd name="T41" fmla="*/ 443 h 864"/>
                <a:gd name="T42" fmla="*/ 680 w 848"/>
                <a:gd name="T43" fmla="*/ 443 h 864"/>
                <a:gd name="T44" fmla="*/ 702 w 848"/>
                <a:gd name="T45" fmla="*/ 465 h 864"/>
                <a:gd name="T46" fmla="*/ 680 w 848"/>
                <a:gd name="T47" fmla="*/ 487 h 864"/>
                <a:gd name="T48" fmla="*/ 680 w 848"/>
                <a:gd name="T49" fmla="*/ 345 h 864"/>
                <a:gd name="T50" fmla="*/ 168 w 848"/>
                <a:gd name="T51" fmla="*/ 345 h 864"/>
                <a:gd name="T52" fmla="*/ 146 w 848"/>
                <a:gd name="T53" fmla="*/ 323 h 864"/>
                <a:gd name="T54" fmla="*/ 168 w 848"/>
                <a:gd name="T55" fmla="*/ 301 h 864"/>
                <a:gd name="T56" fmla="*/ 680 w 848"/>
                <a:gd name="T57" fmla="*/ 301 h 864"/>
                <a:gd name="T58" fmla="*/ 702 w 848"/>
                <a:gd name="T59" fmla="*/ 323 h 864"/>
                <a:gd name="T60" fmla="*/ 680 w 848"/>
                <a:gd name="T61" fmla="*/ 345 h 864"/>
                <a:gd name="T62" fmla="*/ 680 w 848"/>
                <a:gd name="T63" fmla="*/ 204 h 864"/>
                <a:gd name="T64" fmla="*/ 168 w 848"/>
                <a:gd name="T65" fmla="*/ 204 h 864"/>
                <a:gd name="T66" fmla="*/ 146 w 848"/>
                <a:gd name="T67" fmla="*/ 182 h 864"/>
                <a:gd name="T68" fmla="*/ 168 w 848"/>
                <a:gd name="T69" fmla="*/ 160 h 864"/>
                <a:gd name="T70" fmla="*/ 680 w 848"/>
                <a:gd name="T71" fmla="*/ 160 h 864"/>
                <a:gd name="T72" fmla="*/ 702 w 848"/>
                <a:gd name="T73" fmla="*/ 182 h 864"/>
                <a:gd name="T74" fmla="*/ 680 w 848"/>
                <a:gd name="T75" fmla="*/ 204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8" h="864">
                  <a:moveTo>
                    <a:pt x="808" y="0"/>
                  </a:moveTo>
                  <a:cubicBezTo>
                    <a:pt x="40" y="0"/>
                    <a:pt x="40" y="0"/>
                    <a:pt x="40" y="0"/>
                  </a:cubicBezTo>
                  <a:cubicBezTo>
                    <a:pt x="18" y="0"/>
                    <a:pt x="0" y="18"/>
                    <a:pt x="0" y="40"/>
                  </a:cubicBezTo>
                  <a:cubicBezTo>
                    <a:pt x="0" y="593"/>
                    <a:pt x="0" y="593"/>
                    <a:pt x="0" y="593"/>
                  </a:cubicBezTo>
                  <a:cubicBezTo>
                    <a:pt x="0" y="615"/>
                    <a:pt x="18" y="633"/>
                    <a:pt x="40" y="633"/>
                  </a:cubicBezTo>
                  <a:cubicBezTo>
                    <a:pt x="243" y="633"/>
                    <a:pt x="243" y="633"/>
                    <a:pt x="243" y="633"/>
                  </a:cubicBezTo>
                  <a:cubicBezTo>
                    <a:pt x="243" y="824"/>
                    <a:pt x="243" y="824"/>
                    <a:pt x="243" y="824"/>
                  </a:cubicBezTo>
                  <a:cubicBezTo>
                    <a:pt x="243" y="827"/>
                    <a:pt x="244" y="829"/>
                    <a:pt x="244" y="831"/>
                  </a:cubicBezTo>
                  <a:cubicBezTo>
                    <a:pt x="245" y="834"/>
                    <a:pt x="254" y="858"/>
                    <a:pt x="278" y="863"/>
                  </a:cubicBezTo>
                  <a:cubicBezTo>
                    <a:pt x="281" y="864"/>
                    <a:pt x="284" y="864"/>
                    <a:pt x="287" y="864"/>
                  </a:cubicBezTo>
                  <a:cubicBezTo>
                    <a:pt x="302" y="864"/>
                    <a:pt x="318" y="856"/>
                    <a:pt x="333" y="840"/>
                  </a:cubicBezTo>
                  <a:cubicBezTo>
                    <a:pt x="344" y="829"/>
                    <a:pt x="364" y="807"/>
                    <a:pt x="389" y="779"/>
                  </a:cubicBezTo>
                  <a:cubicBezTo>
                    <a:pt x="426" y="737"/>
                    <a:pt x="477" y="681"/>
                    <a:pt x="524" y="633"/>
                  </a:cubicBezTo>
                  <a:cubicBezTo>
                    <a:pt x="808" y="633"/>
                    <a:pt x="808" y="633"/>
                    <a:pt x="808" y="633"/>
                  </a:cubicBezTo>
                  <a:cubicBezTo>
                    <a:pt x="830" y="633"/>
                    <a:pt x="848" y="615"/>
                    <a:pt x="848" y="593"/>
                  </a:cubicBezTo>
                  <a:cubicBezTo>
                    <a:pt x="848" y="40"/>
                    <a:pt x="848" y="40"/>
                    <a:pt x="848" y="40"/>
                  </a:cubicBezTo>
                  <a:cubicBezTo>
                    <a:pt x="848" y="18"/>
                    <a:pt x="830" y="0"/>
                    <a:pt x="808" y="0"/>
                  </a:cubicBezTo>
                  <a:close/>
                  <a:moveTo>
                    <a:pt x="680" y="487"/>
                  </a:moveTo>
                  <a:cubicBezTo>
                    <a:pt x="168" y="487"/>
                    <a:pt x="168" y="487"/>
                    <a:pt x="168" y="487"/>
                  </a:cubicBezTo>
                  <a:cubicBezTo>
                    <a:pt x="155" y="487"/>
                    <a:pt x="146" y="477"/>
                    <a:pt x="146" y="465"/>
                  </a:cubicBezTo>
                  <a:cubicBezTo>
                    <a:pt x="146" y="453"/>
                    <a:pt x="155" y="443"/>
                    <a:pt x="168" y="443"/>
                  </a:cubicBezTo>
                  <a:cubicBezTo>
                    <a:pt x="680" y="443"/>
                    <a:pt x="680" y="443"/>
                    <a:pt x="680" y="443"/>
                  </a:cubicBezTo>
                  <a:cubicBezTo>
                    <a:pt x="693" y="443"/>
                    <a:pt x="702" y="453"/>
                    <a:pt x="702" y="465"/>
                  </a:cubicBezTo>
                  <a:cubicBezTo>
                    <a:pt x="702" y="477"/>
                    <a:pt x="693" y="487"/>
                    <a:pt x="680" y="487"/>
                  </a:cubicBezTo>
                  <a:close/>
                  <a:moveTo>
                    <a:pt x="680" y="345"/>
                  </a:moveTo>
                  <a:cubicBezTo>
                    <a:pt x="168" y="345"/>
                    <a:pt x="168" y="345"/>
                    <a:pt x="168" y="345"/>
                  </a:cubicBezTo>
                  <a:cubicBezTo>
                    <a:pt x="155" y="345"/>
                    <a:pt x="146" y="335"/>
                    <a:pt x="146" y="323"/>
                  </a:cubicBezTo>
                  <a:cubicBezTo>
                    <a:pt x="146" y="310"/>
                    <a:pt x="155" y="301"/>
                    <a:pt x="168" y="301"/>
                  </a:cubicBezTo>
                  <a:cubicBezTo>
                    <a:pt x="680" y="301"/>
                    <a:pt x="680" y="301"/>
                    <a:pt x="680" y="301"/>
                  </a:cubicBezTo>
                  <a:cubicBezTo>
                    <a:pt x="693" y="301"/>
                    <a:pt x="702" y="310"/>
                    <a:pt x="702" y="323"/>
                  </a:cubicBezTo>
                  <a:cubicBezTo>
                    <a:pt x="702" y="335"/>
                    <a:pt x="693" y="345"/>
                    <a:pt x="680" y="345"/>
                  </a:cubicBezTo>
                  <a:close/>
                  <a:moveTo>
                    <a:pt x="680" y="204"/>
                  </a:moveTo>
                  <a:cubicBezTo>
                    <a:pt x="168" y="204"/>
                    <a:pt x="168" y="204"/>
                    <a:pt x="168" y="204"/>
                  </a:cubicBezTo>
                  <a:cubicBezTo>
                    <a:pt x="155" y="204"/>
                    <a:pt x="146" y="194"/>
                    <a:pt x="146" y="182"/>
                  </a:cubicBezTo>
                  <a:cubicBezTo>
                    <a:pt x="146" y="170"/>
                    <a:pt x="155" y="160"/>
                    <a:pt x="168" y="160"/>
                  </a:cubicBezTo>
                  <a:cubicBezTo>
                    <a:pt x="680" y="160"/>
                    <a:pt x="680" y="160"/>
                    <a:pt x="680" y="160"/>
                  </a:cubicBezTo>
                  <a:cubicBezTo>
                    <a:pt x="693" y="160"/>
                    <a:pt x="702" y="170"/>
                    <a:pt x="702" y="182"/>
                  </a:cubicBezTo>
                  <a:cubicBezTo>
                    <a:pt x="702" y="194"/>
                    <a:pt x="693" y="204"/>
                    <a:pt x="680" y="20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9" name="bcgBugs_Chain">
            <a:extLst>
              <a:ext uri="{FF2B5EF4-FFF2-40B4-BE49-F238E27FC236}">
                <a16:creationId xmlns:a16="http://schemas.microsoft.com/office/drawing/2014/main" id="{E1ECCE26-F4FD-446D-984B-42F37317C64B}"/>
              </a:ext>
            </a:extLst>
          </p:cNvPr>
          <p:cNvGrpSpPr>
            <a:grpSpLocks noChangeAspect="1"/>
          </p:cNvGrpSpPr>
          <p:nvPr/>
        </p:nvGrpSpPr>
        <p:grpSpPr bwMode="auto">
          <a:xfrm>
            <a:off x="10878959" y="2128826"/>
            <a:ext cx="456753" cy="457200"/>
            <a:chOff x="2818" y="1137"/>
            <a:chExt cx="2044" cy="2046"/>
          </a:xfrm>
        </p:grpSpPr>
        <p:sp>
          <p:nvSpPr>
            <p:cNvPr id="230" name="AutoShape 19">
              <a:extLst>
                <a:ext uri="{FF2B5EF4-FFF2-40B4-BE49-F238E27FC236}">
                  <a16:creationId xmlns:a16="http://schemas.microsoft.com/office/drawing/2014/main" id="{3D251343-5A8D-4091-8A8B-AC941B60D24C}"/>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21">
              <a:extLst>
                <a:ext uri="{FF2B5EF4-FFF2-40B4-BE49-F238E27FC236}">
                  <a16:creationId xmlns:a16="http://schemas.microsoft.com/office/drawing/2014/main" id="{728B5290-0236-4AB5-ACAB-7D7B03777310}"/>
                </a:ext>
              </a:extLst>
            </p:cNvPr>
            <p:cNvSpPr>
              <a:spLocks noEditPoints="1"/>
            </p:cNvSpPr>
            <p:nvPr/>
          </p:nvSpPr>
          <p:spPr bwMode="auto">
            <a:xfrm>
              <a:off x="3033" y="1352"/>
              <a:ext cx="1616" cy="1618"/>
            </a:xfrm>
            <a:custGeom>
              <a:avLst/>
              <a:gdLst>
                <a:gd name="T0" fmla="*/ 417 w 790"/>
                <a:gd name="T1" fmla="*/ 500 h 790"/>
                <a:gd name="T2" fmla="*/ 375 w 790"/>
                <a:gd name="T3" fmla="*/ 628 h 790"/>
                <a:gd name="T4" fmla="*/ 324 w 790"/>
                <a:gd name="T5" fmla="*/ 679 h 790"/>
                <a:gd name="T6" fmla="*/ 272 w 790"/>
                <a:gd name="T7" fmla="*/ 731 h 790"/>
                <a:gd name="T8" fmla="*/ 59 w 790"/>
                <a:gd name="T9" fmla="*/ 731 h 790"/>
                <a:gd name="T10" fmla="*/ 59 w 790"/>
                <a:gd name="T11" fmla="*/ 518 h 790"/>
                <a:gd name="T12" fmla="*/ 111 w 790"/>
                <a:gd name="T13" fmla="*/ 466 h 790"/>
                <a:gd name="T14" fmla="*/ 162 w 790"/>
                <a:gd name="T15" fmla="*/ 415 h 790"/>
                <a:gd name="T16" fmla="*/ 290 w 790"/>
                <a:gd name="T17" fmla="*/ 373 h 790"/>
                <a:gd name="T18" fmla="*/ 118 w 790"/>
                <a:gd name="T19" fmla="*/ 545 h 790"/>
                <a:gd name="T20" fmla="*/ 118 w 790"/>
                <a:gd name="T21" fmla="*/ 672 h 790"/>
                <a:gd name="T22" fmla="*/ 118 w 790"/>
                <a:gd name="T23" fmla="*/ 672 h 790"/>
                <a:gd name="T24" fmla="*/ 245 w 790"/>
                <a:gd name="T25" fmla="*/ 672 h 790"/>
                <a:gd name="T26" fmla="*/ 417 w 790"/>
                <a:gd name="T27" fmla="*/ 500 h 790"/>
                <a:gd name="T28" fmla="*/ 350 w 790"/>
                <a:gd name="T29" fmla="*/ 505 h 790"/>
                <a:gd name="T30" fmla="*/ 538 w 790"/>
                <a:gd name="T31" fmla="*/ 317 h 790"/>
                <a:gd name="T32" fmla="*/ 534 w 790"/>
                <a:gd name="T33" fmla="*/ 256 h 790"/>
                <a:gd name="T34" fmla="*/ 473 w 790"/>
                <a:gd name="T35" fmla="*/ 252 h 790"/>
                <a:gd name="T36" fmla="*/ 284 w 790"/>
                <a:gd name="T37" fmla="*/ 441 h 790"/>
                <a:gd name="T38" fmla="*/ 252 w 790"/>
                <a:gd name="T39" fmla="*/ 473 h 790"/>
                <a:gd name="T40" fmla="*/ 256 w 790"/>
                <a:gd name="T41" fmla="*/ 534 h 790"/>
                <a:gd name="T42" fmla="*/ 317 w 790"/>
                <a:gd name="T43" fmla="*/ 538 h 790"/>
                <a:gd name="T44" fmla="*/ 350 w 790"/>
                <a:gd name="T45" fmla="*/ 505 h 790"/>
                <a:gd name="T46" fmla="*/ 731 w 790"/>
                <a:gd name="T47" fmla="*/ 59 h 790"/>
                <a:gd name="T48" fmla="*/ 518 w 790"/>
                <a:gd name="T49" fmla="*/ 59 h 790"/>
                <a:gd name="T50" fmla="*/ 467 w 790"/>
                <a:gd name="T51" fmla="*/ 109 h 790"/>
                <a:gd name="T52" fmla="*/ 415 w 790"/>
                <a:gd name="T53" fmla="*/ 162 h 790"/>
                <a:gd name="T54" fmla="*/ 373 w 790"/>
                <a:gd name="T55" fmla="*/ 290 h 790"/>
                <a:gd name="T56" fmla="*/ 545 w 790"/>
                <a:gd name="T57" fmla="*/ 118 h 790"/>
                <a:gd name="T58" fmla="*/ 672 w 790"/>
                <a:gd name="T59" fmla="*/ 118 h 790"/>
                <a:gd name="T60" fmla="*/ 672 w 790"/>
                <a:gd name="T61" fmla="*/ 118 h 790"/>
                <a:gd name="T62" fmla="*/ 672 w 790"/>
                <a:gd name="T63" fmla="*/ 245 h 790"/>
                <a:gd name="T64" fmla="*/ 500 w 790"/>
                <a:gd name="T65" fmla="*/ 417 h 790"/>
                <a:gd name="T66" fmla="*/ 628 w 790"/>
                <a:gd name="T67" fmla="*/ 375 h 790"/>
                <a:gd name="T68" fmla="*/ 681 w 790"/>
                <a:gd name="T69" fmla="*/ 323 h 790"/>
                <a:gd name="T70" fmla="*/ 731 w 790"/>
                <a:gd name="T71" fmla="*/ 272 h 790"/>
                <a:gd name="T72" fmla="*/ 731 w 790"/>
                <a:gd name="T73" fmla="*/ 59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0" h="790">
                  <a:moveTo>
                    <a:pt x="417" y="500"/>
                  </a:moveTo>
                  <a:cubicBezTo>
                    <a:pt x="424" y="545"/>
                    <a:pt x="410" y="593"/>
                    <a:pt x="375" y="628"/>
                  </a:cubicBezTo>
                  <a:cubicBezTo>
                    <a:pt x="324" y="679"/>
                    <a:pt x="324" y="679"/>
                    <a:pt x="324" y="679"/>
                  </a:cubicBezTo>
                  <a:cubicBezTo>
                    <a:pt x="272" y="731"/>
                    <a:pt x="272" y="731"/>
                    <a:pt x="272" y="731"/>
                  </a:cubicBezTo>
                  <a:cubicBezTo>
                    <a:pt x="213" y="790"/>
                    <a:pt x="118" y="790"/>
                    <a:pt x="59" y="731"/>
                  </a:cubicBezTo>
                  <a:cubicBezTo>
                    <a:pt x="0" y="672"/>
                    <a:pt x="0" y="577"/>
                    <a:pt x="59" y="518"/>
                  </a:cubicBezTo>
                  <a:cubicBezTo>
                    <a:pt x="111" y="466"/>
                    <a:pt x="111" y="466"/>
                    <a:pt x="111" y="466"/>
                  </a:cubicBezTo>
                  <a:cubicBezTo>
                    <a:pt x="162" y="415"/>
                    <a:pt x="162" y="415"/>
                    <a:pt x="162" y="415"/>
                  </a:cubicBezTo>
                  <a:cubicBezTo>
                    <a:pt x="197" y="380"/>
                    <a:pt x="245" y="366"/>
                    <a:pt x="290" y="373"/>
                  </a:cubicBezTo>
                  <a:cubicBezTo>
                    <a:pt x="118" y="545"/>
                    <a:pt x="118" y="545"/>
                    <a:pt x="118" y="545"/>
                  </a:cubicBezTo>
                  <a:cubicBezTo>
                    <a:pt x="83" y="580"/>
                    <a:pt x="83" y="637"/>
                    <a:pt x="118" y="672"/>
                  </a:cubicBezTo>
                  <a:cubicBezTo>
                    <a:pt x="118" y="672"/>
                    <a:pt x="118" y="672"/>
                    <a:pt x="118" y="672"/>
                  </a:cubicBezTo>
                  <a:cubicBezTo>
                    <a:pt x="153" y="707"/>
                    <a:pt x="210" y="707"/>
                    <a:pt x="245" y="672"/>
                  </a:cubicBezTo>
                  <a:lnTo>
                    <a:pt x="417" y="500"/>
                  </a:lnTo>
                  <a:close/>
                  <a:moveTo>
                    <a:pt x="350" y="505"/>
                  </a:moveTo>
                  <a:cubicBezTo>
                    <a:pt x="538" y="317"/>
                    <a:pt x="538" y="317"/>
                    <a:pt x="538" y="317"/>
                  </a:cubicBezTo>
                  <a:cubicBezTo>
                    <a:pt x="554" y="301"/>
                    <a:pt x="552" y="274"/>
                    <a:pt x="534" y="256"/>
                  </a:cubicBezTo>
                  <a:cubicBezTo>
                    <a:pt x="516" y="238"/>
                    <a:pt x="489" y="236"/>
                    <a:pt x="473" y="252"/>
                  </a:cubicBezTo>
                  <a:cubicBezTo>
                    <a:pt x="284" y="441"/>
                    <a:pt x="284" y="441"/>
                    <a:pt x="284" y="441"/>
                  </a:cubicBezTo>
                  <a:cubicBezTo>
                    <a:pt x="252" y="473"/>
                    <a:pt x="252" y="473"/>
                    <a:pt x="252" y="473"/>
                  </a:cubicBezTo>
                  <a:cubicBezTo>
                    <a:pt x="236" y="489"/>
                    <a:pt x="238" y="516"/>
                    <a:pt x="256" y="534"/>
                  </a:cubicBezTo>
                  <a:cubicBezTo>
                    <a:pt x="274" y="552"/>
                    <a:pt x="301" y="554"/>
                    <a:pt x="317" y="538"/>
                  </a:cubicBezTo>
                  <a:lnTo>
                    <a:pt x="350" y="505"/>
                  </a:lnTo>
                  <a:close/>
                  <a:moveTo>
                    <a:pt x="731" y="59"/>
                  </a:moveTo>
                  <a:cubicBezTo>
                    <a:pt x="672" y="0"/>
                    <a:pt x="577" y="0"/>
                    <a:pt x="518" y="59"/>
                  </a:cubicBezTo>
                  <a:cubicBezTo>
                    <a:pt x="467" y="109"/>
                    <a:pt x="467" y="109"/>
                    <a:pt x="467" y="109"/>
                  </a:cubicBezTo>
                  <a:cubicBezTo>
                    <a:pt x="415" y="162"/>
                    <a:pt x="415" y="162"/>
                    <a:pt x="415" y="162"/>
                  </a:cubicBezTo>
                  <a:cubicBezTo>
                    <a:pt x="380" y="197"/>
                    <a:pt x="366" y="245"/>
                    <a:pt x="373" y="290"/>
                  </a:cubicBezTo>
                  <a:cubicBezTo>
                    <a:pt x="545" y="118"/>
                    <a:pt x="545" y="118"/>
                    <a:pt x="545" y="118"/>
                  </a:cubicBezTo>
                  <a:cubicBezTo>
                    <a:pt x="580" y="83"/>
                    <a:pt x="637" y="83"/>
                    <a:pt x="672" y="118"/>
                  </a:cubicBezTo>
                  <a:cubicBezTo>
                    <a:pt x="672" y="118"/>
                    <a:pt x="672" y="118"/>
                    <a:pt x="672" y="118"/>
                  </a:cubicBezTo>
                  <a:cubicBezTo>
                    <a:pt x="707" y="153"/>
                    <a:pt x="707" y="210"/>
                    <a:pt x="672" y="245"/>
                  </a:cubicBezTo>
                  <a:cubicBezTo>
                    <a:pt x="500" y="417"/>
                    <a:pt x="500" y="417"/>
                    <a:pt x="500" y="417"/>
                  </a:cubicBezTo>
                  <a:cubicBezTo>
                    <a:pt x="545" y="424"/>
                    <a:pt x="593" y="410"/>
                    <a:pt x="628" y="375"/>
                  </a:cubicBezTo>
                  <a:cubicBezTo>
                    <a:pt x="681" y="323"/>
                    <a:pt x="681" y="323"/>
                    <a:pt x="681" y="323"/>
                  </a:cubicBezTo>
                  <a:cubicBezTo>
                    <a:pt x="731" y="272"/>
                    <a:pt x="731" y="272"/>
                    <a:pt x="731" y="272"/>
                  </a:cubicBezTo>
                  <a:cubicBezTo>
                    <a:pt x="790" y="213"/>
                    <a:pt x="790" y="118"/>
                    <a:pt x="731" y="5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2" name="bcgBugs_Clock">
            <a:extLst>
              <a:ext uri="{FF2B5EF4-FFF2-40B4-BE49-F238E27FC236}">
                <a16:creationId xmlns:a16="http://schemas.microsoft.com/office/drawing/2014/main" id="{8DEEF906-3DBA-4128-B101-859C2EAB3277}"/>
              </a:ext>
            </a:extLst>
          </p:cNvPr>
          <p:cNvGrpSpPr>
            <a:grpSpLocks noChangeAspect="1"/>
          </p:cNvGrpSpPr>
          <p:nvPr/>
        </p:nvGrpSpPr>
        <p:grpSpPr bwMode="auto">
          <a:xfrm>
            <a:off x="9674994" y="2148299"/>
            <a:ext cx="456753" cy="457200"/>
            <a:chOff x="2818" y="1137"/>
            <a:chExt cx="2044" cy="2046"/>
          </a:xfrm>
        </p:grpSpPr>
        <p:sp>
          <p:nvSpPr>
            <p:cNvPr id="233" name="AutoShape 16">
              <a:extLst>
                <a:ext uri="{FF2B5EF4-FFF2-40B4-BE49-F238E27FC236}">
                  <a16:creationId xmlns:a16="http://schemas.microsoft.com/office/drawing/2014/main" id="{6D16997F-8D70-4A01-9B0C-AD0F7F1F948E}"/>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Freeform 18">
              <a:extLst>
                <a:ext uri="{FF2B5EF4-FFF2-40B4-BE49-F238E27FC236}">
                  <a16:creationId xmlns:a16="http://schemas.microsoft.com/office/drawing/2014/main" id="{7870BEBD-DDFE-484C-ABAD-99C79F510C45}"/>
                </a:ext>
              </a:extLst>
            </p:cNvPr>
            <p:cNvSpPr>
              <a:spLocks noEditPoints="1"/>
            </p:cNvSpPr>
            <p:nvPr/>
          </p:nvSpPr>
          <p:spPr bwMode="auto">
            <a:xfrm>
              <a:off x="2941" y="1260"/>
              <a:ext cx="1800" cy="1802"/>
            </a:xfrm>
            <a:custGeom>
              <a:avLst/>
              <a:gdLst>
                <a:gd name="T0" fmla="*/ 440 w 880"/>
                <a:gd name="T1" fmla="*/ 0 h 880"/>
                <a:gd name="T2" fmla="*/ 0 w 880"/>
                <a:gd name="T3" fmla="*/ 440 h 880"/>
                <a:gd name="T4" fmla="*/ 440 w 880"/>
                <a:gd name="T5" fmla="*/ 880 h 880"/>
                <a:gd name="T6" fmla="*/ 880 w 880"/>
                <a:gd name="T7" fmla="*/ 440 h 880"/>
                <a:gd name="T8" fmla="*/ 440 w 880"/>
                <a:gd name="T9" fmla="*/ 0 h 880"/>
                <a:gd name="T10" fmla="*/ 648 w 880"/>
                <a:gd name="T11" fmla="*/ 325 h 880"/>
                <a:gd name="T12" fmla="*/ 452 w 880"/>
                <a:gd name="T13" fmla="*/ 458 h 880"/>
                <a:gd name="T14" fmla="*/ 452 w 880"/>
                <a:gd name="T15" fmla="*/ 458 h 880"/>
                <a:gd name="T16" fmla="*/ 450 w 880"/>
                <a:gd name="T17" fmla="*/ 460 h 880"/>
                <a:gd name="T18" fmla="*/ 449 w 880"/>
                <a:gd name="T19" fmla="*/ 460 h 880"/>
                <a:gd name="T20" fmla="*/ 446 w 880"/>
                <a:gd name="T21" fmla="*/ 461 h 880"/>
                <a:gd name="T22" fmla="*/ 446 w 880"/>
                <a:gd name="T23" fmla="*/ 461 h 880"/>
                <a:gd name="T24" fmla="*/ 444 w 880"/>
                <a:gd name="T25" fmla="*/ 462 h 880"/>
                <a:gd name="T26" fmla="*/ 443 w 880"/>
                <a:gd name="T27" fmla="*/ 462 h 880"/>
                <a:gd name="T28" fmla="*/ 440 w 880"/>
                <a:gd name="T29" fmla="*/ 462 h 880"/>
                <a:gd name="T30" fmla="*/ 440 w 880"/>
                <a:gd name="T31" fmla="*/ 462 h 880"/>
                <a:gd name="T32" fmla="*/ 440 w 880"/>
                <a:gd name="T33" fmla="*/ 462 h 880"/>
                <a:gd name="T34" fmla="*/ 438 w 880"/>
                <a:gd name="T35" fmla="*/ 462 h 880"/>
                <a:gd name="T36" fmla="*/ 437 w 880"/>
                <a:gd name="T37" fmla="*/ 462 h 880"/>
                <a:gd name="T38" fmla="*/ 435 w 880"/>
                <a:gd name="T39" fmla="*/ 461 h 880"/>
                <a:gd name="T40" fmla="*/ 434 w 880"/>
                <a:gd name="T41" fmla="*/ 461 h 880"/>
                <a:gd name="T42" fmla="*/ 433 w 880"/>
                <a:gd name="T43" fmla="*/ 461 h 880"/>
                <a:gd name="T44" fmla="*/ 432 w 880"/>
                <a:gd name="T45" fmla="*/ 460 h 880"/>
                <a:gd name="T46" fmla="*/ 430 w 880"/>
                <a:gd name="T47" fmla="*/ 460 h 880"/>
                <a:gd name="T48" fmla="*/ 430 w 880"/>
                <a:gd name="T49" fmla="*/ 459 h 880"/>
                <a:gd name="T50" fmla="*/ 428 w 880"/>
                <a:gd name="T51" fmla="*/ 458 h 880"/>
                <a:gd name="T52" fmla="*/ 427 w 880"/>
                <a:gd name="T53" fmla="*/ 458 h 880"/>
                <a:gd name="T54" fmla="*/ 426 w 880"/>
                <a:gd name="T55" fmla="*/ 457 h 880"/>
                <a:gd name="T56" fmla="*/ 425 w 880"/>
                <a:gd name="T57" fmla="*/ 456 h 880"/>
                <a:gd name="T58" fmla="*/ 424 w 880"/>
                <a:gd name="T59" fmla="*/ 455 h 880"/>
                <a:gd name="T60" fmla="*/ 423 w 880"/>
                <a:gd name="T61" fmla="*/ 454 h 880"/>
                <a:gd name="T62" fmla="*/ 422 w 880"/>
                <a:gd name="T63" fmla="*/ 452 h 880"/>
                <a:gd name="T64" fmla="*/ 422 w 880"/>
                <a:gd name="T65" fmla="*/ 452 h 880"/>
                <a:gd name="T66" fmla="*/ 422 w 880"/>
                <a:gd name="T67" fmla="*/ 452 h 880"/>
                <a:gd name="T68" fmla="*/ 420 w 880"/>
                <a:gd name="T69" fmla="*/ 448 h 880"/>
                <a:gd name="T70" fmla="*/ 420 w 880"/>
                <a:gd name="T71" fmla="*/ 448 h 880"/>
                <a:gd name="T72" fmla="*/ 418 w 880"/>
                <a:gd name="T73" fmla="*/ 444 h 880"/>
                <a:gd name="T74" fmla="*/ 418 w 880"/>
                <a:gd name="T75" fmla="*/ 444 h 880"/>
                <a:gd name="T76" fmla="*/ 418 w 880"/>
                <a:gd name="T77" fmla="*/ 440 h 880"/>
                <a:gd name="T78" fmla="*/ 418 w 880"/>
                <a:gd name="T79" fmla="*/ 440 h 880"/>
                <a:gd name="T80" fmla="*/ 418 w 880"/>
                <a:gd name="T81" fmla="*/ 440 h 880"/>
                <a:gd name="T82" fmla="*/ 418 w 880"/>
                <a:gd name="T83" fmla="*/ 108 h 880"/>
                <a:gd name="T84" fmla="*/ 440 w 880"/>
                <a:gd name="T85" fmla="*/ 86 h 880"/>
                <a:gd name="T86" fmla="*/ 462 w 880"/>
                <a:gd name="T87" fmla="*/ 108 h 880"/>
                <a:gd name="T88" fmla="*/ 462 w 880"/>
                <a:gd name="T89" fmla="*/ 398 h 880"/>
                <a:gd name="T90" fmla="*/ 623 w 880"/>
                <a:gd name="T91" fmla="*/ 289 h 880"/>
                <a:gd name="T92" fmla="*/ 654 w 880"/>
                <a:gd name="T93" fmla="*/ 295 h 880"/>
                <a:gd name="T94" fmla="*/ 648 w 880"/>
                <a:gd name="T95" fmla="*/ 32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80" h="880">
                  <a:moveTo>
                    <a:pt x="440" y="0"/>
                  </a:moveTo>
                  <a:cubicBezTo>
                    <a:pt x="197" y="0"/>
                    <a:pt x="0" y="197"/>
                    <a:pt x="0" y="440"/>
                  </a:cubicBezTo>
                  <a:cubicBezTo>
                    <a:pt x="0" y="683"/>
                    <a:pt x="197" y="880"/>
                    <a:pt x="440" y="880"/>
                  </a:cubicBezTo>
                  <a:cubicBezTo>
                    <a:pt x="683" y="880"/>
                    <a:pt x="880" y="683"/>
                    <a:pt x="880" y="440"/>
                  </a:cubicBezTo>
                  <a:cubicBezTo>
                    <a:pt x="880" y="197"/>
                    <a:pt x="683" y="0"/>
                    <a:pt x="440" y="0"/>
                  </a:cubicBezTo>
                  <a:close/>
                  <a:moveTo>
                    <a:pt x="648" y="325"/>
                  </a:moveTo>
                  <a:cubicBezTo>
                    <a:pt x="452" y="458"/>
                    <a:pt x="452" y="458"/>
                    <a:pt x="452" y="458"/>
                  </a:cubicBezTo>
                  <a:cubicBezTo>
                    <a:pt x="452" y="458"/>
                    <a:pt x="452" y="458"/>
                    <a:pt x="452" y="458"/>
                  </a:cubicBezTo>
                  <a:cubicBezTo>
                    <a:pt x="452" y="459"/>
                    <a:pt x="451" y="459"/>
                    <a:pt x="450" y="460"/>
                  </a:cubicBezTo>
                  <a:cubicBezTo>
                    <a:pt x="450" y="460"/>
                    <a:pt x="449" y="460"/>
                    <a:pt x="449" y="460"/>
                  </a:cubicBezTo>
                  <a:cubicBezTo>
                    <a:pt x="448" y="460"/>
                    <a:pt x="447" y="461"/>
                    <a:pt x="446" y="461"/>
                  </a:cubicBezTo>
                  <a:cubicBezTo>
                    <a:pt x="446" y="461"/>
                    <a:pt x="446" y="461"/>
                    <a:pt x="446" y="461"/>
                  </a:cubicBezTo>
                  <a:cubicBezTo>
                    <a:pt x="445" y="461"/>
                    <a:pt x="444" y="462"/>
                    <a:pt x="444" y="462"/>
                  </a:cubicBezTo>
                  <a:cubicBezTo>
                    <a:pt x="443" y="462"/>
                    <a:pt x="443" y="462"/>
                    <a:pt x="443" y="462"/>
                  </a:cubicBezTo>
                  <a:cubicBezTo>
                    <a:pt x="442" y="462"/>
                    <a:pt x="441" y="462"/>
                    <a:pt x="440" y="462"/>
                  </a:cubicBezTo>
                  <a:cubicBezTo>
                    <a:pt x="440" y="462"/>
                    <a:pt x="440" y="462"/>
                    <a:pt x="440" y="462"/>
                  </a:cubicBezTo>
                  <a:cubicBezTo>
                    <a:pt x="440" y="462"/>
                    <a:pt x="440" y="462"/>
                    <a:pt x="440" y="462"/>
                  </a:cubicBezTo>
                  <a:cubicBezTo>
                    <a:pt x="439" y="462"/>
                    <a:pt x="438" y="462"/>
                    <a:pt x="438" y="462"/>
                  </a:cubicBezTo>
                  <a:cubicBezTo>
                    <a:pt x="437" y="462"/>
                    <a:pt x="437" y="462"/>
                    <a:pt x="437" y="462"/>
                  </a:cubicBezTo>
                  <a:cubicBezTo>
                    <a:pt x="436" y="462"/>
                    <a:pt x="436" y="462"/>
                    <a:pt x="435" y="461"/>
                  </a:cubicBezTo>
                  <a:cubicBezTo>
                    <a:pt x="435" y="461"/>
                    <a:pt x="435" y="461"/>
                    <a:pt x="434" y="461"/>
                  </a:cubicBezTo>
                  <a:cubicBezTo>
                    <a:pt x="434" y="461"/>
                    <a:pt x="433" y="461"/>
                    <a:pt x="433" y="461"/>
                  </a:cubicBezTo>
                  <a:cubicBezTo>
                    <a:pt x="432" y="461"/>
                    <a:pt x="432" y="461"/>
                    <a:pt x="432" y="460"/>
                  </a:cubicBezTo>
                  <a:cubicBezTo>
                    <a:pt x="431" y="460"/>
                    <a:pt x="431" y="460"/>
                    <a:pt x="430" y="460"/>
                  </a:cubicBezTo>
                  <a:cubicBezTo>
                    <a:pt x="430" y="460"/>
                    <a:pt x="430" y="460"/>
                    <a:pt x="430" y="459"/>
                  </a:cubicBezTo>
                  <a:cubicBezTo>
                    <a:pt x="429" y="459"/>
                    <a:pt x="428" y="459"/>
                    <a:pt x="428" y="458"/>
                  </a:cubicBezTo>
                  <a:cubicBezTo>
                    <a:pt x="427" y="458"/>
                    <a:pt x="427" y="458"/>
                    <a:pt x="427" y="458"/>
                  </a:cubicBezTo>
                  <a:cubicBezTo>
                    <a:pt x="427" y="457"/>
                    <a:pt x="426" y="457"/>
                    <a:pt x="426" y="457"/>
                  </a:cubicBezTo>
                  <a:cubicBezTo>
                    <a:pt x="426" y="457"/>
                    <a:pt x="425" y="456"/>
                    <a:pt x="425" y="456"/>
                  </a:cubicBezTo>
                  <a:cubicBezTo>
                    <a:pt x="425" y="456"/>
                    <a:pt x="424" y="455"/>
                    <a:pt x="424" y="455"/>
                  </a:cubicBezTo>
                  <a:cubicBezTo>
                    <a:pt x="424" y="455"/>
                    <a:pt x="424" y="455"/>
                    <a:pt x="423" y="454"/>
                  </a:cubicBezTo>
                  <a:cubicBezTo>
                    <a:pt x="423" y="454"/>
                    <a:pt x="422" y="453"/>
                    <a:pt x="422" y="452"/>
                  </a:cubicBezTo>
                  <a:cubicBezTo>
                    <a:pt x="422" y="452"/>
                    <a:pt x="422" y="452"/>
                    <a:pt x="422" y="452"/>
                  </a:cubicBezTo>
                  <a:cubicBezTo>
                    <a:pt x="422" y="452"/>
                    <a:pt x="422" y="452"/>
                    <a:pt x="422" y="452"/>
                  </a:cubicBezTo>
                  <a:cubicBezTo>
                    <a:pt x="421" y="451"/>
                    <a:pt x="420" y="450"/>
                    <a:pt x="420" y="448"/>
                  </a:cubicBezTo>
                  <a:cubicBezTo>
                    <a:pt x="420" y="448"/>
                    <a:pt x="420" y="448"/>
                    <a:pt x="420" y="448"/>
                  </a:cubicBezTo>
                  <a:cubicBezTo>
                    <a:pt x="419" y="447"/>
                    <a:pt x="419" y="446"/>
                    <a:pt x="418" y="444"/>
                  </a:cubicBezTo>
                  <a:cubicBezTo>
                    <a:pt x="418" y="444"/>
                    <a:pt x="418" y="444"/>
                    <a:pt x="418" y="444"/>
                  </a:cubicBezTo>
                  <a:cubicBezTo>
                    <a:pt x="418" y="443"/>
                    <a:pt x="418" y="442"/>
                    <a:pt x="418" y="440"/>
                  </a:cubicBezTo>
                  <a:cubicBezTo>
                    <a:pt x="418" y="440"/>
                    <a:pt x="418" y="440"/>
                    <a:pt x="418" y="440"/>
                  </a:cubicBezTo>
                  <a:cubicBezTo>
                    <a:pt x="418" y="440"/>
                    <a:pt x="418" y="440"/>
                    <a:pt x="418" y="440"/>
                  </a:cubicBezTo>
                  <a:cubicBezTo>
                    <a:pt x="418" y="108"/>
                    <a:pt x="418" y="108"/>
                    <a:pt x="418" y="108"/>
                  </a:cubicBezTo>
                  <a:cubicBezTo>
                    <a:pt x="418" y="96"/>
                    <a:pt x="428" y="86"/>
                    <a:pt x="440" y="86"/>
                  </a:cubicBezTo>
                  <a:cubicBezTo>
                    <a:pt x="452" y="86"/>
                    <a:pt x="462" y="96"/>
                    <a:pt x="462" y="108"/>
                  </a:cubicBezTo>
                  <a:cubicBezTo>
                    <a:pt x="462" y="398"/>
                    <a:pt x="462" y="398"/>
                    <a:pt x="462" y="398"/>
                  </a:cubicBezTo>
                  <a:cubicBezTo>
                    <a:pt x="623" y="289"/>
                    <a:pt x="623" y="289"/>
                    <a:pt x="623" y="289"/>
                  </a:cubicBezTo>
                  <a:cubicBezTo>
                    <a:pt x="633" y="282"/>
                    <a:pt x="647" y="285"/>
                    <a:pt x="654" y="295"/>
                  </a:cubicBezTo>
                  <a:cubicBezTo>
                    <a:pt x="661" y="305"/>
                    <a:pt x="658" y="318"/>
                    <a:pt x="648" y="3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5" name="bcgBugs_BillUSD">
            <a:extLst>
              <a:ext uri="{FF2B5EF4-FFF2-40B4-BE49-F238E27FC236}">
                <a16:creationId xmlns:a16="http://schemas.microsoft.com/office/drawing/2014/main" id="{0C7918E3-256E-4A96-9D42-7DADE5922063}"/>
              </a:ext>
            </a:extLst>
          </p:cNvPr>
          <p:cNvGrpSpPr>
            <a:grpSpLocks noChangeAspect="1"/>
          </p:cNvGrpSpPr>
          <p:nvPr/>
        </p:nvGrpSpPr>
        <p:grpSpPr bwMode="auto">
          <a:xfrm>
            <a:off x="9384875" y="2076428"/>
            <a:ext cx="456753" cy="457200"/>
            <a:chOff x="2818" y="1137"/>
            <a:chExt cx="2044" cy="2046"/>
          </a:xfrm>
        </p:grpSpPr>
        <p:sp>
          <p:nvSpPr>
            <p:cNvPr id="236" name="AutoShape 3">
              <a:extLst>
                <a:ext uri="{FF2B5EF4-FFF2-40B4-BE49-F238E27FC236}">
                  <a16:creationId xmlns:a16="http://schemas.microsoft.com/office/drawing/2014/main" id="{60C90564-E77C-4A1D-B752-4FB1525ED41B}"/>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5">
              <a:extLst>
                <a:ext uri="{FF2B5EF4-FFF2-40B4-BE49-F238E27FC236}">
                  <a16:creationId xmlns:a16="http://schemas.microsoft.com/office/drawing/2014/main" id="{96BBDCF9-E01B-4165-8930-689D510B8F23}"/>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8" name="bcgBugs_SmartPhone">
            <a:extLst>
              <a:ext uri="{FF2B5EF4-FFF2-40B4-BE49-F238E27FC236}">
                <a16:creationId xmlns:a16="http://schemas.microsoft.com/office/drawing/2014/main" id="{18DAC5DC-C97C-4D5C-98CB-5E142BB8E297}"/>
              </a:ext>
            </a:extLst>
          </p:cNvPr>
          <p:cNvGrpSpPr>
            <a:grpSpLocks noChangeAspect="1"/>
          </p:cNvGrpSpPr>
          <p:nvPr/>
        </p:nvGrpSpPr>
        <p:grpSpPr bwMode="auto">
          <a:xfrm>
            <a:off x="6266644" y="4369763"/>
            <a:ext cx="456753" cy="457200"/>
            <a:chOff x="2818" y="1137"/>
            <a:chExt cx="2044" cy="2046"/>
          </a:xfrm>
        </p:grpSpPr>
        <p:sp>
          <p:nvSpPr>
            <p:cNvPr id="239" name="AutoShape 3">
              <a:extLst>
                <a:ext uri="{FF2B5EF4-FFF2-40B4-BE49-F238E27FC236}">
                  <a16:creationId xmlns:a16="http://schemas.microsoft.com/office/drawing/2014/main" id="{070978D3-91B7-400D-88F0-CC58CD551C2F}"/>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5">
              <a:extLst>
                <a:ext uri="{FF2B5EF4-FFF2-40B4-BE49-F238E27FC236}">
                  <a16:creationId xmlns:a16="http://schemas.microsoft.com/office/drawing/2014/main" id="{D765F688-FC3C-483B-8229-EE35B3E35A9F}"/>
                </a:ext>
              </a:extLst>
            </p:cNvPr>
            <p:cNvSpPr>
              <a:spLocks noEditPoints="1"/>
            </p:cNvSpPr>
            <p:nvPr/>
          </p:nvSpPr>
          <p:spPr bwMode="auto">
            <a:xfrm>
              <a:off x="3342" y="1260"/>
              <a:ext cx="998" cy="1802"/>
            </a:xfrm>
            <a:custGeom>
              <a:avLst/>
              <a:gdLst>
                <a:gd name="T0" fmla="*/ 466 w 488"/>
                <a:gd name="T1" fmla="*/ 0 h 880"/>
                <a:gd name="T2" fmla="*/ 22 w 488"/>
                <a:gd name="T3" fmla="*/ 0 h 880"/>
                <a:gd name="T4" fmla="*/ 0 w 488"/>
                <a:gd name="T5" fmla="*/ 22 h 880"/>
                <a:gd name="T6" fmla="*/ 0 w 488"/>
                <a:gd name="T7" fmla="*/ 858 h 880"/>
                <a:gd name="T8" fmla="*/ 22 w 488"/>
                <a:gd name="T9" fmla="*/ 880 h 880"/>
                <a:gd name="T10" fmla="*/ 466 w 488"/>
                <a:gd name="T11" fmla="*/ 880 h 880"/>
                <a:gd name="T12" fmla="*/ 488 w 488"/>
                <a:gd name="T13" fmla="*/ 858 h 880"/>
                <a:gd name="T14" fmla="*/ 488 w 488"/>
                <a:gd name="T15" fmla="*/ 22 h 880"/>
                <a:gd name="T16" fmla="*/ 466 w 488"/>
                <a:gd name="T17" fmla="*/ 0 h 880"/>
                <a:gd name="T18" fmla="*/ 244 w 488"/>
                <a:gd name="T19" fmla="*/ 818 h 880"/>
                <a:gd name="T20" fmla="*/ 199 w 488"/>
                <a:gd name="T21" fmla="*/ 773 h 880"/>
                <a:gd name="T22" fmla="*/ 244 w 488"/>
                <a:gd name="T23" fmla="*/ 727 h 880"/>
                <a:gd name="T24" fmla="*/ 289 w 488"/>
                <a:gd name="T25" fmla="*/ 773 h 880"/>
                <a:gd name="T26" fmla="*/ 244 w 488"/>
                <a:gd name="T27" fmla="*/ 818 h 880"/>
                <a:gd name="T28" fmla="*/ 430 w 488"/>
                <a:gd name="T29" fmla="*/ 655 h 880"/>
                <a:gd name="T30" fmla="*/ 420 w 488"/>
                <a:gd name="T31" fmla="*/ 665 h 880"/>
                <a:gd name="T32" fmla="*/ 73 w 488"/>
                <a:gd name="T33" fmla="*/ 665 h 880"/>
                <a:gd name="T34" fmla="*/ 63 w 488"/>
                <a:gd name="T35" fmla="*/ 655 h 880"/>
                <a:gd name="T36" fmla="*/ 63 w 488"/>
                <a:gd name="T37" fmla="*/ 73 h 880"/>
                <a:gd name="T38" fmla="*/ 73 w 488"/>
                <a:gd name="T39" fmla="*/ 63 h 880"/>
                <a:gd name="T40" fmla="*/ 420 w 488"/>
                <a:gd name="T41" fmla="*/ 63 h 880"/>
                <a:gd name="T42" fmla="*/ 430 w 488"/>
                <a:gd name="T43" fmla="*/ 73 h 880"/>
                <a:gd name="T44" fmla="*/ 430 w 488"/>
                <a:gd name="T45" fmla="*/ 65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880">
                  <a:moveTo>
                    <a:pt x="466" y="0"/>
                  </a:moveTo>
                  <a:cubicBezTo>
                    <a:pt x="22" y="0"/>
                    <a:pt x="22" y="0"/>
                    <a:pt x="22" y="0"/>
                  </a:cubicBezTo>
                  <a:cubicBezTo>
                    <a:pt x="10" y="0"/>
                    <a:pt x="0" y="10"/>
                    <a:pt x="0" y="22"/>
                  </a:cubicBezTo>
                  <a:cubicBezTo>
                    <a:pt x="0" y="858"/>
                    <a:pt x="0" y="858"/>
                    <a:pt x="0" y="858"/>
                  </a:cubicBezTo>
                  <a:cubicBezTo>
                    <a:pt x="0" y="870"/>
                    <a:pt x="10" y="880"/>
                    <a:pt x="22" y="880"/>
                  </a:cubicBezTo>
                  <a:cubicBezTo>
                    <a:pt x="466" y="880"/>
                    <a:pt x="466" y="880"/>
                    <a:pt x="466" y="880"/>
                  </a:cubicBezTo>
                  <a:cubicBezTo>
                    <a:pt x="478" y="880"/>
                    <a:pt x="488" y="870"/>
                    <a:pt x="488" y="858"/>
                  </a:cubicBezTo>
                  <a:cubicBezTo>
                    <a:pt x="488" y="22"/>
                    <a:pt x="488" y="22"/>
                    <a:pt x="488" y="22"/>
                  </a:cubicBezTo>
                  <a:cubicBezTo>
                    <a:pt x="488" y="10"/>
                    <a:pt x="478" y="0"/>
                    <a:pt x="466" y="0"/>
                  </a:cubicBezTo>
                  <a:close/>
                  <a:moveTo>
                    <a:pt x="244" y="818"/>
                  </a:moveTo>
                  <a:cubicBezTo>
                    <a:pt x="219" y="818"/>
                    <a:pt x="199" y="798"/>
                    <a:pt x="199" y="773"/>
                  </a:cubicBezTo>
                  <a:cubicBezTo>
                    <a:pt x="199" y="748"/>
                    <a:pt x="219" y="727"/>
                    <a:pt x="244" y="727"/>
                  </a:cubicBezTo>
                  <a:cubicBezTo>
                    <a:pt x="269" y="727"/>
                    <a:pt x="289" y="748"/>
                    <a:pt x="289" y="773"/>
                  </a:cubicBezTo>
                  <a:cubicBezTo>
                    <a:pt x="289" y="798"/>
                    <a:pt x="269" y="818"/>
                    <a:pt x="244" y="818"/>
                  </a:cubicBezTo>
                  <a:close/>
                  <a:moveTo>
                    <a:pt x="430" y="655"/>
                  </a:moveTo>
                  <a:cubicBezTo>
                    <a:pt x="430" y="660"/>
                    <a:pt x="425" y="665"/>
                    <a:pt x="420" y="665"/>
                  </a:cubicBezTo>
                  <a:cubicBezTo>
                    <a:pt x="73" y="665"/>
                    <a:pt x="73" y="665"/>
                    <a:pt x="73" y="665"/>
                  </a:cubicBezTo>
                  <a:cubicBezTo>
                    <a:pt x="68" y="665"/>
                    <a:pt x="63" y="660"/>
                    <a:pt x="63" y="655"/>
                  </a:cubicBezTo>
                  <a:cubicBezTo>
                    <a:pt x="63" y="73"/>
                    <a:pt x="63" y="73"/>
                    <a:pt x="63" y="73"/>
                  </a:cubicBezTo>
                  <a:cubicBezTo>
                    <a:pt x="63" y="67"/>
                    <a:pt x="68" y="63"/>
                    <a:pt x="73" y="63"/>
                  </a:cubicBezTo>
                  <a:cubicBezTo>
                    <a:pt x="420" y="63"/>
                    <a:pt x="420" y="63"/>
                    <a:pt x="420" y="63"/>
                  </a:cubicBezTo>
                  <a:cubicBezTo>
                    <a:pt x="425" y="63"/>
                    <a:pt x="430" y="67"/>
                    <a:pt x="430" y="73"/>
                  </a:cubicBezTo>
                  <a:lnTo>
                    <a:pt x="430" y="65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1" name="Group 240">
            <a:extLst>
              <a:ext uri="{FF2B5EF4-FFF2-40B4-BE49-F238E27FC236}">
                <a16:creationId xmlns:a16="http://schemas.microsoft.com/office/drawing/2014/main" id="{D2D7A32C-C07C-43D0-9031-F64D8C807ED9}"/>
              </a:ext>
            </a:extLst>
          </p:cNvPr>
          <p:cNvGrpSpPr>
            <a:grpSpLocks noChangeAspect="1"/>
          </p:cNvGrpSpPr>
          <p:nvPr/>
        </p:nvGrpSpPr>
        <p:grpSpPr>
          <a:xfrm>
            <a:off x="6338237" y="3071722"/>
            <a:ext cx="457200" cy="457200"/>
            <a:chOff x="5867400" y="3200400"/>
            <a:chExt cx="457200" cy="457200"/>
          </a:xfrm>
        </p:grpSpPr>
        <p:sp>
          <p:nvSpPr>
            <p:cNvPr id="242" name="Freeform 11">
              <a:extLst>
                <a:ext uri="{FF2B5EF4-FFF2-40B4-BE49-F238E27FC236}">
                  <a16:creationId xmlns:a16="http://schemas.microsoft.com/office/drawing/2014/main" id="{1F2D8BCD-F9F8-4971-B91B-ADDA6112D299}"/>
                </a:ext>
              </a:extLst>
            </p:cNvPr>
            <p:cNvSpPr>
              <a:spLocks/>
            </p:cNvSpPr>
            <p:nvPr/>
          </p:nvSpPr>
          <p:spPr bwMode="auto">
            <a:xfrm>
              <a:off x="5985671" y="3290329"/>
              <a:ext cx="219650" cy="278394"/>
            </a:xfrm>
            <a:custGeom>
              <a:avLst/>
              <a:gdLst>
                <a:gd name="connsiteX0" fmla="*/ 3364 w 219650"/>
                <a:gd name="connsiteY0" fmla="*/ 266485 h 278394"/>
                <a:gd name="connsiteX1" fmla="*/ 11860 w 219650"/>
                <a:gd name="connsiteY1" fmla="*/ 273243 h 278394"/>
                <a:gd name="connsiteX2" fmla="*/ 7226 w 219650"/>
                <a:gd name="connsiteY2" fmla="*/ 277104 h 278394"/>
                <a:gd name="connsiteX3" fmla="*/ 1627 w 219650"/>
                <a:gd name="connsiteY3" fmla="*/ 277491 h 278394"/>
                <a:gd name="connsiteX4" fmla="*/ 661 w 219650"/>
                <a:gd name="connsiteY4" fmla="*/ 271891 h 278394"/>
                <a:gd name="connsiteX5" fmla="*/ 22541 w 219650"/>
                <a:gd name="connsiteY5" fmla="*/ 209547 h 278394"/>
                <a:gd name="connsiteX6" fmla="*/ 60124 w 219650"/>
                <a:gd name="connsiteY6" fmla="*/ 239266 h 278394"/>
                <a:gd name="connsiteX7" fmla="*/ 17310 w 219650"/>
                <a:gd name="connsiteY7" fmla="*/ 269575 h 278394"/>
                <a:gd name="connsiteX8" fmla="*/ 4137 w 219650"/>
                <a:gd name="connsiteY8" fmla="*/ 259144 h 278394"/>
                <a:gd name="connsiteX9" fmla="*/ 22541 w 219650"/>
                <a:gd name="connsiteY9" fmla="*/ 209547 h 278394"/>
                <a:gd name="connsiteX10" fmla="*/ 204621 w 219650"/>
                <a:gd name="connsiteY10" fmla="*/ 71094 h 278394"/>
                <a:gd name="connsiteX11" fmla="*/ 208528 w 219650"/>
                <a:gd name="connsiteY11" fmla="*/ 74786 h 278394"/>
                <a:gd name="connsiteX12" fmla="*/ 213412 w 219650"/>
                <a:gd name="connsiteY12" fmla="*/ 88972 h 278394"/>
                <a:gd name="connsiteX13" fmla="*/ 192511 w 219650"/>
                <a:gd name="connsiteY13" fmla="*/ 122978 h 278394"/>
                <a:gd name="connsiteX14" fmla="*/ 142505 w 219650"/>
                <a:gd name="connsiteY14" fmla="*/ 160870 h 278394"/>
                <a:gd name="connsiteX15" fmla="*/ 139379 w 219650"/>
                <a:gd name="connsiteY15" fmla="*/ 161453 h 278394"/>
                <a:gd name="connsiteX16" fmla="*/ 134105 w 219650"/>
                <a:gd name="connsiteY16" fmla="*/ 158344 h 278394"/>
                <a:gd name="connsiteX17" fmla="*/ 139770 w 219650"/>
                <a:gd name="connsiteY17" fmla="*/ 145325 h 278394"/>
                <a:gd name="connsiteX18" fmla="*/ 154420 w 219650"/>
                <a:gd name="connsiteY18" fmla="*/ 144547 h 278394"/>
                <a:gd name="connsiteX19" fmla="*/ 185869 w 219650"/>
                <a:gd name="connsiteY19" fmla="*/ 117537 h 278394"/>
                <a:gd name="connsiteX20" fmla="*/ 205012 w 219650"/>
                <a:gd name="connsiteY20" fmla="*/ 86834 h 278394"/>
                <a:gd name="connsiteX21" fmla="*/ 201887 w 219650"/>
                <a:gd name="connsiteY21" fmla="*/ 80616 h 278394"/>
                <a:gd name="connsiteX22" fmla="*/ 199152 w 219650"/>
                <a:gd name="connsiteY22" fmla="*/ 77507 h 278394"/>
                <a:gd name="connsiteX23" fmla="*/ 204621 w 219650"/>
                <a:gd name="connsiteY23" fmla="*/ 71094 h 278394"/>
                <a:gd name="connsiteX24" fmla="*/ 152418 w 219650"/>
                <a:gd name="connsiteY24" fmla="*/ 40974 h 278394"/>
                <a:gd name="connsiteX25" fmla="*/ 192578 w 219650"/>
                <a:gd name="connsiteY25" fmla="*/ 72638 h 278394"/>
                <a:gd name="connsiteX26" fmla="*/ 67466 w 219650"/>
                <a:gd name="connsiteY26" fmla="*/ 234049 h 278394"/>
                <a:gd name="connsiteX27" fmla="*/ 26534 w 219650"/>
                <a:gd name="connsiteY27" fmla="*/ 202385 h 278394"/>
                <a:gd name="connsiteX28" fmla="*/ 186513 w 219650"/>
                <a:gd name="connsiteY28" fmla="*/ 20372 h 278394"/>
                <a:gd name="connsiteX29" fmla="*/ 204469 w 219650"/>
                <a:gd name="connsiteY29" fmla="*/ 34241 h 278394"/>
                <a:gd name="connsiteX30" fmla="*/ 207006 w 219650"/>
                <a:gd name="connsiteY30" fmla="*/ 54360 h 278394"/>
                <a:gd name="connsiteX31" fmla="*/ 198224 w 219650"/>
                <a:gd name="connsiteY31" fmla="*/ 65689 h 278394"/>
                <a:gd name="connsiteX32" fmla="*/ 157824 w 219650"/>
                <a:gd name="connsiteY32" fmla="*/ 34241 h 278394"/>
                <a:gd name="connsiteX33" fmla="*/ 166606 w 219650"/>
                <a:gd name="connsiteY33" fmla="*/ 22912 h 278394"/>
                <a:gd name="connsiteX34" fmla="*/ 186513 w 219650"/>
                <a:gd name="connsiteY34" fmla="*/ 20372 h 278394"/>
                <a:gd name="connsiteX35" fmla="*/ 215128 w 219650"/>
                <a:gd name="connsiteY35" fmla="*/ 2385 h 278394"/>
                <a:gd name="connsiteX36" fmla="*/ 217266 w 219650"/>
                <a:gd name="connsiteY36" fmla="*/ 18516 h 278394"/>
                <a:gd name="connsiteX37" fmla="*/ 209881 w 219650"/>
                <a:gd name="connsiteY37" fmla="*/ 27845 h 278394"/>
                <a:gd name="connsiteX38" fmla="*/ 191806 w 219650"/>
                <a:gd name="connsiteY38" fmla="*/ 13852 h 278394"/>
                <a:gd name="connsiteX39" fmla="*/ 199192 w 219650"/>
                <a:gd name="connsiteY39" fmla="*/ 4523 h 278394"/>
                <a:gd name="connsiteX40" fmla="*/ 215128 w 219650"/>
                <a:gd name="connsiteY40" fmla="*/ 2385 h 278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9650" h="278394">
                  <a:moveTo>
                    <a:pt x="3364" y="266485"/>
                  </a:moveTo>
                  <a:cubicBezTo>
                    <a:pt x="3364" y="266485"/>
                    <a:pt x="3364" y="266485"/>
                    <a:pt x="11860" y="273243"/>
                  </a:cubicBezTo>
                  <a:cubicBezTo>
                    <a:pt x="11860" y="273243"/>
                    <a:pt x="11860" y="273243"/>
                    <a:pt x="7226" y="277104"/>
                  </a:cubicBezTo>
                  <a:cubicBezTo>
                    <a:pt x="5874" y="278649"/>
                    <a:pt x="3364" y="278842"/>
                    <a:pt x="1627" y="277491"/>
                  </a:cubicBezTo>
                  <a:cubicBezTo>
                    <a:pt x="-111" y="276139"/>
                    <a:pt x="-497" y="273822"/>
                    <a:pt x="661" y="271891"/>
                  </a:cubicBezTo>
                  <a:close/>
                  <a:moveTo>
                    <a:pt x="22541" y="209547"/>
                  </a:moveTo>
                  <a:cubicBezTo>
                    <a:pt x="23703" y="210531"/>
                    <a:pt x="58962" y="238282"/>
                    <a:pt x="60124" y="239266"/>
                  </a:cubicBezTo>
                  <a:cubicBezTo>
                    <a:pt x="61287" y="240053"/>
                    <a:pt x="32615" y="264655"/>
                    <a:pt x="17310" y="269575"/>
                  </a:cubicBezTo>
                  <a:cubicBezTo>
                    <a:pt x="17310" y="269575"/>
                    <a:pt x="17310" y="269575"/>
                    <a:pt x="4137" y="259144"/>
                  </a:cubicBezTo>
                  <a:cubicBezTo>
                    <a:pt x="4912" y="243005"/>
                    <a:pt x="21185" y="208563"/>
                    <a:pt x="22541" y="209547"/>
                  </a:cubicBezTo>
                  <a:close/>
                  <a:moveTo>
                    <a:pt x="204621" y="71094"/>
                  </a:moveTo>
                  <a:lnTo>
                    <a:pt x="208528" y="74786"/>
                  </a:lnTo>
                  <a:cubicBezTo>
                    <a:pt x="209700" y="76146"/>
                    <a:pt x="214974" y="82753"/>
                    <a:pt x="213412" y="88972"/>
                  </a:cubicBezTo>
                  <a:cubicBezTo>
                    <a:pt x="212044" y="94024"/>
                    <a:pt x="207747" y="105295"/>
                    <a:pt x="192511" y="122978"/>
                  </a:cubicBezTo>
                  <a:cubicBezTo>
                    <a:pt x="179813" y="137746"/>
                    <a:pt x="152271" y="157955"/>
                    <a:pt x="142505" y="160870"/>
                  </a:cubicBezTo>
                  <a:cubicBezTo>
                    <a:pt x="141332" y="161259"/>
                    <a:pt x="140160" y="161453"/>
                    <a:pt x="139379" y="161453"/>
                  </a:cubicBezTo>
                  <a:cubicBezTo>
                    <a:pt x="136058" y="161453"/>
                    <a:pt x="134496" y="159510"/>
                    <a:pt x="134105" y="158344"/>
                  </a:cubicBezTo>
                  <a:cubicBezTo>
                    <a:pt x="131566" y="153680"/>
                    <a:pt x="136840" y="147656"/>
                    <a:pt x="139770" y="145325"/>
                  </a:cubicBezTo>
                  <a:cubicBezTo>
                    <a:pt x="144263" y="141827"/>
                    <a:pt x="151490" y="142021"/>
                    <a:pt x="154420" y="144547"/>
                  </a:cubicBezTo>
                  <a:cubicBezTo>
                    <a:pt x="164968" y="137163"/>
                    <a:pt x="178251" y="126475"/>
                    <a:pt x="185869" y="117537"/>
                  </a:cubicBezTo>
                  <a:cubicBezTo>
                    <a:pt x="200519" y="100437"/>
                    <a:pt x="204426" y="90526"/>
                    <a:pt x="205012" y="86834"/>
                  </a:cubicBezTo>
                  <a:cubicBezTo>
                    <a:pt x="205208" y="86057"/>
                    <a:pt x="203645" y="82559"/>
                    <a:pt x="201887" y="80616"/>
                  </a:cubicBezTo>
                  <a:cubicBezTo>
                    <a:pt x="201887" y="80616"/>
                    <a:pt x="201887" y="80616"/>
                    <a:pt x="199152" y="77507"/>
                  </a:cubicBezTo>
                  <a:cubicBezTo>
                    <a:pt x="199152" y="77507"/>
                    <a:pt x="199152" y="77507"/>
                    <a:pt x="204621" y="71094"/>
                  </a:cubicBezTo>
                  <a:close/>
                  <a:moveTo>
                    <a:pt x="152418" y="40974"/>
                  </a:moveTo>
                  <a:lnTo>
                    <a:pt x="192578" y="72638"/>
                  </a:lnTo>
                  <a:lnTo>
                    <a:pt x="67466" y="234049"/>
                  </a:lnTo>
                  <a:lnTo>
                    <a:pt x="26534" y="202385"/>
                  </a:lnTo>
                  <a:close/>
                  <a:moveTo>
                    <a:pt x="186513" y="20372"/>
                  </a:moveTo>
                  <a:cubicBezTo>
                    <a:pt x="186513" y="20372"/>
                    <a:pt x="186513" y="20372"/>
                    <a:pt x="204469" y="34241"/>
                  </a:cubicBezTo>
                  <a:cubicBezTo>
                    <a:pt x="210714" y="39124"/>
                    <a:pt x="211885" y="48109"/>
                    <a:pt x="207006" y="54360"/>
                  </a:cubicBezTo>
                  <a:lnTo>
                    <a:pt x="198224" y="65689"/>
                  </a:lnTo>
                  <a:cubicBezTo>
                    <a:pt x="198224" y="65689"/>
                    <a:pt x="198224" y="65689"/>
                    <a:pt x="157824" y="34241"/>
                  </a:cubicBezTo>
                  <a:cubicBezTo>
                    <a:pt x="157824" y="34241"/>
                    <a:pt x="157824" y="34241"/>
                    <a:pt x="166606" y="22912"/>
                  </a:cubicBezTo>
                  <a:cubicBezTo>
                    <a:pt x="171485" y="16661"/>
                    <a:pt x="180463" y="15489"/>
                    <a:pt x="186513" y="20372"/>
                  </a:cubicBezTo>
                  <a:close/>
                  <a:moveTo>
                    <a:pt x="215128" y="2385"/>
                  </a:moveTo>
                  <a:cubicBezTo>
                    <a:pt x="220181" y="6272"/>
                    <a:pt x="221153" y="13463"/>
                    <a:pt x="217266" y="18516"/>
                  </a:cubicBezTo>
                  <a:cubicBezTo>
                    <a:pt x="217266" y="18516"/>
                    <a:pt x="217266" y="18516"/>
                    <a:pt x="209881" y="27845"/>
                  </a:cubicBezTo>
                  <a:cubicBezTo>
                    <a:pt x="209881" y="27845"/>
                    <a:pt x="209881" y="27845"/>
                    <a:pt x="191806" y="13852"/>
                  </a:cubicBezTo>
                  <a:cubicBezTo>
                    <a:pt x="191806" y="13852"/>
                    <a:pt x="191806" y="13852"/>
                    <a:pt x="199192" y="4523"/>
                  </a:cubicBezTo>
                  <a:cubicBezTo>
                    <a:pt x="203079" y="-530"/>
                    <a:pt x="210270" y="-1502"/>
                    <a:pt x="215128" y="2385"/>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43" name="AutoShape 159">
              <a:extLst>
                <a:ext uri="{FF2B5EF4-FFF2-40B4-BE49-F238E27FC236}">
                  <a16:creationId xmlns:a16="http://schemas.microsoft.com/office/drawing/2014/main" id="{B1B28343-5FA1-47F8-8961-0C72805DACD7}"/>
                </a:ext>
              </a:extLst>
            </p:cNvPr>
            <p:cNvSpPr>
              <a:spLocks noChangeAspect="1" noChangeArrowheads="1" noTextEdit="1"/>
            </p:cNvSpPr>
            <p:nvPr/>
          </p:nvSpPr>
          <p:spPr bwMode="auto">
            <a:xfrm>
              <a:off x="5867400" y="3200400"/>
              <a:ext cx="457200" cy="457200"/>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4" name="bcgBugs_WiFi">
            <a:extLst>
              <a:ext uri="{FF2B5EF4-FFF2-40B4-BE49-F238E27FC236}">
                <a16:creationId xmlns:a16="http://schemas.microsoft.com/office/drawing/2014/main" id="{C0A9DC64-7AC1-4773-9AAE-2A5C42864F92}"/>
              </a:ext>
            </a:extLst>
          </p:cNvPr>
          <p:cNvGrpSpPr>
            <a:grpSpLocks noChangeAspect="1"/>
          </p:cNvGrpSpPr>
          <p:nvPr/>
        </p:nvGrpSpPr>
        <p:grpSpPr bwMode="auto">
          <a:xfrm>
            <a:off x="7583543" y="3055192"/>
            <a:ext cx="456753" cy="457200"/>
            <a:chOff x="2818" y="1137"/>
            <a:chExt cx="2044" cy="2046"/>
          </a:xfrm>
        </p:grpSpPr>
        <p:sp>
          <p:nvSpPr>
            <p:cNvPr id="245" name="AutoShape 2">
              <a:extLst>
                <a:ext uri="{FF2B5EF4-FFF2-40B4-BE49-F238E27FC236}">
                  <a16:creationId xmlns:a16="http://schemas.microsoft.com/office/drawing/2014/main" id="{7A58BFF5-54C0-4411-9DC2-EB7466EA9240}"/>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4">
              <a:extLst>
                <a:ext uri="{FF2B5EF4-FFF2-40B4-BE49-F238E27FC236}">
                  <a16:creationId xmlns:a16="http://schemas.microsoft.com/office/drawing/2014/main" id="{057B05E6-8BFB-4305-B0B9-3FFFF60F7CFA}"/>
                </a:ext>
              </a:extLst>
            </p:cNvPr>
            <p:cNvSpPr>
              <a:spLocks noEditPoints="1"/>
            </p:cNvSpPr>
            <p:nvPr/>
          </p:nvSpPr>
          <p:spPr bwMode="auto">
            <a:xfrm>
              <a:off x="2926" y="1504"/>
              <a:ext cx="1830" cy="1314"/>
            </a:xfrm>
            <a:custGeom>
              <a:avLst/>
              <a:gdLst>
                <a:gd name="T0" fmla="*/ 447 w 894"/>
                <a:gd name="T1" fmla="*/ 642 h 642"/>
                <a:gd name="T2" fmla="*/ 360 w 894"/>
                <a:gd name="T3" fmla="*/ 555 h 642"/>
                <a:gd name="T4" fmla="*/ 447 w 894"/>
                <a:gd name="T5" fmla="*/ 468 h 642"/>
                <a:gd name="T6" fmla="*/ 534 w 894"/>
                <a:gd name="T7" fmla="*/ 555 h 642"/>
                <a:gd name="T8" fmla="*/ 447 w 894"/>
                <a:gd name="T9" fmla="*/ 642 h 642"/>
                <a:gd name="T10" fmla="*/ 636 w 894"/>
                <a:gd name="T11" fmla="*/ 459 h 642"/>
                <a:gd name="T12" fmla="*/ 642 w 894"/>
                <a:gd name="T13" fmla="*/ 397 h 642"/>
                <a:gd name="T14" fmla="*/ 447 w 894"/>
                <a:gd name="T15" fmla="*/ 304 h 642"/>
                <a:gd name="T16" fmla="*/ 252 w 894"/>
                <a:gd name="T17" fmla="*/ 397 h 642"/>
                <a:gd name="T18" fmla="*/ 258 w 894"/>
                <a:gd name="T19" fmla="*/ 459 h 642"/>
                <a:gd name="T20" fmla="*/ 320 w 894"/>
                <a:gd name="T21" fmla="*/ 452 h 642"/>
                <a:gd name="T22" fmla="*/ 447 w 894"/>
                <a:gd name="T23" fmla="*/ 392 h 642"/>
                <a:gd name="T24" fmla="*/ 574 w 894"/>
                <a:gd name="T25" fmla="*/ 452 h 642"/>
                <a:gd name="T26" fmla="*/ 608 w 894"/>
                <a:gd name="T27" fmla="*/ 469 h 642"/>
                <a:gd name="T28" fmla="*/ 636 w 894"/>
                <a:gd name="T29" fmla="*/ 459 h 642"/>
                <a:gd name="T30" fmla="*/ 749 w 894"/>
                <a:gd name="T31" fmla="*/ 368 h 642"/>
                <a:gd name="T32" fmla="*/ 755 w 894"/>
                <a:gd name="T33" fmla="*/ 306 h 642"/>
                <a:gd name="T34" fmla="*/ 447 w 894"/>
                <a:gd name="T35" fmla="*/ 159 h 642"/>
                <a:gd name="T36" fmla="*/ 139 w 894"/>
                <a:gd name="T37" fmla="*/ 306 h 642"/>
                <a:gd name="T38" fmla="*/ 145 w 894"/>
                <a:gd name="T39" fmla="*/ 368 h 642"/>
                <a:gd name="T40" fmla="*/ 207 w 894"/>
                <a:gd name="T41" fmla="*/ 361 h 642"/>
                <a:gd name="T42" fmla="*/ 447 w 894"/>
                <a:gd name="T43" fmla="*/ 247 h 642"/>
                <a:gd name="T44" fmla="*/ 687 w 894"/>
                <a:gd name="T45" fmla="*/ 361 h 642"/>
                <a:gd name="T46" fmla="*/ 721 w 894"/>
                <a:gd name="T47" fmla="*/ 378 h 642"/>
                <a:gd name="T48" fmla="*/ 749 w 894"/>
                <a:gd name="T49" fmla="*/ 368 h 642"/>
                <a:gd name="T50" fmla="*/ 872 w 894"/>
                <a:gd name="T51" fmla="*/ 269 h 642"/>
                <a:gd name="T52" fmla="*/ 879 w 894"/>
                <a:gd name="T53" fmla="*/ 207 h 642"/>
                <a:gd name="T54" fmla="*/ 447 w 894"/>
                <a:gd name="T55" fmla="*/ 0 h 642"/>
                <a:gd name="T56" fmla="*/ 15 w 894"/>
                <a:gd name="T57" fmla="*/ 207 h 642"/>
                <a:gd name="T58" fmla="*/ 22 w 894"/>
                <a:gd name="T59" fmla="*/ 269 h 642"/>
                <a:gd name="T60" fmla="*/ 84 w 894"/>
                <a:gd name="T61" fmla="*/ 262 h 642"/>
                <a:gd name="T62" fmla="*/ 447 w 894"/>
                <a:gd name="T63" fmla="*/ 88 h 642"/>
                <a:gd name="T64" fmla="*/ 810 w 894"/>
                <a:gd name="T65" fmla="*/ 262 h 642"/>
                <a:gd name="T66" fmla="*/ 844 w 894"/>
                <a:gd name="T67" fmla="*/ 278 h 642"/>
                <a:gd name="T68" fmla="*/ 872 w 894"/>
                <a:gd name="T69" fmla="*/ 26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4" h="642">
                  <a:moveTo>
                    <a:pt x="447" y="642"/>
                  </a:moveTo>
                  <a:cubicBezTo>
                    <a:pt x="399" y="642"/>
                    <a:pt x="360" y="603"/>
                    <a:pt x="360" y="555"/>
                  </a:cubicBezTo>
                  <a:cubicBezTo>
                    <a:pt x="360" y="507"/>
                    <a:pt x="399" y="468"/>
                    <a:pt x="447" y="468"/>
                  </a:cubicBezTo>
                  <a:cubicBezTo>
                    <a:pt x="495" y="468"/>
                    <a:pt x="534" y="507"/>
                    <a:pt x="534" y="555"/>
                  </a:cubicBezTo>
                  <a:cubicBezTo>
                    <a:pt x="534" y="603"/>
                    <a:pt x="495" y="642"/>
                    <a:pt x="447" y="642"/>
                  </a:cubicBezTo>
                  <a:close/>
                  <a:moveTo>
                    <a:pt x="636" y="459"/>
                  </a:moveTo>
                  <a:cubicBezTo>
                    <a:pt x="655" y="444"/>
                    <a:pt x="658" y="416"/>
                    <a:pt x="642" y="397"/>
                  </a:cubicBezTo>
                  <a:cubicBezTo>
                    <a:pt x="594" y="338"/>
                    <a:pt x="523" y="304"/>
                    <a:pt x="447" y="304"/>
                  </a:cubicBezTo>
                  <a:cubicBezTo>
                    <a:pt x="371" y="304"/>
                    <a:pt x="300" y="338"/>
                    <a:pt x="252" y="397"/>
                  </a:cubicBezTo>
                  <a:cubicBezTo>
                    <a:pt x="236" y="416"/>
                    <a:pt x="239" y="444"/>
                    <a:pt x="258" y="459"/>
                  </a:cubicBezTo>
                  <a:cubicBezTo>
                    <a:pt x="277" y="474"/>
                    <a:pt x="305" y="471"/>
                    <a:pt x="320" y="452"/>
                  </a:cubicBezTo>
                  <a:cubicBezTo>
                    <a:pt x="351" y="414"/>
                    <a:pt x="398" y="392"/>
                    <a:pt x="447" y="392"/>
                  </a:cubicBezTo>
                  <a:cubicBezTo>
                    <a:pt x="496" y="392"/>
                    <a:pt x="543" y="414"/>
                    <a:pt x="574" y="452"/>
                  </a:cubicBezTo>
                  <a:cubicBezTo>
                    <a:pt x="583" y="463"/>
                    <a:pt x="595" y="469"/>
                    <a:pt x="608" y="469"/>
                  </a:cubicBezTo>
                  <a:cubicBezTo>
                    <a:pt x="618" y="469"/>
                    <a:pt x="628" y="466"/>
                    <a:pt x="636" y="459"/>
                  </a:cubicBezTo>
                  <a:close/>
                  <a:moveTo>
                    <a:pt x="749" y="368"/>
                  </a:moveTo>
                  <a:cubicBezTo>
                    <a:pt x="768" y="353"/>
                    <a:pt x="770" y="325"/>
                    <a:pt x="755" y="306"/>
                  </a:cubicBezTo>
                  <a:cubicBezTo>
                    <a:pt x="680" y="212"/>
                    <a:pt x="567" y="159"/>
                    <a:pt x="447" y="159"/>
                  </a:cubicBezTo>
                  <a:cubicBezTo>
                    <a:pt x="327" y="159"/>
                    <a:pt x="214" y="212"/>
                    <a:pt x="139" y="306"/>
                  </a:cubicBezTo>
                  <a:cubicBezTo>
                    <a:pt x="124" y="325"/>
                    <a:pt x="126" y="353"/>
                    <a:pt x="145" y="368"/>
                  </a:cubicBezTo>
                  <a:cubicBezTo>
                    <a:pt x="164" y="383"/>
                    <a:pt x="192" y="380"/>
                    <a:pt x="207" y="361"/>
                  </a:cubicBezTo>
                  <a:cubicBezTo>
                    <a:pt x="266" y="289"/>
                    <a:pt x="354" y="247"/>
                    <a:pt x="447" y="247"/>
                  </a:cubicBezTo>
                  <a:cubicBezTo>
                    <a:pt x="540" y="247"/>
                    <a:pt x="628" y="289"/>
                    <a:pt x="687" y="361"/>
                  </a:cubicBezTo>
                  <a:cubicBezTo>
                    <a:pt x="695" y="372"/>
                    <a:pt x="708" y="378"/>
                    <a:pt x="721" y="378"/>
                  </a:cubicBezTo>
                  <a:cubicBezTo>
                    <a:pt x="731" y="378"/>
                    <a:pt x="740" y="375"/>
                    <a:pt x="749" y="368"/>
                  </a:cubicBezTo>
                  <a:close/>
                  <a:moveTo>
                    <a:pt x="872" y="269"/>
                  </a:moveTo>
                  <a:cubicBezTo>
                    <a:pt x="891" y="253"/>
                    <a:pt x="894" y="226"/>
                    <a:pt x="879" y="207"/>
                  </a:cubicBezTo>
                  <a:cubicBezTo>
                    <a:pt x="773" y="76"/>
                    <a:pt x="615" y="0"/>
                    <a:pt x="447" y="0"/>
                  </a:cubicBezTo>
                  <a:cubicBezTo>
                    <a:pt x="279" y="0"/>
                    <a:pt x="121" y="76"/>
                    <a:pt x="15" y="207"/>
                  </a:cubicBezTo>
                  <a:cubicBezTo>
                    <a:pt x="0" y="226"/>
                    <a:pt x="3" y="253"/>
                    <a:pt x="22" y="269"/>
                  </a:cubicBezTo>
                  <a:cubicBezTo>
                    <a:pt x="41" y="284"/>
                    <a:pt x="69" y="281"/>
                    <a:pt x="84" y="262"/>
                  </a:cubicBezTo>
                  <a:cubicBezTo>
                    <a:pt x="173" y="152"/>
                    <a:pt x="305" y="88"/>
                    <a:pt x="447" y="88"/>
                  </a:cubicBezTo>
                  <a:cubicBezTo>
                    <a:pt x="589" y="88"/>
                    <a:pt x="721" y="152"/>
                    <a:pt x="810" y="262"/>
                  </a:cubicBezTo>
                  <a:cubicBezTo>
                    <a:pt x="819" y="273"/>
                    <a:pt x="832" y="278"/>
                    <a:pt x="844" y="278"/>
                  </a:cubicBezTo>
                  <a:cubicBezTo>
                    <a:pt x="854" y="278"/>
                    <a:pt x="864" y="275"/>
                    <a:pt x="872" y="26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0" name="Group 249">
            <a:extLst>
              <a:ext uri="{FF2B5EF4-FFF2-40B4-BE49-F238E27FC236}">
                <a16:creationId xmlns:a16="http://schemas.microsoft.com/office/drawing/2014/main" id="{97CE64F1-4E27-4BA6-A910-187C0A13A301}"/>
              </a:ext>
            </a:extLst>
          </p:cNvPr>
          <p:cNvGrpSpPr/>
          <p:nvPr/>
        </p:nvGrpSpPr>
        <p:grpSpPr>
          <a:xfrm>
            <a:off x="8866893" y="2951648"/>
            <a:ext cx="599481" cy="608558"/>
            <a:chOff x="4067241" y="-1366708"/>
            <a:chExt cx="1644650" cy="1644650"/>
          </a:xfrm>
        </p:grpSpPr>
        <p:sp>
          <p:nvSpPr>
            <p:cNvPr id="248" name="AutoShape 3">
              <a:extLst>
                <a:ext uri="{FF2B5EF4-FFF2-40B4-BE49-F238E27FC236}">
                  <a16:creationId xmlns:a16="http://schemas.microsoft.com/office/drawing/2014/main" id="{09069580-6B24-4684-AAF9-072F3B42199A}"/>
                </a:ext>
              </a:extLst>
            </p:cNvPr>
            <p:cNvSpPr>
              <a:spLocks noChangeAspect="1" noChangeArrowheads="1" noTextEdit="1"/>
            </p:cNvSpPr>
            <p:nvPr/>
          </p:nvSpPr>
          <p:spPr bwMode="auto">
            <a:xfrm>
              <a:off x="4067241" y="-136670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29">
              <a:extLst>
                <a:ext uri="{FF2B5EF4-FFF2-40B4-BE49-F238E27FC236}">
                  <a16:creationId xmlns:a16="http://schemas.microsoft.com/office/drawing/2014/main" id="{26380519-B667-4E4D-AB9D-AD03EBBFA1DC}"/>
                </a:ext>
              </a:extLst>
            </p:cNvPr>
            <p:cNvSpPr>
              <a:spLocks/>
            </p:cNvSpPr>
            <p:nvPr/>
          </p:nvSpPr>
          <p:spPr bwMode="auto">
            <a:xfrm>
              <a:off x="4238691" y="-1195258"/>
              <a:ext cx="1303339" cy="1301751"/>
            </a:xfrm>
            <a:custGeom>
              <a:avLst/>
              <a:gdLst>
                <a:gd name="connsiteX0" fmla="*/ 1200151 w 1303339"/>
                <a:gd name="connsiteY0" fmla="*/ 1095375 h 1301751"/>
                <a:gd name="connsiteX1" fmla="*/ 1303339 w 1303339"/>
                <a:gd name="connsiteY1" fmla="*/ 1198563 h 1301751"/>
                <a:gd name="connsiteX2" fmla="*/ 1200151 w 1303339"/>
                <a:gd name="connsiteY2" fmla="*/ 1301751 h 1301751"/>
                <a:gd name="connsiteX3" fmla="*/ 1096963 w 1303339"/>
                <a:gd name="connsiteY3" fmla="*/ 1198563 h 1301751"/>
                <a:gd name="connsiteX4" fmla="*/ 1200151 w 1303339"/>
                <a:gd name="connsiteY4" fmla="*/ 1095375 h 1301751"/>
                <a:gd name="connsiteX5" fmla="*/ 102394 w 1303339"/>
                <a:gd name="connsiteY5" fmla="*/ 1095375 h 1301751"/>
                <a:gd name="connsiteX6" fmla="*/ 204788 w 1303339"/>
                <a:gd name="connsiteY6" fmla="*/ 1198563 h 1301751"/>
                <a:gd name="connsiteX7" fmla="*/ 102394 w 1303339"/>
                <a:gd name="connsiteY7" fmla="*/ 1301751 h 1301751"/>
                <a:gd name="connsiteX8" fmla="*/ 0 w 1303339"/>
                <a:gd name="connsiteY8" fmla="*/ 1198563 h 1301751"/>
                <a:gd name="connsiteX9" fmla="*/ 102394 w 1303339"/>
                <a:gd name="connsiteY9" fmla="*/ 1095375 h 1301751"/>
                <a:gd name="connsiteX10" fmla="*/ 1228562 w 1303339"/>
                <a:gd name="connsiteY10" fmla="*/ 852488 h 1301751"/>
                <a:gd name="connsiteX11" fmla="*/ 1271588 w 1303339"/>
                <a:gd name="connsiteY11" fmla="*/ 895441 h 1301751"/>
                <a:gd name="connsiteX12" fmla="*/ 1271588 w 1303339"/>
                <a:gd name="connsiteY12" fmla="*/ 1083717 h 1301751"/>
                <a:gd name="connsiteX13" fmla="*/ 1240035 w 1303339"/>
                <a:gd name="connsiteY13" fmla="*/ 1069399 h 1301751"/>
                <a:gd name="connsiteX14" fmla="*/ 1240035 w 1303339"/>
                <a:gd name="connsiteY14" fmla="*/ 895441 h 1301751"/>
                <a:gd name="connsiteX15" fmla="*/ 1228562 w 1303339"/>
                <a:gd name="connsiteY15" fmla="*/ 883987 h 1301751"/>
                <a:gd name="connsiteX16" fmla="*/ 1216371 w 1303339"/>
                <a:gd name="connsiteY16" fmla="*/ 895441 h 1301751"/>
                <a:gd name="connsiteX17" fmla="*/ 1216371 w 1303339"/>
                <a:gd name="connsiteY17" fmla="*/ 954859 h 1301751"/>
                <a:gd name="connsiteX18" fmla="*/ 1194857 w 1303339"/>
                <a:gd name="connsiteY18" fmla="*/ 1006402 h 1301751"/>
                <a:gd name="connsiteX19" fmla="*/ 1009842 w 1303339"/>
                <a:gd name="connsiteY19" fmla="*/ 1192530 h 1301751"/>
                <a:gd name="connsiteX20" fmla="*/ 958210 w 1303339"/>
                <a:gd name="connsiteY20" fmla="*/ 1214006 h 1301751"/>
                <a:gd name="connsiteX21" fmla="*/ 898690 w 1303339"/>
                <a:gd name="connsiteY21" fmla="*/ 1214006 h 1301751"/>
                <a:gd name="connsiteX22" fmla="*/ 887216 w 1303339"/>
                <a:gd name="connsiteY22" fmla="*/ 1225460 h 1301751"/>
                <a:gd name="connsiteX23" fmla="*/ 898690 w 1303339"/>
                <a:gd name="connsiteY23" fmla="*/ 1236915 h 1301751"/>
                <a:gd name="connsiteX24" fmla="*/ 1071514 w 1303339"/>
                <a:gd name="connsiteY24" fmla="*/ 1236915 h 1301751"/>
                <a:gd name="connsiteX25" fmla="*/ 1085856 w 1303339"/>
                <a:gd name="connsiteY25" fmla="*/ 1268413 h 1301751"/>
                <a:gd name="connsiteX26" fmla="*/ 898690 w 1303339"/>
                <a:gd name="connsiteY26" fmla="*/ 1268413 h 1301751"/>
                <a:gd name="connsiteX27" fmla="*/ 855663 w 1303339"/>
                <a:gd name="connsiteY27" fmla="*/ 1225460 h 1301751"/>
                <a:gd name="connsiteX28" fmla="*/ 898690 w 1303339"/>
                <a:gd name="connsiteY28" fmla="*/ 1182508 h 1301751"/>
                <a:gd name="connsiteX29" fmla="*/ 958210 w 1303339"/>
                <a:gd name="connsiteY29" fmla="*/ 1182508 h 1301751"/>
                <a:gd name="connsiteX30" fmla="*/ 987612 w 1303339"/>
                <a:gd name="connsiteY30" fmla="*/ 1170338 h 1301751"/>
                <a:gd name="connsiteX31" fmla="*/ 1172627 w 1303339"/>
                <a:gd name="connsiteY31" fmla="*/ 984210 h 1301751"/>
                <a:gd name="connsiteX32" fmla="*/ 1184818 w 1303339"/>
                <a:gd name="connsiteY32" fmla="*/ 954859 h 1301751"/>
                <a:gd name="connsiteX33" fmla="*/ 1184818 w 1303339"/>
                <a:gd name="connsiteY33" fmla="*/ 895441 h 1301751"/>
                <a:gd name="connsiteX34" fmla="*/ 1228562 w 1303339"/>
                <a:gd name="connsiteY34" fmla="*/ 852488 h 1301751"/>
                <a:gd name="connsiteX35" fmla="*/ 74612 w 1303339"/>
                <a:gd name="connsiteY35" fmla="*/ 852488 h 1301751"/>
                <a:gd name="connsiteX36" fmla="*/ 118189 w 1303339"/>
                <a:gd name="connsiteY36" fmla="*/ 895441 h 1301751"/>
                <a:gd name="connsiteX37" fmla="*/ 118189 w 1303339"/>
                <a:gd name="connsiteY37" fmla="*/ 954859 h 1301751"/>
                <a:gd name="connsiteX38" fmla="*/ 130334 w 1303339"/>
                <a:gd name="connsiteY38" fmla="*/ 984210 h 1301751"/>
                <a:gd name="connsiteX39" fmla="*/ 314643 w 1303339"/>
                <a:gd name="connsiteY39" fmla="*/ 1170338 h 1301751"/>
                <a:gd name="connsiteX40" fmla="*/ 343932 w 1303339"/>
                <a:gd name="connsiteY40" fmla="*/ 1182508 h 1301751"/>
                <a:gd name="connsiteX41" fmla="*/ 403225 w 1303339"/>
                <a:gd name="connsiteY41" fmla="*/ 1182508 h 1301751"/>
                <a:gd name="connsiteX42" fmla="*/ 446088 w 1303339"/>
                <a:gd name="connsiteY42" fmla="*/ 1225460 h 1301751"/>
                <a:gd name="connsiteX43" fmla="*/ 403225 w 1303339"/>
                <a:gd name="connsiteY43" fmla="*/ 1268413 h 1301751"/>
                <a:gd name="connsiteX44" fmla="*/ 216773 w 1303339"/>
                <a:gd name="connsiteY44" fmla="*/ 1268413 h 1301751"/>
                <a:gd name="connsiteX45" fmla="*/ 231061 w 1303339"/>
                <a:gd name="connsiteY45" fmla="*/ 1236915 h 1301751"/>
                <a:gd name="connsiteX46" fmla="*/ 403225 w 1303339"/>
                <a:gd name="connsiteY46" fmla="*/ 1236915 h 1301751"/>
                <a:gd name="connsiteX47" fmla="*/ 414655 w 1303339"/>
                <a:gd name="connsiteY47" fmla="*/ 1225460 h 1301751"/>
                <a:gd name="connsiteX48" fmla="*/ 403225 w 1303339"/>
                <a:gd name="connsiteY48" fmla="*/ 1214006 h 1301751"/>
                <a:gd name="connsiteX49" fmla="*/ 343932 w 1303339"/>
                <a:gd name="connsiteY49" fmla="*/ 1214006 h 1301751"/>
                <a:gd name="connsiteX50" fmla="*/ 292497 w 1303339"/>
                <a:gd name="connsiteY50" fmla="*/ 1192530 h 1301751"/>
                <a:gd name="connsiteX51" fmla="*/ 108188 w 1303339"/>
                <a:gd name="connsiteY51" fmla="*/ 1006402 h 1301751"/>
                <a:gd name="connsiteX52" fmla="*/ 86757 w 1303339"/>
                <a:gd name="connsiteY52" fmla="*/ 954859 h 1301751"/>
                <a:gd name="connsiteX53" fmla="*/ 86757 w 1303339"/>
                <a:gd name="connsiteY53" fmla="*/ 895441 h 1301751"/>
                <a:gd name="connsiteX54" fmla="*/ 74612 w 1303339"/>
                <a:gd name="connsiteY54" fmla="*/ 883987 h 1301751"/>
                <a:gd name="connsiteX55" fmla="*/ 63182 w 1303339"/>
                <a:gd name="connsiteY55" fmla="*/ 895441 h 1301751"/>
                <a:gd name="connsiteX56" fmla="*/ 63182 w 1303339"/>
                <a:gd name="connsiteY56" fmla="*/ 1069399 h 1301751"/>
                <a:gd name="connsiteX57" fmla="*/ 31750 w 1303339"/>
                <a:gd name="connsiteY57" fmla="*/ 1083717 h 1301751"/>
                <a:gd name="connsiteX58" fmla="*/ 31750 w 1303339"/>
                <a:gd name="connsiteY58" fmla="*/ 895441 h 1301751"/>
                <a:gd name="connsiteX59" fmla="*/ 74612 w 1303339"/>
                <a:gd name="connsiteY59" fmla="*/ 852488 h 1301751"/>
                <a:gd name="connsiteX60" fmla="*/ 571500 w 1303339"/>
                <a:gd name="connsiteY60" fmla="*/ 835025 h 1301751"/>
                <a:gd name="connsiteX61" fmla="*/ 836613 w 1303339"/>
                <a:gd name="connsiteY61" fmla="*/ 835025 h 1301751"/>
                <a:gd name="connsiteX62" fmla="*/ 836613 w 1303339"/>
                <a:gd name="connsiteY62" fmla="*/ 969963 h 1301751"/>
                <a:gd name="connsiteX63" fmla="*/ 571500 w 1303339"/>
                <a:gd name="connsiteY63" fmla="*/ 969963 h 1301751"/>
                <a:gd name="connsiteX64" fmla="*/ 571500 w 1303339"/>
                <a:gd name="connsiteY64" fmla="*/ 835025 h 1301751"/>
                <a:gd name="connsiteX65" fmla="*/ 555466 w 1303339"/>
                <a:gd name="connsiteY65" fmla="*/ 804862 h 1301751"/>
                <a:gd name="connsiteX66" fmla="*/ 539749 w 1303339"/>
                <a:gd name="connsiteY66" fmla="*/ 820553 h 1301751"/>
                <a:gd name="connsiteX67" fmla="*/ 539749 w 1303339"/>
                <a:gd name="connsiteY67" fmla="*/ 986021 h 1301751"/>
                <a:gd name="connsiteX68" fmla="*/ 555466 w 1303339"/>
                <a:gd name="connsiteY68" fmla="*/ 1001712 h 1301751"/>
                <a:gd name="connsiteX69" fmla="*/ 852646 w 1303339"/>
                <a:gd name="connsiteY69" fmla="*/ 1001712 h 1301751"/>
                <a:gd name="connsiteX70" fmla="*/ 868362 w 1303339"/>
                <a:gd name="connsiteY70" fmla="*/ 986021 h 1301751"/>
                <a:gd name="connsiteX71" fmla="*/ 868362 w 1303339"/>
                <a:gd name="connsiteY71" fmla="*/ 820553 h 1301751"/>
                <a:gd name="connsiteX72" fmla="*/ 852646 w 1303339"/>
                <a:gd name="connsiteY72" fmla="*/ 804862 h 1301751"/>
                <a:gd name="connsiteX73" fmla="*/ 555466 w 1303339"/>
                <a:gd name="connsiteY73" fmla="*/ 804862 h 1301751"/>
                <a:gd name="connsiteX74" fmla="*/ 353219 w 1303339"/>
                <a:gd name="connsiteY74" fmla="*/ 771524 h 1301751"/>
                <a:gd name="connsiteX75" fmla="*/ 315912 w 1303339"/>
                <a:gd name="connsiteY75" fmla="*/ 809624 h 1301751"/>
                <a:gd name="connsiteX76" fmla="*/ 353219 w 1303339"/>
                <a:gd name="connsiteY76" fmla="*/ 847724 h 1301751"/>
                <a:gd name="connsiteX77" fmla="*/ 390526 w 1303339"/>
                <a:gd name="connsiteY77" fmla="*/ 809624 h 1301751"/>
                <a:gd name="connsiteX78" fmla="*/ 353219 w 1303339"/>
                <a:gd name="connsiteY78" fmla="*/ 771524 h 1301751"/>
                <a:gd name="connsiteX79" fmla="*/ 730249 w 1303339"/>
                <a:gd name="connsiteY79" fmla="*/ 603249 h 1301751"/>
                <a:gd name="connsiteX80" fmla="*/ 692149 w 1303339"/>
                <a:gd name="connsiteY80" fmla="*/ 641349 h 1301751"/>
                <a:gd name="connsiteX81" fmla="*/ 730249 w 1303339"/>
                <a:gd name="connsiteY81" fmla="*/ 679449 h 1301751"/>
                <a:gd name="connsiteX82" fmla="*/ 768349 w 1303339"/>
                <a:gd name="connsiteY82" fmla="*/ 641349 h 1301751"/>
                <a:gd name="connsiteX83" fmla="*/ 730249 w 1303339"/>
                <a:gd name="connsiteY83" fmla="*/ 603249 h 1301751"/>
                <a:gd name="connsiteX84" fmla="*/ 887413 w 1303339"/>
                <a:gd name="connsiteY84" fmla="*/ 534988 h 1301751"/>
                <a:gd name="connsiteX85" fmla="*/ 976313 w 1303339"/>
                <a:gd name="connsiteY85" fmla="*/ 534988 h 1301751"/>
                <a:gd name="connsiteX86" fmla="*/ 976313 w 1303339"/>
                <a:gd name="connsiteY86" fmla="*/ 669926 h 1301751"/>
                <a:gd name="connsiteX87" fmla="*/ 887413 w 1303339"/>
                <a:gd name="connsiteY87" fmla="*/ 669926 h 1301751"/>
                <a:gd name="connsiteX88" fmla="*/ 887413 w 1303339"/>
                <a:gd name="connsiteY88" fmla="*/ 534988 h 1301751"/>
                <a:gd name="connsiteX89" fmla="*/ 871387 w 1303339"/>
                <a:gd name="connsiteY89" fmla="*/ 504824 h 1301751"/>
                <a:gd name="connsiteX90" fmla="*/ 855662 w 1303339"/>
                <a:gd name="connsiteY90" fmla="*/ 520515 h 1301751"/>
                <a:gd name="connsiteX91" fmla="*/ 855662 w 1303339"/>
                <a:gd name="connsiteY91" fmla="*/ 685983 h 1301751"/>
                <a:gd name="connsiteX92" fmla="*/ 871387 w 1303339"/>
                <a:gd name="connsiteY92" fmla="*/ 701674 h 1301751"/>
                <a:gd name="connsiteX93" fmla="*/ 990751 w 1303339"/>
                <a:gd name="connsiteY93" fmla="*/ 701674 h 1301751"/>
                <a:gd name="connsiteX94" fmla="*/ 1006475 w 1303339"/>
                <a:gd name="connsiteY94" fmla="*/ 685983 h 1301751"/>
                <a:gd name="connsiteX95" fmla="*/ 1006475 w 1303339"/>
                <a:gd name="connsiteY95" fmla="*/ 520515 h 1301751"/>
                <a:gd name="connsiteX96" fmla="*/ 990751 w 1303339"/>
                <a:gd name="connsiteY96" fmla="*/ 504824 h 1301751"/>
                <a:gd name="connsiteX97" fmla="*/ 871387 w 1303339"/>
                <a:gd name="connsiteY97" fmla="*/ 504824 h 1301751"/>
                <a:gd name="connsiteX98" fmla="*/ 806449 w 1303339"/>
                <a:gd name="connsiteY98" fmla="*/ 342899 h 1301751"/>
                <a:gd name="connsiteX99" fmla="*/ 768349 w 1303339"/>
                <a:gd name="connsiteY99" fmla="*/ 380206 h 1301751"/>
                <a:gd name="connsiteX100" fmla="*/ 806449 w 1303339"/>
                <a:gd name="connsiteY100" fmla="*/ 417513 h 1301751"/>
                <a:gd name="connsiteX101" fmla="*/ 844549 w 1303339"/>
                <a:gd name="connsiteY101" fmla="*/ 380206 h 1301751"/>
                <a:gd name="connsiteX102" fmla="*/ 806449 w 1303339"/>
                <a:gd name="connsiteY102" fmla="*/ 342899 h 1301751"/>
                <a:gd name="connsiteX103" fmla="*/ 496651 w 1303339"/>
                <a:gd name="connsiteY103" fmla="*/ 304800 h 1301751"/>
                <a:gd name="connsiteX104" fmla="*/ 590551 w 1303339"/>
                <a:gd name="connsiteY104" fmla="*/ 399705 h 1301751"/>
                <a:gd name="connsiteX105" fmla="*/ 403463 w 1303339"/>
                <a:gd name="connsiteY105" fmla="*/ 587375 h 1301751"/>
                <a:gd name="connsiteX106" fmla="*/ 309563 w 1303339"/>
                <a:gd name="connsiteY106" fmla="*/ 492470 h 1301751"/>
                <a:gd name="connsiteX107" fmla="*/ 496651 w 1303339"/>
                <a:gd name="connsiteY107" fmla="*/ 304800 h 1301751"/>
                <a:gd name="connsiteX108" fmla="*/ 497215 w 1303339"/>
                <a:gd name="connsiteY108" fmla="*/ 268123 h 1301751"/>
                <a:gd name="connsiteX109" fmla="*/ 485870 w 1303339"/>
                <a:gd name="connsiteY109" fmla="*/ 272394 h 1301751"/>
                <a:gd name="connsiteX110" fmla="*/ 276465 w 1303339"/>
                <a:gd name="connsiteY110" fmla="*/ 482391 h 1301751"/>
                <a:gd name="connsiteX111" fmla="*/ 271462 w 1303339"/>
                <a:gd name="connsiteY111" fmla="*/ 493069 h 1301751"/>
                <a:gd name="connsiteX112" fmla="*/ 276465 w 1303339"/>
                <a:gd name="connsiteY112" fmla="*/ 504459 h 1301751"/>
                <a:gd name="connsiteX113" fmla="*/ 392960 w 1303339"/>
                <a:gd name="connsiteY113" fmla="*/ 621203 h 1301751"/>
                <a:gd name="connsiteX114" fmla="*/ 403680 w 1303339"/>
                <a:gd name="connsiteY114" fmla="*/ 625474 h 1301751"/>
                <a:gd name="connsiteX115" fmla="*/ 415115 w 1303339"/>
                <a:gd name="connsiteY115" fmla="*/ 621203 h 1301751"/>
                <a:gd name="connsiteX116" fmla="*/ 625234 w 1303339"/>
                <a:gd name="connsiteY116" fmla="*/ 411918 h 1301751"/>
                <a:gd name="connsiteX117" fmla="*/ 630237 w 1303339"/>
                <a:gd name="connsiteY117" fmla="*/ 400528 h 1301751"/>
                <a:gd name="connsiteX118" fmla="*/ 625234 w 1303339"/>
                <a:gd name="connsiteY118" fmla="*/ 389138 h 1301751"/>
                <a:gd name="connsiteX119" fmla="*/ 508025 w 1303339"/>
                <a:gd name="connsiteY119" fmla="*/ 272394 h 1301751"/>
                <a:gd name="connsiteX120" fmla="*/ 497215 w 1303339"/>
                <a:gd name="connsiteY120" fmla="*/ 268123 h 1301751"/>
                <a:gd name="connsiteX121" fmla="*/ 651669 w 1303339"/>
                <a:gd name="connsiteY121" fmla="*/ 176212 h 1301751"/>
                <a:gd name="connsiteX122" fmla="*/ 1127126 w 1303339"/>
                <a:gd name="connsiteY122" fmla="*/ 651669 h 1301751"/>
                <a:gd name="connsiteX123" fmla="*/ 651669 w 1303339"/>
                <a:gd name="connsiteY123" fmla="*/ 1127126 h 1301751"/>
                <a:gd name="connsiteX124" fmla="*/ 176212 w 1303339"/>
                <a:gd name="connsiteY124" fmla="*/ 651669 h 1301751"/>
                <a:gd name="connsiteX125" fmla="*/ 651669 w 1303339"/>
                <a:gd name="connsiteY125" fmla="*/ 176212 h 1301751"/>
                <a:gd name="connsiteX126" fmla="*/ 898690 w 1303339"/>
                <a:gd name="connsiteY126" fmla="*/ 30163 h 1301751"/>
                <a:gd name="connsiteX127" fmla="*/ 1088008 w 1303339"/>
                <a:gd name="connsiteY127" fmla="*/ 30163 h 1301751"/>
                <a:gd name="connsiteX128" fmla="*/ 1072948 w 1303339"/>
                <a:gd name="connsiteY128" fmla="*/ 61541 h 1301751"/>
                <a:gd name="connsiteX129" fmla="*/ 898690 w 1303339"/>
                <a:gd name="connsiteY129" fmla="*/ 61541 h 1301751"/>
                <a:gd name="connsiteX130" fmla="*/ 887216 w 1303339"/>
                <a:gd name="connsiteY130" fmla="*/ 72952 h 1301751"/>
                <a:gd name="connsiteX131" fmla="*/ 898690 w 1303339"/>
                <a:gd name="connsiteY131" fmla="*/ 84362 h 1301751"/>
                <a:gd name="connsiteX132" fmla="*/ 963947 w 1303339"/>
                <a:gd name="connsiteY132" fmla="*/ 84362 h 1301751"/>
                <a:gd name="connsiteX133" fmla="*/ 1005540 w 1303339"/>
                <a:gd name="connsiteY133" fmla="*/ 101478 h 1301751"/>
                <a:gd name="connsiteX134" fmla="*/ 1199160 w 1303339"/>
                <a:gd name="connsiteY134" fmla="*/ 295453 h 1301751"/>
                <a:gd name="connsiteX135" fmla="*/ 1216371 w 1303339"/>
                <a:gd name="connsiteY135" fmla="*/ 336816 h 1301751"/>
                <a:gd name="connsiteX136" fmla="*/ 1216371 w 1303339"/>
                <a:gd name="connsiteY136" fmla="*/ 401712 h 1301751"/>
                <a:gd name="connsiteX137" fmla="*/ 1228562 w 1303339"/>
                <a:gd name="connsiteY137" fmla="*/ 413122 h 1301751"/>
                <a:gd name="connsiteX138" fmla="*/ 1240035 w 1303339"/>
                <a:gd name="connsiteY138" fmla="*/ 401712 h 1301751"/>
                <a:gd name="connsiteX139" fmla="*/ 1240035 w 1303339"/>
                <a:gd name="connsiteY139" fmla="*/ 231270 h 1301751"/>
                <a:gd name="connsiteX140" fmla="*/ 1271588 w 1303339"/>
                <a:gd name="connsiteY140" fmla="*/ 217007 h 1301751"/>
                <a:gd name="connsiteX141" fmla="*/ 1271588 w 1303339"/>
                <a:gd name="connsiteY141" fmla="*/ 401712 h 1301751"/>
                <a:gd name="connsiteX142" fmla="*/ 1228562 w 1303339"/>
                <a:gd name="connsiteY142" fmla="*/ 444501 h 1301751"/>
                <a:gd name="connsiteX143" fmla="*/ 1184818 w 1303339"/>
                <a:gd name="connsiteY143" fmla="*/ 401712 h 1301751"/>
                <a:gd name="connsiteX144" fmla="*/ 1184818 w 1303339"/>
                <a:gd name="connsiteY144" fmla="*/ 336816 h 1301751"/>
                <a:gd name="connsiteX145" fmla="*/ 1176929 w 1303339"/>
                <a:gd name="connsiteY145" fmla="*/ 317561 h 1301751"/>
                <a:gd name="connsiteX146" fmla="*/ 983309 w 1303339"/>
                <a:gd name="connsiteY146" fmla="*/ 123585 h 1301751"/>
                <a:gd name="connsiteX147" fmla="*/ 963947 w 1303339"/>
                <a:gd name="connsiteY147" fmla="*/ 115740 h 1301751"/>
                <a:gd name="connsiteX148" fmla="*/ 898690 w 1303339"/>
                <a:gd name="connsiteY148" fmla="*/ 115740 h 1301751"/>
                <a:gd name="connsiteX149" fmla="*/ 855663 w 1303339"/>
                <a:gd name="connsiteY149" fmla="*/ 72952 h 1301751"/>
                <a:gd name="connsiteX150" fmla="*/ 898690 w 1303339"/>
                <a:gd name="connsiteY150" fmla="*/ 30163 h 1301751"/>
                <a:gd name="connsiteX151" fmla="*/ 214630 w 1303339"/>
                <a:gd name="connsiteY151" fmla="*/ 30163 h 1301751"/>
                <a:gd name="connsiteX152" fmla="*/ 403225 w 1303339"/>
                <a:gd name="connsiteY152" fmla="*/ 30163 h 1301751"/>
                <a:gd name="connsiteX153" fmla="*/ 446088 w 1303339"/>
                <a:gd name="connsiteY153" fmla="*/ 72952 h 1301751"/>
                <a:gd name="connsiteX154" fmla="*/ 403225 w 1303339"/>
                <a:gd name="connsiteY154" fmla="*/ 115740 h 1301751"/>
                <a:gd name="connsiteX155" fmla="*/ 343932 w 1303339"/>
                <a:gd name="connsiteY155" fmla="*/ 115740 h 1301751"/>
                <a:gd name="connsiteX156" fmla="*/ 314643 w 1303339"/>
                <a:gd name="connsiteY156" fmla="*/ 127864 h 1301751"/>
                <a:gd name="connsiteX157" fmla="*/ 130334 w 1303339"/>
                <a:gd name="connsiteY157" fmla="*/ 313282 h 1301751"/>
                <a:gd name="connsiteX158" fmla="*/ 118189 w 1303339"/>
                <a:gd name="connsiteY158" fmla="*/ 342521 h 1301751"/>
                <a:gd name="connsiteX159" fmla="*/ 118189 w 1303339"/>
                <a:gd name="connsiteY159" fmla="*/ 401712 h 1301751"/>
                <a:gd name="connsiteX160" fmla="*/ 74612 w 1303339"/>
                <a:gd name="connsiteY160" fmla="*/ 444501 h 1301751"/>
                <a:gd name="connsiteX161" fmla="*/ 31750 w 1303339"/>
                <a:gd name="connsiteY161" fmla="*/ 401712 h 1301751"/>
                <a:gd name="connsiteX162" fmla="*/ 31750 w 1303339"/>
                <a:gd name="connsiteY162" fmla="*/ 217007 h 1301751"/>
                <a:gd name="connsiteX163" fmla="*/ 63182 w 1303339"/>
                <a:gd name="connsiteY163" fmla="*/ 231270 h 1301751"/>
                <a:gd name="connsiteX164" fmla="*/ 63182 w 1303339"/>
                <a:gd name="connsiteY164" fmla="*/ 401712 h 1301751"/>
                <a:gd name="connsiteX165" fmla="*/ 74612 w 1303339"/>
                <a:gd name="connsiteY165" fmla="*/ 413122 h 1301751"/>
                <a:gd name="connsiteX166" fmla="*/ 86757 w 1303339"/>
                <a:gd name="connsiteY166" fmla="*/ 401712 h 1301751"/>
                <a:gd name="connsiteX167" fmla="*/ 86757 w 1303339"/>
                <a:gd name="connsiteY167" fmla="*/ 342521 h 1301751"/>
                <a:gd name="connsiteX168" fmla="*/ 108188 w 1303339"/>
                <a:gd name="connsiteY168" fmla="*/ 291174 h 1301751"/>
                <a:gd name="connsiteX169" fmla="*/ 292497 w 1303339"/>
                <a:gd name="connsiteY169" fmla="*/ 105756 h 1301751"/>
                <a:gd name="connsiteX170" fmla="*/ 343932 w 1303339"/>
                <a:gd name="connsiteY170" fmla="*/ 84362 h 1301751"/>
                <a:gd name="connsiteX171" fmla="*/ 403225 w 1303339"/>
                <a:gd name="connsiteY171" fmla="*/ 84362 h 1301751"/>
                <a:gd name="connsiteX172" fmla="*/ 414655 w 1303339"/>
                <a:gd name="connsiteY172" fmla="*/ 72952 h 1301751"/>
                <a:gd name="connsiteX173" fmla="*/ 403225 w 1303339"/>
                <a:gd name="connsiteY173" fmla="*/ 61541 h 1301751"/>
                <a:gd name="connsiteX174" fmla="*/ 229632 w 1303339"/>
                <a:gd name="connsiteY174" fmla="*/ 61541 h 1301751"/>
                <a:gd name="connsiteX175" fmla="*/ 214630 w 1303339"/>
                <a:gd name="connsiteY175" fmla="*/ 30163 h 1301751"/>
                <a:gd name="connsiteX176" fmla="*/ 1200151 w 1303339"/>
                <a:gd name="connsiteY176" fmla="*/ 0 h 1301751"/>
                <a:gd name="connsiteX177" fmla="*/ 1303339 w 1303339"/>
                <a:gd name="connsiteY177" fmla="*/ 103188 h 1301751"/>
                <a:gd name="connsiteX178" fmla="*/ 1200151 w 1303339"/>
                <a:gd name="connsiteY178" fmla="*/ 206376 h 1301751"/>
                <a:gd name="connsiteX179" fmla="*/ 1096963 w 1303339"/>
                <a:gd name="connsiteY179" fmla="*/ 103188 h 1301751"/>
                <a:gd name="connsiteX180" fmla="*/ 1200151 w 1303339"/>
                <a:gd name="connsiteY180" fmla="*/ 0 h 1301751"/>
                <a:gd name="connsiteX181" fmla="*/ 102394 w 1303339"/>
                <a:gd name="connsiteY181" fmla="*/ 0 h 1301751"/>
                <a:gd name="connsiteX182" fmla="*/ 204788 w 1303339"/>
                <a:gd name="connsiteY182" fmla="*/ 103188 h 1301751"/>
                <a:gd name="connsiteX183" fmla="*/ 102394 w 1303339"/>
                <a:gd name="connsiteY183" fmla="*/ 206376 h 1301751"/>
                <a:gd name="connsiteX184" fmla="*/ 0 w 1303339"/>
                <a:gd name="connsiteY184" fmla="*/ 103188 h 1301751"/>
                <a:gd name="connsiteX185" fmla="*/ 102394 w 1303339"/>
                <a:gd name="connsiteY185" fmla="*/ 0 h 130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303339" h="1301751">
                  <a:moveTo>
                    <a:pt x="1200151" y="1095375"/>
                  </a:moveTo>
                  <a:cubicBezTo>
                    <a:pt x="1257140" y="1095375"/>
                    <a:pt x="1303339" y="1141574"/>
                    <a:pt x="1303339" y="1198563"/>
                  </a:cubicBezTo>
                  <a:cubicBezTo>
                    <a:pt x="1303339" y="1255552"/>
                    <a:pt x="1257140" y="1301751"/>
                    <a:pt x="1200151" y="1301751"/>
                  </a:cubicBezTo>
                  <a:cubicBezTo>
                    <a:pt x="1143162" y="1301751"/>
                    <a:pt x="1096963" y="1255552"/>
                    <a:pt x="1096963" y="1198563"/>
                  </a:cubicBezTo>
                  <a:cubicBezTo>
                    <a:pt x="1096963" y="1141574"/>
                    <a:pt x="1143162" y="1095375"/>
                    <a:pt x="1200151" y="1095375"/>
                  </a:cubicBezTo>
                  <a:close/>
                  <a:moveTo>
                    <a:pt x="102394" y="1095375"/>
                  </a:moveTo>
                  <a:cubicBezTo>
                    <a:pt x="158945" y="1095375"/>
                    <a:pt x="204788" y="1141574"/>
                    <a:pt x="204788" y="1198563"/>
                  </a:cubicBezTo>
                  <a:cubicBezTo>
                    <a:pt x="204788" y="1255552"/>
                    <a:pt x="158945" y="1301751"/>
                    <a:pt x="102394" y="1301751"/>
                  </a:cubicBezTo>
                  <a:cubicBezTo>
                    <a:pt x="45843" y="1301751"/>
                    <a:pt x="0" y="1255552"/>
                    <a:pt x="0" y="1198563"/>
                  </a:cubicBezTo>
                  <a:cubicBezTo>
                    <a:pt x="0" y="1141574"/>
                    <a:pt x="45843" y="1095375"/>
                    <a:pt x="102394" y="1095375"/>
                  </a:cubicBezTo>
                  <a:close/>
                  <a:moveTo>
                    <a:pt x="1228562" y="852488"/>
                  </a:moveTo>
                  <a:cubicBezTo>
                    <a:pt x="1252226" y="852488"/>
                    <a:pt x="1271588" y="871817"/>
                    <a:pt x="1271588" y="895441"/>
                  </a:cubicBezTo>
                  <a:cubicBezTo>
                    <a:pt x="1271588" y="895441"/>
                    <a:pt x="1271588" y="895441"/>
                    <a:pt x="1271588" y="1083717"/>
                  </a:cubicBezTo>
                  <a:cubicBezTo>
                    <a:pt x="1261549" y="1077274"/>
                    <a:pt x="1251509" y="1072978"/>
                    <a:pt x="1240035" y="1069399"/>
                  </a:cubicBezTo>
                  <a:cubicBezTo>
                    <a:pt x="1240035" y="1069399"/>
                    <a:pt x="1240035" y="1069399"/>
                    <a:pt x="1240035" y="895441"/>
                  </a:cubicBezTo>
                  <a:cubicBezTo>
                    <a:pt x="1240035" y="888998"/>
                    <a:pt x="1235016" y="883987"/>
                    <a:pt x="1228562" y="883987"/>
                  </a:cubicBezTo>
                  <a:cubicBezTo>
                    <a:pt x="1222108" y="883987"/>
                    <a:pt x="1216371" y="888998"/>
                    <a:pt x="1216371" y="895441"/>
                  </a:cubicBezTo>
                  <a:cubicBezTo>
                    <a:pt x="1216371" y="895441"/>
                    <a:pt x="1216371" y="895441"/>
                    <a:pt x="1216371" y="954859"/>
                  </a:cubicBezTo>
                  <a:cubicBezTo>
                    <a:pt x="1216371" y="974187"/>
                    <a:pt x="1209199" y="992800"/>
                    <a:pt x="1194857" y="1006402"/>
                  </a:cubicBezTo>
                  <a:cubicBezTo>
                    <a:pt x="1194857" y="1006402"/>
                    <a:pt x="1194857" y="1006402"/>
                    <a:pt x="1009842" y="1192530"/>
                  </a:cubicBezTo>
                  <a:cubicBezTo>
                    <a:pt x="995500" y="1206132"/>
                    <a:pt x="977572" y="1214006"/>
                    <a:pt x="958210" y="1214006"/>
                  </a:cubicBezTo>
                  <a:cubicBezTo>
                    <a:pt x="958210" y="1214006"/>
                    <a:pt x="958210" y="1214006"/>
                    <a:pt x="898690" y="1214006"/>
                  </a:cubicBezTo>
                  <a:cubicBezTo>
                    <a:pt x="892236" y="1214006"/>
                    <a:pt x="887216" y="1219018"/>
                    <a:pt x="887216" y="1225460"/>
                  </a:cubicBezTo>
                  <a:cubicBezTo>
                    <a:pt x="887216" y="1231903"/>
                    <a:pt x="892236" y="1236915"/>
                    <a:pt x="898690" y="1236915"/>
                  </a:cubicBezTo>
                  <a:cubicBezTo>
                    <a:pt x="898690" y="1236915"/>
                    <a:pt x="898690" y="1236915"/>
                    <a:pt x="1071514" y="1236915"/>
                  </a:cubicBezTo>
                  <a:cubicBezTo>
                    <a:pt x="1075100" y="1248369"/>
                    <a:pt x="1080119" y="1259107"/>
                    <a:pt x="1085856" y="1268413"/>
                  </a:cubicBezTo>
                  <a:cubicBezTo>
                    <a:pt x="1085856" y="1268413"/>
                    <a:pt x="1085856" y="1268413"/>
                    <a:pt x="898690" y="1268413"/>
                  </a:cubicBezTo>
                  <a:cubicBezTo>
                    <a:pt x="875025" y="1268413"/>
                    <a:pt x="855663" y="1249084"/>
                    <a:pt x="855663" y="1225460"/>
                  </a:cubicBezTo>
                  <a:cubicBezTo>
                    <a:pt x="855663" y="1201837"/>
                    <a:pt x="875025" y="1182508"/>
                    <a:pt x="898690" y="1182508"/>
                  </a:cubicBezTo>
                  <a:cubicBezTo>
                    <a:pt x="898690" y="1182508"/>
                    <a:pt x="898690" y="1182508"/>
                    <a:pt x="958210" y="1182508"/>
                  </a:cubicBezTo>
                  <a:cubicBezTo>
                    <a:pt x="968967" y="1182508"/>
                    <a:pt x="979724" y="1178213"/>
                    <a:pt x="987612" y="1170338"/>
                  </a:cubicBezTo>
                  <a:cubicBezTo>
                    <a:pt x="987612" y="1170338"/>
                    <a:pt x="987612" y="1170338"/>
                    <a:pt x="1172627" y="984210"/>
                  </a:cubicBezTo>
                  <a:cubicBezTo>
                    <a:pt x="1180515" y="976335"/>
                    <a:pt x="1184818" y="965597"/>
                    <a:pt x="1184818" y="954859"/>
                  </a:cubicBezTo>
                  <a:cubicBezTo>
                    <a:pt x="1184818" y="954859"/>
                    <a:pt x="1184818" y="954859"/>
                    <a:pt x="1184818" y="895441"/>
                  </a:cubicBezTo>
                  <a:cubicBezTo>
                    <a:pt x="1184818" y="871817"/>
                    <a:pt x="1204180" y="852488"/>
                    <a:pt x="1228562" y="852488"/>
                  </a:cubicBezTo>
                  <a:close/>
                  <a:moveTo>
                    <a:pt x="74612" y="852488"/>
                  </a:moveTo>
                  <a:cubicBezTo>
                    <a:pt x="98901" y="852488"/>
                    <a:pt x="118189" y="871817"/>
                    <a:pt x="118189" y="895441"/>
                  </a:cubicBezTo>
                  <a:cubicBezTo>
                    <a:pt x="118189" y="895441"/>
                    <a:pt x="118189" y="895441"/>
                    <a:pt x="118189" y="954859"/>
                  </a:cubicBezTo>
                  <a:cubicBezTo>
                    <a:pt x="118189" y="965597"/>
                    <a:pt x="122475" y="976335"/>
                    <a:pt x="130334" y="984210"/>
                  </a:cubicBezTo>
                  <a:cubicBezTo>
                    <a:pt x="130334" y="984210"/>
                    <a:pt x="130334" y="984210"/>
                    <a:pt x="314643" y="1170338"/>
                  </a:cubicBezTo>
                  <a:cubicBezTo>
                    <a:pt x="322501" y="1178213"/>
                    <a:pt x="333216" y="1182508"/>
                    <a:pt x="343932" y="1182508"/>
                  </a:cubicBezTo>
                  <a:cubicBezTo>
                    <a:pt x="343932" y="1182508"/>
                    <a:pt x="343932" y="1182508"/>
                    <a:pt x="403225" y="1182508"/>
                  </a:cubicBezTo>
                  <a:cubicBezTo>
                    <a:pt x="426800" y="1182508"/>
                    <a:pt x="446088" y="1201837"/>
                    <a:pt x="446088" y="1225460"/>
                  </a:cubicBezTo>
                  <a:cubicBezTo>
                    <a:pt x="446088" y="1249084"/>
                    <a:pt x="426800" y="1268413"/>
                    <a:pt x="403225" y="1268413"/>
                  </a:cubicBezTo>
                  <a:cubicBezTo>
                    <a:pt x="403225" y="1268413"/>
                    <a:pt x="403225" y="1268413"/>
                    <a:pt x="216773" y="1268413"/>
                  </a:cubicBezTo>
                  <a:cubicBezTo>
                    <a:pt x="222488" y="1259107"/>
                    <a:pt x="227489" y="1248369"/>
                    <a:pt x="231061" y="1236915"/>
                  </a:cubicBezTo>
                  <a:cubicBezTo>
                    <a:pt x="231061" y="1236915"/>
                    <a:pt x="231061" y="1236915"/>
                    <a:pt x="403225" y="1236915"/>
                  </a:cubicBezTo>
                  <a:cubicBezTo>
                    <a:pt x="409655" y="1236915"/>
                    <a:pt x="414655" y="1231903"/>
                    <a:pt x="414655" y="1225460"/>
                  </a:cubicBezTo>
                  <a:cubicBezTo>
                    <a:pt x="414655" y="1219018"/>
                    <a:pt x="409655" y="1214006"/>
                    <a:pt x="403225" y="1214006"/>
                  </a:cubicBezTo>
                  <a:cubicBezTo>
                    <a:pt x="403225" y="1214006"/>
                    <a:pt x="403225" y="1214006"/>
                    <a:pt x="343932" y="1214006"/>
                  </a:cubicBezTo>
                  <a:cubicBezTo>
                    <a:pt x="324644" y="1214006"/>
                    <a:pt x="306784" y="1206132"/>
                    <a:pt x="292497" y="1192530"/>
                  </a:cubicBezTo>
                  <a:cubicBezTo>
                    <a:pt x="292497" y="1192530"/>
                    <a:pt x="292497" y="1192530"/>
                    <a:pt x="108188" y="1006402"/>
                  </a:cubicBezTo>
                  <a:cubicBezTo>
                    <a:pt x="93900" y="992800"/>
                    <a:pt x="86757" y="974187"/>
                    <a:pt x="86757" y="954859"/>
                  </a:cubicBezTo>
                  <a:cubicBezTo>
                    <a:pt x="86757" y="954859"/>
                    <a:pt x="86757" y="954859"/>
                    <a:pt x="86757" y="895441"/>
                  </a:cubicBezTo>
                  <a:cubicBezTo>
                    <a:pt x="86757" y="888998"/>
                    <a:pt x="81042" y="883987"/>
                    <a:pt x="74612" y="883987"/>
                  </a:cubicBezTo>
                  <a:cubicBezTo>
                    <a:pt x="68183" y="883987"/>
                    <a:pt x="63182" y="888998"/>
                    <a:pt x="63182" y="895441"/>
                  </a:cubicBezTo>
                  <a:cubicBezTo>
                    <a:pt x="63182" y="895441"/>
                    <a:pt x="63182" y="895441"/>
                    <a:pt x="63182" y="1069399"/>
                  </a:cubicBezTo>
                  <a:cubicBezTo>
                    <a:pt x="51752" y="1072978"/>
                    <a:pt x="41751" y="1077274"/>
                    <a:pt x="31750" y="1083717"/>
                  </a:cubicBezTo>
                  <a:cubicBezTo>
                    <a:pt x="31750" y="1083717"/>
                    <a:pt x="31750" y="1083717"/>
                    <a:pt x="31750" y="895441"/>
                  </a:cubicBezTo>
                  <a:cubicBezTo>
                    <a:pt x="31750" y="871817"/>
                    <a:pt x="51038" y="852488"/>
                    <a:pt x="74612" y="852488"/>
                  </a:cubicBezTo>
                  <a:close/>
                  <a:moveTo>
                    <a:pt x="571500" y="835025"/>
                  </a:moveTo>
                  <a:cubicBezTo>
                    <a:pt x="571500" y="835025"/>
                    <a:pt x="571500" y="835025"/>
                    <a:pt x="836613" y="835025"/>
                  </a:cubicBezTo>
                  <a:cubicBezTo>
                    <a:pt x="836613" y="835025"/>
                    <a:pt x="836613" y="835025"/>
                    <a:pt x="836613" y="969963"/>
                  </a:cubicBezTo>
                  <a:cubicBezTo>
                    <a:pt x="836613" y="969963"/>
                    <a:pt x="836613" y="969963"/>
                    <a:pt x="571500" y="969963"/>
                  </a:cubicBezTo>
                  <a:cubicBezTo>
                    <a:pt x="571500" y="969963"/>
                    <a:pt x="571500" y="969963"/>
                    <a:pt x="571500" y="835025"/>
                  </a:cubicBezTo>
                  <a:close/>
                  <a:moveTo>
                    <a:pt x="555466" y="804862"/>
                  </a:moveTo>
                  <a:cubicBezTo>
                    <a:pt x="546893" y="804862"/>
                    <a:pt x="539749" y="811994"/>
                    <a:pt x="539749" y="820553"/>
                  </a:cubicBezTo>
                  <a:cubicBezTo>
                    <a:pt x="539749" y="986021"/>
                    <a:pt x="539749" y="986021"/>
                    <a:pt x="539749" y="986021"/>
                  </a:cubicBezTo>
                  <a:cubicBezTo>
                    <a:pt x="539749" y="994580"/>
                    <a:pt x="546893" y="1001712"/>
                    <a:pt x="555466" y="1001712"/>
                  </a:cubicBezTo>
                  <a:cubicBezTo>
                    <a:pt x="852646" y="1001712"/>
                    <a:pt x="852646" y="1001712"/>
                    <a:pt x="852646" y="1001712"/>
                  </a:cubicBezTo>
                  <a:cubicBezTo>
                    <a:pt x="861218" y="1001712"/>
                    <a:pt x="868362" y="994580"/>
                    <a:pt x="868362" y="986021"/>
                  </a:cubicBezTo>
                  <a:cubicBezTo>
                    <a:pt x="868362" y="820553"/>
                    <a:pt x="868362" y="820553"/>
                    <a:pt x="868362" y="820553"/>
                  </a:cubicBezTo>
                  <a:cubicBezTo>
                    <a:pt x="868362" y="811994"/>
                    <a:pt x="861218" y="804862"/>
                    <a:pt x="852646" y="804862"/>
                  </a:cubicBezTo>
                  <a:cubicBezTo>
                    <a:pt x="555466" y="804862"/>
                    <a:pt x="555466" y="804862"/>
                    <a:pt x="555466" y="804862"/>
                  </a:cubicBezTo>
                  <a:close/>
                  <a:moveTo>
                    <a:pt x="353219" y="771524"/>
                  </a:moveTo>
                  <a:cubicBezTo>
                    <a:pt x="332615" y="771524"/>
                    <a:pt x="315912" y="788582"/>
                    <a:pt x="315912" y="809624"/>
                  </a:cubicBezTo>
                  <a:cubicBezTo>
                    <a:pt x="315912" y="830666"/>
                    <a:pt x="332615" y="847724"/>
                    <a:pt x="353219" y="847724"/>
                  </a:cubicBezTo>
                  <a:cubicBezTo>
                    <a:pt x="373823" y="847724"/>
                    <a:pt x="390526" y="830666"/>
                    <a:pt x="390526" y="809624"/>
                  </a:cubicBezTo>
                  <a:cubicBezTo>
                    <a:pt x="390526" y="788582"/>
                    <a:pt x="373823" y="771524"/>
                    <a:pt x="353219" y="771524"/>
                  </a:cubicBezTo>
                  <a:close/>
                  <a:moveTo>
                    <a:pt x="730249" y="603249"/>
                  </a:moveTo>
                  <a:cubicBezTo>
                    <a:pt x="709207" y="603249"/>
                    <a:pt x="692149" y="620307"/>
                    <a:pt x="692149" y="641349"/>
                  </a:cubicBezTo>
                  <a:cubicBezTo>
                    <a:pt x="692149" y="662391"/>
                    <a:pt x="709207" y="679449"/>
                    <a:pt x="730249" y="679449"/>
                  </a:cubicBezTo>
                  <a:cubicBezTo>
                    <a:pt x="751291" y="679449"/>
                    <a:pt x="768349" y="662391"/>
                    <a:pt x="768349" y="641349"/>
                  </a:cubicBezTo>
                  <a:cubicBezTo>
                    <a:pt x="768349" y="620307"/>
                    <a:pt x="751291" y="603249"/>
                    <a:pt x="730249" y="603249"/>
                  </a:cubicBezTo>
                  <a:close/>
                  <a:moveTo>
                    <a:pt x="887413" y="534988"/>
                  </a:moveTo>
                  <a:cubicBezTo>
                    <a:pt x="887413" y="534988"/>
                    <a:pt x="887413" y="534988"/>
                    <a:pt x="976313" y="534988"/>
                  </a:cubicBezTo>
                  <a:cubicBezTo>
                    <a:pt x="976313" y="534988"/>
                    <a:pt x="976313" y="534988"/>
                    <a:pt x="976313" y="669926"/>
                  </a:cubicBezTo>
                  <a:cubicBezTo>
                    <a:pt x="976313" y="669926"/>
                    <a:pt x="976313" y="669926"/>
                    <a:pt x="887413" y="669926"/>
                  </a:cubicBezTo>
                  <a:cubicBezTo>
                    <a:pt x="887413" y="669926"/>
                    <a:pt x="887413" y="669926"/>
                    <a:pt x="887413" y="534988"/>
                  </a:cubicBezTo>
                  <a:close/>
                  <a:moveTo>
                    <a:pt x="871387" y="504824"/>
                  </a:moveTo>
                  <a:cubicBezTo>
                    <a:pt x="862095" y="504824"/>
                    <a:pt x="855662" y="511956"/>
                    <a:pt x="855662" y="520515"/>
                  </a:cubicBezTo>
                  <a:cubicBezTo>
                    <a:pt x="855662" y="685983"/>
                    <a:pt x="855662" y="685983"/>
                    <a:pt x="855662" y="685983"/>
                  </a:cubicBezTo>
                  <a:cubicBezTo>
                    <a:pt x="855662" y="694542"/>
                    <a:pt x="862095" y="701674"/>
                    <a:pt x="871387" y="701674"/>
                  </a:cubicBezTo>
                  <a:cubicBezTo>
                    <a:pt x="990751" y="701674"/>
                    <a:pt x="990751" y="701674"/>
                    <a:pt x="990751" y="701674"/>
                  </a:cubicBezTo>
                  <a:cubicBezTo>
                    <a:pt x="999328" y="701674"/>
                    <a:pt x="1006475" y="694542"/>
                    <a:pt x="1006475" y="685983"/>
                  </a:cubicBezTo>
                  <a:cubicBezTo>
                    <a:pt x="1006475" y="520515"/>
                    <a:pt x="1006475" y="520515"/>
                    <a:pt x="1006475" y="520515"/>
                  </a:cubicBezTo>
                  <a:cubicBezTo>
                    <a:pt x="1006475" y="511956"/>
                    <a:pt x="999328" y="504824"/>
                    <a:pt x="990751" y="504824"/>
                  </a:cubicBezTo>
                  <a:cubicBezTo>
                    <a:pt x="871387" y="504824"/>
                    <a:pt x="871387" y="504824"/>
                    <a:pt x="871387" y="504824"/>
                  </a:cubicBezTo>
                  <a:close/>
                  <a:moveTo>
                    <a:pt x="806449" y="342899"/>
                  </a:moveTo>
                  <a:cubicBezTo>
                    <a:pt x="785407" y="342899"/>
                    <a:pt x="768349" y="359602"/>
                    <a:pt x="768349" y="380206"/>
                  </a:cubicBezTo>
                  <a:cubicBezTo>
                    <a:pt x="768349" y="400810"/>
                    <a:pt x="785407" y="417513"/>
                    <a:pt x="806449" y="417513"/>
                  </a:cubicBezTo>
                  <a:cubicBezTo>
                    <a:pt x="827491" y="417513"/>
                    <a:pt x="844549" y="400810"/>
                    <a:pt x="844549" y="380206"/>
                  </a:cubicBezTo>
                  <a:cubicBezTo>
                    <a:pt x="844549" y="359602"/>
                    <a:pt x="827491" y="342899"/>
                    <a:pt x="806449" y="342899"/>
                  </a:cubicBezTo>
                  <a:close/>
                  <a:moveTo>
                    <a:pt x="496651" y="304800"/>
                  </a:moveTo>
                  <a:cubicBezTo>
                    <a:pt x="590551" y="399705"/>
                    <a:pt x="590551" y="399705"/>
                    <a:pt x="590551" y="399705"/>
                  </a:cubicBezTo>
                  <a:cubicBezTo>
                    <a:pt x="403463" y="587375"/>
                    <a:pt x="403463" y="587375"/>
                    <a:pt x="403463" y="587375"/>
                  </a:cubicBezTo>
                  <a:cubicBezTo>
                    <a:pt x="309563" y="492470"/>
                    <a:pt x="309563" y="492470"/>
                    <a:pt x="309563" y="492470"/>
                  </a:cubicBezTo>
                  <a:cubicBezTo>
                    <a:pt x="496651" y="304800"/>
                    <a:pt x="496651" y="304800"/>
                    <a:pt x="496651" y="304800"/>
                  </a:cubicBezTo>
                  <a:close/>
                  <a:moveTo>
                    <a:pt x="497215" y="268123"/>
                  </a:moveTo>
                  <a:cubicBezTo>
                    <a:pt x="493195" y="268123"/>
                    <a:pt x="489086" y="269547"/>
                    <a:pt x="485870" y="272394"/>
                  </a:cubicBezTo>
                  <a:cubicBezTo>
                    <a:pt x="276465" y="482391"/>
                    <a:pt x="276465" y="482391"/>
                    <a:pt x="276465" y="482391"/>
                  </a:cubicBezTo>
                  <a:cubicBezTo>
                    <a:pt x="273606" y="485239"/>
                    <a:pt x="271462" y="488798"/>
                    <a:pt x="271462" y="493069"/>
                  </a:cubicBezTo>
                  <a:cubicBezTo>
                    <a:pt x="271462" y="497340"/>
                    <a:pt x="273606" y="500899"/>
                    <a:pt x="276465" y="504459"/>
                  </a:cubicBezTo>
                  <a:cubicBezTo>
                    <a:pt x="392960" y="621203"/>
                    <a:pt x="392960" y="621203"/>
                    <a:pt x="392960" y="621203"/>
                  </a:cubicBezTo>
                  <a:cubicBezTo>
                    <a:pt x="395819" y="624050"/>
                    <a:pt x="400107" y="625474"/>
                    <a:pt x="403680" y="625474"/>
                  </a:cubicBezTo>
                  <a:cubicBezTo>
                    <a:pt x="407968" y="625474"/>
                    <a:pt x="412256" y="624050"/>
                    <a:pt x="415115" y="621203"/>
                  </a:cubicBezTo>
                  <a:cubicBezTo>
                    <a:pt x="625234" y="411918"/>
                    <a:pt x="625234" y="411918"/>
                    <a:pt x="625234" y="411918"/>
                  </a:cubicBezTo>
                  <a:cubicBezTo>
                    <a:pt x="628093" y="408358"/>
                    <a:pt x="630237" y="404799"/>
                    <a:pt x="630237" y="400528"/>
                  </a:cubicBezTo>
                  <a:cubicBezTo>
                    <a:pt x="630237" y="396257"/>
                    <a:pt x="628093" y="392697"/>
                    <a:pt x="625234" y="389138"/>
                  </a:cubicBezTo>
                  <a:cubicBezTo>
                    <a:pt x="508025" y="272394"/>
                    <a:pt x="508025" y="272394"/>
                    <a:pt x="508025" y="272394"/>
                  </a:cubicBezTo>
                  <a:cubicBezTo>
                    <a:pt x="505167" y="269547"/>
                    <a:pt x="501236" y="268123"/>
                    <a:pt x="497215" y="268123"/>
                  </a:cubicBezTo>
                  <a:close/>
                  <a:moveTo>
                    <a:pt x="651669" y="176212"/>
                  </a:moveTo>
                  <a:cubicBezTo>
                    <a:pt x="914257" y="176212"/>
                    <a:pt x="1127126" y="389081"/>
                    <a:pt x="1127126" y="651669"/>
                  </a:cubicBezTo>
                  <a:cubicBezTo>
                    <a:pt x="1127126" y="914257"/>
                    <a:pt x="914257" y="1127126"/>
                    <a:pt x="651669" y="1127126"/>
                  </a:cubicBezTo>
                  <a:cubicBezTo>
                    <a:pt x="389081" y="1127126"/>
                    <a:pt x="176212" y="914257"/>
                    <a:pt x="176212" y="651669"/>
                  </a:cubicBezTo>
                  <a:cubicBezTo>
                    <a:pt x="176212" y="389081"/>
                    <a:pt x="389081" y="176212"/>
                    <a:pt x="651669" y="176212"/>
                  </a:cubicBezTo>
                  <a:close/>
                  <a:moveTo>
                    <a:pt x="898690" y="30163"/>
                  </a:moveTo>
                  <a:cubicBezTo>
                    <a:pt x="898690" y="30163"/>
                    <a:pt x="898690" y="30163"/>
                    <a:pt x="1088008" y="30163"/>
                  </a:cubicBezTo>
                  <a:cubicBezTo>
                    <a:pt x="1081554" y="39434"/>
                    <a:pt x="1076534" y="50131"/>
                    <a:pt x="1072948" y="61541"/>
                  </a:cubicBezTo>
                  <a:cubicBezTo>
                    <a:pt x="1072948" y="61541"/>
                    <a:pt x="1072948" y="61541"/>
                    <a:pt x="898690" y="61541"/>
                  </a:cubicBezTo>
                  <a:cubicBezTo>
                    <a:pt x="892236" y="61541"/>
                    <a:pt x="887216" y="66533"/>
                    <a:pt x="887216" y="72952"/>
                  </a:cubicBezTo>
                  <a:cubicBezTo>
                    <a:pt x="887216" y="79370"/>
                    <a:pt x="892236" y="84362"/>
                    <a:pt x="898690" y="84362"/>
                  </a:cubicBezTo>
                  <a:cubicBezTo>
                    <a:pt x="898690" y="84362"/>
                    <a:pt x="898690" y="84362"/>
                    <a:pt x="963947" y="84362"/>
                  </a:cubicBezTo>
                  <a:cubicBezTo>
                    <a:pt x="979724" y="84362"/>
                    <a:pt x="994066" y="90780"/>
                    <a:pt x="1005540" y="101478"/>
                  </a:cubicBezTo>
                  <a:cubicBezTo>
                    <a:pt x="1043547" y="139987"/>
                    <a:pt x="1160436" y="256943"/>
                    <a:pt x="1199160" y="295453"/>
                  </a:cubicBezTo>
                  <a:cubicBezTo>
                    <a:pt x="1210634" y="306150"/>
                    <a:pt x="1216371" y="321127"/>
                    <a:pt x="1216371" y="336816"/>
                  </a:cubicBezTo>
                  <a:cubicBezTo>
                    <a:pt x="1216371" y="336816"/>
                    <a:pt x="1216371" y="336816"/>
                    <a:pt x="1216371" y="401712"/>
                  </a:cubicBezTo>
                  <a:cubicBezTo>
                    <a:pt x="1216371" y="408130"/>
                    <a:pt x="1222108" y="413122"/>
                    <a:pt x="1228562" y="413122"/>
                  </a:cubicBezTo>
                  <a:cubicBezTo>
                    <a:pt x="1235016" y="413122"/>
                    <a:pt x="1240035" y="408130"/>
                    <a:pt x="1240035" y="401712"/>
                  </a:cubicBezTo>
                  <a:cubicBezTo>
                    <a:pt x="1240035" y="401712"/>
                    <a:pt x="1240035" y="401712"/>
                    <a:pt x="1240035" y="231270"/>
                  </a:cubicBezTo>
                  <a:cubicBezTo>
                    <a:pt x="1251509" y="227704"/>
                    <a:pt x="1261549" y="223426"/>
                    <a:pt x="1271588" y="217007"/>
                  </a:cubicBezTo>
                  <a:cubicBezTo>
                    <a:pt x="1271588" y="217007"/>
                    <a:pt x="1271588" y="217007"/>
                    <a:pt x="1271588" y="401712"/>
                  </a:cubicBezTo>
                  <a:cubicBezTo>
                    <a:pt x="1271588" y="425246"/>
                    <a:pt x="1252226" y="444501"/>
                    <a:pt x="1228562" y="444501"/>
                  </a:cubicBezTo>
                  <a:cubicBezTo>
                    <a:pt x="1204180" y="444501"/>
                    <a:pt x="1184818" y="425246"/>
                    <a:pt x="1184818" y="401712"/>
                  </a:cubicBezTo>
                  <a:cubicBezTo>
                    <a:pt x="1184818" y="401712"/>
                    <a:pt x="1184818" y="401712"/>
                    <a:pt x="1184818" y="336816"/>
                  </a:cubicBezTo>
                  <a:cubicBezTo>
                    <a:pt x="1184818" y="329684"/>
                    <a:pt x="1181949" y="322553"/>
                    <a:pt x="1176929" y="317561"/>
                  </a:cubicBezTo>
                  <a:cubicBezTo>
                    <a:pt x="1138205" y="279051"/>
                    <a:pt x="1022033" y="162095"/>
                    <a:pt x="983309" y="123585"/>
                  </a:cubicBezTo>
                  <a:cubicBezTo>
                    <a:pt x="978289" y="118593"/>
                    <a:pt x="971118" y="115740"/>
                    <a:pt x="963947" y="115740"/>
                  </a:cubicBezTo>
                  <a:cubicBezTo>
                    <a:pt x="963947" y="115740"/>
                    <a:pt x="963947" y="115740"/>
                    <a:pt x="898690" y="115740"/>
                  </a:cubicBezTo>
                  <a:cubicBezTo>
                    <a:pt x="875025" y="115740"/>
                    <a:pt x="855663" y="96485"/>
                    <a:pt x="855663" y="72952"/>
                  </a:cubicBezTo>
                  <a:cubicBezTo>
                    <a:pt x="855663" y="49418"/>
                    <a:pt x="875025" y="30163"/>
                    <a:pt x="898690" y="30163"/>
                  </a:cubicBezTo>
                  <a:close/>
                  <a:moveTo>
                    <a:pt x="214630" y="30163"/>
                  </a:moveTo>
                  <a:cubicBezTo>
                    <a:pt x="214630" y="30163"/>
                    <a:pt x="214630" y="30163"/>
                    <a:pt x="403225" y="30163"/>
                  </a:cubicBezTo>
                  <a:cubicBezTo>
                    <a:pt x="426800" y="30163"/>
                    <a:pt x="446088" y="49418"/>
                    <a:pt x="446088" y="72952"/>
                  </a:cubicBezTo>
                  <a:cubicBezTo>
                    <a:pt x="446088" y="96485"/>
                    <a:pt x="426800" y="115740"/>
                    <a:pt x="403225" y="115740"/>
                  </a:cubicBezTo>
                  <a:cubicBezTo>
                    <a:pt x="403225" y="115740"/>
                    <a:pt x="403225" y="115740"/>
                    <a:pt x="343932" y="115740"/>
                  </a:cubicBezTo>
                  <a:cubicBezTo>
                    <a:pt x="333216" y="115740"/>
                    <a:pt x="322501" y="120019"/>
                    <a:pt x="314643" y="127864"/>
                  </a:cubicBezTo>
                  <a:cubicBezTo>
                    <a:pt x="314643" y="127864"/>
                    <a:pt x="314643" y="127864"/>
                    <a:pt x="130334" y="313282"/>
                  </a:cubicBezTo>
                  <a:cubicBezTo>
                    <a:pt x="122475" y="321127"/>
                    <a:pt x="118189" y="331824"/>
                    <a:pt x="118189" y="342521"/>
                  </a:cubicBezTo>
                  <a:cubicBezTo>
                    <a:pt x="118189" y="342521"/>
                    <a:pt x="118189" y="342521"/>
                    <a:pt x="118189" y="401712"/>
                  </a:cubicBezTo>
                  <a:cubicBezTo>
                    <a:pt x="118189" y="425246"/>
                    <a:pt x="98901" y="444501"/>
                    <a:pt x="74612" y="444501"/>
                  </a:cubicBezTo>
                  <a:cubicBezTo>
                    <a:pt x="51038" y="444501"/>
                    <a:pt x="31750" y="425246"/>
                    <a:pt x="31750" y="401712"/>
                  </a:cubicBezTo>
                  <a:cubicBezTo>
                    <a:pt x="31750" y="401712"/>
                    <a:pt x="31750" y="401712"/>
                    <a:pt x="31750" y="217007"/>
                  </a:cubicBezTo>
                  <a:cubicBezTo>
                    <a:pt x="41751" y="223426"/>
                    <a:pt x="51752" y="227704"/>
                    <a:pt x="63182" y="231270"/>
                  </a:cubicBezTo>
                  <a:cubicBezTo>
                    <a:pt x="63182" y="231270"/>
                    <a:pt x="63182" y="231270"/>
                    <a:pt x="63182" y="401712"/>
                  </a:cubicBezTo>
                  <a:cubicBezTo>
                    <a:pt x="63182" y="408130"/>
                    <a:pt x="68183" y="413122"/>
                    <a:pt x="74612" y="413122"/>
                  </a:cubicBezTo>
                  <a:cubicBezTo>
                    <a:pt x="81042" y="413122"/>
                    <a:pt x="86757" y="408130"/>
                    <a:pt x="86757" y="401712"/>
                  </a:cubicBezTo>
                  <a:cubicBezTo>
                    <a:pt x="86757" y="401712"/>
                    <a:pt x="86757" y="401712"/>
                    <a:pt x="86757" y="342521"/>
                  </a:cubicBezTo>
                  <a:cubicBezTo>
                    <a:pt x="86757" y="323266"/>
                    <a:pt x="93900" y="304724"/>
                    <a:pt x="108188" y="291174"/>
                  </a:cubicBezTo>
                  <a:cubicBezTo>
                    <a:pt x="108188" y="291174"/>
                    <a:pt x="108188" y="291174"/>
                    <a:pt x="292497" y="105756"/>
                  </a:cubicBezTo>
                  <a:cubicBezTo>
                    <a:pt x="306784" y="92207"/>
                    <a:pt x="324644" y="84362"/>
                    <a:pt x="343932" y="84362"/>
                  </a:cubicBezTo>
                  <a:cubicBezTo>
                    <a:pt x="343932" y="84362"/>
                    <a:pt x="343932" y="84362"/>
                    <a:pt x="403225" y="84362"/>
                  </a:cubicBezTo>
                  <a:cubicBezTo>
                    <a:pt x="409655" y="84362"/>
                    <a:pt x="414655" y="79370"/>
                    <a:pt x="414655" y="72952"/>
                  </a:cubicBezTo>
                  <a:cubicBezTo>
                    <a:pt x="414655" y="66533"/>
                    <a:pt x="409655" y="61541"/>
                    <a:pt x="403225" y="61541"/>
                  </a:cubicBezTo>
                  <a:cubicBezTo>
                    <a:pt x="403225" y="61541"/>
                    <a:pt x="403225" y="61541"/>
                    <a:pt x="229632" y="61541"/>
                  </a:cubicBezTo>
                  <a:cubicBezTo>
                    <a:pt x="226060" y="50131"/>
                    <a:pt x="221059" y="39434"/>
                    <a:pt x="214630" y="30163"/>
                  </a:cubicBezTo>
                  <a:close/>
                  <a:moveTo>
                    <a:pt x="1200151" y="0"/>
                  </a:moveTo>
                  <a:cubicBezTo>
                    <a:pt x="1257140" y="0"/>
                    <a:pt x="1303339" y="46199"/>
                    <a:pt x="1303339" y="103188"/>
                  </a:cubicBezTo>
                  <a:cubicBezTo>
                    <a:pt x="1303339" y="160177"/>
                    <a:pt x="1257140" y="206376"/>
                    <a:pt x="1200151" y="206376"/>
                  </a:cubicBezTo>
                  <a:cubicBezTo>
                    <a:pt x="1143162" y="206376"/>
                    <a:pt x="1096963" y="160177"/>
                    <a:pt x="1096963" y="103188"/>
                  </a:cubicBezTo>
                  <a:cubicBezTo>
                    <a:pt x="1096963" y="46199"/>
                    <a:pt x="1143162" y="0"/>
                    <a:pt x="1200151" y="0"/>
                  </a:cubicBezTo>
                  <a:close/>
                  <a:moveTo>
                    <a:pt x="102394" y="0"/>
                  </a:moveTo>
                  <a:cubicBezTo>
                    <a:pt x="158945" y="0"/>
                    <a:pt x="204788" y="46199"/>
                    <a:pt x="204788" y="103188"/>
                  </a:cubicBezTo>
                  <a:cubicBezTo>
                    <a:pt x="204788" y="160177"/>
                    <a:pt x="158945" y="206376"/>
                    <a:pt x="102394" y="206376"/>
                  </a:cubicBezTo>
                  <a:cubicBezTo>
                    <a:pt x="45843" y="206376"/>
                    <a:pt x="0" y="160177"/>
                    <a:pt x="0" y="103188"/>
                  </a:cubicBezTo>
                  <a:cubicBezTo>
                    <a:pt x="0" y="46199"/>
                    <a:pt x="45843" y="0"/>
                    <a:pt x="102394"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251" name="bcgBugs_PadlockLocked">
            <a:extLst>
              <a:ext uri="{FF2B5EF4-FFF2-40B4-BE49-F238E27FC236}">
                <a16:creationId xmlns:a16="http://schemas.microsoft.com/office/drawing/2014/main" id="{16CF933F-7640-4279-8E24-86E269FB2AAA}"/>
              </a:ext>
            </a:extLst>
          </p:cNvPr>
          <p:cNvGrpSpPr>
            <a:grpSpLocks noChangeAspect="1"/>
          </p:cNvGrpSpPr>
          <p:nvPr/>
        </p:nvGrpSpPr>
        <p:grpSpPr bwMode="auto">
          <a:xfrm>
            <a:off x="10237400" y="3035851"/>
            <a:ext cx="456753" cy="457200"/>
            <a:chOff x="2818" y="1137"/>
            <a:chExt cx="2044" cy="2046"/>
          </a:xfrm>
        </p:grpSpPr>
        <p:sp>
          <p:nvSpPr>
            <p:cNvPr id="252" name="AutoShape 20">
              <a:extLst>
                <a:ext uri="{FF2B5EF4-FFF2-40B4-BE49-F238E27FC236}">
                  <a16:creationId xmlns:a16="http://schemas.microsoft.com/office/drawing/2014/main" id="{01EB396A-C67C-4B4C-A973-6DAEFFFD20FA}"/>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22">
              <a:extLst>
                <a:ext uri="{FF2B5EF4-FFF2-40B4-BE49-F238E27FC236}">
                  <a16:creationId xmlns:a16="http://schemas.microsoft.com/office/drawing/2014/main" id="{C527CB17-8746-48DA-98BC-838FDAB3C620}"/>
                </a:ext>
              </a:extLst>
            </p:cNvPr>
            <p:cNvSpPr>
              <a:spLocks noEditPoints="1"/>
            </p:cNvSpPr>
            <p:nvPr/>
          </p:nvSpPr>
          <p:spPr bwMode="auto">
            <a:xfrm>
              <a:off x="3199" y="1256"/>
              <a:ext cx="1285" cy="1802"/>
            </a:xfrm>
            <a:custGeom>
              <a:avLst/>
              <a:gdLst>
                <a:gd name="T0" fmla="*/ 606 w 628"/>
                <a:gd name="T1" fmla="*/ 360 h 880"/>
                <a:gd name="T2" fmla="*/ 559 w 628"/>
                <a:gd name="T3" fmla="*/ 360 h 880"/>
                <a:gd name="T4" fmla="*/ 559 w 628"/>
                <a:gd name="T5" fmla="*/ 242 h 880"/>
                <a:gd name="T6" fmla="*/ 434 w 628"/>
                <a:gd name="T7" fmla="*/ 30 h 880"/>
                <a:gd name="T8" fmla="*/ 314 w 628"/>
                <a:gd name="T9" fmla="*/ 0 h 880"/>
                <a:gd name="T10" fmla="*/ 314 w 628"/>
                <a:gd name="T11" fmla="*/ 0 h 880"/>
                <a:gd name="T12" fmla="*/ 314 w 628"/>
                <a:gd name="T13" fmla="*/ 0 h 880"/>
                <a:gd name="T14" fmla="*/ 194 w 628"/>
                <a:gd name="T15" fmla="*/ 30 h 880"/>
                <a:gd name="T16" fmla="*/ 69 w 628"/>
                <a:gd name="T17" fmla="*/ 242 h 880"/>
                <a:gd name="T18" fmla="*/ 69 w 628"/>
                <a:gd name="T19" fmla="*/ 360 h 880"/>
                <a:gd name="T20" fmla="*/ 22 w 628"/>
                <a:gd name="T21" fmla="*/ 360 h 880"/>
                <a:gd name="T22" fmla="*/ 0 w 628"/>
                <a:gd name="T23" fmla="*/ 382 h 880"/>
                <a:gd name="T24" fmla="*/ 0 w 628"/>
                <a:gd name="T25" fmla="*/ 858 h 880"/>
                <a:gd name="T26" fmla="*/ 22 w 628"/>
                <a:gd name="T27" fmla="*/ 880 h 880"/>
                <a:gd name="T28" fmla="*/ 606 w 628"/>
                <a:gd name="T29" fmla="*/ 880 h 880"/>
                <a:gd name="T30" fmla="*/ 628 w 628"/>
                <a:gd name="T31" fmla="*/ 858 h 880"/>
                <a:gd name="T32" fmla="*/ 628 w 628"/>
                <a:gd name="T33" fmla="*/ 382 h 880"/>
                <a:gd name="T34" fmla="*/ 606 w 628"/>
                <a:gd name="T35" fmla="*/ 360 h 880"/>
                <a:gd name="T36" fmla="*/ 345 w 628"/>
                <a:gd name="T37" fmla="*/ 597 h 880"/>
                <a:gd name="T38" fmla="*/ 345 w 628"/>
                <a:gd name="T39" fmla="*/ 776 h 880"/>
                <a:gd name="T40" fmla="*/ 335 w 628"/>
                <a:gd name="T41" fmla="*/ 786 h 880"/>
                <a:gd name="T42" fmla="*/ 293 w 628"/>
                <a:gd name="T43" fmla="*/ 786 h 880"/>
                <a:gd name="T44" fmla="*/ 283 w 628"/>
                <a:gd name="T45" fmla="*/ 776 h 880"/>
                <a:gd name="T46" fmla="*/ 283 w 628"/>
                <a:gd name="T47" fmla="*/ 597 h 880"/>
                <a:gd name="T48" fmla="*/ 239 w 628"/>
                <a:gd name="T49" fmla="*/ 529 h 880"/>
                <a:gd name="T50" fmla="*/ 314 w 628"/>
                <a:gd name="T51" fmla="*/ 453 h 880"/>
                <a:gd name="T52" fmla="*/ 389 w 628"/>
                <a:gd name="T53" fmla="*/ 529 h 880"/>
                <a:gd name="T54" fmla="*/ 345 w 628"/>
                <a:gd name="T55" fmla="*/ 597 h 880"/>
                <a:gd name="T56" fmla="*/ 459 w 628"/>
                <a:gd name="T57" fmla="*/ 360 h 880"/>
                <a:gd name="T58" fmla="*/ 169 w 628"/>
                <a:gd name="T59" fmla="*/ 360 h 880"/>
                <a:gd name="T60" fmla="*/ 169 w 628"/>
                <a:gd name="T61" fmla="*/ 242 h 880"/>
                <a:gd name="T62" fmla="*/ 236 w 628"/>
                <a:gd name="T63" fmla="*/ 121 h 880"/>
                <a:gd name="T64" fmla="*/ 314 w 628"/>
                <a:gd name="T65" fmla="*/ 100 h 880"/>
                <a:gd name="T66" fmla="*/ 390 w 628"/>
                <a:gd name="T67" fmla="*/ 119 h 880"/>
                <a:gd name="T68" fmla="*/ 459 w 628"/>
                <a:gd name="T69" fmla="*/ 242 h 880"/>
                <a:gd name="T70" fmla="*/ 459 w 628"/>
                <a:gd name="T71" fmla="*/ 36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8" h="880">
                  <a:moveTo>
                    <a:pt x="606" y="360"/>
                  </a:moveTo>
                  <a:cubicBezTo>
                    <a:pt x="559" y="360"/>
                    <a:pt x="559" y="360"/>
                    <a:pt x="559" y="360"/>
                  </a:cubicBezTo>
                  <a:cubicBezTo>
                    <a:pt x="559" y="242"/>
                    <a:pt x="559" y="242"/>
                    <a:pt x="559" y="242"/>
                  </a:cubicBezTo>
                  <a:cubicBezTo>
                    <a:pt x="559" y="146"/>
                    <a:pt x="515" y="70"/>
                    <a:pt x="434" y="30"/>
                  </a:cubicBezTo>
                  <a:cubicBezTo>
                    <a:pt x="376" y="1"/>
                    <a:pt x="321" y="0"/>
                    <a:pt x="314" y="0"/>
                  </a:cubicBezTo>
                  <a:cubicBezTo>
                    <a:pt x="314" y="0"/>
                    <a:pt x="314" y="0"/>
                    <a:pt x="314" y="0"/>
                  </a:cubicBezTo>
                  <a:cubicBezTo>
                    <a:pt x="314" y="0"/>
                    <a:pt x="314" y="0"/>
                    <a:pt x="314" y="0"/>
                  </a:cubicBezTo>
                  <a:cubicBezTo>
                    <a:pt x="307" y="0"/>
                    <a:pt x="252" y="1"/>
                    <a:pt x="194" y="30"/>
                  </a:cubicBezTo>
                  <a:cubicBezTo>
                    <a:pt x="113" y="70"/>
                    <a:pt x="69" y="146"/>
                    <a:pt x="69" y="242"/>
                  </a:cubicBezTo>
                  <a:cubicBezTo>
                    <a:pt x="69" y="360"/>
                    <a:pt x="69" y="360"/>
                    <a:pt x="69" y="360"/>
                  </a:cubicBezTo>
                  <a:cubicBezTo>
                    <a:pt x="22" y="360"/>
                    <a:pt x="22" y="360"/>
                    <a:pt x="22" y="360"/>
                  </a:cubicBezTo>
                  <a:cubicBezTo>
                    <a:pt x="10" y="360"/>
                    <a:pt x="0" y="370"/>
                    <a:pt x="0" y="382"/>
                  </a:cubicBezTo>
                  <a:cubicBezTo>
                    <a:pt x="0" y="858"/>
                    <a:pt x="0" y="858"/>
                    <a:pt x="0" y="858"/>
                  </a:cubicBezTo>
                  <a:cubicBezTo>
                    <a:pt x="0" y="870"/>
                    <a:pt x="10" y="880"/>
                    <a:pt x="22" y="880"/>
                  </a:cubicBezTo>
                  <a:cubicBezTo>
                    <a:pt x="606" y="880"/>
                    <a:pt x="606" y="880"/>
                    <a:pt x="606" y="880"/>
                  </a:cubicBezTo>
                  <a:cubicBezTo>
                    <a:pt x="618" y="880"/>
                    <a:pt x="628" y="870"/>
                    <a:pt x="628" y="858"/>
                  </a:cubicBezTo>
                  <a:cubicBezTo>
                    <a:pt x="628" y="382"/>
                    <a:pt x="628" y="382"/>
                    <a:pt x="628" y="382"/>
                  </a:cubicBezTo>
                  <a:cubicBezTo>
                    <a:pt x="628" y="370"/>
                    <a:pt x="618" y="360"/>
                    <a:pt x="606" y="360"/>
                  </a:cubicBezTo>
                  <a:close/>
                  <a:moveTo>
                    <a:pt x="345" y="597"/>
                  </a:moveTo>
                  <a:cubicBezTo>
                    <a:pt x="345" y="776"/>
                    <a:pt x="345" y="776"/>
                    <a:pt x="345" y="776"/>
                  </a:cubicBezTo>
                  <a:cubicBezTo>
                    <a:pt x="345" y="782"/>
                    <a:pt x="341" y="786"/>
                    <a:pt x="335" y="786"/>
                  </a:cubicBezTo>
                  <a:cubicBezTo>
                    <a:pt x="293" y="786"/>
                    <a:pt x="293" y="786"/>
                    <a:pt x="293" y="786"/>
                  </a:cubicBezTo>
                  <a:cubicBezTo>
                    <a:pt x="287" y="786"/>
                    <a:pt x="283" y="782"/>
                    <a:pt x="283" y="776"/>
                  </a:cubicBezTo>
                  <a:cubicBezTo>
                    <a:pt x="283" y="597"/>
                    <a:pt x="283" y="597"/>
                    <a:pt x="283" y="597"/>
                  </a:cubicBezTo>
                  <a:cubicBezTo>
                    <a:pt x="257" y="586"/>
                    <a:pt x="239" y="559"/>
                    <a:pt x="239" y="529"/>
                  </a:cubicBezTo>
                  <a:cubicBezTo>
                    <a:pt x="239" y="487"/>
                    <a:pt x="272" y="453"/>
                    <a:pt x="314" y="453"/>
                  </a:cubicBezTo>
                  <a:cubicBezTo>
                    <a:pt x="356" y="453"/>
                    <a:pt x="389" y="487"/>
                    <a:pt x="389" y="529"/>
                  </a:cubicBezTo>
                  <a:cubicBezTo>
                    <a:pt x="389" y="559"/>
                    <a:pt x="371" y="586"/>
                    <a:pt x="345" y="597"/>
                  </a:cubicBezTo>
                  <a:close/>
                  <a:moveTo>
                    <a:pt x="459" y="360"/>
                  </a:moveTo>
                  <a:cubicBezTo>
                    <a:pt x="169" y="360"/>
                    <a:pt x="169" y="360"/>
                    <a:pt x="169" y="360"/>
                  </a:cubicBezTo>
                  <a:cubicBezTo>
                    <a:pt x="169" y="242"/>
                    <a:pt x="169" y="242"/>
                    <a:pt x="169" y="242"/>
                  </a:cubicBezTo>
                  <a:cubicBezTo>
                    <a:pt x="169" y="184"/>
                    <a:pt x="191" y="144"/>
                    <a:pt x="236" y="121"/>
                  </a:cubicBezTo>
                  <a:cubicBezTo>
                    <a:pt x="272" y="102"/>
                    <a:pt x="309" y="100"/>
                    <a:pt x="314" y="100"/>
                  </a:cubicBezTo>
                  <a:cubicBezTo>
                    <a:pt x="318" y="100"/>
                    <a:pt x="355" y="102"/>
                    <a:pt x="390" y="119"/>
                  </a:cubicBezTo>
                  <a:cubicBezTo>
                    <a:pt x="437" y="143"/>
                    <a:pt x="459" y="183"/>
                    <a:pt x="459" y="242"/>
                  </a:cubicBezTo>
                  <a:lnTo>
                    <a:pt x="459" y="36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4" name="bcgBugs_ToolKit">
            <a:extLst>
              <a:ext uri="{FF2B5EF4-FFF2-40B4-BE49-F238E27FC236}">
                <a16:creationId xmlns:a16="http://schemas.microsoft.com/office/drawing/2014/main" id="{00C7F1E5-33DC-4234-9079-530E82B977C5}"/>
              </a:ext>
            </a:extLst>
          </p:cNvPr>
          <p:cNvGrpSpPr>
            <a:grpSpLocks noChangeAspect="1"/>
          </p:cNvGrpSpPr>
          <p:nvPr/>
        </p:nvGrpSpPr>
        <p:grpSpPr bwMode="auto">
          <a:xfrm>
            <a:off x="4877269" y="4395917"/>
            <a:ext cx="456753" cy="457200"/>
            <a:chOff x="2818" y="1137"/>
            <a:chExt cx="2044" cy="2046"/>
          </a:xfrm>
        </p:grpSpPr>
        <p:sp>
          <p:nvSpPr>
            <p:cNvPr id="255" name="AutoShape 3">
              <a:extLst>
                <a:ext uri="{FF2B5EF4-FFF2-40B4-BE49-F238E27FC236}">
                  <a16:creationId xmlns:a16="http://schemas.microsoft.com/office/drawing/2014/main" id="{92BC1D47-82BF-49B4-8916-0FF264DD24C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Freeform 4">
              <a:extLst>
                <a:ext uri="{FF2B5EF4-FFF2-40B4-BE49-F238E27FC236}">
                  <a16:creationId xmlns:a16="http://schemas.microsoft.com/office/drawing/2014/main" id="{E06DF496-CE82-432E-A0E2-B5EA3595A0A8}"/>
                </a:ext>
              </a:extLst>
            </p:cNvPr>
            <p:cNvSpPr>
              <a:spLocks noEditPoints="1"/>
            </p:cNvSpPr>
            <p:nvPr/>
          </p:nvSpPr>
          <p:spPr bwMode="auto">
            <a:xfrm>
              <a:off x="2941" y="1276"/>
              <a:ext cx="1825" cy="1727"/>
            </a:xfrm>
            <a:custGeom>
              <a:avLst/>
              <a:gdLst>
                <a:gd name="T0" fmla="*/ 552 w 892"/>
                <a:gd name="T1" fmla="*/ 404 h 843"/>
                <a:gd name="T2" fmla="*/ 525 w 892"/>
                <a:gd name="T3" fmla="*/ 398 h 843"/>
                <a:gd name="T4" fmla="*/ 516 w 892"/>
                <a:gd name="T5" fmla="*/ 368 h 843"/>
                <a:gd name="T6" fmla="*/ 464 w 892"/>
                <a:gd name="T7" fmla="*/ 329 h 843"/>
                <a:gd name="T8" fmla="*/ 409 w 892"/>
                <a:gd name="T9" fmla="*/ 370 h 843"/>
                <a:gd name="T10" fmla="*/ 131 w 892"/>
                <a:gd name="T11" fmla="*/ 93 h 843"/>
                <a:gd name="T12" fmla="*/ 36 w 892"/>
                <a:gd name="T13" fmla="*/ 10 h 843"/>
                <a:gd name="T14" fmla="*/ 18 w 892"/>
                <a:gd name="T15" fmla="*/ 28 h 843"/>
                <a:gd name="T16" fmla="*/ 45 w 892"/>
                <a:gd name="T17" fmla="*/ 135 h 843"/>
                <a:gd name="T18" fmla="*/ 356 w 892"/>
                <a:gd name="T19" fmla="*/ 417 h 843"/>
                <a:gd name="T20" fmla="*/ 329 w 892"/>
                <a:gd name="T21" fmla="*/ 451 h 843"/>
                <a:gd name="T22" fmla="*/ 329 w 892"/>
                <a:gd name="T23" fmla="*/ 497 h 843"/>
                <a:gd name="T24" fmla="*/ 381 w 892"/>
                <a:gd name="T25" fmla="*/ 536 h 843"/>
                <a:gd name="T26" fmla="*/ 387 w 892"/>
                <a:gd name="T27" fmla="*/ 547 h 843"/>
                <a:gd name="T28" fmla="*/ 664 w 892"/>
                <a:gd name="T29" fmla="*/ 832 h 843"/>
                <a:gd name="T30" fmla="*/ 784 w 892"/>
                <a:gd name="T31" fmla="*/ 794 h 843"/>
                <a:gd name="T32" fmla="*/ 697 w 892"/>
                <a:gd name="T33" fmla="*/ 774 h 843"/>
                <a:gd name="T34" fmla="*/ 666 w 892"/>
                <a:gd name="T35" fmla="*/ 774 h 843"/>
                <a:gd name="T36" fmla="*/ 453 w 892"/>
                <a:gd name="T37" fmla="*/ 531 h 843"/>
                <a:gd name="T38" fmla="*/ 697 w 892"/>
                <a:gd name="T39" fmla="*/ 743 h 843"/>
                <a:gd name="T40" fmla="*/ 764 w 892"/>
                <a:gd name="T41" fmla="*/ 707 h 843"/>
                <a:gd name="T42" fmla="*/ 733 w 892"/>
                <a:gd name="T43" fmla="*/ 707 h 843"/>
                <a:gd name="T44" fmla="*/ 521 w 892"/>
                <a:gd name="T45" fmla="*/ 464 h 843"/>
                <a:gd name="T46" fmla="*/ 764 w 892"/>
                <a:gd name="T47" fmla="*/ 676 h 843"/>
                <a:gd name="T48" fmla="*/ 377 w 892"/>
                <a:gd name="T49" fmla="*/ 607 h 843"/>
                <a:gd name="T50" fmla="*/ 90 w 892"/>
                <a:gd name="T51" fmla="*/ 801 h 843"/>
                <a:gd name="T52" fmla="*/ 286 w 892"/>
                <a:gd name="T53" fmla="*/ 513 h 843"/>
                <a:gd name="T54" fmla="*/ 327 w 892"/>
                <a:gd name="T55" fmla="*/ 557 h 843"/>
                <a:gd name="T56" fmla="*/ 350 w 892"/>
                <a:gd name="T57" fmla="*/ 581 h 843"/>
                <a:gd name="T58" fmla="*/ 504 w 892"/>
                <a:gd name="T59" fmla="*/ 295 h 843"/>
                <a:gd name="T60" fmla="*/ 591 w 892"/>
                <a:gd name="T61" fmla="*/ 61 h 843"/>
                <a:gd name="T62" fmla="*/ 698 w 892"/>
                <a:gd name="T63" fmla="*/ 95 h 843"/>
                <a:gd name="T64" fmla="*/ 662 w 892"/>
                <a:gd name="T65" fmla="*/ 230 h 843"/>
                <a:gd name="T66" fmla="*/ 796 w 892"/>
                <a:gd name="T67" fmla="*/ 194 h 843"/>
                <a:gd name="T68" fmla="*/ 831 w 892"/>
                <a:gd name="T69" fmla="*/ 300 h 843"/>
                <a:gd name="T70" fmla="*/ 599 w 892"/>
                <a:gd name="T71" fmla="*/ 385 h 843"/>
                <a:gd name="T72" fmla="*/ 571 w 892"/>
                <a:gd name="T73" fmla="*/ 361 h 843"/>
                <a:gd name="T74" fmla="*/ 547 w 892"/>
                <a:gd name="T75" fmla="*/ 337 h 843"/>
                <a:gd name="T76" fmla="*/ 503 w 892"/>
                <a:gd name="T77" fmla="*/ 29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2" h="843">
                  <a:moveTo>
                    <a:pt x="822" y="674"/>
                  </a:moveTo>
                  <a:cubicBezTo>
                    <a:pt x="552" y="404"/>
                    <a:pt x="552" y="404"/>
                    <a:pt x="552" y="404"/>
                  </a:cubicBezTo>
                  <a:cubicBezTo>
                    <a:pt x="548" y="400"/>
                    <a:pt x="543" y="398"/>
                    <a:pt x="537" y="398"/>
                  </a:cubicBezTo>
                  <a:cubicBezTo>
                    <a:pt x="525" y="398"/>
                    <a:pt x="525" y="398"/>
                    <a:pt x="525" y="398"/>
                  </a:cubicBezTo>
                  <a:cubicBezTo>
                    <a:pt x="525" y="396"/>
                    <a:pt x="526" y="394"/>
                    <a:pt x="526" y="391"/>
                  </a:cubicBezTo>
                  <a:cubicBezTo>
                    <a:pt x="526" y="383"/>
                    <a:pt x="522" y="375"/>
                    <a:pt x="516" y="368"/>
                  </a:cubicBezTo>
                  <a:cubicBezTo>
                    <a:pt x="487" y="339"/>
                    <a:pt x="487" y="339"/>
                    <a:pt x="487" y="339"/>
                  </a:cubicBezTo>
                  <a:cubicBezTo>
                    <a:pt x="480" y="333"/>
                    <a:pt x="472" y="329"/>
                    <a:pt x="464" y="329"/>
                  </a:cubicBezTo>
                  <a:cubicBezTo>
                    <a:pt x="455" y="329"/>
                    <a:pt x="447" y="333"/>
                    <a:pt x="441" y="339"/>
                  </a:cubicBezTo>
                  <a:cubicBezTo>
                    <a:pt x="409" y="370"/>
                    <a:pt x="409" y="370"/>
                    <a:pt x="409" y="370"/>
                  </a:cubicBezTo>
                  <a:cubicBezTo>
                    <a:pt x="409" y="370"/>
                    <a:pt x="408" y="369"/>
                    <a:pt x="407" y="368"/>
                  </a:cubicBezTo>
                  <a:cubicBezTo>
                    <a:pt x="131" y="93"/>
                    <a:pt x="131" y="93"/>
                    <a:pt x="131" y="93"/>
                  </a:cubicBezTo>
                  <a:cubicBezTo>
                    <a:pt x="125" y="55"/>
                    <a:pt x="125" y="55"/>
                    <a:pt x="125" y="55"/>
                  </a:cubicBezTo>
                  <a:cubicBezTo>
                    <a:pt x="36" y="10"/>
                    <a:pt x="36" y="10"/>
                    <a:pt x="36" y="10"/>
                  </a:cubicBezTo>
                  <a:cubicBezTo>
                    <a:pt x="18" y="28"/>
                    <a:pt x="18" y="28"/>
                    <a:pt x="18" y="28"/>
                  </a:cubicBezTo>
                  <a:cubicBezTo>
                    <a:pt x="18" y="28"/>
                    <a:pt x="18" y="28"/>
                    <a:pt x="18" y="28"/>
                  </a:cubicBezTo>
                  <a:cubicBezTo>
                    <a:pt x="0" y="46"/>
                    <a:pt x="0" y="46"/>
                    <a:pt x="0" y="46"/>
                  </a:cubicBezTo>
                  <a:cubicBezTo>
                    <a:pt x="45" y="135"/>
                    <a:pt x="45" y="135"/>
                    <a:pt x="45" y="135"/>
                  </a:cubicBezTo>
                  <a:cubicBezTo>
                    <a:pt x="79" y="141"/>
                    <a:pt x="79" y="141"/>
                    <a:pt x="79" y="141"/>
                  </a:cubicBezTo>
                  <a:cubicBezTo>
                    <a:pt x="356" y="417"/>
                    <a:pt x="356" y="417"/>
                    <a:pt x="356" y="417"/>
                  </a:cubicBezTo>
                  <a:cubicBezTo>
                    <a:pt x="357" y="418"/>
                    <a:pt x="358" y="419"/>
                    <a:pt x="359" y="420"/>
                  </a:cubicBezTo>
                  <a:cubicBezTo>
                    <a:pt x="329" y="451"/>
                    <a:pt x="329" y="451"/>
                    <a:pt x="329" y="451"/>
                  </a:cubicBezTo>
                  <a:cubicBezTo>
                    <a:pt x="322" y="457"/>
                    <a:pt x="319" y="465"/>
                    <a:pt x="319" y="474"/>
                  </a:cubicBezTo>
                  <a:cubicBezTo>
                    <a:pt x="319" y="482"/>
                    <a:pt x="322" y="491"/>
                    <a:pt x="329" y="497"/>
                  </a:cubicBezTo>
                  <a:cubicBezTo>
                    <a:pt x="358" y="526"/>
                    <a:pt x="358" y="526"/>
                    <a:pt x="358" y="526"/>
                  </a:cubicBezTo>
                  <a:cubicBezTo>
                    <a:pt x="365" y="533"/>
                    <a:pt x="373" y="536"/>
                    <a:pt x="381" y="536"/>
                  </a:cubicBezTo>
                  <a:cubicBezTo>
                    <a:pt x="383" y="536"/>
                    <a:pt x="385" y="536"/>
                    <a:pt x="387" y="535"/>
                  </a:cubicBezTo>
                  <a:cubicBezTo>
                    <a:pt x="387" y="547"/>
                    <a:pt x="387" y="547"/>
                    <a:pt x="387" y="547"/>
                  </a:cubicBezTo>
                  <a:cubicBezTo>
                    <a:pt x="388" y="553"/>
                    <a:pt x="390" y="558"/>
                    <a:pt x="394" y="562"/>
                  </a:cubicBezTo>
                  <a:cubicBezTo>
                    <a:pt x="664" y="832"/>
                    <a:pt x="664" y="832"/>
                    <a:pt x="664" y="832"/>
                  </a:cubicBezTo>
                  <a:cubicBezTo>
                    <a:pt x="672" y="840"/>
                    <a:pt x="682" y="843"/>
                    <a:pt x="693" y="843"/>
                  </a:cubicBezTo>
                  <a:cubicBezTo>
                    <a:pt x="721" y="843"/>
                    <a:pt x="756" y="821"/>
                    <a:pt x="784" y="794"/>
                  </a:cubicBezTo>
                  <a:cubicBezTo>
                    <a:pt x="822" y="756"/>
                    <a:pt x="850" y="702"/>
                    <a:pt x="822" y="674"/>
                  </a:cubicBezTo>
                  <a:close/>
                  <a:moveTo>
                    <a:pt x="697" y="774"/>
                  </a:moveTo>
                  <a:cubicBezTo>
                    <a:pt x="693" y="779"/>
                    <a:pt x="687" y="781"/>
                    <a:pt x="682" y="781"/>
                  </a:cubicBezTo>
                  <a:cubicBezTo>
                    <a:pt x="676" y="781"/>
                    <a:pt x="670" y="779"/>
                    <a:pt x="666" y="774"/>
                  </a:cubicBezTo>
                  <a:cubicBezTo>
                    <a:pt x="453" y="562"/>
                    <a:pt x="453" y="562"/>
                    <a:pt x="453" y="562"/>
                  </a:cubicBezTo>
                  <a:cubicBezTo>
                    <a:pt x="445" y="553"/>
                    <a:pt x="445" y="539"/>
                    <a:pt x="453" y="531"/>
                  </a:cubicBezTo>
                  <a:cubicBezTo>
                    <a:pt x="462" y="522"/>
                    <a:pt x="476" y="522"/>
                    <a:pt x="485" y="531"/>
                  </a:cubicBezTo>
                  <a:cubicBezTo>
                    <a:pt x="697" y="743"/>
                    <a:pt x="697" y="743"/>
                    <a:pt x="697" y="743"/>
                  </a:cubicBezTo>
                  <a:cubicBezTo>
                    <a:pt x="706" y="752"/>
                    <a:pt x="706" y="766"/>
                    <a:pt x="697" y="774"/>
                  </a:cubicBezTo>
                  <a:close/>
                  <a:moveTo>
                    <a:pt x="764" y="707"/>
                  </a:moveTo>
                  <a:cubicBezTo>
                    <a:pt x="760" y="712"/>
                    <a:pt x="754" y="714"/>
                    <a:pt x="749" y="714"/>
                  </a:cubicBezTo>
                  <a:cubicBezTo>
                    <a:pt x="743" y="714"/>
                    <a:pt x="737" y="712"/>
                    <a:pt x="733" y="707"/>
                  </a:cubicBezTo>
                  <a:cubicBezTo>
                    <a:pt x="521" y="495"/>
                    <a:pt x="521" y="495"/>
                    <a:pt x="521" y="495"/>
                  </a:cubicBezTo>
                  <a:cubicBezTo>
                    <a:pt x="512" y="486"/>
                    <a:pt x="512" y="472"/>
                    <a:pt x="521" y="464"/>
                  </a:cubicBezTo>
                  <a:cubicBezTo>
                    <a:pt x="529" y="455"/>
                    <a:pt x="543" y="455"/>
                    <a:pt x="552" y="464"/>
                  </a:cubicBezTo>
                  <a:cubicBezTo>
                    <a:pt x="764" y="676"/>
                    <a:pt x="764" y="676"/>
                    <a:pt x="764" y="676"/>
                  </a:cubicBezTo>
                  <a:cubicBezTo>
                    <a:pt x="773" y="685"/>
                    <a:pt x="773" y="699"/>
                    <a:pt x="764" y="707"/>
                  </a:cubicBezTo>
                  <a:close/>
                  <a:moveTo>
                    <a:pt x="377" y="607"/>
                  </a:moveTo>
                  <a:cubicBezTo>
                    <a:pt x="184" y="799"/>
                    <a:pt x="184" y="799"/>
                    <a:pt x="184" y="799"/>
                  </a:cubicBezTo>
                  <a:cubicBezTo>
                    <a:pt x="158" y="826"/>
                    <a:pt x="116" y="827"/>
                    <a:pt x="90" y="801"/>
                  </a:cubicBezTo>
                  <a:cubicBezTo>
                    <a:pt x="65" y="776"/>
                    <a:pt x="66" y="734"/>
                    <a:pt x="93" y="707"/>
                  </a:cubicBezTo>
                  <a:cubicBezTo>
                    <a:pt x="286" y="513"/>
                    <a:pt x="286" y="513"/>
                    <a:pt x="286" y="513"/>
                  </a:cubicBezTo>
                  <a:cubicBezTo>
                    <a:pt x="289" y="519"/>
                    <a:pt x="293" y="523"/>
                    <a:pt x="297" y="528"/>
                  </a:cubicBezTo>
                  <a:cubicBezTo>
                    <a:pt x="327" y="557"/>
                    <a:pt x="327" y="557"/>
                    <a:pt x="327" y="557"/>
                  </a:cubicBezTo>
                  <a:cubicBezTo>
                    <a:pt x="332" y="563"/>
                    <a:pt x="338" y="567"/>
                    <a:pt x="345" y="571"/>
                  </a:cubicBezTo>
                  <a:cubicBezTo>
                    <a:pt x="346" y="574"/>
                    <a:pt x="348" y="578"/>
                    <a:pt x="350" y="581"/>
                  </a:cubicBezTo>
                  <a:lnTo>
                    <a:pt x="377" y="607"/>
                  </a:lnTo>
                  <a:close/>
                  <a:moveTo>
                    <a:pt x="504" y="295"/>
                  </a:moveTo>
                  <a:cubicBezTo>
                    <a:pt x="555" y="245"/>
                    <a:pt x="555" y="245"/>
                    <a:pt x="555" y="245"/>
                  </a:cubicBezTo>
                  <a:cubicBezTo>
                    <a:pt x="529" y="184"/>
                    <a:pt x="542" y="111"/>
                    <a:pt x="591" y="61"/>
                  </a:cubicBezTo>
                  <a:cubicBezTo>
                    <a:pt x="640" y="13"/>
                    <a:pt x="710" y="0"/>
                    <a:pt x="771" y="22"/>
                  </a:cubicBezTo>
                  <a:cubicBezTo>
                    <a:pt x="698" y="95"/>
                    <a:pt x="698" y="95"/>
                    <a:pt x="698" y="95"/>
                  </a:cubicBezTo>
                  <a:cubicBezTo>
                    <a:pt x="641" y="152"/>
                    <a:pt x="641" y="152"/>
                    <a:pt x="641" y="152"/>
                  </a:cubicBezTo>
                  <a:cubicBezTo>
                    <a:pt x="662" y="230"/>
                    <a:pt x="662" y="230"/>
                    <a:pt x="662" y="230"/>
                  </a:cubicBezTo>
                  <a:cubicBezTo>
                    <a:pt x="739" y="250"/>
                    <a:pt x="739" y="250"/>
                    <a:pt x="739" y="250"/>
                  </a:cubicBezTo>
                  <a:cubicBezTo>
                    <a:pt x="796" y="194"/>
                    <a:pt x="796" y="194"/>
                    <a:pt x="796" y="194"/>
                  </a:cubicBezTo>
                  <a:cubicBezTo>
                    <a:pt x="869" y="121"/>
                    <a:pt x="869" y="121"/>
                    <a:pt x="869" y="121"/>
                  </a:cubicBezTo>
                  <a:cubicBezTo>
                    <a:pt x="892" y="181"/>
                    <a:pt x="879" y="252"/>
                    <a:pt x="831" y="300"/>
                  </a:cubicBezTo>
                  <a:cubicBezTo>
                    <a:pt x="781" y="350"/>
                    <a:pt x="708" y="362"/>
                    <a:pt x="646" y="337"/>
                  </a:cubicBezTo>
                  <a:cubicBezTo>
                    <a:pt x="599" y="385"/>
                    <a:pt x="599" y="385"/>
                    <a:pt x="599" y="385"/>
                  </a:cubicBezTo>
                  <a:cubicBezTo>
                    <a:pt x="597" y="387"/>
                    <a:pt x="597" y="387"/>
                    <a:pt x="597" y="387"/>
                  </a:cubicBezTo>
                  <a:cubicBezTo>
                    <a:pt x="571" y="361"/>
                    <a:pt x="571" y="361"/>
                    <a:pt x="571" y="361"/>
                  </a:cubicBezTo>
                  <a:cubicBezTo>
                    <a:pt x="568" y="358"/>
                    <a:pt x="564" y="356"/>
                    <a:pt x="560" y="355"/>
                  </a:cubicBezTo>
                  <a:cubicBezTo>
                    <a:pt x="557" y="348"/>
                    <a:pt x="553" y="343"/>
                    <a:pt x="547" y="337"/>
                  </a:cubicBezTo>
                  <a:cubicBezTo>
                    <a:pt x="518" y="308"/>
                    <a:pt x="518" y="308"/>
                    <a:pt x="518" y="308"/>
                  </a:cubicBezTo>
                  <a:cubicBezTo>
                    <a:pt x="513" y="303"/>
                    <a:pt x="508" y="300"/>
                    <a:pt x="503" y="296"/>
                  </a:cubicBezTo>
                  <a:lnTo>
                    <a:pt x="504" y="2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7" name="bcgBugs_SmartPhone">
            <a:extLst>
              <a:ext uri="{FF2B5EF4-FFF2-40B4-BE49-F238E27FC236}">
                <a16:creationId xmlns:a16="http://schemas.microsoft.com/office/drawing/2014/main" id="{53C185CD-1DF3-446A-9D62-351A7575F0E8}"/>
              </a:ext>
            </a:extLst>
          </p:cNvPr>
          <p:cNvGrpSpPr>
            <a:grpSpLocks noChangeAspect="1"/>
          </p:cNvGrpSpPr>
          <p:nvPr/>
        </p:nvGrpSpPr>
        <p:grpSpPr bwMode="auto">
          <a:xfrm>
            <a:off x="4968851" y="3027327"/>
            <a:ext cx="456753" cy="457200"/>
            <a:chOff x="2818" y="1137"/>
            <a:chExt cx="2044" cy="2046"/>
          </a:xfrm>
        </p:grpSpPr>
        <p:sp>
          <p:nvSpPr>
            <p:cNvPr id="258" name="AutoShape 3">
              <a:extLst>
                <a:ext uri="{FF2B5EF4-FFF2-40B4-BE49-F238E27FC236}">
                  <a16:creationId xmlns:a16="http://schemas.microsoft.com/office/drawing/2014/main" id="{D825D18F-6069-4074-B61E-42815FA3E21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5">
              <a:extLst>
                <a:ext uri="{FF2B5EF4-FFF2-40B4-BE49-F238E27FC236}">
                  <a16:creationId xmlns:a16="http://schemas.microsoft.com/office/drawing/2014/main" id="{FFDA079D-E0A4-428F-9651-6BBA62CA081D}"/>
                </a:ext>
              </a:extLst>
            </p:cNvPr>
            <p:cNvSpPr>
              <a:spLocks noEditPoints="1"/>
            </p:cNvSpPr>
            <p:nvPr/>
          </p:nvSpPr>
          <p:spPr bwMode="auto">
            <a:xfrm>
              <a:off x="3342" y="1260"/>
              <a:ext cx="998" cy="1802"/>
            </a:xfrm>
            <a:custGeom>
              <a:avLst/>
              <a:gdLst>
                <a:gd name="T0" fmla="*/ 466 w 488"/>
                <a:gd name="T1" fmla="*/ 0 h 880"/>
                <a:gd name="T2" fmla="*/ 22 w 488"/>
                <a:gd name="T3" fmla="*/ 0 h 880"/>
                <a:gd name="T4" fmla="*/ 0 w 488"/>
                <a:gd name="T5" fmla="*/ 22 h 880"/>
                <a:gd name="T6" fmla="*/ 0 w 488"/>
                <a:gd name="T7" fmla="*/ 858 h 880"/>
                <a:gd name="T8" fmla="*/ 22 w 488"/>
                <a:gd name="T9" fmla="*/ 880 h 880"/>
                <a:gd name="T10" fmla="*/ 466 w 488"/>
                <a:gd name="T11" fmla="*/ 880 h 880"/>
                <a:gd name="T12" fmla="*/ 488 w 488"/>
                <a:gd name="T13" fmla="*/ 858 h 880"/>
                <a:gd name="T14" fmla="*/ 488 w 488"/>
                <a:gd name="T15" fmla="*/ 22 h 880"/>
                <a:gd name="T16" fmla="*/ 466 w 488"/>
                <a:gd name="T17" fmla="*/ 0 h 880"/>
                <a:gd name="T18" fmla="*/ 244 w 488"/>
                <a:gd name="T19" fmla="*/ 818 h 880"/>
                <a:gd name="T20" fmla="*/ 199 w 488"/>
                <a:gd name="T21" fmla="*/ 773 h 880"/>
                <a:gd name="T22" fmla="*/ 244 w 488"/>
                <a:gd name="T23" fmla="*/ 727 h 880"/>
                <a:gd name="T24" fmla="*/ 289 w 488"/>
                <a:gd name="T25" fmla="*/ 773 h 880"/>
                <a:gd name="T26" fmla="*/ 244 w 488"/>
                <a:gd name="T27" fmla="*/ 818 h 880"/>
                <a:gd name="T28" fmla="*/ 430 w 488"/>
                <a:gd name="T29" fmla="*/ 655 h 880"/>
                <a:gd name="T30" fmla="*/ 420 w 488"/>
                <a:gd name="T31" fmla="*/ 665 h 880"/>
                <a:gd name="T32" fmla="*/ 73 w 488"/>
                <a:gd name="T33" fmla="*/ 665 h 880"/>
                <a:gd name="T34" fmla="*/ 63 w 488"/>
                <a:gd name="T35" fmla="*/ 655 h 880"/>
                <a:gd name="T36" fmla="*/ 63 w 488"/>
                <a:gd name="T37" fmla="*/ 73 h 880"/>
                <a:gd name="T38" fmla="*/ 73 w 488"/>
                <a:gd name="T39" fmla="*/ 63 h 880"/>
                <a:gd name="T40" fmla="*/ 420 w 488"/>
                <a:gd name="T41" fmla="*/ 63 h 880"/>
                <a:gd name="T42" fmla="*/ 430 w 488"/>
                <a:gd name="T43" fmla="*/ 73 h 880"/>
                <a:gd name="T44" fmla="*/ 430 w 488"/>
                <a:gd name="T45" fmla="*/ 65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880">
                  <a:moveTo>
                    <a:pt x="466" y="0"/>
                  </a:moveTo>
                  <a:cubicBezTo>
                    <a:pt x="22" y="0"/>
                    <a:pt x="22" y="0"/>
                    <a:pt x="22" y="0"/>
                  </a:cubicBezTo>
                  <a:cubicBezTo>
                    <a:pt x="10" y="0"/>
                    <a:pt x="0" y="10"/>
                    <a:pt x="0" y="22"/>
                  </a:cubicBezTo>
                  <a:cubicBezTo>
                    <a:pt x="0" y="858"/>
                    <a:pt x="0" y="858"/>
                    <a:pt x="0" y="858"/>
                  </a:cubicBezTo>
                  <a:cubicBezTo>
                    <a:pt x="0" y="870"/>
                    <a:pt x="10" y="880"/>
                    <a:pt x="22" y="880"/>
                  </a:cubicBezTo>
                  <a:cubicBezTo>
                    <a:pt x="466" y="880"/>
                    <a:pt x="466" y="880"/>
                    <a:pt x="466" y="880"/>
                  </a:cubicBezTo>
                  <a:cubicBezTo>
                    <a:pt x="478" y="880"/>
                    <a:pt x="488" y="870"/>
                    <a:pt x="488" y="858"/>
                  </a:cubicBezTo>
                  <a:cubicBezTo>
                    <a:pt x="488" y="22"/>
                    <a:pt x="488" y="22"/>
                    <a:pt x="488" y="22"/>
                  </a:cubicBezTo>
                  <a:cubicBezTo>
                    <a:pt x="488" y="10"/>
                    <a:pt x="478" y="0"/>
                    <a:pt x="466" y="0"/>
                  </a:cubicBezTo>
                  <a:close/>
                  <a:moveTo>
                    <a:pt x="244" y="818"/>
                  </a:moveTo>
                  <a:cubicBezTo>
                    <a:pt x="219" y="818"/>
                    <a:pt x="199" y="798"/>
                    <a:pt x="199" y="773"/>
                  </a:cubicBezTo>
                  <a:cubicBezTo>
                    <a:pt x="199" y="748"/>
                    <a:pt x="219" y="727"/>
                    <a:pt x="244" y="727"/>
                  </a:cubicBezTo>
                  <a:cubicBezTo>
                    <a:pt x="269" y="727"/>
                    <a:pt x="289" y="748"/>
                    <a:pt x="289" y="773"/>
                  </a:cubicBezTo>
                  <a:cubicBezTo>
                    <a:pt x="289" y="798"/>
                    <a:pt x="269" y="818"/>
                    <a:pt x="244" y="818"/>
                  </a:cubicBezTo>
                  <a:close/>
                  <a:moveTo>
                    <a:pt x="430" y="655"/>
                  </a:moveTo>
                  <a:cubicBezTo>
                    <a:pt x="430" y="660"/>
                    <a:pt x="425" y="665"/>
                    <a:pt x="420" y="665"/>
                  </a:cubicBezTo>
                  <a:cubicBezTo>
                    <a:pt x="73" y="665"/>
                    <a:pt x="73" y="665"/>
                    <a:pt x="73" y="665"/>
                  </a:cubicBezTo>
                  <a:cubicBezTo>
                    <a:pt x="68" y="665"/>
                    <a:pt x="63" y="660"/>
                    <a:pt x="63" y="655"/>
                  </a:cubicBezTo>
                  <a:cubicBezTo>
                    <a:pt x="63" y="73"/>
                    <a:pt x="63" y="73"/>
                    <a:pt x="63" y="73"/>
                  </a:cubicBezTo>
                  <a:cubicBezTo>
                    <a:pt x="63" y="67"/>
                    <a:pt x="68" y="63"/>
                    <a:pt x="73" y="63"/>
                  </a:cubicBezTo>
                  <a:cubicBezTo>
                    <a:pt x="420" y="63"/>
                    <a:pt x="420" y="63"/>
                    <a:pt x="420" y="63"/>
                  </a:cubicBezTo>
                  <a:cubicBezTo>
                    <a:pt x="425" y="63"/>
                    <a:pt x="430" y="67"/>
                    <a:pt x="430" y="73"/>
                  </a:cubicBezTo>
                  <a:lnTo>
                    <a:pt x="430" y="65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0" name="bcgBugs_Global">
            <a:extLst>
              <a:ext uri="{FF2B5EF4-FFF2-40B4-BE49-F238E27FC236}">
                <a16:creationId xmlns:a16="http://schemas.microsoft.com/office/drawing/2014/main" id="{C08BE590-A7E6-48FC-B917-4C8613F8871B}"/>
              </a:ext>
            </a:extLst>
          </p:cNvPr>
          <p:cNvGrpSpPr>
            <a:grpSpLocks noChangeAspect="1"/>
          </p:cNvGrpSpPr>
          <p:nvPr/>
        </p:nvGrpSpPr>
        <p:grpSpPr bwMode="auto">
          <a:xfrm>
            <a:off x="7556258" y="4364849"/>
            <a:ext cx="456753" cy="457200"/>
            <a:chOff x="2818" y="1137"/>
            <a:chExt cx="2044" cy="2046"/>
          </a:xfrm>
        </p:grpSpPr>
        <p:sp>
          <p:nvSpPr>
            <p:cNvPr id="261" name="AutoShape 34">
              <a:extLst>
                <a:ext uri="{FF2B5EF4-FFF2-40B4-BE49-F238E27FC236}">
                  <a16:creationId xmlns:a16="http://schemas.microsoft.com/office/drawing/2014/main" id="{CBCBD8FC-38DD-44BF-9C90-84C322757F43}"/>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36">
              <a:extLst>
                <a:ext uri="{FF2B5EF4-FFF2-40B4-BE49-F238E27FC236}">
                  <a16:creationId xmlns:a16="http://schemas.microsoft.com/office/drawing/2014/main" id="{0F01EF06-4F78-45C2-B4BE-D922AC0BD73A}"/>
                </a:ext>
              </a:extLst>
            </p:cNvPr>
            <p:cNvSpPr>
              <a:spLocks noEditPoints="1"/>
            </p:cNvSpPr>
            <p:nvPr/>
          </p:nvSpPr>
          <p:spPr bwMode="auto">
            <a:xfrm>
              <a:off x="2943" y="1262"/>
              <a:ext cx="1796" cy="1798"/>
            </a:xfrm>
            <a:custGeom>
              <a:avLst/>
              <a:gdLst>
                <a:gd name="T0" fmla="*/ 493 w 878"/>
                <a:gd name="T1" fmla="*/ 876 h 878"/>
                <a:gd name="T2" fmla="*/ 461 w 878"/>
                <a:gd name="T3" fmla="*/ 667 h 878"/>
                <a:gd name="T4" fmla="*/ 614 w 878"/>
                <a:gd name="T5" fmla="*/ 760 h 878"/>
                <a:gd name="T6" fmla="*/ 264 w 878"/>
                <a:gd name="T7" fmla="*/ 760 h 878"/>
                <a:gd name="T8" fmla="*/ 417 w 878"/>
                <a:gd name="T9" fmla="*/ 878 h 878"/>
                <a:gd name="T10" fmla="*/ 232 w 878"/>
                <a:gd name="T11" fmla="*/ 695 h 878"/>
                <a:gd name="T12" fmla="*/ 614 w 878"/>
                <a:gd name="T13" fmla="*/ 118 h 878"/>
                <a:gd name="T14" fmla="*/ 461 w 878"/>
                <a:gd name="T15" fmla="*/ 0 h 878"/>
                <a:gd name="T16" fmla="*/ 646 w 878"/>
                <a:gd name="T17" fmla="*/ 183 h 878"/>
                <a:gd name="T18" fmla="*/ 417 w 878"/>
                <a:gd name="T19" fmla="*/ 211 h 878"/>
                <a:gd name="T20" fmla="*/ 385 w 878"/>
                <a:gd name="T21" fmla="*/ 2 h 878"/>
                <a:gd name="T22" fmla="*/ 232 w 878"/>
                <a:gd name="T23" fmla="*/ 183 h 878"/>
                <a:gd name="T24" fmla="*/ 417 w 878"/>
                <a:gd name="T25" fmla="*/ 417 h 878"/>
                <a:gd name="T26" fmla="*/ 218 w 878"/>
                <a:gd name="T27" fmla="*/ 224 h 878"/>
                <a:gd name="T28" fmla="*/ 735 w 878"/>
                <a:gd name="T29" fmla="*/ 461 h 878"/>
                <a:gd name="T30" fmla="*/ 782 w 878"/>
                <a:gd name="T31" fmla="*/ 706 h 878"/>
                <a:gd name="T32" fmla="*/ 878 w 878"/>
                <a:gd name="T33" fmla="*/ 461 h 878"/>
                <a:gd name="T34" fmla="*/ 735 w 878"/>
                <a:gd name="T35" fmla="*/ 417 h 878"/>
                <a:gd name="T36" fmla="*/ 787 w 878"/>
                <a:gd name="T37" fmla="*/ 169 h 878"/>
                <a:gd name="T38" fmla="*/ 702 w 878"/>
                <a:gd name="T39" fmla="*/ 210 h 878"/>
                <a:gd name="T40" fmla="*/ 652 w 878"/>
                <a:gd name="T41" fmla="*/ 96 h 878"/>
                <a:gd name="T42" fmla="*/ 757 w 878"/>
                <a:gd name="T43" fmla="*/ 135 h 878"/>
                <a:gd name="T44" fmla="*/ 652 w 878"/>
                <a:gd name="T45" fmla="*/ 96 h 878"/>
                <a:gd name="T46" fmla="*/ 0 w 878"/>
                <a:gd name="T47" fmla="*/ 461 h 878"/>
                <a:gd name="T48" fmla="*/ 94 w 878"/>
                <a:gd name="T49" fmla="*/ 707 h 878"/>
                <a:gd name="T50" fmla="*/ 143 w 878"/>
                <a:gd name="T51" fmla="*/ 461 h 878"/>
                <a:gd name="T52" fmla="*/ 191 w 878"/>
                <a:gd name="T53" fmla="*/ 709 h 878"/>
                <a:gd name="T54" fmla="*/ 272 w 878"/>
                <a:gd name="T55" fmla="*/ 846 h 878"/>
                <a:gd name="T56" fmla="*/ 218 w 878"/>
                <a:gd name="T57" fmla="*/ 654 h 878"/>
                <a:gd name="T58" fmla="*/ 417 w 878"/>
                <a:gd name="T59" fmla="*/ 461 h 878"/>
                <a:gd name="T60" fmla="*/ 218 w 878"/>
                <a:gd name="T61" fmla="*/ 654 h 878"/>
                <a:gd name="T62" fmla="*/ 652 w 878"/>
                <a:gd name="T63" fmla="*/ 782 h 878"/>
                <a:gd name="T64" fmla="*/ 758 w 878"/>
                <a:gd name="T65" fmla="*/ 743 h 878"/>
                <a:gd name="T66" fmla="*/ 94 w 878"/>
                <a:gd name="T67" fmla="*/ 171 h 878"/>
                <a:gd name="T68" fmla="*/ 0 w 878"/>
                <a:gd name="T69" fmla="*/ 417 h 878"/>
                <a:gd name="T70" fmla="*/ 176 w 878"/>
                <a:gd name="T71" fmla="*/ 210 h 878"/>
                <a:gd name="T72" fmla="*/ 191 w 878"/>
                <a:gd name="T73" fmla="*/ 169 h 878"/>
                <a:gd name="T74" fmla="*/ 272 w 878"/>
                <a:gd name="T75" fmla="*/ 32 h 878"/>
                <a:gd name="T76" fmla="*/ 191 w 878"/>
                <a:gd name="T77" fmla="*/ 169 h 878"/>
                <a:gd name="T78" fmla="*/ 461 w 878"/>
                <a:gd name="T79" fmla="*/ 461 h 878"/>
                <a:gd name="T80" fmla="*/ 660 w 878"/>
                <a:gd name="T81" fmla="*/ 654 h 878"/>
                <a:gd name="T82" fmla="*/ 660 w 878"/>
                <a:gd name="T83" fmla="*/ 224 h 878"/>
                <a:gd name="T84" fmla="*/ 461 w 878"/>
                <a:gd name="T85" fmla="*/ 417 h 878"/>
                <a:gd name="T86" fmla="*/ 660 w 878"/>
                <a:gd name="T87" fmla="*/ 22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8" h="878">
                  <a:moveTo>
                    <a:pt x="614" y="760"/>
                  </a:moveTo>
                  <a:cubicBezTo>
                    <a:pt x="580" y="818"/>
                    <a:pt x="538" y="858"/>
                    <a:pt x="493" y="876"/>
                  </a:cubicBezTo>
                  <a:cubicBezTo>
                    <a:pt x="483" y="877"/>
                    <a:pt x="472" y="878"/>
                    <a:pt x="461" y="878"/>
                  </a:cubicBezTo>
                  <a:cubicBezTo>
                    <a:pt x="461" y="667"/>
                    <a:pt x="461" y="667"/>
                    <a:pt x="461" y="667"/>
                  </a:cubicBezTo>
                  <a:cubicBezTo>
                    <a:pt x="526" y="668"/>
                    <a:pt x="589" y="678"/>
                    <a:pt x="646" y="695"/>
                  </a:cubicBezTo>
                  <a:cubicBezTo>
                    <a:pt x="636" y="718"/>
                    <a:pt x="626" y="740"/>
                    <a:pt x="614" y="760"/>
                  </a:cubicBezTo>
                  <a:close/>
                  <a:moveTo>
                    <a:pt x="232" y="695"/>
                  </a:moveTo>
                  <a:cubicBezTo>
                    <a:pt x="242" y="718"/>
                    <a:pt x="252" y="740"/>
                    <a:pt x="264" y="760"/>
                  </a:cubicBezTo>
                  <a:cubicBezTo>
                    <a:pt x="298" y="818"/>
                    <a:pt x="340" y="858"/>
                    <a:pt x="385" y="876"/>
                  </a:cubicBezTo>
                  <a:cubicBezTo>
                    <a:pt x="395" y="877"/>
                    <a:pt x="406" y="878"/>
                    <a:pt x="417" y="878"/>
                  </a:cubicBezTo>
                  <a:cubicBezTo>
                    <a:pt x="417" y="667"/>
                    <a:pt x="417" y="667"/>
                    <a:pt x="417" y="667"/>
                  </a:cubicBezTo>
                  <a:cubicBezTo>
                    <a:pt x="352" y="668"/>
                    <a:pt x="289" y="678"/>
                    <a:pt x="232" y="695"/>
                  </a:cubicBezTo>
                  <a:close/>
                  <a:moveTo>
                    <a:pt x="646" y="183"/>
                  </a:moveTo>
                  <a:cubicBezTo>
                    <a:pt x="636" y="160"/>
                    <a:pt x="626" y="138"/>
                    <a:pt x="614" y="118"/>
                  </a:cubicBezTo>
                  <a:cubicBezTo>
                    <a:pt x="580" y="60"/>
                    <a:pt x="538" y="20"/>
                    <a:pt x="493" y="2"/>
                  </a:cubicBezTo>
                  <a:cubicBezTo>
                    <a:pt x="483" y="1"/>
                    <a:pt x="472" y="0"/>
                    <a:pt x="461" y="0"/>
                  </a:cubicBezTo>
                  <a:cubicBezTo>
                    <a:pt x="461" y="211"/>
                    <a:pt x="461" y="211"/>
                    <a:pt x="461" y="211"/>
                  </a:cubicBezTo>
                  <a:cubicBezTo>
                    <a:pt x="526" y="210"/>
                    <a:pt x="589" y="200"/>
                    <a:pt x="646" y="183"/>
                  </a:cubicBezTo>
                  <a:close/>
                  <a:moveTo>
                    <a:pt x="232" y="183"/>
                  </a:moveTo>
                  <a:cubicBezTo>
                    <a:pt x="289" y="200"/>
                    <a:pt x="352" y="210"/>
                    <a:pt x="417" y="211"/>
                  </a:cubicBezTo>
                  <a:cubicBezTo>
                    <a:pt x="417" y="0"/>
                    <a:pt x="417" y="0"/>
                    <a:pt x="417" y="0"/>
                  </a:cubicBezTo>
                  <a:cubicBezTo>
                    <a:pt x="406" y="0"/>
                    <a:pt x="395" y="1"/>
                    <a:pt x="385" y="2"/>
                  </a:cubicBezTo>
                  <a:cubicBezTo>
                    <a:pt x="340" y="20"/>
                    <a:pt x="298" y="60"/>
                    <a:pt x="264" y="118"/>
                  </a:cubicBezTo>
                  <a:cubicBezTo>
                    <a:pt x="252" y="138"/>
                    <a:pt x="242" y="160"/>
                    <a:pt x="232" y="183"/>
                  </a:cubicBezTo>
                  <a:close/>
                  <a:moveTo>
                    <a:pt x="187" y="417"/>
                  </a:moveTo>
                  <a:cubicBezTo>
                    <a:pt x="417" y="417"/>
                    <a:pt x="417" y="417"/>
                    <a:pt x="417" y="417"/>
                  </a:cubicBezTo>
                  <a:cubicBezTo>
                    <a:pt x="417" y="255"/>
                    <a:pt x="417" y="255"/>
                    <a:pt x="417" y="255"/>
                  </a:cubicBezTo>
                  <a:cubicBezTo>
                    <a:pt x="347" y="253"/>
                    <a:pt x="279" y="243"/>
                    <a:pt x="218" y="224"/>
                  </a:cubicBezTo>
                  <a:cubicBezTo>
                    <a:pt x="199" y="283"/>
                    <a:pt x="189" y="349"/>
                    <a:pt x="187" y="417"/>
                  </a:cubicBezTo>
                  <a:close/>
                  <a:moveTo>
                    <a:pt x="735" y="461"/>
                  </a:moveTo>
                  <a:cubicBezTo>
                    <a:pt x="733" y="534"/>
                    <a:pt x="722" y="605"/>
                    <a:pt x="702" y="668"/>
                  </a:cubicBezTo>
                  <a:cubicBezTo>
                    <a:pt x="730" y="679"/>
                    <a:pt x="757" y="691"/>
                    <a:pt x="782" y="706"/>
                  </a:cubicBezTo>
                  <a:cubicBezTo>
                    <a:pt x="784" y="707"/>
                    <a:pt x="785" y="708"/>
                    <a:pt x="786" y="709"/>
                  </a:cubicBezTo>
                  <a:cubicBezTo>
                    <a:pt x="840" y="640"/>
                    <a:pt x="874" y="554"/>
                    <a:pt x="878" y="461"/>
                  </a:cubicBezTo>
                  <a:lnTo>
                    <a:pt x="735" y="461"/>
                  </a:lnTo>
                  <a:close/>
                  <a:moveTo>
                    <a:pt x="735" y="417"/>
                  </a:moveTo>
                  <a:cubicBezTo>
                    <a:pt x="878" y="417"/>
                    <a:pt x="878" y="417"/>
                    <a:pt x="878" y="417"/>
                  </a:cubicBezTo>
                  <a:cubicBezTo>
                    <a:pt x="874" y="324"/>
                    <a:pt x="840" y="238"/>
                    <a:pt x="787" y="169"/>
                  </a:cubicBezTo>
                  <a:cubicBezTo>
                    <a:pt x="786" y="170"/>
                    <a:pt x="785" y="171"/>
                    <a:pt x="784" y="171"/>
                  </a:cubicBezTo>
                  <a:cubicBezTo>
                    <a:pt x="759" y="186"/>
                    <a:pt x="731" y="199"/>
                    <a:pt x="702" y="210"/>
                  </a:cubicBezTo>
                  <a:cubicBezTo>
                    <a:pt x="722" y="273"/>
                    <a:pt x="733" y="344"/>
                    <a:pt x="735" y="417"/>
                  </a:cubicBezTo>
                  <a:close/>
                  <a:moveTo>
                    <a:pt x="652" y="96"/>
                  </a:moveTo>
                  <a:cubicBezTo>
                    <a:pt x="665" y="119"/>
                    <a:pt x="677" y="143"/>
                    <a:pt x="687" y="169"/>
                  </a:cubicBezTo>
                  <a:cubicBezTo>
                    <a:pt x="712" y="159"/>
                    <a:pt x="736" y="148"/>
                    <a:pt x="757" y="135"/>
                  </a:cubicBezTo>
                  <a:cubicBezTo>
                    <a:pt x="715" y="91"/>
                    <a:pt x="664" y="56"/>
                    <a:pt x="606" y="32"/>
                  </a:cubicBezTo>
                  <a:cubicBezTo>
                    <a:pt x="623" y="50"/>
                    <a:pt x="638" y="72"/>
                    <a:pt x="652" y="96"/>
                  </a:cubicBezTo>
                  <a:close/>
                  <a:moveTo>
                    <a:pt x="143" y="461"/>
                  </a:moveTo>
                  <a:cubicBezTo>
                    <a:pt x="0" y="461"/>
                    <a:pt x="0" y="461"/>
                    <a:pt x="0" y="461"/>
                  </a:cubicBezTo>
                  <a:cubicBezTo>
                    <a:pt x="4" y="554"/>
                    <a:pt x="38" y="640"/>
                    <a:pt x="91" y="709"/>
                  </a:cubicBezTo>
                  <a:cubicBezTo>
                    <a:pt x="92" y="708"/>
                    <a:pt x="93" y="707"/>
                    <a:pt x="94" y="707"/>
                  </a:cubicBezTo>
                  <a:cubicBezTo>
                    <a:pt x="119" y="692"/>
                    <a:pt x="147" y="679"/>
                    <a:pt x="176" y="668"/>
                  </a:cubicBezTo>
                  <a:cubicBezTo>
                    <a:pt x="156" y="605"/>
                    <a:pt x="145" y="534"/>
                    <a:pt x="143" y="461"/>
                  </a:cubicBezTo>
                  <a:close/>
                  <a:moveTo>
                    <a:pt x="226" y="782"/>
                  </a:moveTo>
                  <a:cubicBezTo>
                    <a:pt x="213" y="759"/>
                    <a:pt x="201" y="735"/>
                    <a:pt x="191" y="709"/>
                  </a:cubicBezTo>
                  <a:cubicBezTo>
                    <a:pt x="166" y="719"/>
                    <a:pt x="142" y="730"/>
                    <a:pt x="121" y="743"/>
                  </a:cubicBezTo>
                  <a:cubicBezTo>
                    <a:pt x="163" y="787"/>
                    <a:pt x="214" y="822"/>
                    <a:pt x="272" y="846"/>
                  </a:cubicBezTo>
                  <a:cubicBezTo>
                    <a:pt x="255" y="828"/>
                    <a:pt x="240" y="806"/>
                    <a:pt x="226" y="782"/>
                  </a:cubicBezTo>
                  <a:close/>
                  <a:moveTo>
                    <a:pt x="218" y="654"/>
                  </a:moveTo>
                  <a:cubicBezTo>
                    <a:pt x="279" y="635"/>
                    <a:pt x="347" y="625"/>
                    <a:pt x="417" y="623"/>
                  </a:cubicBezTo>
                  <a:cubicBezTo>
                    <a:pt x="417" y="461"/>
                    <a:pt x="417" y="461"/>
                    <a:pt x="417" y="461"/>
                  </a:cubicBezTo>
                  <a:cubicBezTo>
                    <a:pt x="187" y="461"/>
                    <a:pt x="187" y="461"/>
                    <a:pt x="187" y="461"/>
                  </a:cubicBezTo>
                  <a:cubicBezTo>
                    <a:pt x="189" y="529"/>
                    <a:pt x="199" y="595"/>
                    <a:pt x="218" y="654"/>
                  </a:cubicBezTo>
                  <a:close/>
                  <a:moveTo>
                    <a:pt x="687" y="709"/>
                  </a:moveTo>
                  <a:cubicBezTo>
                    <a:pt x="677" y="735"/>
                    <a:pt x="665" y="759"/>
                    <a:pt x="652" y="782"/>
                  </a:cubicBezTo>
                  <a:cubicBezTo>
                    <a:pt x="638" y="806"/>
                    <a:pt x="623" y="828"/>
                    <a:pt x="606" y="846"/>
                  </a:cubicBezTo>
                  <a:cubicBezTo>
                    <a:pt x="664" y="822"/>
                    <a:pt x="715" y="787"/>
                    <a:pt x="758" y="743"/>
                  </a:cubicBezTo>
                  <a:cubicBezTo>
                    <a:pt x="736" y="730"/>
                    <a:pt x="712" y="719"/>
                    <a:pt x="687" y="709"/>
                  </a:cubicBezTo>
                  <a:close/>
                  <a:moveTo>
                    <a:pt x="94" y="171"/>
                  </a:moveTo>
                  <a:cubicBezTo>
                    <a:pt x="93" y="171"/>
                    <a:pt x="92" y="170"/>
                    <a:pt x="91" y="169"/>
                  </a:cubicBezTo>
                  <a:cubicBezTo>
                    <a:pt x="38" y="238"/>
                    <a:pt x="4" y="324"/>
                    <a:pt x="0" y="417"/>
                  </a:cubicBezTo>
                  <a:cubicBezTo>
                    <a:pt x="143" y="417"/>
                    <a:pt x="143" y="417"/>
                    <a:pt x="143" y="417"/>
                  </a:cubicBezTo>
                  <a:cubicBezTo>
                    <a:pt x="145" y="344"/>
                    <a:pt x="156" y="273"/>
                    <a:pt x="176" y="210"/>
                  </a:cubicBezTo>
                  <a:cubicBezTo>
                    <a:pt x="147" y="199"/>
                    <a:pt x="119" y="186"/>
                    <a:pt x="94" y="171"/>
                  </a:cubicBezTo>
                  <a:close/>
                  <a:moveTo>
                    <a:pt x="191" y="169"/>
                  </a:moveTo>
                  <a:cubicBezTo>
                    <a:pt x="201" y="143"/>
                    <a:pt x="213" y="119"/>
                    <a:pt x="226" y="96"/>
                  </a:cubicBezTo>
                  <a:cubicBezTo>
                    <a:pt x="240" y="72"/>
                    <a:pt x="255" y="50"/>
                    <a:pt x="272" y="32"/>
                  </a:cubicBezTo>
                  <a:cubicBezTo>
                    <a:pt x="214" y="56"/>
                    <a:pt x="163" y="91"/>
                    <a:pt x="121" y="135"/>
                  </a:cubicBezTo>
                  <a:cubicBezTo>
                    <a:pt x="142" y="148"/>
                    <a:pt x="166" y="159"/>
                    <a:pt x="191" y="169"/>
                  </a:cubicBezTo>
                  <a:close/>
                  <a:moveTo>
                    <a:pt x="691" y="461"/>
                  </a:moveTo>
                  <a:cubicBezTo>
                    <a:pt x="461" y="461"/>
                    <a:pt x="461" y="461"/>
                    <a:pt x="461" y="461"/>
                  </a:cubicBezTo>
                  <a:cubicBezTo>
                    <a:pt x="461" y="623"/>
                    <a:pt x="461" y="623"/>
                    <a:pt x="461" y="623"/>
                  </a:cubicBezTo>
                  <a:cubicBezTo>
                    <a:pt x="531" y="625"/>
                    <a:pt x="599" y="635"/>
                    <a:pt x="660" y="654"/>
                  </a:cubicBezTo>
                  <a:cubicBezTo>
                    <a:pt x="679" y="595"/>
                    <a:pt x="689" y="529"/>
                    <a:pt x="691" y="461"/>
                  </a:cubicBezTo>
                  <a:close/>
                  <a:moveTo>
                    <a:pt x="660" y="224"/>
                  </a:moveTo>
                  <a:cubicBezTo>
                    <a:pt x="599" y="243"/>
                    <a:pt x="531" y="253"/>
                    <a:pt x="461" y="255"/>
                  </a:cubicBezTo>
                  <a:cubicBezTo>
                    <a:pt x="461" y="417"/>
                    <a:pt x="461" y="417"/>
                    <a:pt x="461" y="417"/>
                  </a:cubicBezTo>
                  <a:cubicBezTo>
                    <a:pt x="691" y="417"/>
                    <a:pt x="691" y="417"/>
                    <a:pt x="691" y="417"/>
                  </a:cubicBezTo>
                  <a:cubicBezTo>
                    <a:pt x="689" y="349"/>
                    <a:pt x="679" y="283"/>
                    <a:pt x="660" y="22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a:extLst>
              <a:ext uri="{FF2B5EF4-FFF2-40B4-BE49-F238E27FC236}">
                <a16:creationId xmlns:a16="http://schemas.microsoft.com/office/drawing/2014/main" id="{FACF3EC0-0B44-403D-9E2D-01372143AB17}"/>
              </a:ext>
            </a:extLst>
          </p:cNvPr>
          <p:cNvGrpSpPr/>
          <p:nvPr/>
        </p:nvGrpSpPr>
        <p:grpSpPr>
          <a:xfrm>
            <a:off x="8747193" y="4220817"/>
            <a:ext cx="677062" cy="713479"/>
            <a:chOff x="5055975" y="-1885068"/>
            <a:chExt cx="1644650" cy="1644650"/>
          </a:xfrm>
        </p:grpSpPr>
        <p:sp>
          <p:nvSpPr>
            <p:cNvPr id="264" name="AutoShape 3">
              <a:extLst>
                <a:ext uri="{FF2B5EF4-FFF2-40B4-BE49-F238E27FC236}">
                  <a16:creationId xmlns:a16="http://schemas.microsoft.com/office/drawing/2014/main" id="{21FA9D1D-E8D6-4D62-80CD-3B74AA145C58}"/>
                </a:ext>
              </a:extLst>
            </p:cNvPr>
            <p:cNvSpPr>
              <a:spLocks noChangeAspect="1" noChangeArrowheads="1" noTextEdit="1"/>
            </p:cNvSpPr>
            <p:nvPr/>
          </p:nvSpPr>
          <p:spPr bwMode="auto">
            <a:xfrm>
              <a:off x="5055975" y="-188506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7">
              <a:extLst>
                <a:ext uri="{FF2B5EF4-FFF2-40B4-BE49-F238E27FC236}">
                  <a16:creationId xmlns:a16="http://schemas.microsoft.com/office/drawing/2014/main" id="{42AE931E-66D7-496E-8A0D-E4A4A90C271C}"/>
                </a:ext>
              </a:extLst>
            </p:cNvPr>
            <p:cNvSpPr>
              <a:spLocks/>
            </p:cNvSpPr>
            <p:nvPr/>
          </p:nvSpPr>
          <p:spPr bwMode="auto">
            <a:xfrm>
              <a:off x="5314738" y="-1651706"/>
              <a:ext cx="1161676" cy="1238251"/>
            </a:xfrm>
            <a:custGeom>
              <a:avLst/>
              <a:gdLst>
                <a:gd name="connsiteX0" fmla="*/ 1057885 w 1161676"/>
                <a:gd name="connsiteY0" fmla="*/ 423863 h 1238251"/>
                <a:gd name="connsiteX1" fmla="*/ 1065015 w 1161676"/>
                <a:gd name="connsiteY1" fmla="*/ 469543 h 1238251"/>
                <a:gd name="connsiteX2" fmla="*/ 1066441 w 1161676"/>
                <a:gd name="connsiteY2" fmla="*/ 513082 h 1238251"/>
                <a:gd name="connsiteX3" fmla="*/ 1072145 w 1161676"/>
                <a:gd name="connsiteY3" fmla="*/ 583743 h 1238251"/>
                <a:gd name="connsiteX4" fmla="*/ 1120629 w 1161676"/>
                <a:gd name="connsiteY4" fmla="*/ 660828 h 1238251"/>
                <a:gd name="connsiteX5" fmla="*/ 1159844 w 1161676"/>
                <a:gd name="connsiteY5" fmla="*/ 743623 h 1238251"/>
                <a:gd name="connsiteX6" fmla="*/ 1057172 w 1161676"/>
                <a:gd name="connsiteY6" fmla="*/ 787875 h 1238251"/>
                <a:gd name="connsiteX7" fmla="*/ 1060024 w 1161676"/>
                <a:gd name="connsiteY7" fmla="*/ 872811 h 1238251"/>
                <a:gd name="connsiteX8" fmla="*/ 1038634 w 1161676"/>
                <a:gd name="connsiteY8" fmla="*/ 1006996 h 1238251"/>
                <a:gd name="connsiteX9" fmla="*/ 908868 w 1161676"/>
                <a:gd name="connsiteY9" fmla="*/ 1029836 h 1238251"/>
                <a:gd name="connsiteX10" fmla="*/ 824734 w 1161676"/>
                <a:gd name="connsiteY10" fmla="*/ 1026268 h 1238251"/>
                <a:gd name="connsiteX11" fmla="*/ 824734 w 1161676"/>
                <a:gd name="connsiteY11" fmla="*/ 1221835 h 1238251"/>
                <a:gd name="connsiteX12" fmla="*/ 809761 w 1161676"/>
                <a:gd name="connsiteY12" fmla="*/ 1237537 h 1238251"/>
                <a:gd name="connsiteX13" fmla="*/ 785519 w 1161676"/>
                <a:gd name="connsiteY13" fmla="*/ 1238251 h 1238251"/>
                <a:gd name="connsiteX14" fmla="*/ 516717 w 1161676"/>
                <a:gd name="connsiteY14" fmla="*/ 1172586 h 1238251"/>
                <a:gd name="connsiteX15" fmla="*/ 509587 w 1161676"/>
                <a:gd name="connsiteY15" fmla="*/ 1159025 h 1238251"/>
                <a:gd name="connsiteX16" fmla="*/ 509587 w 1161676"/>
                <a:gd name="connsiteY16" fmla="*/ 1077658 h 1238251"/>
                <a:gd name="connsiteX17" fmla="*/ 540959 w 1161676"/>
                <a:gd name="connsiteY17" fmla="*/ 1091219 h 1238251"/>
                <a:gd name="connsiteX18" fmla="*/ 540959 w 1161676"/>
                <a:gd name="connsiteY18" fmla="*/ 1149746 h 1238251"/>
                <a:gd name="connsiteX19" fmla="*/ 793362 w 1161676"/>
                <a:gd name="connsiteY19" fmla="*/ 1206846 h 1238251"/>
                <a:gd name="connsiteX20" fmla="*/ 793362 w 1161676"/>
                <a:gd name="connsiteY20" fmla="*/ 1008424 h 1238251"/>
                <a:gd name="connsiteX21" fmla="*/ 800492 w 1161676"/>
                <a:gd name="connsiteY21" fmla="*/ 995576 h 1238251"/>
                <a:gd name="connsiteX22" fmla="*/ 813326 w 1161676"/>
                <a:gd name="connsiteY22" fmla="*/ 993435 h 1238251"/>
                <a:gd name="connsiteX23" fmla="*/ 913146 w 1161676"/>
                <a:gd name="connsiteY23" fmla="*/ 998431 h 1238251"/>
                <a:gd name="connsiteX24" fmla="*/ 916711 w 1161676"/>
                <a:gd name="connsiteY24" fmla="*/ 998431 h 1238251"/>
                <a:gd name="connsiteX25" fmla="*/ 1015818 w 1161676"/>
                <a:gd name="connsiteY25" fmla="*/ 985584 h 1238251"/>
                <a:gd name="connsiteX26" fmla="*/ 1029365 w 1161676"/>
                <a:gd name="connsiteY26" fmla="*/ 872811 h 1238251"/>
                <a:gd name="connsiteX27" fmla="*/ 1025800 w 1161676"/>
                <a:gd name="connsiteY27" fmla="*/ 772173 h 1238251"/>
                <a:gd name="connsiteX28" fmla="*/ 1030078 w 1161676"/>
                <a:gd name="connsiteY28" fmla="*/ 759325 h 1238251"/>
                <a:gd name="connsiteX29" fmla="*/ 1042912 w 1161676"/>
                <a:gd name="connsiteY29" fmla="*/ 755043 h 1238251"/>
                <a:gd name="connsiteX30" fmla="*/ 1130611 w 1161676"/>
                <a:gd name="connsiteY30" fmla="*/ 732203 h 1238251"/>
                <a:gd name="connsiteX31" fmla="*/ 1098526 w 1161676"/>
                <a:gd name="connsiteY31" fmla="*/ 683668 h 1238251"/>
                <a:gd name="connsiteX32" fmla="*/ 1042912 w 1161676"/>
                <a:gd name="connsiteY32" fmla="*/ 595163 h 1238251"/>
                <a:gd name="connsiteX33" fmla="*/ 1035782 w 1161676"/>
                <a:gd name="connsiteY33" fmla="*/ 513796 h 1238251"/>
                <a:gd name="connsiteX34" fmla="*/ 1034356 w 1161676"/>
                <a:gd name="connsiteY34" fmla="*/ 472398 h 1238251"/>
                <a:gd name="connsiteX35" fmla="*/ 1032930 w 1161676"/>
                <a:gd name="connsiteY35" fmla="*/ 460264 h 1238251"/>
                <a:gd name="connsiteX36" fmla="*/ 1057885 w 1161676"/>
                <a:gd name="connsiteY36" fmla="*/ 423863 h 1238251"/>
                <a:gd name="connsiteX37" fmla="*/ 236180 w 1161676"/>
                <a:gd name="connsiteY37" fmla="*/ 147638 h 1238251"/>
                <a:gd name="connsiteX38" fmla="*/ 344804 w 1161676"/>
                <a:gd name="connsiteY38" fmla="*/ 234544 h 1238251"/>
                <a:gd name="connsiteX39" fmla="*/ 347662 w 1161676"/>
                <a:gd name="connsiteY39" fmla="*/ 258763 h 1238251"/>
                <a:gd name="connsiteX40" fmla="*/ 346233 w 1161676"/>
                <a:gd name="connsiteY40" fmla="*/ 277284 h 1238251"/>
                <a:gd name="connsiteX41" fmla="*/ 282631 w 1161676"/>
                <a:gd name="connsiteY41" fmla="*/ 359915 h 1238251"/>
                <a:gd name="connsiteX42" fmla="*/ 241897 w 1161676"/>
                <a:gd name="connsiteY42" fmla="*/ 369888 h 1238251"/>
                <a:gd name="connsiteX43" fmla="*/ 236180 w 1161676"/>
                <a:gd name="connsiteY43" fmla="*/ 369888 h 1238251"/>
                <a:gd name="connsiteX44" fmla="*/ 125412 w 1161676"/>
                <a:gd name="connsiteY44" fmla="*/ 258763 h 1238251"/>
                <a:gd name="connsiteX45" fmla="*/ 236180 w 1161676"/>
                <a:gd name="connsiteY45" fmla="*/ 147638 h 1238251"/>
                <a:gd name="connsiteX46" fmla="*/ 766185 w 1161676"/>
                <a:gd name="connsiteY46" fmla="*/ 142875 h 1238251"/>
                <a:gd name="connsiteX47" fmla="*/ 1063072 w 1161676"/>
                <a:gd name="connsiteY47" fmla="*/ 297020 h 1238251"/>
                <a:gd name="connsiteX48" fmla="*/ 1063786 w 1161676"/>
                <a:gd name="connsiteY48" fmla="*/ 304157 h 1238251"/>
                <a:gd name="connsiteX49" fmla="*/ 1048799 w 1161676"/>
                <a:gd name="connsiteY49" fmla="*/ 376948 h 1238251"/>
                <a:gd name="connsiteX50" fmla="*/ 1033812 w 1161676"/>
                <a:gd name="connsiteY50" fmla="*/ 404066 h 1238251"/>
                <a:gd name="connsiteX51" fmla="*/ 1025248 w 1161676"/>
                <a:gd name="connsiteY51" fmla="*/ 416911 h 1238251"/>
                <a:gd name="connsiteX52" fmla="*/ 796873 w 1161676"/>
                <a:gd name="connsiteY52" fmla="*/ 638852 h 1238251"/>
                <a:gd name="connsiteX53" fmla="*/ 793305 w 1161676"/>
                <a:gd name="connsiteY53" fmla="*/ 639566 h 1238251"/>
                <a:gd name="connsiteX54" fmla="*/ 789023 w 1161676"/>
                <a:gd name="connsiteY54" fmla="*/ 628148 h 1238251"/>
                <a:gd name="connsiteX55" fmla="*/ 832557 w 1161676"/>
                <a:gd name="connsiteY55" fmla="*/ 572484 h 1238251"/>
                <a:gd name="connsiteX56" fmla="*/ 522110 w 1161676"/>
                <a:gd name="connsiteY56" fmla="*/ 710929 h 1238251"/>
                <a:gd name="connsiteX57" fmla="*/ 560648 w 1161676"/>
                <a:gd name="connsiteY57" fmla="*/ 1061325 h 1238251"/>
                <a:gd name="connsiteX58" fmla="*/ 557793 w 1161676"/>
                <a:gd name="connsiteY58" fmla="*/ 1062038 h 1238251"/>
                <a:gd name="connsiteX59" fmla="*/ 540665 w 1161676"/>
                <a:gd name="connsiteY59" fmla="*/ 1057756 h 1238251"/>
                <a:gd name="connsiteX60" fmla="*/ 509264 w 1161676"/>
                <a:gd name="connsiteY60" fmla="*/ 1041343 h 1238251"/>
                <a:gd name="connsiteX61" fmla="*/ 224509 w 1161676"/>
                <a:gd name="connsiteY61" fmla="*/ 505402 h 1238251"/>
                <a:gd name="connsiteX62" fmla="*/ 235928 w 1161676"/>
                <a:gd name="connsiteY62" fmla="*/ 492557 h 1238251"/>
                <a:gd name="connsiteX63" fmla="*/ 266616 w 1161676"/>
                <a:gd name="connsiteY63" fmla="*/ 528239 h 1238251"/>
                <a:gd name="connsiteX64" fmla="*/ 294449 w 1161676"/>
                <a:gd name="connsiteY64" fmla="*/ 521816 h 1238251"/>
                <a:gd name="connsiteX65" fmla="*/ 327278 w 1161676"/>
                <a:gd name="connsiteY65" fmla="*/ 511825 h 1238251"/>
                <a:gd name="connsiteX66" fmla="*/ 359393 w 1161676"/>
                <a:gd name="connsiteY66" fmla="*/ 497552 h 1238251"/>
                <a:gd name="connsiteX67" fmla="*/ 385085 w 1161676"/>
                <a:gd name="connsiteY67" fmla="*/ 484707 h 1238251"/>
                <a:gd name="connsiteX68" fmla="*/ 385799 w 1161676"/>
                <a:gd name="connsiteY68" fmla="*/ 437607 h 1238251"/>
                <a:gd name="connsiteX69" fmla="*/ 432187 w 1161676"/>
                <a:gd name="connsiteY69" fmla="*/ 445457 h 1238251"/>
                <a:gd name="connsiteX70" fmla="*/ 449315 w 1161676"/>
                <a:gd name="connsiteY70" fmla="*/ 422620 h 1238251"/>
                <a:gd name="connsiteX71" fmla="*/ 468585 w 1161676"/>
                <a:gd name="connsiteY71" fmla="*/ 394075 h 1238251"/>
                <a:gd name="connsiteX72" fmla="*/ 484285 w 1161676"/>
                <a:gd name="connsiteY72" fmla="*/ 363389 h 1238251"/>
                <a:gd name="connsiteX73" fmla="*/ 495704 w 1161676"/>
                <a:gd name="connsiteY73" fmla="*/ 336984 h 1238251"/>
                <a:gd name="connsiteX74" fmla="*/ 467871 w 1161676"/>
                <a:gd name="connsiteY74" fmla="*/ 302730 h 1238251"/>
                <a:gd name="connsiteX75" fmla="*/ 468585 w 1161676"/>
                <a:gd name="connsiteY75" fmla="*/ 299161 h 1238251"/>
                <a:gd name="connsiteX76" fmla="*/ 504268 w 1161676"/>
                <a:gd name="connsiteY76" fmla="*/ 277752 h 1238251"/>
                <a:gd name="connsiteX77" fmla="*/ 525678 w 1161676"/>
                <a:gd name="connsiteY77" fmla="*/ 290598 h 1238251"/>
                <a:gd name="connsiteX78" fmla="*/ 540665 w 1161676"/>
                <a:gd name="connsiteY78" fmla="*/ 297734 h 1238251"/>
                <a:gd name="connsiteX79" fmla="*/ 563503 w 1161676"/>
                <a:gd name="connsiteY79" fmla="*/ 284175 h 1238251"/>
                <a:gd name="connsiteX80" fmla="*/ 596332 w 1161676"/>
                <a:gd name="connsiteY80" fmla="*/ 288457 h 1238251"/>
                <a:gd name="connsiteX81" fmla="*/ 617028 w 1161676"/>
                <a:gd name="connsiteY81" fmla="*/ 307011 h 1238251"/>
                <a:gd name="connsiteX82" fmla="*/ 632729 w 1161676"/>
                <a:gd name="connsiteY82" fmla="*/ 302730 h 1238251"/>
                <a:gd name="connsiteX83" fmla="*/ 663417 w 1161676"/>
                <a:gd name="connsiteY83" fmla="*/ 293452 h 1238251"/>
                <a:gd name="connsiteX84" fmla="*/ 664844 w 1161676"/>
                <a:gd name="connsiteY84" fmla="*/ 292739 h 1238251"/>
                <a:gd name="connsiteX85" fmla="*/ 666271 w 1161676"/>
                <a:gd name="connsiteY85" fmla="*/ 292025 h 1238251"/>
                <a:gd name="connsiteX86" fmla="*/ 694104 w 1161676"/>
                <a:gd name="connsiteY86" fmla="*/ 276325 h 1238251"/>
                <a:gd name="connsiteX87" fmla="*/ 708378 w 1161676"/>
                <a:gd name="connsiteY87" fmla="*/ 267048 h 1238251"/>
                <a:gd name="connsiteX88" fmla="*/ 708378 w 1161676"/>
                <a:gd name="connsiteY88" fmla="*/ 239930 h 1238251"/>
                <a:gd name="connsiteX89" fmla="*/ 728361 w 1161676"/>
                <a:gd name="connsiteY89" fmla="*/ 212098 h 1238251"/>
                <a:gd name="connsiteX90" fmla="*/ 752625 w 1161676"/>
                <a:gd name="connsiteY90" fmla="*/ 204961 h 1238251"/>
                <a:gd name="connsiteX91" fmla="*/ 757621 w 1161676"/>
                <a:gd name="connsiteY91" fmla="*/ 189975 h 1238251"/>
                <a:gd name="connsiteX92" fmla="*/ 766185 w 1161676"/>
                <a:gd name="connsiteY92" fmla="*/ 142875 h 1238251"/>
                <a:gd name="connsiteX93" fmla="*/ 597002 w 1161676"/>
                <a:gd name="connsiteY93" fmla="*/ 75928 h 1238251"/>
                <a:gd name="connsiteX94" fmla="*/ 573032 w 1161676"/>
                <a:gd name="connsiteY94" fmla="*/ 80491 h 1238251"/>
                <a:gd name="connsiteX95" fmla="*/ 537290 w 1161676"/>
                <a:gd name="connsiteY95" fmla="*/ 131564 h 1238251"/>
                <a:gd name="connsiteX96" fmla="*/ 542294 w 1161676"/>
                <a:gd name="connsiteY96" fmla="*/ 161057 h 1238251"/>
                <a:gd name="connsiteX97" fmla="*/ 543724 w 1161676"/>
                <a:gd name="connsiteY97" fmla="*/ 163215 h 1238251"/>
                <a:gd name="connsiteX98" fmla="*/ 622356 w 1161676"/>
                <a:gd name="connsiteY98" fmla="*/ 192708 h 1238251"/>
                <a:gd name="connsiteX99" fmla="*/ 657384 w 1161676"/>
                <a:gd name="connsiteY99" fmla="*/ 143793 h 1238251"/>
                <a:gd name="connsiteX100" fmla="*/ 653095 w 1161676"/>
                <a:gd name="connsiteY100" fmla="*/ 112142 h 1238251"/>
                <a:gd name="connsiteX101" fmla="*/ 597002 w 1161676"/>
                <a:gd name="connsiteY101" fmla="*/ 75928 h 1238251"/>
                <a:gd name="connsiteX102" fmla="*/ 236538 w 1161676"/>
                <a:gd name="connsiteY102" fmla="*/ 52388 h 1238251"/>
                <a:gd name="connsiteX103" fmla="*/ 218699 w 1161676"/>
                <a:gd name="connsiteY103" fmla="*/ 53102 h 1238251"/>
                <a:gd name="connsiteX104" fmla="*/ 202288 w 1161676"/>
                <a:gd name="connsiteY104" fmla="*/ 96671 h 1238251"/>
                <a:gd name="connsiteX105" fmla="*/ 195152 w 1161676"/>
                <a:gd name="connsiteY105" fmla="*/ 98813 h 1238251"/>
                <a:gd name="connsiteX106" fmla="*/ 165897 w 1161676"/>
                <a:gd name="connsiteY106" fmla="*/ 108813 h 1238251"/>
                <a:gd name="connsiteX107" fmla="*/ 158761 w 1161676"/>
                <a:gd name="connsiteY107" fmla="*/ 111670 h 1238251"/>
                <a:gd name="connsiteX108" fmla="*/ 119516 w 1161676"/>
                <a:gd name="connsiteY108" fmla="*/ 89528 h 1238251"/>
                <a:gd name="connsiteX109" fmla="*/ 105245 w 1161676"/>
                <a:gd name="connsiteY109" fmla="*/ 100956 h 1238251"/>
                <a:gd name="connsiteX110" fmla="*/ 91688 w 1161676"/>
                <a:gd name="connsiteY110" fmla="*/ 113098 h 1238251"/>
                <a:gd name="connsiteX111" fmla="*/ 105245 w 1161676"/>
                <a:gd name="connsiteY111" fmla="*/ 152381 h 1238251"/>
                <a:gd name="connsiteX112" fmla="*/ 100251 w 1161676"/>
                <a:gd name="connsiteY112" fmla="*/ 158809 h 1238251"/>
                <a:gd name="connsiteX113" fmla="*/ 80271 w 1161676"/>
                <a:gd name="connsiteY113" fmla="*/ 191664 h 1238251"/>
                <a:gd name="connsiteX114" fmla="*/ 76704 w 1161676"/>
                <a:gd name="connsiteY114" fmla="*/ 198806 h 1238251"/>
                <a:gd name="connsiteX115" fmla="*/ 38172 w 1161676"/>
                <a:gd name="connsiteY115" fmla="*/ 205949 h 1238251"/>
                <a:gd name="connsiteX116" fmla="*/ 34604 w 1161676"/>
                <a:gd name="connsiteY116" fmla="*/ 223805 h 1238251"/>
                <a:gd name="connsiteX117" fmla="*/ 31750 w 1161676"/>
                <a:gd name="connsiteY117" fmla="*/ 241661 h 1238251"/>
                <a:gd name="connsiteX118" fmla="*/ 64573 w 1161676"/>
                <a:gd name="connsiteY118" fmla="*/ 260231 h 1238251"/>
                <a:gd name="connsiteX119" fmla="*/ 64573 w 1161676"/>
                <a:gd name="connsiteY119" fmla="*/ 268801 h 1238251"/>
                <a:gd name="connsiteX120" fmla="*/ 71709 w 1161676"/>
                <a:gd name="connsiteY120" fmla="*/ 308799 h 1238251"/>
                <a:gd name="connsiteX121" fmla="*/ 74563 w 1161676"/>
                <a:gd name="connsiteY121" fmla="*/ 316655 h 1238251"/>
                <a:gd name="connsiteX122" fmla="*/ 50302 w 1161676"/>
                <a:gd name="connsiteY122" fmla="*/ 346653 h 1238251"/>
                <a:gd name="connsiteX123" fmla="*/ 58865 w 1161676"/>
                <a:gd name="connsiteY123" fmla="*/ 362366 h 1238251"/>
                <a:gd name="connsiteX124" fmla="*/ 68141 w 1161676"/>
                <a:gd name="connsiteY124" fmla="*/ 377365 h 1238251"/>
                <a:gd name="connsiteX125" fmla="*/ 108100 w 1161676"/>
                <a:gd name="connsiteY125" fmla="*/ 370937 h 1238251"/>
                <a:gd name="connsiteX126" fmla="*/ 113808 w 1161676"/>
                <a:gd name="connsiteY126" fmla="*/ 376651 h 1238251"/>
                <a:gd name="connsiteX127" fmla="*/ 142350 w 1161676"/>
                <a:gd name="connsiteY127" fmla="*/ 398792 h 1238251"/>
                <a:gd name="connsiteX128" fmla="*/ 149485 w 1161676"/>
                <a:gd name="connsiteY128" fmla="*/ 403792 h 1238251"/>
                <a:gd name="connsiteX129" fmla="*/ 150199 w 1161676"/>
                <a:gd name="connsiteY129" fmla="*/ 445932 h 1238251"/>
                <a:gd name="connsiteX130" fmla="*/ 166610 w 1161676"/>
                <a:gd name="connsiteY130" fmla="*/ 453074 h 1238251"/>
                <a:gd name="connsiteX131" fmla="*/ 183735 w 1161676"/>
                <a:gd name="connsiteY131" fmla="*/ 458788 h 1238251"/>
                <a:gd name="connsiteX132" fmla="*/ 212277 w 1161676"/>
                <a:gd name="connsiteY132" fmla="*/ 424505 h 1238251"/>
                <a:gd name="connsiteX133" fmla="*/ 218699 w 1161676"/>
                <a:gd name="connsiteY133" fmla="*/ 425219 h 1238251"/>
                <a:gd name="connsiteX134" fmla="*/ 220126 w 1161676"/>
                <a:gd name="connsiteY134" fmla="*/ 425219 h 1238251"/>
                <a:gd name="connsiteX135" fmla="*/ 252236 w 1161676"/>
                <a:gd name="connsiteY135" fmla="*/ 425219 h 1238251"/>
                <a:gd name="connsiteX136" fmla="*/ 252949 w 1161676"/>
                <a:gd name="connsiteY136" fmla="*/ 425219 h 1238251"/>
                <a:gd name="connsiteX137" fmla="*/ 260798 w 1161676"/>
                <a:gd name="connsiteY137" fmla="*/ 424505 h 1238251"/>
                <a:gd name="connsiteX138" fmla="*/ 289340 w 1161676"/>
                <a:gd name="connsiteY138" fmla="*/ 458788 h 1238251"/>
                <a:gd name="connsiteX139" fmla="*/ 306465 w 1161676"/>
                <a:gd name="connsiteY139" fmla="*/ 453074 h 1238251"/>
                <a:gd name="connsiteX140" fmla="*/ 323590 w 1161676"/>
                <a:gd name="connsiteY140" fmla="*/ 445932 h 1238251"/>
                <a:gd name="connsiteX141" fmla="*/ 323590 w 1161676"/>
                <a:gd name="connsiteY141" fmla="*/ 403792 h 1238251"/>
                <a:gd name="connsiteX142" fmla="*/ 331439 w 1161676"/>
                <a:gd name="connsiteY142" fmla="*/ 399507 h 1238251"/>
                <a:gd name="connsiteX143" fmla="*/ 359981 w 1161676"/>
                <a:gd name="connsiteY143" fmla="*/ 376651 h 1238251"/>
                <a:gd name="connsiteX144" fmla="*/ 365689 w 1161676"/>
                <a:gd name="connsiteY144" fmla="*/ 370937 h 1238251"/>
                <a:gd name="connsiteX145" fmla="*/ 404934 w 1161676"/>
                <a:gd name="connsiteY145" fmla="*/ 378080 h 1238251"/>
                <a:gd name="connsiteX146" fmla="*/ 414924 w 1161676"/>
                <a:gd name="connsiteY146" fmla="*/ 362366 h 1238251"/>
                <a:gd name="connsiteX147" fmla="*/ 422773 w 1161676"/>
                <a:gd name="connsiteY147" fmla="*/ 346653 h 1238251"/>
                <a:gd name="connsiteX148" fmla="*/ 399226 w 1161676"/>
                <a:gd name="connsiteY148" fmla="*/ 317370 h 1238251"/>
                <a:gd name="connsiteX149" fmla="*/ 402080 w 1161676"/>
                <a:gd name="connsiteY149" fmla="*/ 309513 h 1238251"/>
                <a:gd name="connsiteX150" fmla="*/ 409216 w 1161676"/>
                <a:gd name="connsiteY150" fmla="*/ 268801 h 1238251"/>
                <a:gd name="connsiteX151" fmla="*/ 409929 w 1161676"/>
                <a:gd name="connsiteY151" fmla="*/ 260231 h 1238251"/>
                <a:gd name="connsiteX152" fmla="*/ 441325 w 1161676"/>
                <a:gd name="connsiteY152" fmla="*/ 241661 h 1238251"/>
                <a:gd name="connsiteX153" fmla="*/ 439185 w 1161676"/>
                <a:gd name="connsiteY153" fmla="*/ 223805 h 1238251"/>
                <a:gd name="connsiteX154" fmla="*/ 436330 w 1161676"/>
                <a:gd name="connsiteY154" fmla="*/ 208806 h 1238251"/>
                <a:gd name="connsiteX155" fmla="*/ 435617 w 1161676"/>
                <a:gd name="connsiteY155" fmla="*/ 205949 h 1238251"/>
                <a:gd name="connsiteX156" fmla="*/ 397085 w 1161676"/>
                <a:gd name="connsiteY156" fmla="*/ 198806 h 1238251"/>
                <a:gd name="connsiteX157" fmla="*/ 396372 w 1161676"/>
                <a:gd name="connsiteY157" fmla="*/ 196664 h 1238251"/>
                <a:gd name="connsiteX158" fmla="*/ 394231 w 1161676"/>
                <a:gd name="connsiteY158" fmla="*/ 191664 h 1238251"/>
                <a:gd name="connsiteX159" fmla="*/ 374252 w 1161676"/>
                <a:gd name="connsiteY159" fmla="*/ 158809 h 1238251"/>
                <a:gd name="connsiteX160" fmla="*/ 368544 w 1161676"/>
                <a:gd name="connsiteY160" fmla="*/ 152381 h 1238251"/>
                <a:gd name="connsiteX161" fmla="*/ 382101 w 1161676"/>
                <a:gd name="connsiteY161" fmla="*/ 113098 h 1238251"/>
                <a:gd name="connsiteX162" fmla="*/ 368544 w 1161676"/>
                <a:gd name="connsiteY162" fmla="*/ 100956 h 1238251"/>
                <a:gd name="connsiteX163" fmla="*/ 354986 w 1161676"/>
                <a:gd name="connsiteY163" fmla="*/ 89528 h 1238251"/>
                <a:gd name="connsiteX164" fmla="*/ 315741 w 1161676"/>
                <a:gd name="connsiteY164" fmla="*/ 111670 h 1238251"/>
                <a:gd name="connsiteX165" fmla="*/ 308606 w 1161676"/>
                <a:gd name="connsiteY165" fmla="*/ 108813 h 1238251"/>
                <a:gd name="connsiteX166" fmla="*/ 279350 w 1161676"/>
                <a:gd name="connsiteY166" fmla="*/ 98813 h 1238251"/>
                <a:gd name="connsiteX167" fmla="*/ 270788 w 1161676"/>
                <a:gd name="connsiteY167" fmla="*/ 96671 h 1238251"/>
                <a:gd name="connsiteX168" fmla="*/ 254376 w 1161676"/>
                <a:gd name="connsiteY168" fmla="*/ 53102 h 1238251"/>
                <a:gd name="connsiteX169" fmla="*/ 236538 w 1161676"/>
                <a:gd name="connsiteY169" fmla="*/ 52388 h 1238251"/>
                <a:gd name="connsiteX170" fmla="*/ 236975 w 1161676"/>
                <a:gd name="connsiteY170" fmla="*/ 22226 h 1238251"/>
                <a:gd name="connsiteX171" fmla="*/ 268381 w 1161676"/>
                <a:gd name="connsiteY171" fmla="*/ 24363 h 1238251"/>
                <a:gd name="connsiteX172" fmla="*/ 277660 w 1161676"/>
                <a:gd name="connsiteY172" fmla="*/ 25075 h 1238251"/>
                <a:gd name="connsiteX173" fmla="*/ 294791 w 1161676"/>
                <a:gd name="connsiteY173" fmla="*/ 71369 h 1238251"/>
                <a:gd name="connsiteX174" fmla="*/ 314063 w 1161676"/>
                <a:gd name="connsiteY174" fmla="*/ 77779 h 1238251"/>
                <a:gd name="connsiteX175" fmla="*/ 356890 w 1161676"/>
                <a:gd name="connsiteY175" fmla="*/ 54276 h 1238251"/>
                <a:gd name="connsiteX176" fmla="*/ 364741 w 1161676"/>
                <a:gd name="connsiteY176" fmla="*/ 59261 h 1238251"/>
                <a:gd name="connsiteX177" fmla="*/ 389724 w 1161676"/>
                <a:gd name="connsiteY177" fmla="*/ 77779 h 1238251"/>
                <a:gd name="connsiteX178" fmla="*/ 412564 w 1161676"/>
                <a:gd name="connsiteY178" fmla="*/ 99146 h 1238251"/>
                <a:gd name="connsiteX179" fmla="*/ 418988 w 1161676"/>
                <a:gd name="connsiteY179" fmla="*/ 106268 h 1238251"/>
                <a:gd name="connsiteX180" fmla="*/ 403999 w 1161676"/>
                <a:gd name="connsiteY180" fmla="*/ 147576 h 1238251"/>
                <a:gd name="connsiteX181" fmla="*/ 418988 w 1161676"/>
                <a:gd name="connsiteY181" fmla="*/ 171792 h 1238251"/>
                <a:gd name="connsiteX182" fmla="*/ 433978 w 1161676"/>
                <a:gd name="connsiteY182" fmla="*/ 174641 h 1238251"/>
                <a:gd name="connsiteX183" fmla="*/ 461101 w 1161676"/>
                <a:gd name="connsiteY183" fmla="*/ 179626 h 1238251"/>
                <a:gd name="connsiteX184" fmla="*/ 463243 w 1161676"/>
                <a:gd name="connsiteY184" fmla="*/ 188885 h 1238251"/>
                <a:gd name="connsiteX185" fmla="*/ 464670 w 1161676"/>
                <a:gd name="connsiteY185" fmla="*/ 193871 h 1238251"/>
                <a:gd name="connsiteX186" fmla="*/ 470381 w 1161676"/>
                <a:gd name="connsiteY186" fmla="*/ 218798 h 1238251"/>
                <a:gd name="connsiteX187" fmla="*/ 474663 w 1161676"/>
                <a:gd name="connsiteY187" fmla="*/ 250136 h 1238251"/>
                <a:gd name="connsiteX188" fmla="*/ 474663 w 1161676"/>
                <a:gd name="connsiteY188" fmla="*/ 259395 h 1238251"/>
                <a:gd name="connsiteX189" fmla="*/ 440402 w 1161676"/>
                <a:gd name="connsiteY189" fmla="*/ 279337 h 1238251"/>
                <a:gd name="connsiteX190" fmla="*/ 434692 w 1161676"/>
                <a:gd name="connsiteY190" fmla="*/ 310674 h 1238251"/>
                <a:gd name="connsiteX191" fmla="*/ 460388 w 1161676"/>
                <a:gd name="connsiteY191" fmla="*/ 342012 h 1238251"/>
                <a:gd name="connsiteX192" fmla="*/ 456105 w 1161676"/>
                <a:gd name="connsiteY192" fmla="*/ 350558 h 1238251"/>
                <a:gd name="connsiteX193" fmla="*/ 442543 w 1161676"/>
                <a:gd name="connsiteY193" fmla="*/ 378335 h 1238251"/>
                <a:gd name="connsiteX194" fmla="*/ 425412 w 1161676"/>
                <a:gd name="connsiteY194" fmla="*/ 404687 h 1238251"/>
                <a:gd name="connsiteX195" fmla="*/ 419702 w 1161676"/>
                <a:gd name="connsiteY195" fmla="*/ 411809 h 1238251"/>
                <a:gd name="connsiteX196" fmla="*/ 376162 w 1161676"/>
                <a:gd name="connsiteY196" fmla="*/ 404687 h 1238251"/>
                <a:gd name="connsiteX197" fmla="*/ 355462 w 1161676"/>
                <a:gd name="connsiteY197" fmla="*/ 421068 h 1238251"/>
                <a:gd name="connsiteX198" fmla="*/ 354748 w 1161676"/>
                <a:gd name="connsiteY198" fmla="*/ 465938 h 1238251"/>
                <a:gd name="connsiteX199" fmla="*/ 346897 w 1161676"/>
                <a:gd name="connsiteY199" fmla="*/ 470211 h 1238251"/>
                <a:gd name="connsiteX200" fmla="*/ 317632 w 1161676"/>
                <a:gd name="connsiteY200" fmla="*/ 482319 h 1238251"/>
                <a:gd name="connsiteX201" fmla="*/ 288367 w 1161676"/>
                <a:gd name="connsiteY201" fmla="*/ 491577 h 1238251"/>
                <a:gd name="connsiteX202" fmla="*/ 279088 w 1161676"/>
                <a:gd name="connsiteY202" fmla="*/ 493714 h 1238251"/>
                <a:gd name="connsiteX203" fmla="*/ 247682 w 1161676"/>
                <a:gd name="connsiteY203" fmla="*/ 457391 h 1238251"/>
                <a:gd name="connsiteX204" fmla="*/ 239830 w 1161676"/>
                <a:gd name="connsiteY204" fmla="*/ 457391 h 1238251"/>
                <a:gd name="connsiteX205" fmla="*/ 225554 w 1161676"/>
                <a:gd name="connsiteY205" fmla="*/ 457391 h 1238251"/>
                <a:gd name="connsiteX206" fmla="*/ 195576 w 1161676"/>
                <a:gd name="connsiteY206" fmla="*/ 493714 h 1238251"/>
                <a:gd name="connsiteX207" fmla="*/ 186297 w 1161676"/>
                <a:gd name="connsiteY207" fmla="*/ 491577 h 1238251"/>
                <a:gd name="connsiteX208" fmla="*/ 156318 w 1161676"/>
                <a:gd name="connsiteY208" fmla="*/ 482319 h 1238251"/>
                <a:gd name="connsiteX209" fmla="*/ 127767 w 1161676"/>
                <a:gd name="connsiteY209" fmla="*/ 470211 h 1238251"/>
                <a:gd name="connsiteX210" fmla="*/ 119201 w 1161676"/>
                <a:gd name="connsiteY210" fmla="*/ 465938 h 1238251"/>
                <a:gd name="connsiteX211" fmla="*/ 118488 w 1161676"/>
                <a:gd name="connsiteY211" fmla="*/ 421068 h 1238251"/>
                <a:gd name="connsiteX212" fmla="*/ 98502 w 1161676"/>
                <a:gd name="connsiteY212" fmla="*/ 404687 h 1238251"/>
                <a:gd name="connsiteX213" fmla="*/ 54961 w 1161676"/>
                <a:gd name="connsiteY213" fmla="*/ 411809 h 1238251"/>
                <a:gd name="connsiteX214" fmla="*/ 49251 w 1161676"/>
                <a:gd name="connsiteY214" fmla="*/ 403975 h 1238251"/>
                <a:gd name="connsiteX215" fmla="*/ 32120 w 1161676"/>
                <a:gd name="connsiteY215" fmla="*/ 378335 h 1238251"/>
                <a:gd name="connsiteX216" fmla="*/ 17845 w 1161676"/>
                <a:gd name="connsiteY216" fmla="*/ 350558 h 1238251"/>
                <a:gd name="connsiteX217" fmla="*/ 14276 w 1161676"/>
                <a:gd name="connsiteY217" fmla="*/ 342012 h 1238251"/>
                <a:gd name="connsiteX218" fmla="*/ 39972 w 1161676"/>
                <a:gd name="connsiteY218" fmla="*/ 310674 h 1238251"/>
                <a:gd name="connsiteX219" fmla="*/ 34262 w 1161676"/>
                <a:gd name="connsiteY219" fmla="*/ 279337 h 1238251"/>
                <a:gd name="connsiteX220" fmla="*/ 0 w 1161676"/>
                <a:gd name="connsiteY220" fmla="*/ 259395 h 1238251"/>
                <a:gd name="connsiteX221" fmla="*/ 0 w 1161676"/>
                <a:gd name="connsiteY221" fmla="*/ 249424 h 1238251"/>
                <a:gd name="connsiteX222" fmla="*/ 4283 w 1161676"/>
                <a:gd name="connsiteY222" fmla="*/ 218798 h 1238251"/>
                <a:gd name="connsiteX223" fmla="*/ 11421 w 1161676"/>
                <a:gd name="connsiteY223" fmla="*/ 188173 h 1238251"/>
                <a:gd name="connsiteX224" fmla="*/ 13562 w 1161676"/>
                <a:gd name="connsiteY224" fmla="*/ 179626 h 1238251"/>
                <a:gd name="connsiteX225" fmla="*/ 55675 w 1161676"/>
                <a:gd name="connsiteY225" fmla="*/ 171792 h 1238251"/>
                <a:gd name="connsiteX226" fmla="*/ 70664 w 1161676"/>
                <a:gd name="connsiteY226" fmla="*/ 147576 h 1238251"/>
                <a:gd name="connsiteX227" fmla="*/ 55675 w 1161676"/>
                <a:gd name="connsiteY227" fmla="*/ 106268 h 1238251"/>
                <a:gd name="connsiteX228" fmla="*/ 62813 w 1161676"/>
                <a:gd name="connsiteY228" fmla="*/ 99146 h 1238251"/>
                <a:gd name="connsiteX229" fmla="*/ 84940 w 1161676"/>
                <a:gd name="connsiteY229" fmla="*/ 77779 h 1238251"/>
                <a:gd name="connsiteX230" fmla="*/ 109922 w 1161676"/>
                <a:gd name="connsiteY230" fmla="*/ 59261 h 1238251"/>
                <a:gd name="connsiteX231" fmla="*/ 117774 w 1161676"/>
                <a:gd name="connsiteY231" fmla="*/ 54276 h 1238251"/>
                <a:gd name="connsiteX232" fmla="*/ 160601 w 1161676"/>
                <a:gd name="connsiteY232" fmla="*/ 77779 h 1238251"/>
                <a:gd name="connsiteX233" fmla="*/ 179873 w 1161676"/>
                <a:gd name="connsiteY233" fmla="*/ 71369 h 1238251"/>
                <a:gd name="connsiteX234" fmla="*/ 197003 w 1161676"/>
                <a:gd name="connsiteY234" fmla="*/ 25075 h 1238251"/>
                <a:gd name="connsiteX235" fmla="*/ 206282 w 1161676"/>
                <a:gd name="connsiteY235" fmla="*/ 24363 h 1238251"/>
                <a:gd name="connsiteX236" fmla="*/ 236975 w 1161676"/>
                <a:gd name="connsiteY236" fmla="*/ 22226 h 1238251"/>
                <a:gd name="connsiteX237" fmla="*/ 571201 w 1161676"/>
                <a:gd name="connsiteY237" fmla="*/ 0 h 1238251"/>
                <a:gd name="connsiteX238" fmla="*/ 589818 w 1161676"/>
                <a:gd name="connsiteY238" fmla="*/ 15767 h 1238251"/>
                <a:gd name="connsiteX239" fmla="*/ 633494 w 1161676"/>
                <a:gd name="connsiteY239" fmla="*/ 21500 h 1238251"/>
                <a:gd name="connsiteX240" fmla="*/ 654259 w 1161676"/>
                <a:gd name="connsiteY240" fmla="*/ 10033 h 1238251"/>
                <a:gd name="connsiteX241" fmla="*/ 700800 w 1161676"/>
                <a:gd name="connsiteY241" fmla="*/ 44433 h 1238251"/>
                <a:gd name="connsiteX242" fmla="*/ 696504 w 1161676"/>
                <a:gd name="connsiteY242" fmla="*/ 66650 h 1238251"/>
                <a:gd name="connsiteX243" fmla="*/ 708676 w 1161676"/>
                <a:gd name="connsiteY243" fmla="*/ 88150 h 1238251"/>
                <a:gd name="connsiteX244" fmla="*/ 715836 w 1161676"/>
                <a:gd name="connsiteY244" fmla="*/ 109650 h 1238251"/>
                <a:gd name="connsiteX245" fmla="*/ 717268 w 1161676"/>
                <a:gd name="connsiteY245" fmla="*/ 111083 h 1238251"/>
                <a:gd name="connsiteX246" fmla="*/ 735168 w 1161676"/>
                <a:gd name="connsiteY246" fmla="*/ 121833 h 1238251"/>
                <a:gd name="connsiteX247" fmla="*/ 735884 w 1161676"/>
                <a:gd name="connsiteY247" fmla="*/ 143333 h 1238251"/>
                <a:gd name="connsiteX248" fmla="*/ 729440 w 1161676"/>
                <a:gd name="connsiteY248" fmla="*/ 179167 h 1238251"/>
                <a:gd name="connsiteX249" fmla="*/ 707960 w 1161676"/>
                <a:gd name="connsiteY249" fmla="*/ 186333 h 1238251"/>
                <a:gd name="connsiteX250" fmla="*/ 677887 w 1161676"/>
                <a:gd name="connsiteY250" fmla="*/ 227183 h 1238251"/>
                <a:gd name="connsiteX251" fmla="*/ 677887 w 1161676"/>
                <a:gd name="connsiteY251" fmla="*/ 250117 h 1238251"/>
                <a:gd name="connsiteX252" fmla="*/ 652827 w 1161676"/>
                <a:gd name="connsiteY252" fmla="*/ 264450 h 1238251"/>
                <a:gd name="connsiteX253" fmla="*/ 626334 w 1161676"/>
                <a:gd name="connsiteY253" fmla="*/ 273050 h 1238251"/>
                <a:gd name="connsiteX254" fmla="*/ 609150 w 1161676"/>
                <a:gd name="connsiteY254" fmla="*/ 257283 h 1238251"/>
                <a:gd name="connsiteX255" fmla="*/ 559029 w 1161676"/>
                <a:gd name="connsiteY255" fmla="*/ 250833 h 1238251"/>
                <a:gd name="connsiteX256" fmla="*/ 538981 w 1161676"/>
                <a:gd name="connsiteY256" fmla="*/ 262300 h 1238251"/>
                <a:gd name="connsiteX257" fmla="*/ 493156 w 1161676"/>
                <a:gd name="connsiteY257" fmla="*/ 227183 h 1238251"/>
                <a:gd name="connsiteX258" fmla="*/ 498884 w 1161676"/>
                <a:gd name="connsiteY258" fmla="*/ 204967 h 1238251"/>
                <a:gd name="connsiteX259" fmla="*/ 488144 w 1161676"/>
                <a:gd name="connsiteY259" fmla="*/ 184183 h 1238251"/>
                <a:gd name="connsiteX260" fmla="*/ 487428 w 1161676"/>
                <a:gd name="connsiteY260" fmla="*/ 182750 h 1238251"/>
                <a:gd name="connsiteX261" fmla="*/ 480268 w 1161676"/>
                <a:gd name="connsiteY261" fmla="*/ 160533 h 1238251"/>
                <a:gd name="connsiteX262" fmla="*/ 470959 w 1161676"/>
                <a:gd name="connsiteY262" fmla="*/ 154800 h 1238251"/>
                <a:gd name="connsiteX263" fmla="*/ 460219 w 1161676"/>
                <a:gd name="connsiteY263" fmla="*/ 149067 h 1238251"/>
                <a:gd name="connsiteX264" fmla="*/ 468095 w 1161676"/>
                <a:gd name="connsiteY264" fmla="*/ 89583 h 1238251"/>
                <a:gd name="connsiteX265" fmla="*/ 490292 w 1161676"/>
                <a:gd name="connsiteY265" fmla="*/ 82417 h 1238251"/>
                <a:gd name="connsiteX266" fmla="*/ 517500 w 1161676"/>
                <a:gd name="connsiteY266" fmla="*/ 47300 h 1238251"/>
                <a:gd name="connsiteX267" fmla="*/ 517500 w 1161676"/>
                <a:gd name="connsiteY267" fmla="*/ 23650 h 1238251"/>
                <a:gd name="connsiteX268" fmla="*/ 543277 w 1161676"/>
                <a:gd name="connsiteY268" fmla="*/ 9317 h 1238251"/>
                <a:gd name="connsiteX269" fmla="*/ 571201 w 1161676"/>
                <a:gd name="connsiteY269" fmla="*/ 0 h 123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161676" h="1238251">
                  <a:moveTo>
                    <a:pt x="1057885" y="423863"/>
                  </a:moveTo>
                  <a:cubicBezTo>
                    <a:pt x="1060737" y="440279"/>
                    <a:pt x="1063589" y="457409"/>
                    <a:pt x="1065015" y="469543"/>
                  </a:cubicBezTo>
                  <a:cubicBezTo>
                    <a:pt x="1065728" y="480963"/>
                    <a:pt x="1066441" y="496666"/>
                    <a:pt x="1066441" y="513082"/>
                  </a:cubicBezTo>
                  <a:cubicBezTo>
                    <a:pt x="1067154" y="538063"/>
                    <a:pt x="1067867" y="573750"/>
                    <a:pt x="1072145" y="583743"/>
                  </a:cubicBezTo>
                  <a:cubicBezTo>
                    <a:pt x="1082127" y="607297"/>
                    <a:pt x="1099952" y="640129"/>
                    <a:pt x="1120629" y="660828"/>
                  </a:cubicBezTo>
                  <a:cubicBezTo>
                    <a:pt x="1145584" y="686523"/>
                    <a:pt x="1168400" y="722924"/>
                    <a:pt x="1159844" y="743623"/>
                  </a:cubicBezTo>
                  <a:cubicBezTo>
                    <a:pt x="1154140" y="757184"/>
                    <a:pt x="1124907" y="789303"/>
                    <a:pt x="1057172" y="787875"/>
                  </a:cubicBezTo>
                  <a:cubicBezTo>
                    <a:pt x="1058598" y="807147"/>
                    <a:pt x="1060024" y="839265"/>
                    <a:pt x="1060024" y="872811"/>
                  </a:cubicBezTo>
                  <a:cubicBezTo>
                    <a:pt x="1060024" y="971309"/>
                    <a:pt x="1047903" y="996290"/>
                    <a:pt x="1038634" y="1006996"/>
                  </a:cubicBezTo>
                  <a:cubicBezTo>
                    <a:pt x="1028652" y="1017703"/>
                    <a:pt x="1004410" y="1031264"/>
                    <a:pt x="908868" y="1029836"/>
                  </a:cubicBezTo>
                  <a:cubicBezTo>
                    <a:pt x="882487" y="1029836"/>
                    <a:pt x="846837" y="1028409"/>
                    <a:pt x="824734" y="1026268"/>
                  </a:cubicBezTo>
                  <a:cubicBezTo>
                    <a:pt x="824734" y="1026268"/>
                    <a:pt x="824734" y="1026268"/>
                    <a:pt x="824734" y="1221835"/>
                  </a:cubicBezTo>
                  <a:cubicBezTo>
                    <a:pt x="824734" y="1230400"/>
                    <a:pt x="818317" y="1236824"/>
                    <a:pt x="809761" y="1237537"/>
                  </a:cubicBezTo>
                  <a:cubicBezTo>
                    <a:pt x="808335" y="1237537"/>
                    <a:pt x="799779" y="1238251"/>
                    <a:pt x="785519" y="1238251"/>
                  </a:cubicBezTo>
                  <a:cubicBezTo>
                    <a:pt x="734896" y="1238251"/>
                    <a:pt x="614398" y="1231114"/>
                    <a:pt x="516717" y="1172586"/>
                  </a:cubicBezTo>
                  <a:cubicBezTo>
                    <a:pt x="512439" y="1169731"/>
                    <a:pt x="509587" y="1164735"/>
                    <a:pt x="509587" y="1159025"/>
                  </a:cubicBezTo>
                  <a:cubicBezTo>
                    <a:pt x="509587" y="1159025"/>
                    <a:pt x="509587" y="1159025"/>
                    <a:pt x="509587" y="1077658"/>
                  </a:cubicBezTo>
                  <a:cubicBezTo>
                    <a:pt x="520282" y="1083368"/>
                    <a:pt x="530977" y="1088364"/>
                    <a:pt x="540959" y="1091219"/>
                  </a:cubicBezTo>
                  <a:cubicBezTo>
                    <a:pt x="540959" y="1091219"/>
                    <a:pt x="540959" y="1091219"/>
                    <a:pt x="540959" y="1149746"/>
                  </a:cubicBezTo>
                  <a:cubicBezTo>
                    <a:pt x="635075" y="1203277"/>
                    <a:pt x="752721" y="1206846"/>
                    <a:pt x="793362" y="1206846"/>
                  </a:cubicBezTo>
                  <a:cubicBezTo>
                    <a:pt x="793362" y="1206846"/>
                    <a:pt x="793362" y="1206846"/>
                    <a:pt x="793362" y="1008424"/>
                  </a:cubicBezTo>
                  <a:cubicBezTo>
                    <a:pt x="793362" y="1003428"/>
                    <a:pt x="796214" y="998431"/>
                    <a:pt x="800492" y="995576"/>
                  </a:cubicBezTo>
                  <a:cubicBezTo>
                    <a:pt x="804057" y="992721"/>
                    <a:pt x="809048" y="992008"/>
                    <a:pt x="813326" y="993435"/>
                  </a:cubicBezTo>
                  <a:cubicBezTo>
                    <a:pt x="819743" y="994149"/>
                    <a:pt x="864662" y="998431"/>
                    <a:pt x="913146" y="998431"/>
                  </a:cubicBezTo>
                  <a:cubicBezTo>
                    <a:pt x="914572" y="998431"/>
                    <a:pt x="915998" y="998431"/>
                    <a:pt x="916711" y="998431"/>
                  </a:cubicBezTo>
                  <a:cubicBezTo>
                    <a:pt x="1000132" y="998431"/>
                    <a:pt x="1014392" y="987011"/>
                    <a:pt x="1015818" y="985584"/>
                  </a:cubicBezTo>
                  <a:cubicBezTo>
                    <a:pt x="1017244" y="984156"/>
                    <a:pt x="1029365" y="968454"/>
                    <a:pt x="1029365" y="872811"/>
                  </a:cubicBezTo>
                  <a:cubicBezTo>
                    <a:pt x="1029365" y="821422"/>
                    <a:pt x="1025800" y="772173"/>
                    <a:pt x="1025800" y="772173"/>
                  </a:cubicBezTo>
                  <a:cubicBezTo>
                    <a:pt x="1025087" y="767177"/>
                    <a:pt x="1027226" y="762894"/>
                    <a:pt x="1030078" y="759325"/>
                  </a:cubicBezTo>
                  <a:cubicBezTo>
                    <a:pt x="1033643" y="756470"/>
                    <a:pt x="1038634" y="754329"/>
                    <a:pt x="1042912" y="755043"/>
                  </a:cubicBezTo>
                  <a:cubicBezTo>
                    <a:pt x="1100665" y="761467"/>
                    <a:pt x="1125620" y="740054"/>
                    <a:pt x="1130611" y="732203"/>
                  </a:cubicBezTo>
                  <a:cubicBezTo>
                    <a:pt x="1129898" y="725779"/>
                    <a:pt x="1120629" y="705080"/>
                    <a:pt x="1098526" y="683668"/>
                  </a:cubicBezTo>
                  <a:cubicBezTo>
                    <a:pt x="1067867" y="652263"/>
                    <a:pt x="1048616" y="608010"/>
                    <a:pt x="1042912" y="595163"/>
                  </a:cubicBezTo>
                  <a:cubicBezTo>
                    <a:pt x="1037921" y="580888"/>
                    <a:pt x="1037208" y="553766"/>
                    <a:pt x="1035782" y="513796"/>
                  </a:cubicBezTo>
                  <a:cubicBezTo>
                    <a:pt x="1035782" y="497379"/>
                    <a:pt x="1035069" y="483104"/>
                    <a:pt x="1034356" y="472398"/>
                  </a:cubicBezTo>
                  <a:cubicBezTo>
                    <a:pt x="1033643" y="468829"/>
                    <a:pt x="1033643" y="465261"/>
                    <a:pt x="1032930" y="460264"/>
                  </a:cubicBezTo>
                  <a:cubicBezTo>
                    <a:pt x="1042912" y="447417"/>
                    <a:pt x="1051468" y="435283"/>
                    <a:pt x="1057885" y="423863"/>
                  </a:cubicBezTo>
                  <a:close/>
                  <a:moveTo>
                    <a:pt x="236180" y="147638"/>
                  </a:moveTo>
                  <a:cubicBezTo>
                    <a:pt x="289777" y="147638"/>
                    <a:pt x="334084" y="184680"/>
                    <a:pt x="344804" y="234544"/>
                  </a:cubicBezTo>
                  <a:cubicBezTo>
                    <a:pt x="346948" y="242379"/>
                    <a:pt x="347662" y="250215"/>
                    <a:pt x="347662" y="258763"/>
                  </a:cubicBezTo>
                  <a:cubicBezTo>
                    <a:pt x="347662" y="265174"/>
                    <a:pt x="346948" y="270873"/>
                    <a:pt x="346233" y="277284"/>
                  </a:cubicBezTo>
                  <a:cubicBezTo>
                    <a:pt x="340516" y="313613"/>
                    <a:pt x="316219" y="344956"/>
                    <a:pt x="282631" y="359915"/>
                  </a:cubicBezTo>
                  <a:cubicBezTo>
                    <a:pt x="270482" y="365614"/>
                    <a:pt x="256904" y="369176"/>
                    <a:pt x="241897" y="369888"/>
                  </a:cubicBezTo>
                  <a:cubicBezTo>
                    <a:pt x="239753" y="369888"/>
                    <a:pt x="238324" y="369888"/>
                    <a:pt x="236180" y="369888"/>
                  </a:cubicBezTo>
                  <a:cubicBezTo>
                    <a:pt x="175436" y="369888"/>
                    <a:pt x="125412" y="320024"/>
                    <a:pt x="125412" y="258763"/>
                  </a:cubicBezTo>
                  <a:cubicBezTo>
                    <a:pt x="125412" y="197502"/>
                    <a:pt x="175436" y="147638"/>
                    <a:pt x="236180" y="147638"/>
                  </a:cubicBezTo>
                  <a:close/>
                  <a:moveTo>
                    <a:pt x="766185" y="142875"/>
                  </a:moveTo>
                  <a:cubicBezTo>
                    <a:pt x="970295" y="152866"/>
                    <a:pt x="1056649" y="244211"/>
                    <a:pt x="1063072" y="297020"/>
                  </a:cubicBezTo>
                  <a:cubicBezTo>
                    <a:pt x="1063072" y="297020"/>
                    <a:pt x="1063072" y="297020"/>
                    <a:pt x="1063786" y="304157"/>
                  </a:cubicBezTo>
                  <a:cubicBezTo>
                    <a:pt x="1065213" y="329134"/>
                    <a:pt x="1060218" y="353398"/>
                    <a:pt x="1048799" y="376948"/>
                  </a:cubicBezTo>
                  <a:cubicBezTo>
                    <a:pt x="1044517" y="386225"/>
                    <a:pt x="1039521" y="394789"/>
                    <a:pt x="1033812" y="404066"/>
                  </a:cubicBezTo>
                  <a:cubicBezTo>
                    <a:pt x="1031671" y="408348"/>
                    <a:pt x="1028816" y="412629"/>
                    <a:pt x="1025248" y="416911"/>
                  </a:cubicBezTo>
                  <a:cubicBezTo>
                    <a:pt x="983141" y="480425"/>
                    <a:pt x="864672" y="590325"/>
                    <a:pt x="796873" y="638852"/>
                  </a:cubicBezTo>
                  <a:cubicBezTo>
                    <a:pt x="795446" y="638852"/>
                    <a:pt x="794018" y="639566"/>
                    <a:pt x="793305" y="639566"/>
                  </a:cubicBezTo>
                  <a:cubicBezTo>
                    <a:pt x="787595" y="639566"/>
                    <a:pt x="784027" y="633143"/>
                    <a:pt x="789023" y="628148"/>
                  </a:cubicBezTo>
                  <a:cubicBezTo>
                    <a:pt x="809719" y="606025"/>
                    <a:pt x="823993" y="587470"/>
                    <a:pt x="832557" y="572484"/>
                  </a:cubicBezTo>
                  <a:cubicBezTo>
                    <a:pt x="685540" y="657407"/>
                    <a:pt x="522110" y="710929"/>
                    <a:pt x="522110" y="710929"/>
                  </a:cubicBezTo>
                  <a:cubicBezTo>
                    <a:pt x="399358" y="870070"/>
                    <a:pt x="601327" y="1037775"/>
                    <a:pt x="560648" y="1061325"/>
                  </a:cubicBezTo>
                  <a:cubicBezTo>
                    <a:pt x="559934" y="1062038"/>
                    <a:pt x="559221" y="1062038"/>
                    <a:pt x="557793" y="1062038"/>
                  </a:cubicBezTo>
                  <a:cubicBezTo>
                    <a:pt x="553511" y="1062038"/>
                    <a:pt x="547802" y="1060611"/>
                    <a:pt x="540665" y="1057756"/>
                  </a:cubicBezTo>
                  <a:cubicBezTo>
                    <a:pt x="532101" y="1053475"/>
                    <a:pt x="521396" y="1048479"/>
                    <a:pt x="509264" y="1041343"/>
                  </a:cubicBezTo>
                  <a:cubicBezTo>
                    <a:pt x="402927" y="975688"/>
                    <a:pt x="180975" y="768020"/>
                    <a:pt x="224509" y="505402"/>
                  </a:cubicBezTo>
                  <a:cubicBezTo>
                    <a:pt x="224509" y="505402"/>
                    <a:pt x="224509" y="505402"/>
                    <a:pt x="235928" y="492557"/>
                  </a:cubicBezTo>
                  <a:cubicBezTo>
                    <a:pt x="235928" y="492557"/>
                    <a:pt x="235928" y="492557"/>
                    <a:pt x="266616" y="528239"/>
                  </a:cubicBezTo>
                  <a:cubicBezTo>
                    <a:pt x="266616" y="528239"/>
                    <a:pt x="266616" y="528239"/>
                    <a:pt x="294449" y="521816"/>
                  </a:cubicBezTo>
                  <a:cubicBezTo>
                    <a:pt x="310150" y="518248"/>
                    <a:pt x="326564" y="511825"/>
                    <a:pt x="327278" y="511825"/>
                  </a:cubicBezTo>
                  <a:cubicBezTo>
                    <a:pt x="328705" y="511111"/>
                    <a:pt x="345120" y="505402"/>
                    <a:pt x="359393" y="497552"/>
                  </a:cubicBezTo>
                  <a:cubicBezTo>
                    <a:pt x="359393" y="497552"/>
                    <a:pt x="359393" y="497552"/>
                    <a:pt x="385085" y="484707"/>
                  </a:cubicBezTo>
                  <a:cubicBezTo>
                    <a:pt x="385085" y="484707"/>
                    <a:pt x="385085" y="484707"/>
                    <a:pt x="385799" y="437607"/>
                  </a:cubicBezTo>
                  <a:cubicBezTo>
                    <a:pt x="385799" y="437607"/>
                    <a:pt x="385799" y="437607"/>
                    <a:pt x="432187" y="445457"/>
                  </a:cubicBezTo>
                  <a:cubicBezTo>
                    <a:pt x="432187" y="445457"/>
                    <a:pt x="432187" y="445457"/>
                    <a:pt x="449315" y="422620"/>
                  </a:cubicBezTo>
                  <a:cubicBezTo>
                    <a:pt x="458593" y="411202"/>
                    <a:pt x="467157" y="396216"/>
                    <a:pt x="468585" y="394075"/>
                  </a:cubicBezTo>
                  <a:cubicBezTo>
                    <a:pt x="469298" y="392648"/>
                    <a:pt x="477862" y="377661"/>
                    <a:pt x="484285" y="363389"/>
                  </a:cubicBezTo>
                  <a:cubicBezTo>
                    <a:pt x="484285" y="363389"/>
                    <a:pt x="484285" y="363389"/>
                    <a:pt x="495704" y="336984"/>
                  </a:cubicBezTo>
                  <a:cubicBezTo>
                    <a:pt x="495704" y="336984"/>
                    <a:pt x="495704" y="336984"/>
                    <a:pt x="467871" y="302730"/>
                  </a:cubicBezTo>
                  <a:cubicBezTo>
                    <a:pt x="467871" y="301302"/>
                    <a:pt x="467871" y="299875"/>
                    <a:pt x="468585" y="299161"/>
                  </a:cubicBezTo>
                  <a:cubicBezTo>
                    <a:pt x="468585" y="299161"/>
                    <a:pt x="468585" y="299161"/>
                    <a:pt x="504268" y="277752"/>
                  </a:cubicBezTo>
                  <a:cubicBezTo>
                    <a:pt x="510691" y="282034"/>
                    <a:pt x="517828" y="286316"/>
                    <a:pt x="525678" y="290598"/>
                  </a:cubicBezTo>
                  <a:cubicBezTo>
                    <a:pt x="525678" y="290598"/>
                    <a:pt x="525678" y="290598"/>
                    <a:pt x="540665" y="297734"/>
                  </a:cubicBezTo>
                  <a:cubicBezTo>
                    <a:pt x="540665" y="297734"/>
                    <a:pt x="540665" y="297734"/>
                    <a:pt x="563503" y="284175"/>
                  </a:cubicBezTo>
                  <a:cubicBezTo>
                    <a:pt x="574208" y="287030"/>
                    <a:pt x="585627" y="288457"/>
                    <a:pt x="596332" y="288457"/>
                  </a:cubicBezTo>
                  <a:cubicBezTo>
                    <a:pt x="596332" y="288457"/>
                    <a:pt x="596332" y="288457"/>
                    <a:pt x="617028" y="307011"/>
                  </a:cubicBezTo>
                  <a:cubicBezTo>
                    <a:pt x="617028" y="307011"/>
                    <a:pt x="617028" y="307011"/>
                    <a:pt x="632729" y="302730"/>
                  </a:cubicBezTo>
                  <a:cubicBezTo>
                    <a:pt x="643434" y="300589"/>
                    <a:pt x="654139" y="297020"/>
                    <a:pt x="663417" y="293452"/>
                  </a:cubicBezTo>
                  <a:cubicBezTo>
                    <a:pt x="663417" y="293452"/>
                    <a:pt x="663417" y="293452"/>
                    <a:pt x="664844" y="292739"/>
                  </a:cubicBezTo>
                  <a:cubicBezTo>
                    <a:pt x="664844" y="292739"/>
                    <a:pt x="664844" y="292739"/>
                    <a:pt x="666271" y="292025"/>
                  </a:cubicBezTo>
                  <a:cubicBezTo>
                    <a:pt x="675549" y="287743"/>
                    <a:pt x="684827" y="282748"/>
                    <a:pt x="694104" y="276325"/>
                  </a:cubicBezTo>
                  <a:cubicBezTo>
                    <a:pt x="694104" y="276325"/>
                    <a:pt x="694104" y="276325"/>
                    <a:pt x="708378" y="267048"/>
                  </a:cubicBezTo>
                  <a:cubicBezTo>
                    <a:pt x="708378" y="267048"/>
                    <a:pt x="708378" y="267048"/>
                    <a:pt x="708378" y="239930"/>
                  </a:cubicBezTo>
                  <a:cubicBezTo>
                    <a:pt x="716228" y="231366"/>
                    <a:pt x="722651" y="222089"/>
                    <a:pt x="728361" y="212098"/>
                  </a:cubicBezTo>
                  <a:cubicBezTo>
                    <a:pt x="728361" y="212098"/>
                    <a:pt x="728361" y="212098"/>
                    <a:pt x="752625" y="204961"/>
                  </a:cubicBezTo>
                  <a:cubicBezTo>
                    <a:pt x="752625" y="204961"/>
                    <a:pt x="752625" y="204961"/>
                    <a:pt x="757621" y="189975"/>
                  </a:cubicBezTo>
                  <a:cubicBezTo>
                    <a:pt x="762617" y="174989"/>
                    <a:pt x="765472" y="159289"/>
                    <a:pt x="766185" y="142875"/>
                  </a:cubicBezTo>
                  <a:close/>
                  <a:moveTo>
                    <a:pt x="597002" y="75928"/>
                  </a:moveTo>
                  <a:cubicBezTo>
                    <a:pt x="589027" y="75950"/>
                    <a:pt x="580896" y="77434"/>
                    <a:pt x="573032" y="80491"/>
                  </a:cubicBezTo>
                  <a:cubicBezTo>
                    <a:pt x="552302" y="89842"/>
                    <a:pt x="539435" y="109984"/>
                    <a:pt x="537290" y="131564"/>
                  </a:cubicBezTo>
                  <a:cubicBezTo>
                    <a:pt x="536575" y="141635"/>
                    <a:pt x="538005" y="150986"/>
                    <a:pt x="542294" y="161057"/>
                  </a:cubicBezTo>
                  <a:cubicBezTo>
                    <a:pt x="543009" y="161776"/>
                    <a:pt x="543009" y="162495"/>
                    <a:pt x="543724" y="163215"/>
                  </a:cubicBezTo>
                  <a:cubicBezTo>
                    <a:pt x="557306" y="192708"/>
                    <a:pt x="592333" y="206375"/>
                    <a:pt x="622356" y="192708"/>
                  </a:cubicBezTo>
                  <a:cubicBezTo>
                    <a:pt x="642372" y="184076"/>
                    <a:pt x="655239" y="164653"/>
                    <a:pt x="657384" y="143793"/>
                  </a:cubicBezTo>
                  <a:cubicBezTo>
                    <a:pt x="658813" y="133722"/>
                    <a:pt x="657384" y="122932"/>
                    <a:pt x="653095" y="112142"/>
                  </a:cubicBezTo>
                  <a:cubicBezTo>
                    <a:pt x="643444" y="88943"/>
                    <a:pt x="620927" y="75860"/>
                    <a:pt x="597002" y="75928"/>
                  </a:cubicBezTo>
                  <a:close/>
                  <a:moveTo>
                    <a:pt x="236538" y="52388"/>
                  </a:moveTo>
                  <a:cubicBezTo>
                    <a:pt x="236538" y="52388"/>
                    <a:pt x="227975" y="52388"/>
                    <a:pt x="218699" y="53102"/>
                  </a:cubicBezTo>
                  <a:cubicBezTo>
                    <a:pt x="218699" y="53102"/>
                    <a:pt x="218699" y="53102"/>
                    <a:pt x="202288" y="96671"/>
                  </a:cubicBezTo>
                  <a:cubicBezTo>
                    <a:pt x="202288" y="96671"/>
                    <a:pt x="202288" y="96671"/>
                    <a:pt x="195152" y="98813"/>
                  </a:cubicBezTo>
                  <a:cubicBezTo>
                    <a:pt x="185162" y="100956"/>
                    <a:pt x="175173" y="104527"/>
                    <a:pt x="165897" y="108813"/>
                  </a:cubicBezTo>
                  <a:cubicBezTo>
                    <a:pt x="165897" y="108813"/>
                    <a:pt x="165897" y="108813"/>
                    <a:pt x="158761" y="111670"/>
                  </a:cubicBezTo>
                  <a:cubicBezTo>
                    <a:pt x="158761" y="111670"/>
                    <a:pt x="158761" y="111670"/>
                    <a:pt x="119516" y="89528"/>
                  </a:cubicBezTo>
                  <a:cubicBezTo>
                    <a:pt x="111667" y="95242"/>
                    <a:pt x="105245" y="100956"/>
                    <a:pt x="105245" y="100956"/>
                  </a:cubicBezTo>
                  <a:cubicBezTo>
                    <a:pt x="105245" y="100956"/>
                    <a:pt x="98110" y="106670"/>
                    <a:pt x="91688" y="113098"/>
                  </a:cubicBezTo>
                  <a:cubicBezTo>
                    <a:pt x="91688" y="113098"/>
                    <a:pt x="91688" y="113098"/>
                    <a:pt x="105245" y="152381"/>
                  </a:cubicBezTo>
                  <a:cubicBezTo>
                    <a:pt x="105245" y="152381"/>
                    <a:pt x="105245" y="152381"/>
                    <a:pt x="100251" y="158809"/>
                  </a:cubicBezTo>
                  <a:cubicBezTo>
                    <a:pt x="92402" y="169523"/>
                    <a:pt x="85266" y="180236"/>
                    <a:pt x="80271" y="191664"/>
                  </a:cubicBezTo>
                  <a:cubicBezTo>
                    <a:pt x="80271" y="191664"/>
                    <a:pt x="80271" y="191664"/>
                    <a:pt x="76704" y="198806"/>
                  </a:cubicBezTo>
                  <a:cubicBezTo>
                    <a:pt x="76704" y="198806"/>
                    <a:pt x="76704" y="198806"/>
                    <a:pt x="38172" y="205949"/>
                  </a:cubicBezTo>
                  <a:cubicBezTo>
                    <a:pt x="36032" y="215234"/>
                    <a:pt x="34604" y="223090"/>
                    <a:pt x="34604" y="223805"/>
                  </a:cubicBezTo>
                  <a:cubicBezTo>
                    <a:pt x="34604" y="223805"/>
                    <a:pt x="33177" y="231661"/>
                    <a:pt x="31750" y="241661"/>
                  </a:cubicBezTo>
                  <a:cubicBezTo>
                    <a:pt x="31750" y="241661"/>
                    <a:pt x="31750" y="241661"/>
                    <a:pt x="64573" y="260231"/>
                  </a:cubicBezTo>
                  <a:cubicBezTo>
                    <a:pt x="64573" y="260231"/>
                    <a:pt x="64573" y="260231"/>
                    <a:pt x="64573" y="268801"/>
                  </a:cubicBezTo>
                  <a:cubicBezTo>
                    <a:pt x="65287" y="282372"/>
                    <a:pt x="68141" y="295942"/>
                    <a:pt x="71709" y="308799"/>
                  </a:cubicBezTo>
                  <a:cubicBezTo>
                    <a:pt x="71709" y="308799"/>
                    <a:pt x="71709" y="308799"/>
                    <a:pt x="74563" y="316655"/>
                  </a:cubicBezTo>
                  <a:cubicBezTo>
                    <a:pt x="74563" y="316655"/>
                    <a:pt x="74563" y="316655"/>
                    <a:pt x="50302" y="346653"/>
                  </a:cubicBezTo>
                  <a:cubicBezTo>
                    <a:pt x="54584" y="354510"/>
                    <a:pt x="58865" y="362366"/>
                    <a:pt x="58865" y="362366"/>
                  </a:cubicBezTo>
                  <a:cubicBezTo>
                    <a:pt x="58865" y="362366"/>
                    <a:pt x="63146" y="369509"/>
                    <a:pt x="68141" y="377365"/>
                  </a:cubicBezTo>
                  <a:cubicBezTo>
                    <a:pt x="68141" y="377365"/>
                    <a:pt x="68141" y="377365"/>
                    <a:pt x="108100" y="370937"/>
                  </a:cubicBezTo>
                  <a:cubicBezTo>
                    <a:pt x="108100" y="370937"/>
                    <a:pt x="108100" y="370937"/>
                    <a:pt x="113808" y="376651"/>
                  </a:cubicBezTo>
                  <a:cubicBezTo>
                    <a:pt x="122370" y="385222"/>
                    <a:pt x="132360" y="392364"/>
                    <a:pt x="142350" y="398792"/>
                  </a:cubicBezTo>
                  <a:cubicBezTo>
                    <a:pt x="142350" y="398792"/>
                    <a:pt x="142350" y="398792"/>
                    <a:pt x="149485" y="403792"/>
                  </a:cubicBezTo>
                  <a:cubicBezTo>
                    <a:pt x="149485" y="403792"/>
                    <a:pt x="149485" y="403792"/>
                    <a:pt x="150199" y="445932"/>
                  </a:cubicBezTo>
                  <a:cubicBezTo>
                    <a:pt x="158761" y="450217"/>
                    <a:pt x="166610" y="453074"/>
                    <a:pt x="166610" y="453074"/>
                  </a:cubicBezTo>
                  <a:cubicBezTo>
                    <a:pt x="166610" y="453074"/>
                    <a:pt x="174459" y="455931"/>
                    <a:pt x="183735" y="458788"/>
                  </a:cubicBezTo>
                  <a:cubicBezTo>
                    <a:pt x="183735" y="458788"/>
                    <a:pt x="183735" y="458788"/>
                    <a:pt x="212277" y="424505"/>
                  </a:cubicBezTo>
                  <a:cubicBezTo>
                    <a:pt x="212277" y="424505"/>
                    <a:pt x="212277" y="424505"/>
                    <a:pt x="218699" y="425219"/>
                  </a:cubicBezTo>
                  <a:cubicBezTo>
                    <a:pt x="218699" y="425219"/>
                    <a:pt x="218699" y="425219"/>
                    <a:pt x="220126" y="425219"/>
                  </a:cubicBezTo>
                  <a:cubicBezTo>
                    <a:pt x="230829" y="426648"/>
                    <a:pt x="241533" y="426648"/>
                    <a:pt x="252236" y="425219"/>
                  </a:cubicBezTo>
                  <a:cubicBezTo>
                    <a:pt x="252236" y="425219"/>
                    <a:pt x="252236" y="425219"/>
                    <a:pt x="252949" y="425219"/>
                  </a:cubicBezTo>
                  <a:cubicBezTo>
                    <a:pt x="252949" y="425219"/>
                    <a:pt x="252949" y="425219"/>
                    <a:pt x="260798" y="424505"/>
                  </a:cubicBezTo>
                  <a:cubicBezTo>
                    <a:pt x="260798" y="424505"/>
                    <a:pt x="260798" y="424505"/>
                    <a:pt x="289340" y="458788"/>
                  </a:cubicBezTo>
                  <a:cubicBezTo>
                    <a:pt x="298616" y="455931"/>
                    <a:pt x="306465" y="453074"/>
                    <a:pt x="306465" y="453074"/>
                  </a:cubicBezTo>
                  <a:cubicBezTo>
                    <a:pt x="307179" y="453074"/>
                    <a:pt x="315028" y="450217"/>
                    <a:pt x="323590" y="445932"/>
                  </a:cubicBezTo>
                  <a:cubicBezTo>
                    <a:pt x="323590" y="445932"/>
                    <a:pt x="323590" y="445932"/>
                    <a:pt x="323590" y="403792"/>
                  </a:cubicBezTo>
                  <a:cubicBezTo>
                    <a:pt x="323590" y="403792"/>
                    <a:pt x="323590" y="403792"/>
                    <a:pt x="331439" y="399507"/>
                  </a:cubicBezTo>
                  <a:cubicBezTo>
                    <a:pt x="341429" y="392364"/>
                    <a:pt x="350705" y="385222"/>
                    <a:pt x="359981" y="376651"/>
                  </a:cubicBezTo>
                  <a:cubicBezTo>
                    <a:pt x="359981" y="376651"/>
                    <a:pt x="359981" y="376651"/>
                    <a:pt x="365689" y="370937"/>
                  </a:cubicBezTo>
                  <a:cubicBezTo>
                    <a:pt x="365689" y="370937"/>
                    <a:pt x="365689" y="370937"/>
                    <a:pt x="404934" y="378080"/>
                  </a:cubicBezTo>
                  <a:cubicBezTo>
                    <a:pt x="410643" y="370223"/>
                    <a:pt x="414924" y="362366"/>
                    <a:pt x="414924" y="362366"/>
                  </a:cubicBezTo>
                  <a:cubicBezTo>
                    <a:pt x="414924" y="362366"/>
                    <a:pt x="419205" y="355224"/>
                    <a:pt x="422773" y="346653"/>
                  </a:cubicBezTo>
                  <a:cubicBezTo>
                    <a:pt x="422773" y="346653"/>
                    <a:pt x="422773" y="346653"/>
                    <a:pt x="399226" y="317370"/>
                  </a:cubicBezTo>
                  <a:cubicBezTo>
                    <a:pt x="399226" y="317370"/>
                    <a:pt x="399226" y="317370"/>
                    <a:pt x="402080" y="309513"/>
                  </a:cubicBezTo>
                  <a:cubicBezTo>
                    <a:pt x="405648" y="295942"/>
                    <a:pt x="408502" y="282372"/>
                    <a:pt x="409216" y="268801"/>
                  </a:cubicBezTo>
                  <a:cubicBezTo>
                    <a:pt x="409216" y="268801"/>
                    <a:pt x="409216" y="268801"/>
                    <a:pt x="409929" y="260231"/>
                  </a:cubicBezTo>
                  <a:cubicBezTo>
                    <a:pt x="409929" y="260231"/>
                    <a:pt x="409929" y="260231"/>
                    <a:pt x="441325" y="241661"/>
                  </a:cubicBezTo>
                  <a:cubicBezTo>
                    <a:pt x="440612" y="232375"/>
                    <a:pt x="439185" y="223805"/>
                    <a:pt x="439185" y="223805"/>
                  </a:cubicBezTo>
                  <a:cubicBezTo>
                    <a:pt x="439185" y="223805"/>
                    <a:pt x="437758" y="216662"/>
                    <a:pt x="436330" y="208806"/>
                  </a:cubicBezTo>
                  <a:cubicBezTo>
                    <a:pt x="435617" y="208091"/>
                    <a:pt x="435617" y="206663"/>
                    <a:pt x="435617" y="205949"/>
                  </a:cubicBezTo>
                  <a:cubicBezTo>
                    <a:pt x="435617" y="205949"/>
                    <a:pt x="435617" y="205949"/>
                    <a:pt x="397085" y="198806"/>
                  </a:cubicBezTo>
                  <a:cubicBezTo>
                    <a:pt x="397085" y="198806"/>
                    <a:pt x="397085" y="198806"/>
                    <a:pt x="396372" y="196664"/>
                  </a:cubicBezTo>
                  <a:cubicBezTo>
                    <a:pt x="396372" y="196664"/>
                    <a:pt x="396372" y="196664"/>
                    <a:pt x="394231" y="191664"/>
                  </a:cubicBezTo>
                  <a:cubicBezTo>
                    <a:pt x="388523" y="180236"/>
                    <a:pt x="382101" y="169523"/>
                    <a:pt x="374252" y="158809"/>
                  </a:cubicBezTo>
                  <a:cubicBezTo>
                    <a:pt x="374252" y="158809"/>
                    <a:pt x="374252" y="158809"/>
                    <a:pt x="368544" y="152381"/>
                  </a:cubicBezTo>
                  <a:cubicBezTo>
                    <a:pt x="368544" y="152381"/>
                    <a:pt x="368544" y="152381"/>
                    <a:pt x="382101" y="113098"/>
                  </a:cubicBezTo>
                  <a:cubicBezTo>
                    <a:pt x="375679" y="106670"/>
                    <a:pt x="369257" y="100956"/>
                    <a:pt x="368544" y="100956"/>
                  </a:cubicBezTo>
                  <a:cubicBezTo>
                    <a:pt x="368544" y="100956"/>
                    <a:pt x="362122" y="95242"/>
                    <a:pt x="354986" y="89528"/>
                  </a:cubicBezTo>
                  <a:cubicBezTo>
                    <a:pt x="354986" y="89528"/>
                    <a:pt x="354986" y="89528"/>
                    <a:pt x="315741" y="111670"/>
                  </a:cubicBezTo>
                  <a:cubicBezTo>
                    <a:pt x="315741" y="111670"/>
                    <a:pt x="315741" y="111670"/>
                    <a:pt x="308606" y="108813"/>
                  </a:cubicBezTo>
                  <a:cubicBezTo>
                    <a:pt x="298616" y="104527"/>
                    <a:pt x="289340" y="100956"/>
                    <a:pt x="279350" y="98813"/>
                  </a:cubicBezTo>
                  <a:cubicBezTo>
                    <a:pt x="279350" y="98813"/>
                    <a:pt x="279350" y="98813"/>
                    <a:pt x="270788" y="96671"/>
                  </a:cubicBezTo>
                  <a:cubicBezTo>
                    <a:pt x="270788" y="96671"/>
                    <a:pt x="270788" y="96671"/>
                    <a:pt x="254376" y="53102"/>
                  </a:cubicBezTo>
                  <a:cubicBezTo>
                    <a:pt x="245100" y="52388"/>
                    <a:pt x="236538" y="52388"/>
                    <a:pt x="236538" y="52388"/>
                  </a:cubicBezTo>
                  <a:close/>
                  <a:moveTo>
                    <a:pt x="236975" y="22226"/>
                  </a:moveTo>
                  <a:cubicBezTo>
                    <a:pt x="237689" y="22226"/>
                    <a:pt x="254106" y="22226"/>
                    <a:pt x="268381" y="24363"/>
                  </a:cubicBezTo>
                  <a:cubicBezTo>
                    <a:pt x="268381" y="24363"/>
                    <a:pt x="268381" y="24363"/>
                    <a:pt x="277660" y="25075"/>
                  </a:cubicBezTo>
                  <a:cubicBezTo>
                    <a:pt x="277660" y="25075"/>
                    <a:pt x="277660" y="25075"/>
                    <a:pt x="294791" y="71369"/>
                  </a:cubicBezTo>
                  <a:cubicBezTo>
                    <a:pt x="301215" y="73506"/>
                    <a:pt x="307639" y="75642"/>
                    <a:pt x="314063" y="77779"/>
                  </a:cubicBezTo>
                  <a:cubicBezTo>
                    <a:pt x="314063" y="77779"/>
                    <a:pt x="314063" y="77779"/>
                    <a:pt x="356890" y="54276"/>
                  </a:cubicBezTo>
                  <a:cubicBezTo>
                    <a:pt x="356890" y="54276"/>
                    <a:pt x="356890" y="54276"/>
                    <a:pt x="364741" y="59261"/>
                  </a:cubicBezTo>
                  <a:cubicBezTo>
                    <a:pt x="376162" y="67096"/>
                    <a:pt x="389010" y="77779"/>
                    <a:pt x="389724" y="77779"/>
                  </a:cubicBezTo>
                  <a:cubicBezTo>
                    <a:pt x="389724" y="78491"/>
                    <a:pt x="402572" y="89175"/>
                    <a:pt x="412564" y="99146"/>
                  </a:cubicBezTo>
                  <a:cubicBezTo>
                    <a:pt x="412564" y="99146"/>
                    <a:pt x="412564" y="99146"/>
                    <a:pt x="418988" y="106268"/>
                  </a:cubicBezTo>
                  <a:cubicBezTo>
                    <a:pt x="418988" y="106268"/>
                    <a:pt x="418988" y="106268"/>
                    <a:pt x="403999" y="147576"/>
                  </a:cubicBezTo>
                  <a:cubicBezTo>
                    <a:pt x="409709" y="154699"/>
                    <a:pt x="414706" y="162533"/>
                    <a:pt x="418988" y="171792"/>
                  </a:cubicBezTo>
                  <a:cubicBezTo>
                    <a:pt x="418988" y="171792"/>
                    <a:pt x="418988" y="171792"/>
                    <a:pt x="433978" y="174641"/>
                  </a:cubicBezTo>
                  <a:cubicBezTo>
                    <a:pt x="433978" y="174641"/>
                    <a:pt x="433978" y="174641"/>
                    <a:pt x="461101" y="179626"/>
                  </a:cubicBezTo>
                  <a:cubicBezTo>
                    <a:pt x="461101" y="179626"/>
                    <a:pt x="461101" y="179626"/>
                    <a:pt x="463243" y="188885"/>
                  </a:cubicBezTo>
                  <a:cubicBezTo>
                    <a:pt x="463957" y="190309"/>
                    <a:pt x="464670" y="192446"/>
                    <a:pt x="464670" y="193871"/>
                  </a:cubicBezTo>
                  <a:cubicBezTo>
                    <a:pt x="468239" y="205978"/>
                    <a:pt x="470381" y="218086"/>
                    <a:pt x="470381" y="218798"/>
                  </a:cubicBezTo>
                  <a:cubicBezTo>
                    <a:pt x="470381" y="219510"/>
                    <a:pt x="473236" y="235891"/>
                    <a:pt x="474663" y="250136"/>
                  </a:cubicBezTo>
                  <a:cubicBezTo>
                    <a:pt x="474663" y="250136"/>
                    <a:pt x="474663" y="250136"/>
                    <a:pt x="474663" y="259395"/>
                  </a:cubicBezTo>
                  <a:cubicBezTo>
                    <a:pt x="474663" y="259395"/>
                    <a:pt x="474663" y="259395"/>
                    <a:pt x="440402" y="279337"/>
                  </a:cubicBezTo>
                  <a:cubicBezTo>
                    <a:pt x="439688" y="290020"/>
                    <a:pt x="437547" y="300703"/>
                    <a:pt x="434692" y="310674"/>
                  </a:cubicBezTo>
                  <a:cubicBezTo>
                    <a:pt x="434692" y="310674"/>
                    <a:pt x="434692" y="310674"/>
                    <a:pt x="460388" y="342012"/>
                  </a:cubicBezTo>
                  <a:cubicBezTo>
                    <a:pt x="460388" y="342012"/>
                    <a:pt x="460388" y="342012"/>
                    <a:pt x="456105" y="350558"/>
                  </a:cubicBezTo>
                  <a:cubicBezTo>
                    <a:pt x="451109" y="363378"/>
                    <a:pt x="442543" y="377623"/>
                    <a:pt x="442543" y="378335"/>
                  </a:cubicBezTo>
                  <a:cubicBezTo>
                    <a:pt x="441829" y="379047"/>
                    <a:pt x="433978" y="393291"/>
                    <a:pt x="425412" y="404687"/>
                  </a:cubicBezTo>
                  <a:cubicBezTo>
                    <a:pt x="425412" y="404687"/>
                    <a:pt x="425412" y="404687"/>
                    <a:pt x="419702" y="411809"/>
                  </a:cubicBezTo>
                  <a:cubicBezTo>
                    <a:pt x="419702" y="411809"/>
                    <a:pt x="419702" y="411809"/>
                    <a:pt x="376162" y="404687"/>
                  </a:cubicBezTo>
                  <a:cubicBezTo>
                    <a:pt x="369738" y="411097"/>
                    <a:pt x="362600" y="416082"/>
                    <a:pt x="355462" y="421068"/>
                  </a:cubicBezTo>
                  <a:cubicBezTo>
                    <a:pt x="355462" y="421068"/>
                    <a:pt x="355462" y="421068"/>
                    <a:pt x="354748" y="465938"/>
                  </a:cubicBezTo>
                  <a:cubicBezTo>
                    <a:pt x="354748" y="465938"/>
                    <a:pt x="354748" y="465938"/>
                    <a:pt x="346897" y="470211"/>
                  </a:cubicBezTo>
                  <a:cubicBezTo>
                    <a:pt x="334049" y="476621"/>
                    <a:pt x="318346" y="482319"/>
                    <a:pt x="317632" y="482319"/>
                  </a:cubicBezTo>
                  <a:cubicBezTo>
                    <a:pt x="317632" y="483031"/>
                    <a:pt x="301929" y="488016"/>
                    <a:pt x="288367" y="491577"/>
                  </a:cubicBezTo>
                  <a:cubicBezTo>
                    <a:pt x="288367" y="491577"/>
                    <a:pt x="288367" y="491577"/>
                    <a:pt x="279088" y="493714"/>
                  </a:cubicBezTo>
                  <a:cubicBezTo>
                    <a:pt x="279088" y="493714"/>
                    <a:pt x="279088" y="493714"/>
                    <a:pt x="247682" y="457391"/>
                  </a:cubicBezTo>
                  <a:cubicBezTo>
                    <a:pt x="244826" y="457391"/>
                    <a:pt x="242685" y="457391"/>
                    <a:pt x="239830" y="457391"/>
                  </a:cubicBezTo>
                  <a:cubicBezTo>
                    <a:pt x="235547" y="457391"/>
                    <a:pt x="230551" y="457391"/>
                    <a:pt x="225554" y="457391"/>
                  </a:cubicBezTo>
                  <a:cubicBezTo>
                    <a:pt x="225554" y="457391"/>
                    <a:pt x="225554" y="457391"/>
                    <a:pt x="195576" y="493714"/>
                  </a:cubicBezTo>
                  <a:cubicBezTo>
                    <a:pt x="195576" y="493714"/>
                    <a:pt x="195576" y="493714"/>
                    <a:pt x="186297" y="491577"/>
                  </a:cubicBezTo>
                  <a:cubicBezTo>
                    <a:pt x="172735" y="488016"/>
                    <a:pt x="157032" y="482319"/>
                    <a:pt x="156318" y="482319"/>
                  </a:cubicBezTo>
                  <a:cubicBezTo>
                    <a:pt x="155604" y="482319"/>
                    <a:pt x="140615" y="476621"/>
                    <a:pt x="127767" y="470211"/>
                  </a:cubicBezTo>
                  <a:cubicBezTo>
                    <a:pt x="127767" y="470211"/>
                    <a:pt x="127767" y="470211"/>
                    <a:pt x="119201" y="465938"/>
                  </a:cubicBezTo>
                  <a:cubicBezTo>
                    <a:pt x="119201" y="465938"/>
                    <a:pt x="119201" y="465938"/>
                    <a:pt x="118488" y="421068"/>
                  </a:cubicBezTo>
                  <a:cubicBezTo>
                    <a:pt x="111350" y="416082"/>
                    <a:pt x="104926" y="410385"/>
                    <a:pt x="98502" y="404687"/>
                  </a:cubicBezTo>
                  <a:cubicBezTo>
                    <a:pt x="98502" y="404687"/>
                    <a:pt x="98502" y="404687"/>
                    <a:pt x="54961" y="411809"/>
                  </a:cubicBezTo>
                  <a:cubicBezTo>
                    <a:pt x="54961" y="411809"/>
                    <a:pt x="54961" y="411809"/>
                    <a:pt x="49251" y="403975"/>
                  </a:cubicBezTo>
                  <a:cubicBezTo>
                    <a:pt x="40686" y="393291"/>
                    <a:pt x="32120" y="379047"/>
                    <a:pt x="32120" y="378335"/>
                  </a:cubicBezTo>
                  <a:cubicBezTo>
                    <a:pt x="31407" y="377623"/>
                    <a:pt x="23555" y="363378"/>
                    <a:pt x="17845" y="350558"/>
                  </a:cubicBezTo>
                  <a:cubicBezTo>
                    <a:pt x="17845" y="350558"/>
                    <a:pt x="17845" y="350558"/>
                    <a:pt x="14276" y="342012"/>
                  </a:cubicBezTo>
                  <a:cubicBezTo>
                    <a:pt x="14276" y="342012"/>
                    <a:pt x="14276" y="342012"/>
                    <a:pt x="39972" y="310674"/>
                  </a:cubicBezTo>
                  <a:cubicBezTo>
                    <a:pt x="37117" y="300703"/>
                    <a:pt x="35689" y="290020"/>
                    <a:pt x="34262" y="279337"/>
                  </a:cubicBezTo>
                  <a:cubicBezTo>
                    <a:pt x="34262" y="279337"/>
                    <a:pt x="34262" y="279337"/>
                    <a:pt x="0" y="259395"/>
                  </a:cubicBezTo>
                  <a:cubicBezTo>
                    <a:pt x="0" y="259395"/>
                    <a:pt x="0" y="259395"/>
                    <a:pt x="0" y="249424"/>
                  </a:cubicBezTo>
                  <a:cubicBezTo>
                    <a:pt x="714" y="235179"/>
                    <a:pt x="3569" y="219510"/>
                    <a:pt x="4283" y="218798"/>
                  </a:cubicBezTo>
                  <a:cubicBezTo>
                    <a:pt x="4283" y="218086"/>
                    <a:pt x="7138" y="201705"/>
                    <a:pt x="11421" y="188173"/>
                  </a:cubicBezTo>
                  <a:cubicBezTo>
                    <a:pt x="11421" y="188173"/>
                    <a:pt x="11421" y="188173"/>
                    <a:pt x="13562" y="179626"/>
                  </a:cubicBezTo>
                  <a:cubicBezTo>
                    <a:pt x="13562" y="179626"/>
                    <a:pt x="13562" y="179626"/>
                    <a:pt x="55675" y="171792"/>
                  </a:cubicBezTo>
                  <a:cubicBezTo>
                    <a:pt x="59958" y="162533"/>
                    <a:pt x="64954" y="154699"/>
                    <a:pt x="70664" y="147576"/>
                  </a:cubicBezTo>
                  <a:cubicBezTo>
                    <a:pt x="70664" y="147576"/>
                    <a:pt x="70664" y="147576"/>
                    <a:pt x="55675" y="106268"/>
                  </a:cubicBezTo>
                  <a:cubicBezTo>
                    <a:pt x="55675" y="106268"/>
                    <a:pt x="55675" y="106268"/>
                    <a:pt x="62813" y="99146"/>
                  </a:cubicBezTo>
                  <a:cubicBezTo>
                    <a:pt x="72092" y="88462"/>
                    <a:pt x="84940" y="78491"/>
                    <a:pt x="84940" y="77779"/>
                  </a:cubicBezTo>
                  <a:cubicBezTo>
                    <a:pt x="85654" y="77067"/>
                    <a:pt x="98502" y="67096"/>
                    <a:pt x="109922" y="59261"/>
                  </a:cubicBezTo>
                  <a:cubicBezTo>
                    <a:pt x="109922" y="59261"/>
                    <a:pt x="109922" y="59261"/>
                    <a:pt x="117774" y="54276"/>
                  </a:cubicBezTo>
                  <a:cubicBezTo>
                    <a:pt x="117774" y="54276"/>
                    <a:pt x="117774" y="54276"/>
                    <a:pt x="160601" y="77779"/>
                  </a:cubicBezTo>
                  <a:cubicBezTo>
                    <a:pt x="167025" y="75642"/>
                    <a:pt x="173449" y="73506"/>
                    <a:pt x="179873" y="71369"/>
                  </a:cubicBezTo>
                  <a:cubicBezTo>
                    <a:pt x="179873" y="71369"/>
                    <a:pt x="179873" y="71369"/>
                    <a:pt x="197003" y="25075"/>
                  </a:cubicBezTo>
                  <a:cubicBezTo>
                    <a:pt x="197003" y="25075"/>
                    <a:pt x="197003" y="25075"/>
                    <a:pt x="206282" y="24363"/>
                  </a:cubicBezTo>
                  <a:cubicBezTo>
                    <a:pt x="219844" y="22226"/>
                    <a:pt x="236261" y="22226"/>
                    <a:pt x="236975" y="22226"/>
                  </a:cubicBezTo>
                  <a:close/>
                  <a:moveTo>
                    <a:pt x="571201" y="0"/>
                  </a:moveTo>
                  <a:cubicBezTo>
                    <a:pt x="571201" y="0"/>
                    <a:pt x="571201" y="0"/>
                    <a:pt x="589818" y="15767"/>
                  </a:cubicBezTo>
                  <a:cubicBezTo>
                    <a:pt x="604854" y="15050"/>
                    <a:pt x="619174" y="16483"/>
                    <a:pt x="633494" y="21500"/>
                  </a:cubicBezTo>
                  <a:cubicBezTo>
                    <a:pt x="633494" y="21500"/>
                    <a:pt x="633494" y="21500"/>
                    <a:pt x="654259" y="10033"/>
                  </a:cubicBezTo>
                  <a:cubicBezTo>
                    <a:pt x="671443" y="17200"/>
                    <a:pt x="687911" y="29383"/>
                    <a:pt x="700800" y="44433"/>
                  </a:cubicBezTo>
                  <a:cubicBezTo>
                    <a:pt x="700800" y="44433"/>
                    <a:pt x="700800" y="44433"/>
                    <a:pt x="696504" y="66650"/>
                  </a:cubicBezTo>
                  <a:cubicBezTo>
                    <a:pt x="700800" y="73100"/>
                    <a:pt x="705096" y="80267"/>
                    <a:pt x="708676" y="88150"/>
                  </a:cubicBezTo>
                  <a:cubicBezTo>
                    <a:pt x="711540" y="95317"/>
                    <a:pt x="713688" y="102483"/>
                    <a:pt x="715836" y="109650"/>
                  </a:cubicBezTo>
                  <a:cubicBezTo>
                    <a:pt x="715836" y="109650"/>
                    <a:pt x="715836" y="109650"/>
                    <a:pt x="717268" y="111083"/>
                  </a:cubicBezTo>
                  <a:cubicBezTo>
                    <a:pt x="719416" y="111800"/>
                    <a:pt x="723712" y="114667"/>
                    <a:pt x="735168" y="121833"/>
                  </a:cubicBezTo>
                  <a:cubicBezTo>
                    <a:pt x="735884" y="129000"/>
                    <a:pt x="736600" y="136167"/>
                    <a:pt x="735884" y="143333"/>
                  </a:cubicBezTo>
                  <a:cubicBezTo>
                    <a:pt x="735168" y="155517"/>
                    <a:pt x="733020" y="167700"/>
                    <a:pt x="729440" y="179167"/>
                  </a:cubicBezTo>
                  <a:cubicBezTo>
                    <a:pt x="729440" y="179167"/>
                    <a:pt x="729440" y="179167"/>
                    <a:pt x="707960" y="186333"/>
                  </a:cubicBezTo>
                  <a:cubicBezTo>
                    <a:pt x="700800" y="201383"/>
                    <a:pt x="690775" y="215717"/>
                    <a:pt x="677887" y="227183"/>
                  </a:cubicBezTo>
                  <a:cubicBezTo>
                    <a:pt x="677887" y="227183"/>
                    <a:pt x="677887" y="227183"/>
                    <a:pt x="677887" y="250117"/>
                  </a:cubicBezTo>
                  <a:cubicBezTo>
                    <a:pt x="670011" y="255133"/>
                    <a:pt x="661419" y="260150"/>
                    <a:pt x="652827" y="264450"/>
                  </a:cubicBezTo>
                  <a:cubicBezTo>
                    <a:pt x="644235" y="268033"/>
                    <a:pt x="634926" y="270900"/>
                    <a:pt x="626334" y="273050"/>
                  </a:cubicBezTo>
                  <a:cubicBezTo>
                    <a:pt x="626334" y="273050"/>
                    <a:pt x="626334" y="273050"/>
                    <a:pt x="609150" y="257283"/>
                  </a:cubicBezTo>
                  <a:cubicBezTo>
                    <a:pt x="591966" y="258717"/>
                    <a:pt x="574781" y="256567"/>
                    <a:pt x="559029" y="250833"/>
                  </a:cubicBezTo>
                  <a:cubicBezTo>
                    <a:pt x="559029" y="250833"/>
                    <a:pt x="559029" y="250833"/>
                    <a:pt x="538981" y="262300"/>
                  </a:cubicBezTo>
                  <a:cubicBezTo>
                    <a:pt x="521796" y="253700"/>
                    <a:pt x="506760" y="242233"/>
                    <a:pt x="493156" y="227183"/>
                  </a:cubicBezTo>
                  <a:cubicBezTo>
                    <a:pt x="493156" y="227183"/>
                    <a:pt x="493156" y="227183"/>
                    <a:pt x="498884" y="204967"/>
                  </a:cubicBezTo>
                  <a:cubicBezTo>
                    <a:pt x="494588" y="198517"/>
                    <a:pt x="491008" y="191350"/>
                    <a:pt x="488144" y="184183"/>
                  </a:cubicBezTo>
                  <a:cubicBezTo>
                    <a:pt x="487428" y="183467"/>
                    <a:pt x="487428" y="182750"/>
                    <a:pt x="487428" y="182750"/>
                  </a:cubicBezTo>
                  <a:cubicBezTo>
                    <a:pt x="483848" y="175583"/>
                    <a:pt x="481700" y="167700"/>
                    <a:pt x="480268" y="160533"/>
                  </a:cubicBezTo>
                  <a:cubicBezTo>
                    <a:pt x="480268" y="160533"/>
                    <a:pt x="480268" y="160533"/>
                    <a:pt x="470959" y="154800"/>
                  </a:cubicBezTo>
                  <a:cubicBezTo>
                    <a:pt x="468811" y="153367"/>
                    <a:pt x="465231" y="151217"/>
                    <a:pt x="460219" y="149067"/>
                  </a:cubicBezTo>
                  <a:cubicBezTo>
                    <a:pt x="458787" y="128283"/>
                    <a:pt x="461651" y="108217"/>
                    <a:pt x="468095" y="89583"/>
                  </a:cubicBezTo>
                  <a:cubicBezTo>
                    <a:pt x="468095" y="89583"/>
                    <a:pt x="468095" y="89583"/>
                    <a:pt x="490292" y="82417"/>
                  </a:cubicBezTo>
                  <a:cubicBezTo>
                    <a:pt x="496736" y="68800"/>
                    <a:pt x="506044" y="58050"/>
                    <a:pt x="517500" y="47300"/>
                  </a:cubicBezTo>
                  <a:cubicBezTo>
                    <a:pt x="517500" y="47300"/>
                    <a:pt x="517500" y="47300"/>
                    <a:pt x="517500" y="23650"/>
                  </a:cubicBezTo>
                  <a:cubicBezTo>
                    <a:pt x="525376" y="17917"/>
                    <a:pt x="533969" y="12900"/>
                    <a:pt x="543277" y="9317"/>
                  </a:cubicBezTo>
                  <a:cubicBezTo>
                    <a:pt x="552585" y="5017"/>
                    <a:pt x="562609" y="2150"/>
                    <a:pt x="571201"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aphicFrame>
        <p:nvGraphicFramePr>
          <p:cNvPr id="266" name="Object 265" hidden="1">
            <a:extLst>
              <a:ext uri="{FF2B5EF4-FFF2-40B4-BE49-F238E27FC236}">
                <a16:creationId xmlns:a16="http://schemas.microsoft.com/office/drawing/2014/main" id="{6A6FADF2-E70A-437D-9FFD-82C24B71FF5E}"/>
              </a:ext>
            </a:extLst>
          </p:cNvPr>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67" name="think-cell Slide" r:id="rId9" imgW="328" imgH="328" progId="TCLayout.ActiveDocument.1">
                  <p:embed/>
                </p:oleObj>
              </mc:Choice>
              <mc:Fallback>
                <p:oleObj name="think-cell Slide" r:id="rId9" imgW="328" imgH="328"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grpSp>
        <p:nvGrpSpPr>
          <p:cNvPr id="45" name="Group 44">
            <a:extLst>
              <a:ext uri="{FF2B5EF4-FFF2-40B4-BE49-F238E27FC236}">
                <a16:creationId xmlns:a16="http://schemas.microsoft.com/office/drawing/2014/main" id="{6ECDF277-617C-40FA-864A-02F8F8CE6450}"/>
              </a:ext>
            </a:extLst>
          </p:cNvPr>
          <p:cNvGrpSpPr/>
          <p:nvPr/>
        </p:nvGrpSpPr>
        <p:grpSpPr>
          <a:xfrm>
            <a:off x="5346112" y="5275846"/>
            <a:ext cx="695033" cy="864548"/>
            <a:chOff x="4664179" y="-1875214"/>
            <a:chExt cx="1644650" cy="1644650"/>
          </a:xfrm>
        </p:grpSpPr>
        <p:sp>
          <p:nvSpPr>
            <p:cNvPr id="271" name="AutoShape 3">
              <a:extLst>
                <a:ext uri="{FF2B5EF4-FFF2-40B4-BE49-F238E27FC236}">
                  <a16:creationId xmlns:a16="http://schemas.microsoft.com/office/drawing/2014/main" id="{A8760F5F-3CB4-4144-87B9-CF204D2C2169}"/>
                </a:ext>
              </a:extLst>
            </p:cNvPr>
            <p:cNvSpPr>
              <a:spLocks noChangeAspect="1" noChangeArrowheads="1" noTextEdit="1"/>
            </p:cNvSpPr>
            <p:nvPr/>
          </p:nvSpPr>
          <p:spPr bwMode="auto">
            <a:xfrm>
              <a:off x="4664179" y="-1875214"/>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8">
              <a:extLst>
                <a:ext uri="{FF2B5EF4-FFF2-40B4-BE49-F238E27FC236}">
                  <a16:creationId xmlns:a16="http://schemas.microsoft.com/office/drawing/2014/main" id="{AA4574F7-BBE0-4A53-A1A0-7E0A14A5FBB7}"/>
                </a:ext>
              </a:extLst>
            </p:cNvPr>
            <p:cNvSpPr>
              <a:spLocks/>
            </p:cNvSpPr>
            <p:nvPr/>
          </p:nvSpPr>
          <p:spPr bwMode="auto">
            <a:xfrm>
              <a:off x="4729267" y="-1406544"/>
              <a:ext cx="1508125" cy="715606"/>
            </a:xfrm>
            <a:custGeom>
              <a:avLst/>
              <a:gdLst>
                <a:gd name="connsiteX0" fmla="*/ 754062 w 1508125"/>
                <a:gd name="connsiteY0" fmla="*/ 298458 h 715606"/>
                <a:gd name="connsiteX1" fmla="*/ 1110521 w 1508125"/>
                <a:gd name="connsiteY1" fmla="*/ 342416 h 715606"/>
                <a:gd name="connsiteX2" fmla="*/ 1125537 w 1508125"/>
                <a:gd name="connsiteY2" fmla="*/ 361715 h 715606"/>
                <a:gd name="connsiteX3" fmla="*/ 1125537 w 1508125"/>
                <a:gd name="connsiteY3" fmla="*/ 438910 h 715606"/>
                <a:gd name="connsiteX4" fmla="*/ 1125537 w 1508125"/>
                <a:gd name="connsiteY4" fmla="*/ 456065 h 715606"/>
                <a:gd name="connsiteX5" fmla="*/ 1125537 w 1508125"/>
                <a:gd name="connsiteY5" fmla="*/ 473219 h 715606"/>
                <a:gd name="connsiteX6" fmla="*/ 1125537 w 1508125"/>
                <a:gd name="connsiteY6" fmla="*/ 557562 h 715606"/>
                <a:gd name="connsiteX7" fmla="*/ 1110521 w 1508125"/>
                <a:gd name="connsiteY7" fmla="*/ 568999 h 715606"/>
                <a:gd name="connsiteX8" fmla="*/ 397604 w 1508125"/>
                <a:gd name="connsiteY8" fmla="*/ 568999 h 715606"/>
                <a:gd name="connsiteX9" fmla="*/ 382587 w 1508125"/>
                <a:gd name="connsiteY9" fmla="*/ 557562 h 715606"/>
                <a:gd name="connsiteX10" fmla="*/ 382587 w 1508125"/>
                <a:gd name="connsiteY10" fmla="*/ 473219 h 715606"/>
                <a:gd name="connsiteX11" fmla="*/ 382587 w 1508125"/>
                <a:gd name="connsiteY11" fmla="*/ 456065 h 715606"/>
                <a:gd name="connsiteX12" fmla="*/ 382587 w 1508125"/>
                <a:gd name="connsiteY12" fmla="*/ 438910 h 715606"/>
                <a:gd name="connsiteX13" fmla="*/ 382587 w 1508125"/>
                <a:gd name="connsiteY13" fmla="*/ 361715 h 715606"/>
                <a:gd name="connsiteX14" fmla="*/ 397604 w 1508125"/>
                <a:gd name="connsiteY14" fmla="*/ 342416 h 715606"/>
                <a:gd name="connsiteX15" fmla="*/ 754062 w 1508125"/>
                <a:gd name="connsiteY15" fmla="*/ 298458 h 715606"/>
                <a:gd name="connsiteX16" fmla="*/ 750851 w 1508125"/>
                <a:gd name="connsiteY16" fmla="*/ 1071 h 715606"/>
                <a:gd name="connsiteX17" fmla="*/ 762271 w 1508125"/>
                <a:gd name="connsiteY17" fmla="*/ 1071 h 715606"/>
                <a:gd name="connsiteX18" fmla="*/ 1498133 w 1508125"/>
                <a:gd name="connsiteY18" fmla="*/ 286599 h 715606"/>
                <a:gd name="connsiteX19" fmla="*/ 1508125 w 1508125"/>
                <a:gd name="connsiteY19" fmla="*/ 300876 h 715606"/>
                <a:gd name="connsiteX20" fmla="*/ 1498847 w 1508125"/>
                <a:gd name="connsiteY20" fmla="*/ 315152 h 715606"/>
                <a:gd name="connsiteX21" fmla="*/ 1156253 w 1508125"/>
                <a:gd name="connsiteY21" fmla="*/ 459344 h 715606"/>
                <a:gd name="connsiteX22" fmla="*/ 1156253 w 1508125"/>
                <a:gd name="connsiteY22" fmla="*/ 442212 h 715606"/>
                <a:gd name="connsiteX23" fmla="*/ 1156253 w 1508125"/>
                <a:gd name="connsiteY23" fmla="*/ 425081 h 715606"/>
                <a:gd name="connsiteX24" fmla="*/ 1156253 w 1508125"/>
                <a:gd name="connsiteY24" fmla="*/ 345847 h 715606"/>
                <a:gd name="connsiteX25" fmla="*/ 1133414 w 1508125"/>
                <a:gd name="connsiteY25" fmla="*/ 315866 h 715606"/>
                <a:gd name="connsiteX26" fmla="*/ 881465 w 1508125"/>
                <a:gd name="connsiteY26" fmla="*/ 270895 h 715606"/>
                <a:gd name="connsiteX27" fmla="*/ 754420 w 1508125"/>
                <a:gd name="connsiteY27" fmla="*/ 265184 h 715606"/>
                <a:gd name="connsiteX28" fmla="*/ 626661 w 1508125"/>
                <a:gd name="connsiteY28" fmla="*/ 270895 h 715606"/>
                <a:gd name="connsiteX29" fmla="*/ 374711 w 1508125"/>
                <a:gd name="connsiteY29" fmla="*/ 315866 h 715606"/>
                <a:gd name="connsiteX30" fmla="*/ 351872 w 1508125"/>
                <a:gd name="connsiteY30" fmla="*/ 345847 h 715606"/>
                <a:gd name="connsiteX31" fmla="*/ 351872 w 1508125"/>
                <a:gd name="connsiteY31" fmla="*/ 425081 h 715606"/>
                <a:gd name="connsiteX32" fmla="*/ 351872 w 1508125"/>
                <a:gd name="connsiteY32" fmla="*/ 442212 h 715606"/>
                <a:gd name="connsiteX33" fmla="*/ 351872 w 1508125"/>
                <a:gd name="connsiteY33" fmla="*/ 459344 h 715606"/>
                <a:gd name="connsiteX34" fmla="*/ 224827 w 1508125"/>
                <a:gd name="connsiteY34" fmla="*/ 405808 h 715606"/>
                <a:gd name="connsiteX35" fmla="*/ 224827 w 1508125"/>
                <a:gd name="connsiteY35" fmla="*/ 542861 h 715606"/>
                <a:gd name="connsiteX36" fmla="*/ 244098 w 1508125"/>
                <a:gd name="connsiteY36" fmla="*/ 574983 h 715606"/>
                <a:gd name="connsiteX37" fmla="*/ 230537 w 1508125"/>
                <a:gd name="connsiteY37" fmla="*/ 602822 h 715606"/>
                <a:gd name="connsiteX38" fmla="*/ 261941 w 1508125"/>
                <a:gd name="connsiteY38" fmla="*/ 715606 h 715606"/>
                <a:gd name="connsiteX39" fmla="*/ 236960 w 1508125"/>
                <a:gd name="connsiteY39" fmla="*/ 715606 h 715606"/>
                <a:gd name="connsiteX40" fmla="*/ 180575 w 1508125"/>
                <a:gd name="connsiteY40" fmla="*/ 715606 h 715606"/>
                <a:gd name="connsiteX41" fmla="*/ 155594 w 1508125"/>
                <a:gd name="connsiteY41" fmla="*/ 715606 h 715606"/>
                <a:gd name="connsiteX42" fmla="*/ 186999 w 1508125"/>
                <a:gd name="connsiteY42" fmla="*/ 602822 h 715606"/>
                <a:gd name="connsiteX43" fmla="*/ 173438 w 1508125"/>
                <a:gd name="connsiteY43" fmla="*/ 574983 h 715606"/>
                <a:gd name="connsiteX44" fmla="*/ 193422 w 1508125"/>
                <a:gd name="connsiteY44" fmla="*/ 542861 h 715606"/>
                <a:gd name="connsiteX45" fmla="*/ 193422 w 1508125"/>
                <a:gd name="connsiteY45" fmla="*/ 392959 h 715606"/>
                <a:gd name="connsiteX46" fmla="*/ 9278 w 1508125"/>
                <a:gd name="connsiteY46" fmla="*/ 315152 h 715606"/>
                <a:gd name="connsiteX47" fmla="*/ 0 w 1508125"/>
                <a:gd name="connsiteY47" fmla="*/ 300876 h 715606"/>
                <a:gd name="connsiteX48" fmla="*/ 9992 w 1508125"/>
                <a:gd name="connsiteY48" fmla="*/ 286599 h 715606"/>
                <a:gd name="connsiteX49" fmla="*/ 750851 w 1508125"/>
                <a:gd name="connsiteY49" fmla="*/ 1071 h 715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08125" h="715606">
                  <a:moveTo>
                    <a:pt x="754062" y="298458"/>
                  </a:moveTo>
                  <a:cubicBezTo>
                    <a:pt x="872941" y="298458"/>
                    <a:pt x="991821" y="313111"/>
                    <a:pt x="1110521" y="342416"/>
                  </a:cubicBezTo>
                  <a:cubicBezTo>
                    <a:pt x="1119102" y="344561"/>
                    <a:pt x="1125537" y="353138"/>
                    <a:pt x="1125537" y="361715"/>
                  </a:cubicBezTo>
                  <a:cubicBezTo>
                    <a:pt x="1125537" y="387447"/>
                    <a:pt x="1125537" y="413179"/>
                    <a:pt x="1125537" y="438910"/>
                  </a:cubicBezTo>
                  <a:cubicBezTo>
                    <a:pt x="1125537" y="444629"/>
                    <a:pt x="1125537" y="450347"/>
                    <a:pt x="1125537" y="456065"/>
                  </a:cubicBezTo>
                  <a:cubicBezTo>
                    <a:pt x="1125537" y="461783"/>
                    <a:pt x="1125537" y="467501"/>
                    <a:pt x="1125537" y="473219"/>
                  </a:cubicBezTo>
                  <a:cubicBezTo>
                    <a:pt x="1125537" y="501096"/>
                    <a:pt x="1125537" y="528972"/>
                    <a:pt x="1125537" y="557562"/>
                  </a:cubicBezTo>
                  <a:cubicBezTo>
                    <a:pt x="1125537" y="566140"/>
                    <a:pt x="1119102" y="571143"/>
                    <a:pt x="1110521" y="568999"/>
                  </a:cubicBezTo>
                  <a:cubicBezTo>
                    <a:pt x="873120" y="510388"/>
                    <a:pt x="635004" y="510388"/>
                    <a:pt x="397604" y="568999"/>
                  </a:cubicBezTo>
                  <a:cubicBezTo>
                    <a:pt x="389023" y="571143"/>
                    <a:pt x="382587" y="566140"/>
                    <a:pt x="382587" y="557562"/>
                  </a:cubicBezTo>
                  <a:cubicBezTo>
                    <a:pt x="382587" y="528972"/>
                    <a:pt x="382587" y="501096"/>
                    <a:pt x="382587" y="473219"/>
                  </a:cubicBezTo>
                  <a:cubicBezTo>
                    <a:pt x="382587" y="467501"/>
                    <a:pt x="382587" y="461783"/>
                    <a:pt x="382587" y="456065"/>
                  </a:cubicBezTo>
                  <a:cubicBezTo>
                    <a:pt x="382587" y="450347"/>
                    <a:pt x="382587" y="444629"/>
                    <a:pt x="382587" y="438910"/>
                  </a:cubicBezTo>
                  <a:cubicBezTo>
                    <a:pt x="382587" y="413179"/>
                    <a:pt x="382587" y="387447"/>
                    <a:pt x="382587" y="361715"/>
                  </a:cubicBezTo>
                  <a:cubicBezTo>
                    <a:pt x="382587" y="353138"/>
                    <a:pt x="389023" y="344561"/>
                    <a:pt x="397604" y="342416"/>
                  </a:cubicBezTo>
                  <a:cubicBezTo>
                    <a:pt x="516304" y="313111"/>
                    <a:pt x="635183" y="298458"/>
                    <a:pt x="754062" y="298458"/>
                  </a:cubicBezTo>
                  <a:close/>
                  <a:moveTo>
                    <a:pt x="750851" y="1071"/>
                  </a:moveTo>
                  <a:cubicBezTo>
                    <a:pt x="754420" y="-357"/>
                    <a:pt x="758702" y="-357"/>
                    <a:pt x="762271" y="1071"/>
                  </a:cubicBezTo>
                  <a:cubicBezTo>
                    <a:pt x="762271" y="1071"/>
                    <a:pt x="762271" y="1071"/>
                    <a:pt x="1498133" y="286599"/>
                  </a:cubicBezTo>
                  <a:cubicBezTo>
                    <a:pt x="1504557" y="288741"/>
                    <a:pt x="1508125" y="294451"/>
                    <a:pt x="1508125" y="300876"/>
                  </a:cubicBezTo>
                  <a:cubicBezTo>
                    <a:pt x="1508125" y="307300"/>
                    <a:pt x="1504557" y="313011"/>
                    <a:pt x="1498847" y="315152"/>
                  </a:cubicBezTo>
                  <a:cubicBezTo>
                    <a:pt x="1498847" y="315152"/>
                    <a:pt x="1498847" y="315152"/>
                    <a:pt x="1156253" y="459344"/>
                  </a:cubicBezTo>
                  <a:cubicBezTo>
                    <a:pt x="1156253" y="459344"/>
                    <a:pt x="1156253" y="459344"/>
                    <a:pt x="1156253" y="442212"/>
                  </a:cubicBezTo>
                  <a:cubicBezTo>
                    <a:pt x="1156253" y="442212"/>
                    <a:pt x="1156253" y="442212"/>
                    <a:pt x="1156253" y="425081"/>
                  </a:cubicBezTo>
                  <a:cubicBezTo>
                    <a:pt x="1156253" y="425081"/>
                    <a:pt x="1156253" y="425081"/>
                    <a:pt x="1156253" y="345847"/>
                  </a:cubicBezTo>
                  <a:cubicBezTo>
                    <a:pt x="1156253" y="332284"/>
                    <a:pt x="1146975" y="319435"/>
                    <a:pt x="1133414" y="315866"/>
                  </a:cubicBezTo>
                  <a:cubicBezTo>
                    <a:pt x="1051334" y="293738"/>
                    <a:pt x="966399" y="278033"/>
                    <a:pt x="881465" y="270895"/>
                  </a:cubicBezTo>
                  <a:cubicBezTo>
                    <a:pt x="839354" y="266612"/>
                    <a:pt x="796530" y="265184"/>
                    <a:pt x="754420" y="265184"/>
                  </a:cubicBezTo>
                  <a:cubicBezTo>
                    <a:pt x="711595" y="265184"/>
                    <a:pt x="668771" y="266612"/>
                    <a:pt x="626661" y="270895"/>
                  </a:cubicBezTo>
                  <a:cubicBezTo>
                    <a:pt x="541726" y="278033"/>
                    <a:pt x="456792" y="293738"/>
                    <a:pt x="374711" y="315866"/>
                  </a:cubicBezTo>
                  <a:cubicBezTo>
                    <a:pt x="361150" y="319435"/>
                    <a:pt x="351872" y="332284"/>
                    <a:pt x="351872" y="345847"/>
                  </a:cubicBezTo>
                  <a:cubicBezTo>
                    <a:pt x="351872" y="345847"/>
                    <a:pt x="351872" y="345847"/>
                    <a:pt x="351872" y="425081"/>
                  </a:cubicBezTo>
                  <a:cubicBezTo>
                    <a:pt x="351872" y="425081"/>
                    <a:pt x="351872" y="425081"/>
                    <a:pt x="351872" y="442212"/>
                  </a:cubicBezTo>
                  <a:cubicBezTo>
                    <a:pt x="351872" y="442212"/>
                    <a:pt x="351872" y="442212"/>
                    <a:pt x="351872" y="459344"/>
                  </a:cubicBezTo>
                  <a:cubicBezTo>
                    <a:pt x="351872" y="459344"/>
                    <a:pt x="351872" y="459344"/>
                    <a:pt x="224827" y="405808"/>
                  </a:cubicBezTo>
                  <a:cubicBezTo>
                    <a:pt x="224827" y="405808"/>
                    <a:pt x="224827" y="405808"/>
                    <a:pt x="224827" y="542861"/>
                  </a:cubicBezTo>
                  <a:cubicBezTo>
                    <a:pt x="236247" y="548572"/>
                    <a:pt x="244098" y="560707"/>
                    <a:pt x="244098" y="574983"/>
                  </a:cubicBezTo>
                  <a:cubicBezTo>
                    <a:pt x="244098" y="586404"/>
                    <a:pt x="239101" y="596398"/>
                    <a:pt x="230537" y="602822"/>
                  </a:cubicBezTo>
                  <a:cubicBezTo>
                    <a:pt x="230537" y="602822"/>
                    <a:pt x="230537" y="602822"/>
                    <a:pt x="261941" y="715606"/>
                  </a:cubicBezTo>
                  <a:cubicBezTo>
                    <a:pt x="261941" y="715606"/>
                    <a:pt x="261941" y="715606"/>
                    <a:pt x="236960" y="715606"/>
                  </a:cubicBezTo>
                  <a:cubicBezTo>
                    <a:pt x="236960" y="715606"/>
                    <a:pt x="236960" y="715606"/>
                    <a:pt x="180575" y="715606"/>
                  </a:cubicBezTo>
                  <a:cubicBezTo>
                    <a:pt x="180575" y="715606"/>
                    <a:pt x="180575" y="715606"/>
                    <a:pt x="155594" y="715606"/>
                  </a:cubicBezTo>
                  <a:cubicBezTo>
                    <a:pt x="155594" y="715606"/>
                    <a:pt x="155594" y="715606"/>
                    <a:pt x="186999" y="602822"/>
                  </a:cubicBezTo>
                  <a:cubicBezTo>
                    <a:pt x="178434" y="596398"/>
                    <a:pt x="173438" y="586404"/>
                    <a:pt x="173438" y="574983"/>
                  </a:cubicBezTo>
                  <a:cubicBezTo>
                    <a:pt x="173438" y="560707"/>
                    <a:pt x="181289" y="548572"/>
                    <a:pt x="193422" y="542861"/>
                  </a:cubicBezTo>
                  <a:cubicBezTo>
                    <a:pt x="193422" y="542861"/>
                    <a:pt x="193422" y="542861"/>
                    <a:pt x="193422" y="392959"/>
                  </a:cubicBezTo>
                  <a:cubicBezTo>
                    <a:pt x="193422" y="392959"/>
                    <a:pt x="193422" y="392959"/>
                    <a:pt x="9278" y="315152"/>
                  </a:cubicBezTo>
                  <a:cubicBezTo>
                    <a:pt x="3568" y="313011"/>
                    <a:pt x="0" y="307300"/>
                    <a:pt x="0" y="300876"/>
                  </a:cubicBezTo>
                  <a:cubicBezTo>
                    <a:pt x="0" y="294451"/>
                    <a:pt x="3568" y="288741"/>
                    <a:pt x="9992" y="286599"/>
                  </a:cubicBezTo>
                  <a:cubicBezTo>
                    <a:pt x="9992" y="286599"/>
                    <a:pt x="9992" y="286599"/>
                    <a:pt x="750851" y="1071"/>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52" name="Group 51">
            <a:extLst>
              <a:ext uri="{FF2B5EF4-FFF2-40B4-BE49-F238E27FC236}">
                <a16:creationId xmlns:a16="http://schemas.microsoft.com/office/drawing/2014/main" id="{BB693109-25AA-4C8B-99C1-F055AEF95280}"/>
              </a:ext>
            </a:extLst>
          </p:cNvPr>
          <p:cNvGrpSpPr/>
          <p:nvPr/>
        </p:nvGrpSpPr>
        <p:grpSpPr>
          <a:xfrm>
            <a:off x="6731163" y="5416372"/>
            <a:ext cx="609032" cy="588949"/>
            <a:chOff x="4664179" y="-1141041"/>
            <a:chExt cx="1644650" cy="1644650"/>
          </a:xfrm>
        </p:grpSpPr>
        <p:sp>
          <p:nvSpPr>
            <p:cNvPr id="274" name="AutoShape 3">
              <a:extLst>
                <a:ext uri="{FF2B5EF4-FFF2-40B4-BE49-F238E27FC236}">
                  <a16:creationId xmlns:a16="http://schemas.microsoft.com/office/drawing/2014/main" id="{8E2231D6-543D-48FE-9EB6-8E0B2D2D8D46}"/>
                </a:ext>
              </a:extLst>
            </p:cNvPr>
            <p:cNvSpPr>
              <a:spLocks noChangeAspect="1" noChangeArrowheads="1" noTextEdit="1"/>
            </p:cNvSpPr>
            <p:nvPr/>
          </p:nvSpPr>
          <p:spPr bwMode="auto">
            <a:xfrm>
              <a:off x="4664179" y="-1141041"/>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7">
              <a:extLst>
                <a:ext uri="{FF2B5EF4-FFF2-40B4-BE49-F238E27FC236}">
                  <a16:creationId xmlns:a16="http://schemas.microsoft.com/office/drawing/2014/main" id="{42C1B9E1-4F49-4F80-99E6-F84978877A22}"/>
                </a:ext>
              </a:extLst>
            </p:cNvPr>
            <p:cNvSpPr>
              <a:spLocks/>
            </p:cNvSpPr>
            <p:nvPr/>
          </p:nvSpPr>
          <p:spPr bwMode="auto">
            <a:xfrm>
              <a:off x="4834042" y="-97117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92118 w 1303338"/>
                <a:gd name="connsiteY43" fmla="*/ 693737 h 1303338"/>
                <a:gd name="connsiteX44" fmla="*/ 711714 w 1303338"/>
                <a:gd name="connsiteY44" fmla="*/ 693737 h 1303338"/>
                <a:gd name="connsiteX45" fmla="*/ 753173 w 1303338"/>
                <a:gd name="connsiteY45" fmla="*/ 718686 h 1303338"/>
                <a:gd name="connsiteX46" fmla="*/ 782480 w 1303338"/>
                <a:gd name="connsiteY46" fmla="*/ 835591 h 1303338"/>
                <a:gd name="connsiteX47" fmla="*/ 792488 w 1303338"/>
                <a:gd name="connsiteY47" fmla="*/ 855551 h 1303338"/>
                <a:gd name="connsiteX48" fmla="*/ 797491 w 1303338"/>
                <a:gd name="connsiteY48" fmla="*/ 856264 h 1303338"/>
                <a:gd name="connsiteX49" fmla="*/ 812502 w 1303338"/>
                <a:gd name="connsiteY49" fmla="*/ 845571 h 1303338"/>
                <a:gd name="connsiteX50" fmla="*/ 774617 w 1303338"/>
                <a:gd name="connsiteY50" fmla="*/ 695876 h 1303338"/>
                <a:gd name="connsiteX51" fmla="*/ 772473 w 1303338"/>
                <a:gd name="connsiteY51" fmla="*/ 693737 h 1303338"/>
                <a:gd name="connsiteX52" fmla="*/ 1006932 w 1303338"/>
                <a:gd name="connsiteY52" fmla="*/ 693737 h 1303338"/>
                <a:gd name="connsiteX53" fmla="*/ 1039813 w 1303338"/>
                <a:gd name="connsiteY53" fmla="*/ 727240 h 1303338"/>
                <a:gd name="connsiteX54" fmla="*/ 996210 w 1303338"/>
                <a:gd name="connsiteY54" fmla="*/ 816345 h 1303338"/>
                <a:gd name="connsiteX55" fmla="*/ 932591 w 1303338"/>
                <a:gd name="connsiteY55" fmla="*/ 859828 h 1303338"/>
                <a:gd name="connsiteX56" fmla="*/ 938310 w 1303338"/>
                <a:gd name="connsiteY56" fmla="*/ 812068 h 1303338"/>
                <a:gd name="connsiteX57" fmla="*/ 922584 w 1303338"/>
                <a:gd name="connsiteY57" fmla="*/ 796385 h 1303338"/>
                <a:gd name="connsiteX58" fmla="*/ 906858 w 1303338"/>
                <a:gd name="connsiteY58" fmla="*/ 812068 h 1303338"/>
                <a:gd name="connsiteX59" fmla="*/ 859680 w 1303338"/>
                <a:gd name="connsiteY59" fmla="*/ 935388 h 1303338"/>
                <a:gd name="connsiteX60" fmla="*/ 838236 w 1303338"/>
                <a:gd name="connsiteY60" fmla="*/ 954635 h 1303338"/>
                <a:gd name="connsiteX61" fmla="*/ 735302 w 1303338"/>
                <a:gd name="connsiteY61" fmla="*/ 987425 h 1303338"/>
                <a:gd name="connsiteX62" fmla="*/ 647380 w 1303338"/>
                <a:gd name="connsiteY62" fmla="*/ 963902 h 1303338"/>
                <a:gd name="connsiteX63" fmla="*/ 639517 w 1303338"/>
                <a:gd name="connsiteY63" fmla="*/ 959625 h 1303338"/>
                <a:gd name="connsiteX64" fmla="*/ 581617 w 1303338"/>
                <a:gd name="connsiteY64" fmla="*/ 886203 h 1303338"/>
                <a:gd name="connsiteX65" fmla="*/ 653814 w 1303338"/>
                <a:gd name="connsiteY65" fmla="*/ 834166 h 1303338"/>
                <a:gd name="connsiteX66" fmla="*/ 649525 w 1303338"/>
                <a:gd name="connsiteY66" fmla="*/ 812781 h 1303338"/>
                <a:gd name="connsiteX67" fmla="*/ 627366 w 1303338"/>
                <a:gd name="connsiteY67" fmla="*/ 817058 h 1303338"/>
                <a:gd name="connsiteX68" fmla="*/ 570180 w 1303338"/>
                <a:gd name="connsiteY68" fmla="*/ 856264 h 1303338"/>
                <a:gd name="connsiteX69" fmla="*/ 501558 w 1303338"/>
                <a:gd name="connsiteY69" fmla="*/ 844145 h 1303338"/>
                <a:gd name="connsiteX70" fmla="*/ 479399 w 1303338"/>
                <a:gd name="connsiteY70" fmla="*/ 848422 h 1303338"/>
                <a:gd name="connsiteX71" fmla="*/ 484403 w 1303338"/>
                <a:gd name="connsiteY71" fmla="*/ 869807 h 1303338"/>
                <a:gd name="connsiteX72" fmla="*/ 549451 w 1303338"/>
                <a:gd name="connsiteY72" fmla="*/ 889767 h 1303338"/>
                <a:gd name="connsiteX73" fmla="*/ 599488 w 1303338"/>
                <a:gd name="connsiteY73" fmla="*/ 966753 h 1303338"/>
                <a:gd name="connsiteX74" fmla="*/ 529436 w 1303338"/>
                <a:gd name="connsiteY74" fmla="*/ 983148 h 1303338"/>
                <a:gd name="connsiteX75" fmla="*/ 432221 w 1303338"/>
                <a:gd name="connsiteY75" fmla="*/ 948932 h 1303338"/>
                <a:gd name="connsiteX76" fmla="*/ 388618 w 1303338"/>
                <a:gd name="connsiteY76" fmla="*/ 885490 h 1303338"/>
                <a:gd name="connsiteX77" fmla="*/ 385758 w 1303338"/>
                <a:gd name="connsiteY77" fmla="*/ 875510 h 1303338"/>
                <a:gd name="connsiteX78" fmla="*/ 381470 w 1303338"/>
                <a:gd name="connsiteY78" fmla="*/ 842720 h 1303338"/>
                <a:gd name="connsiteX79" fmla="*/ 400770 w 1303338"/>
                <a:gd name="connsiteY79" fmla="*/ 770723 h 1303338"/>
                <a:gd name="connsiteX80" fmla="*/ 394336 w 1303338"/>
                <a:gd name="connsiteY80" fmla="*/ 749338 h 1303338"/>
                <a:gd name="connsiteX81" fmla="*/ 372892 w 1303338"/>
                <a:gd name="connsiteY81" fmla="*/ 755041 h 1303338"/>
                <a:gd name="connsiteX82" fmla="*/ 350018 w 1303338"/>
                <a:gd name="connsiteY82" fmla="*/ 842720 h 1303338"/>
                <a:gd name="connsiteX83" fmla="*/ 350733 w 1303338"/>
                <a:gd name="connsiteY83" fmla="*/ 854838 h 1303338"/>
                <a:gd name="connsiteX84" fmla="*/ 263525 w 1303338"/>
                <a:gd name="connsiteY84" fmla="*/ 760031 h 1303338"/>
                <a:gd name="connsiteX85" fmla="*/ 292118 w 1303338"/>
                <a:gd name="connsiteY85" fmla="*/ 693737 h 1303338"/>
                <a:gd name="connsiteX86" fmla="*/ 282187 w 1303338"/>
                <a:gd name="connsiteY86" fmla="*/ 666750 h 1303338"/>
                <a:gd name="connsiteX87" fmla="*/ 277908 w 1303338"/>
                <a:gd name="connsiteY87" fmla="*/ 671027 h 1303338"/>
                <a:gd name="connsiteX88" fmla="*/ 263642 w 1303338"/>
                <a:gd name="connsiteY88" fmla="*/ 685995 h 1303338"/>
                <a:gd name="connsiteX89" fmla="*/ 236537 w 1303338"/>
                <a:gd name="connsiteY89" fmla="*/ 760834 h 1303338"/>
                <a:gd name="connsiteX90" fmla="*/ 349949 w 1303338"/>
                <a:gd name="connsiteY90" fmla="*/ 883428 h 1303338"/>
                <a:gd name="connsiteX91" fmla="*/ 356369 w 1303338"/>
                <a:gd name="connsiteY91" fmla="*/ 886279 h 1303338"/>
                <a:gd name="connsiteX92" fmla="*/ 362789 w 1303338"/>
                <a:gd name="connsiteY92" fmla="*/ 894832 h 1303338"/>
                <a:gd name="connsiteX93" fmla="*/ 414858 w 1303338"/>
                <a:gd name="connsiteY93" fmla="*/ 971097 h 1303338"/>
                <a:gd name="connsiteX94" fmla="*/ 529697 w 1303338"/>
                <a:gd name="connsiteY94" fmla="*/ 1011724 h 1303338"/>
                <a:gd name="connsiteX95" fmla="*/ 541823 w 1303338"/>
                <a:gd name="connsiteY95" fmla="*/ 1011724 h 1303338"/>
                <a:gd name="connsiteX96" fmla="*/ 618144 w 1303338"/>
                <a:gd name="connsiteY96" fmla="*/ 988915 h 1303338"/>
                <a:gd name="connsiteX97" fmla="*/ 623137 w 1303338"/>
                <a:gd name="connsiteY97" fmla="*/ 987490 h 1303338"/>
                <a:gd name="connsiteX98" fmla="*/ 625990 w 1303338"/>
                <a:gd name="connsiteY98" fmla="*/ 987490 h 1303338"/>
                <a:gd name="connsiteX99" fmla="*/ 633837 w 1303338"/>
                <a:gd name="connsiteY99" fmla="*/ 988915 h 1303338"/>
                <a:gd name="connsiteX100" fmla="*/ 735123 w 1303338"/>
                <a:gd name="connsiteY100" fmla="*/ 1016000 h 1303338"/>
                <a:gd name="connsiteX101" fmla="*/ 853528 w 1303338"/>
                <a:gd name="connsiteY101" fmla="*/ 978224 h 1303338"/>
                <a:gd name="connsiteX102" fmla="*/ 917011 w 1303338"/>
                <a:gd name="connsiteY102" fmla="*/ 900534 h 1303338"/>
                <a:gd name="connsiteX103" fmla="*/ 922003 w 1303338"/>
                <a:gd name="connsiteY103" fmla="*/ 894119 h 1303338"/>
                <a:gd name="connsiteX104" fmla="*/ 927710 w 1303338"/>
                <a:gd name="connsiteY104" fmla="*/ 891268 h 1303338"/>
                <a:gd name="connsiteX105" fmla="*/ 1015444 w 1303338"/>
                <a:gd name="connsiteY105" fmla="*/ 836386 h 1303338"/>
                <a:gd name="connsiteX106" fmla="*/ 1066800 w 1303338"/>
                <a:gd name="connsiteY106" fmla="*/ 728047 h 1303338"/>
                <a:gd name="connsiteX107" fmla="*/ 1032563 w 1303338"/>
                <a:gd name="connsiteY107" fmla="*/ 673165 h 1303338"/>
                <a:gd name="connsiteX108" fmla="*/ 1007598 w 1303338"/>
                <a:gd name="connsiteY108" fmla="*/ 666750 h 1303338"/>
                <a:gd name="connsiteX109" fmla="*/ 989766 w 1303338"/>
                <a:gd name="connsiteY109" fmla="*/ 666750 h 1303338"/>
                <a:gd name="connsiteX110" fmla="*/ 726564 w 1303338"/>
                <a:gd name="connsiteY110" fmla="*/ 666750 h 1303338"/>
                <a:gd name="connsiteX111" fmla="*/ 657375 w 1303338"/>
                <a:gd name="connsiteY111" fmla="*/ 666750 h 1303338"/>
                <a:gd name="connsiteX112" fmla="*/ 324271 w 1303338"/>
                <a:gd name="connsiteY112" fmla="*/ 666750 h 1303338"/>
                <a:gd name="connsiteX113" fmla="*/ 282187 w 1303338"/>
                <a:gd name="connsiteY113" fmla="*/ 666750 h 1303338"/>
                <a:gd name="connsiteX114" fmla="*/ 1165107 w 1303338"/>
                <a:gd name="connsiteY114" fmla="*/ 636587 h 1303338"/>
                <a:gd name="connsiteX115" fmla="*/ 1287581 w 1303338"/>
                <a:gd name="connsiteY115" fmla="*/ 636587 h 1303338"/>
                <a:gd name="connsiteX116" fmla="*/ 1303338 w 1303338"/>
                <a:gd name="connsiteY116" fmla="*/ 652462 h 1303338"/>
                <a:gd name="connsiteX117" fmla="*/ 1287581 w 1303338"/>
                <a:gd name="connsiteY117" fmla="*/ 668337 h 1303338"/>
                <a:gd name="connsiteX118" fmla="*/ 1165107 w 1303338"/>
                <a:gd name="connsiteY118" fmla="*/ 668337 h 1303338"/>
                <a:gd name="connsiteX119" fmla="*/ 1149350 w 1303338"/>
                <a:gd name="connsiteY119" fmla="*/ 652462 h 1303338"/>
                <a:gd name="connsiteX120" fmla="*/ 1165107 w 1303338"/>
                <a:gd name="connsiteY120" fmla="*/ 636587 h 1303338"/>
                <a:gd name="connsiteX121" fmla="*/ 15757 w 1303338"/>
                <a:gd name="connsiteY121" fmla="*/ 633412 h 1303338"/>
                <a:gd name="connsiteX122" fmla="*/ 138231 w 1303338"/>
                <a:gd name="connsiteY122" fmla="*/ 634118 h 1303338"/>
                <a:gd name="connsiteX123" fmla="*/ 153988 w 1303338"/>
                <a:gd name="connsiteY123" fmla="*/ 649640 h 1303338"/>
                <a:gd name="connsiteX124" fmla="*/ 138231 w 1303338"/>
                <a:gd name="connsiteY124" fmla="*/ 665162 h 1303338"/>
                <a:gd name="connsiteX125" fmla="*/ 15757 w 1303338"/>
                <a:gd name="connsiteY125" fmla="*/ 664457 h 1303338"/>
                <a:gd name="connsiteX126" fmla="*/ 0 w 1303338"/>
                <a:gd name="connsiteY126" fmla="*/ 648934 h 1303338"/>
                <a:gd name="connsiteX127" fmla="*/ 15757 w 1303338"/>
                <a:gd name="connsiteY127" fmla="*/ 633412 h 1303338"/>
                <a:gd name="connsiteX128" fmla="*/ 1207141 w 1303338"/>
                <a:gd name="connsiteY128" fmla="*/ 318777 h 1303338"/>
                <a:gd name="connsiteX129" fmla="*/ 1216507 w 1303338"/>
                <a:gd name="connsiteY129" fmla="*/ 325938 h 1303338"/>
                <a:gd name="connsiteX130" fmla="*/ 1210798 w 1303338"/>
                <a:gd name="connsiteY130" fmla="*/ 347423 h 1303338"/>
                <a:gd name="connsiteX131" fmla="*/ 1105189 w 1303338"/>
                <a:gd name="connsiteY131" fmla="*/ 409014 h 1303338"/>
                <a:gd name="connsiteX132" fmla="*/ 1097340 w 1303338"/>
                <a:gd name="connsiteY132" fmla="*/ 411162 h 1303338"/>
                <a:gd name="connsiteX133" fmla="*/ 1083782 w 1303338"/>
                <a:gd name="connsiteY133" fmla="*/ 403284 h 1303338"/>
                <a:gd name="connsiteX134" fmla="*/ 1089490 w 1303338"/>
                <a:gd name="connsiteY134" fmla="*/ 381799 h 1303338"/>
                <a:gd name="connsiteX135" fmla="*/ 1195100 w 1303338"/>
                <a:gd name="connsiteY135" fmla="*/ 320209 h 1303338"/>
                <a:gd name="connsiteX136" fmla="*/ 1207141 w 1303338"/>
                <a:gd name="connsiteY136" fmla="*/ 318777 h 1303338"/>
                <a:gd name="connsiteX137" fmla="*/ 98498 w 1303338"/>
                <a:gd name="connsiteY137" fmla="*/ 315333 h 1303338"/>
                <a:gd name="connsiteX138" fmla="*/ 110539 w 1303338"/>
                <a:gd name="connsiteY138" fmla="*/ 317034 h 1303338"/>
                <a:gd name="connsiteX139" fmla="*/ 215435 w 1303338"/>
                <a:gd name="connsiteY139" fmla="*/ 378624 h 1303338"/>
                <a:gd name="connsiteX140" fmla="*/ 221143 w 1303338"/>
                <a:gd name="connsiteY140" fmla="*/ 400109 h 1303338"/>
                <a:gd name="connsiteX141" fmla="*/ 207585 w 1303338"/>
                <a:gd name="connsiteY141" fmla="*/ 407987 h 1303338"/>
                <a:gd name="connsiteX142" fmla="*/ 199736 w 1303338"/>
                <a:gd name="connsiteY142" fmla="*/ 405839 h 1303338"/>
                <a:gd name="connsiteX143" fmla="*/ 94127 w 1303338"/>
                <a:gd name="connsiteY143" fmla="*/ 344248 h 1303338"/>
                <a:gd name="connsiteX144" fmla="*/ 89132 w 1303338"/>
                <a:gd name="connsiteY144" fmla="*/ 322763 h 1303338"/>
                <a:gd name="connsiteX145" fmla="*/ 98498 w 1303338"/>
                <a:gd name="connsiteY145" fmla="*/ 315333 h 1303338"/>
                <a:gd name="connsiteX146" fmla="*/ 735302 w 1303338"/>
                <a:gd name="connsiteY146" fmla="*/ 312737 h 1303338"/>
                <a:gd name="connsiteX147" fmla="*/ 836091 w 1303338"/>
                <a:gd name="connsiteY147" fmla="*/ 344102 h 1303338"/>
                <a:gd name="connsiteX148" fmla="*/ 906858 w 1303338"/>
                <a:gd name="connsiteY148" fmla="*/ 487382 h 1303338"/>
                <a:gd name="connsiteX149" fmla="*/ 922584 w 1303338"/>
                <a:gd name="connsiteY149" fmla="*/ 503064 h 1303338"/>
                <a:gd name="connsiteX150" fmla="*/ 938310 w 1303338"/>
                <a:gd name="connsiteY150" fmla="*/ 487382 h 1303338"/>
                <a:gd name="connsiteX151" fmla="*/ 932591 w 1303338"/>
                <a:gd name="connsiteY151" fmla="*/ 439622 h 1303338"/>
                <a:gd name="connsiteX152" fmla="*/ 1039813 w 1303338"/>
                <a:gd name="connsiteY152" fmla="*/ 570783 h 1303338"/>
                <a:gd name="connsiteX153" fmla="*/ 1004787 w 1303338"/>
                <a:gd name="connsiteY153" fmla="*/ 606425 h 1303338"/>
                <a:gd name="connsiteX154" fmla="*/ 570180 w 1303338"/>
                <a:gd name="connsiteY154" fmla="*/ 606425 h 1303338"/>
                <a:gd name="connsiteX155" fmla="*/ 532295 w 1303338"/>
                <a:gd name="connsiteY155" fmla="*/ 582189 h 1303338"/>
                <a:gd name="connsiteX156" fmla="*/ 502988 w 1303338"/>
                <a:gd name="connsiteY156" fmla="*/ 465284 h 1303338"/>
                <a:gd name="connsiteX157" fmla="*/ 492981 w 1303338"/>
                <a:gd name="connsiteY157" fmla="*/ 445324 h 1303338"/>
                <a:gd name="connsiteX158" fmla="*/ 472966 w 1303338"/>
                <a:gd name="connsiteY158" fmla="*/ 455304 h 1303338"/>
                <a:gd name="connsiteX159" fmla="*/ 510136 w 1303338"/>
                <a:gd name="connsiteY159" fmla="*/ 604999 h 1303338"/>
                <a:gd name="connsiteX160" fmla="*/ 511566 w 1303338"/>
                <a:gd name="connsiteY160" fmla="*/ 606425 h 1303338"/>
                <a:gd name="connsiteX161" fmla="*/ 292118 w 1303338"/>
                <a:gd name="connsiteY161" fmla="*/ 606425 h 1303338"/>
                <a:gd name="connsiteX162" fmla="*/ 263525 w 1303338"/>
                <a:gd name="connsiteY162" fmla="*/ 540131 h 1303338"/>
                <a:gd name="connsiteX163" fmla="*/ 352877 w 1303338"/>
                <a:gd name="connsiteY163" fmla="*/ 444612 h 1303338"/>
                <a:gd name="connsiteX164" fmla="*/ 353592 w 1303338"/>
                <a:gd name="connsiteY164" fmla="*/ 444612 h 1303338"/>
                <a:gd name="connsiteX165" fmla="*/ 352877 w 1303338"/>
                <a:gd name="connsiteY165" fmla="*/ 455304 h 1303338"/>
                <a:gd name="connsiteX166" fmla="*/ 375036 w 1303338"/>
                <a:gd name="connsiteY166" fmla="*/ 542270 h 1303338"/>
                <a:gd name="connsiteX167" fmla="*/ 389333 w 1303338"/>
                <a:gd name="connsiteY167" fmla="*/ 550111 h 1303338"/>
                <a:gd name="connsiteX168" fmla="*/ 396481 w 1303338"/>
                <a:gd name="connsiteY168" fmla="*/ 548686 h 1303338"/>
                <a:gd name="connsiteX169" fmla="*/ 402914 w 1303338"/>
                <a:gd name="connsiteY169" fmla="*/ 527300 h 1303338"/>
                <a:gd name="connsiteX170" fmla="*/ 384329 w 1303338"/>
                <a:gd name="connsiteY170" fmla="*/ 455304 h 1303338"/>
                <a:gd name="connsiteX171" fmla="*/ 400055 w 1303338"/>
                <a:gd name="connsiteY171" fmla="*/ 389010 h 1303338"/>
                <a:gd name="connsiteX172" fmla="*/ 432221 w 1303338"/>
                <a:gd name="connsiteY172" fmla="*/ 351230 h 1303338"/>
                <a:gd name="connsiteX173" fmla="*/ 529436 w 1303338"/>
                <a:gd name="connsiteY173" fmla="*/ 317014 h 1303338"/>
                <a:gd name="connsiteX174" fmla="*/ 604492 w 1303338"/>
                <a:gd name="connsiteY174" fmla="*/ 336261 h 1303338"/>
                <a:gd name="connsiteX175" fmla="*/ 613784 w 1303338"/>
                <a:gd name="connsiteY175" fmla="*/ 340538 h 1303338"/>
                <a:gd name="connsiteX176" fmla="*/ 667395 w 1303338"/>
                <a:gd name="connsiteY176" fmla="*/ 441760 h 1303338"/>
                <a:gd name="connsiteX177" fmla="*/ 629510 w 1303338"/>
                <a:gd name="connsiteY177" fmla="*/ 440335 h 1303338"/>
                <a:gd name="connsiteX178" fmla="*/ 615929 w 1303338"/>
                <a:gd name="connsiteY178" fmla="*/ 458155 h 1303338"/>
                <a:gd name="connsiteX179" fmla="*/ 633799 w 1303338"/>
                <a:gd name="connsiteY179" fmla="*/ 471699 h 1303338"/>
                <a:gd name="connsiteX180" fmla="*/ 736017 w 1303338"/>
                <a:gd name="connsiteY180" fmla="*/ 550111 h 1303338"/>
                <a:gd name="connsiteX181" fmla="*/ 751743 w 1303338"/>
                <a:gd name="connsiteY181" fmla="*/ 563655 h 1303338"/>
                <a:gd name="connsiteX182" fmla="*/ 753888 w 1303338"/>
                <a:gd name="connsiteY182" fmla="*/ 563655 h 1303338"/>
                <a:gd name="connsiteX183" fmla="*/ 767469 w 1303338"/>
                <a:gd name="connsiteY183" fmla="*/ 545834 h 1303338"/>
                <a:gd name="connsiteX184" fmla="*/ 699562 w 1303338"/>
                <a:gd name="connsiteY184" fmla="*/ 451740 h 1303338"/>
                <a:gd name="connsiteX185" fmla="*/ 651669 w 1303338"/>
                <a:gd name="connsiteY185" fmla="*/ 333409 h 1303338"/>
                <a:gd name="connsiteX186" fmla="*/ 735302 w 1303338"/>
                <a:gd name="connsiteY186" fmla="*/ 312737 h 1303338"/>
                <a:gd name="connsiteX187" fmla="*/ 735123 w 1303338"/>
                <a:gd name="connsiteY187" fmla="*/ 284162 h 1303338"/>
                <a:gd name="connsiteX188" fmla="*/ 713011 w 1303338"/>
                <a:gd name="connsiteY188" fmla="*/ 285594 h 1303338"/>
                <a:gd name="connsiteX189" fmla="*/ 633837 w 1303338"/>
                <a:gd name="connsiteY189" fmla="*/ 310654 h 1303338"/>
                <a:gd name="connsiteX190" fmla="*/ 629557 w 1303338"/>
                <a:gd name="connsiteY190" fmla="*/ 312802 h 1303338"/>
                <a:gd name="connsiteX191" fmla="*/ 618144 w 1303338"/>
                <a:gd name="connsiteY191" fmla="*/ 310654 h 1303338"/>
                <a:gd name="connsiteX192" fmla="*/ 529697 w 1303338"/>
                <a:gd name="connsiteY192" fmla="*/ 288458 h 1303338"/>
                <a:gd name="connsiteX193" fmla="*/ 414858 w 1303338"/>
                <a:gd name="connsiteY193" fmla="*/ 329270 h 1303338"/>
                <a:gd name="connsiteX194" fmla="*/ 362789 w 1303338"/>
                <a:gd name="connsiteY194" fmla="*/ 405881 h 1303338"/>
                <a:gd name="connsiteX195" fmla="*/ 358509 w 1303338"/>
                <a:gd name="connsiteY195" fmla="*/ 412325 h 1303338"/>
                <a:gd name="connsiteX196" fmla="*/ 349949 w 1303338"/>
                <a:gd name="connsiteY196" fmla="*/ 416621 h 1303338"/>
                <a:gd name="connsiteX197" fmla="*/ 236537 w 1303338"/>
                <a:gd name="connsiteY197" fmla="*/ 540489 h 1303338"/>
                <a:gd name="connsiteX198" fmla="*/ 263642 w 1303338"/>
                <a:gd name="connsiteY198" fmla="*/ 615668 h 1303338"/>
                <a:gd name="connsiteX199" fmla="*/ 277908 w 1303338"/>
                <a:gd name="connsiteY199" fmla="*/ 630704 h 1303338"/>
                <a:gd name="connsiteX200" fmla="*/ 282187 w 1303338"/>
                <a:gd name="connsiteY200" fmla="*/ 635000 h 1303338"/>
                <a:gd name="connsiteX201" fmla="*/ 324271 w 1303338"/>
                <a:gd name="connsiteY201" fmla="*/ 635000 h 1303338"/>
                <a:gd name="connsiteX202" fmla="*/ 555375 w 1303338"/>
                <a:gd name="connsiteY202" fmla="*/ 635000 h 1303338"/>
                <a:gd name="connsiteX203" fmla="*/ 628844 w 1303338"/>
                <a:gd name="connsiteY203" fmla="*/ 635000 h 1303338"/>
                <a:gd name="connsiteX204" fmla="*/ 989052 w 1303338"/>
                <a:gd name="connsiteY204" fmla="*/ 635000 h 1303338"/>
                <a:gd name="connsiteX205" fmla="*/ 1006171 w 1303338"/>
                <a:gd name="connsiteY205" fmla="*/ 635000 h 1303338"/>
                <a:gd name="connsiteX206" fmla="*/ 1032563 w 1303338"/>
                <a:gd name="connsiteY206" fmla="*/ 625692 h 1303338"/>
                <a:gd name="connsiteX207" fmla="*/ 1066800 w 1303338"/>
                <a:gd name="connsiteY207" fmla="*/ 571277 h 1303338"/>
                <a:gd name="connsiteX208" fmla="*/ 927710 w 1303338"/>
                <a:gd name="connsiteY208" fmla="*/ 409461 h 1303338"/>
                <a:gd name="connsiteX209" fmla="*/ 921290 w 1303338"/>
                <a:gd name="connsiteY209" fmla="*/ 405881 h 1303338"/>
                <a:gd name="connsiteX210" fmla="*/ 917011 w 1303338"/>
                <a:gd name="connsiteY210" fmla="*/ 400153 h 1303338"/>
                <a:gd name="connsiteX211" fmla="*/ 853528 w 1303338"/>
                <a:gd name="connsiteY211" fmla="*/ 322110 h 1303338"/>
                <a:gd name="connsiteX212" fmla="*/ 735123 w 1303338"/>
                <a:gd name="connsiteY212" fmla="*/ 284162 h 1303338"/>
                <a:gd name="connsiteX213" fmla="*/ 735191 w 1303338"/>
                <a:gd name="connsiteY213" fmla="*/ 254000 h 1303338"/>
                <a:gd name="connsiteX214" fmla="*/ 872254 w 1303338"/>
                <a:gd name="connsiteY214" fmla="*/ 297542 h 1303338"/>
                <a:gd name="connsiteX215" fmla="*/ 942927 w 1303338"/>
                <a:gd name="connsiteY215" fmla="*/ 381771 h 1303338"/>
                <a:gd name="connsiteX216" fmla="*/ 1047866 w 1303338"/>
                <a:gd name="connsiteY216" fmla="*/ 452438 h 1303338"/>
                <a:gd name="connsiteX217" fmla="*/ 1098550 w 1303338"/>
                <a:gd name="connsiteY217" fmla="*/ 571643 h 1303338"/>
                <a:gd name="connsiteX218" fmla="*/ 1055004 w 1303338"/>
                <a:gd name="connsiteY218" fmla="*/ 649448 h 1303338"/>
                <a:gd name="connsiteX219" fmla="*/ 1098550 w 1303338"/>
                <a:gd name="connsiteY219" fmla="*/ 727966 h 1303338"/>
                <a:gd name="connsiteX220" fmla="*/ 1038585 w 1303338"/>
                <a:gd name="connsiteY220" fmla="*/ 857878 h 1303338"/>
                <a:gd name="connsiteX221" fmla="*/ 942927 w 1303338"/>
                <a:gd name="connsiteY221" fmla="*/ 919979 h 1303338"/>
                <a:gd name="connsiteX222" fmla="*/ 872254 w 1303338"/>
                <a:gd name="connsiteY222" fmla="*/ 1003494 h 1303338"/>
                <a:gd name="connsiteX223" fmla="*/ 735191 w 1303338"/>
                <a:gd name="connsiteY223" fmla="*/ 1047750 h 1303338"/>
                <a:gd name="connsiteX224" fmla="*/ 625969 w 1303338"/>
                <a:gd name="connsiteY224" fmla="*/ 1020626 h 1303338"/>
                <a:gd name="connsiteX225" fmla="*/ 529597 w 1303338"/>
                <a:gd name="connsiteY225" fmla="*/ 1043467 h 1303338"/>
                <a:gd name="connsiteX226" fmla="*/ 394676 w 1303338"/>
                <a:gd name="connsiteY226" fmla="*/ 995642 h 1303338"/>
                <a:gd name="connsiteX227" fmla="*/ 335425 w 1303338"/>
                <a:gd name="connsiteY227" fmla="*/ 913555 h 1303338"/>
                <a:gd name="connsiteX228" fmla="*/ 204787 w 1303338"/>
                <a:gd name="connsiteY228" fmla="*/ 760801 h 1303338"/>
                <a:gd name="connsiteX229" fmla="*/ 252616 w 1303338"/>
                <a:gd name="connsiteY229" fmla="*/ 650875 h 1303338"/>
                <a:gd name="connsiteX230" fmla="*/ 204787 w 1303338"/>
                <a:gd name="connsiteY230" fmla="*/ 540949 h 1303338"/>
                <a:gd name="connsiteX231" fmla="*/ 335425 w 1303338"/>
                <a:gd name="connsiteY231" fmla="*/ 388195 h 1303338"/>
                <a:gd name="connsiteX232" fmla="*/ 394676 w 1303338"/>
                <a:gd name="connsiteY232" fmla="*/ 306108 h 1303338"/>
                <a:gd name="connsiteX233" fmla="*/ 529597 w 1303338"/>
                <a:gd name="connsiteY233" fmla="*/ 258283 h 1303338"/>
                <a:gd name="connsiteX234" fmla="*/ 625969 w 1303338"/>
                <a:gd name="connsiteY234" fmla="*/ 280411 h 1303338"/>
                <a:gd name="connsiteX235" fmla="*/ 735191 w 1303338"/>
                <a:gd name="connsiteY235" fmla="*/ 254000 h 1303338"/>
                <a:gd name="connsiteX236" fmla="*/ 965440 w 1303338"/>
                <a:gd name="connsiteY236" fmla="*/ 85579 h 1303338"/>
                <a:gd name="connsiteX237" fmla="*/ 977456 w 1303338"/>
                <a:gd name="connsiteY237" fmla="*/ 87539 h 1303338"/>
                <a:gd name="connsiteX238" fmla="*/ 983152 w 1303338"/>
                <a:gd name="connsiteY238" fmla="*/ 108922 h 1303338"/>
                <a:gd name="connsiteX239" fmla="*/ 921917 w 1303338"/>
                <a:gd name="connsiteY239" fmla="*/ 214410 h 1303338"/>
                <a:gd name="connsiteX240" fmla="*/ 908388 w 1303338"/>
                <a:gd name="connsiteY240" fmla="*/ 222250 h 1303338"/>
                <a:gd name="connsiteX241" fmla="*/ 900555 w 1303338"/>
                <a:gd name="connsiteY241" fmla="*/ 220112 h 1303338"/>
                <a:gd name="connsiteX242" fmla="*/ 894859 w 1303338"/>
                <a:gd name="connsiteY242" fmla="*/ 198729 h 1303338"/>
                <a:gd name="connsiteX243" fmla="*/ 956095 w 1303338"/>
                <a:gd name="connsiteY243" fmla="*/ 93241 h 1303338"/>
                <a:gd name="connsiteX244" fmla="*/ 965440 w 1303338"/>
                <a:gd name="connsiteY244" fmla="*/ 85579 h 1303338"/>
                <a:gd name="connsiteX245" fmla="*/ 341312 w 1303338"/>
                <a:gd name="connsiteY245" fmla="*/ 83813 h 1303338"/>
                <a:gd name="connsiteX246" fmla="*/ 350837 w 1303338"/>
                <a:gd name="connsiteY246" fmla="*/ 90940 h 1303338"/>
                <a:gd name="connsiteX247" fmla="*/ 410103 w 1303338"/>
                <a:gd name="connsiteY247" fmla="*/ 197141 h 1303338"/>
                <a:gd name="connsiteX248" fmla="*/ 404459 w 1303338"/>
                <a:gd name="connsiteY248" fmla="*/ 218524 h 1303338"/>
                <a:gd name="connsiteX249" fmla="*/ 396698 w 1303338"/>
                <a:gd name="connsiteY249" fmla="*/ 220662 h 1303338"/>
                <a:gd name="connsiteX250" fmla="*/ 383292 w 1303338"/>
                <a:gd name="connsiteY250" fmla="*/ 212109 h 1303338"/>
                <a:gd name="connsiteX251" fmla="*/ 323320 w 1303338"/>
                <a:gd name="connsiteY251" fmla="*/ 106621 h 1303338"/>
                <a:gd name="connsiteX252" fmla="*/ 329670 w 1303338"/>
                <a:gd name="connsiteY252" fmla="*/ 85238 h 1303338"/>
                <a:gd name="connsiteX253" fmla="*/ 341312 w 1303338"/>
                <a:gd name="connsiteY253" fmla="*/ 83813 h 1303338"/>
                <a:gd name="connsiteX254" fmla="*/ 651668 w 1303338"/>
                <a:gd name="connsiteY254" fmla="*/ 0 h 1303338"/>
                <a:gd name="connsiteX255" fmla="*/ 666750 w 1303338"/>
                <a:gd name="connsiteY255" fmla="*/ 15757 h 1303338"/>
                <a:gd name="connsiteX256" fmla="*/ 666750 w 1303338"/>
                <a:gd name="connsiteY256" fmla="*/ 138231 h 1303338"/>
                <a:gd name="connsiteX257" fmla="*/ 651668 w 1303338"/>
                <a:gd name="connsiteY257" fmla="*/ 153988 h 1303338"/>
                <a:gd name="connsiteX258" fmla="*/ 636587 w 1303338"/>
                <a:gd name="connsiteY258" fmla="*/ 138231 h 1303338"/>
                <a:gd name="connsiteX259" fmla="*/ 636587 w 1303338"/>
                <a:gd name="connsiteY259" fmla="*/ 15757 h 1303338"/>
                <a:gd name="connsiteX260" fmla="*/ 651668 w 1303338"/>
                <a:gd name="connsiteY260"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92118" y="693737"/>
                  </a:moveTo>
                  <a:cubicBezTo>
                    <a:pt x="292118" y="693737"/>
                    <a:pt x="292118" y="693737"/>
                    <a:pt x="711714" y="693737"/>
                  </a:cubicBezTo>
                  <a:cubicBezTo>
                    <a:pt x="726725" y="698727"/>
                    <a:pt x="741021" y="707281"/>
                    <a:pt x="753173" y="718686"/>
                  </a:cubicBezTo>
                  <a:cubicBezTo>
                    <a:pt x="784625" y="748625"/>
                    <a:pt x="796062" y="794247"/>
                    <a:pt x="782480" y="835591"/>
                  </a:cubicBezTo>
                  <a:cubicBezTo>
                    <a:pt x="779621" y="844145"/>
                    <a:pt x="784625" y="852699"/>
                    <a:pt x="792488" y="855551"/>
                  </a:cubicBezTo>
                  <a:cubicBezTo>
                    <a:pt x="793917" y="856264"/>
                    <a:pt x="796062" y="856264"/>
                    <a:pt x="797491" y="856264"/>
                  </a:cubicBezTo>
                  <a:cubicBezTo>
                    <a:pt x="803925" y="856264"/>
                    <a:pt x="810358" y="851986"/>
                    <a:pt x="812502" y="845571"/>
                  </a:cubicBezTo>
                  <a:cubicBezTo>
                    <a:pt x="830373" y="792821"/>
                    <a:pt x="815362" y="734369"/>
                    <a:pt x="774617" y="695876"/>
                  </a:cubicBezTo>
                  <a:cubicBezTo>
                    <a:pt x="773902" y="695163"/>
                    <a:pt x="773188" y="694450"/>
                    <a:pt x="772473" y="693737"/>
                  </a:cubicBezTo>
                  <a:cubicBezTo>
                    <a:pt x="772473" y="693737"/>
                    <a:pt x="772473" y="693737"/>
                    <a:pt x="1006932" y="693737"/>
                  </a:cubicBezTo>
                  <a:cubicBezTo>
                    <a:pt x="1027661" y="695876"/>
                    <a:pt x="1039813" y="707994"/>
                    <a:pt x="1039813" y="727240"/>
                  </a:cubicBezTo>
                  <a:cubicBezTo>
                    <a:pt x="1039813" y="754328"/>
                    <a:pt x="1024087" y="787119"/>
                    <a:pt x="996210" y="816345"/>
                  </a:cubicBezTo>
                  <a:cubicBezTo>
                    <a:pt x="976195" y="837017"/>
                    <a:pt x="954036" y="851986"/>
                    <a:pt x="932591" y="859828"/>
                  </a:cubicBezTo>
                  <a:cubicBezTo>
                    <a:pt x="936165" y="844858"/>
                    <a:pt x="938310" y="828463"/>
                    <a:pt x="938310" y="812068"/>
                  </a:cubicBezTo>
                  <a:cubicBezTo>
                    <a:pt x="938310" y="803514"/>
                    <a:pt x="931161" y="796385"/>
                    <a:pt x="922584" y="796385"/>
                  </a:cubicBezTo>
                  <a:cubicBezTo>
                    <a:pt x="913291" y="796385"/>
                    <a:pt x="906858" y="803514"/>
                    <a:pt x="906858" y="812068"/>
                  </a:cubicBezTo>
                  <a:cubicBezTo>
                    <a:pt x="906858" y="859828"/>
                    <a:pt x="888987" y="903311"/>
                    <a:pt x="859680" y="935388"/>
                  </a:cubicBezTo>
                  <a:cubicBezTo>
                    <a:pt x="853247" y="942517"/>
                    <a:pt x="846099" y="948932"/>
                    <a:pt x="838236" y="954635"/>
                  </a:cubicBezTo>
                  <a:cubicBezTo>
                    <a:pt x="808213" y="976020"/>
                    <a:pt x="772473" y="987425"/>
                    <a:pt x="735302" y="987425"/>
                  </a:cubicBezTo>
                  <a:cubicBezTo>
                    <a:pt x="703851" y="987425"/>
                    <a:pt x="673828" y="978871"/>
                    <a:pt x="647380" y="963902"/>
                  </a:cubicBezTo>
                  <a:cubicBezTo>
                    <a:pt x="647380" y="963902"/>
                    <a:pt x="647380" y="963902"/>
                    <a:pt x="639517" y="959625"/>
                  </a:cubicBezTo>
                  <a:cubicBezTo>
                    <a:pt x="614499" y="941804"/>
                    <a:pt x="594484" y="916142"/>
                    <a:pt x="581617" y="886203"/>
                  </a:cubicBezTo>
                  <a:cubicBezTo>
                    <a:pt x="611640" y="878361"/>
                    <a:pt x="637373" y="860541"/>
                    <a:pt x="653814" y="834166"/>
                  </a:cubicBezTo>
                  <a:cubicBezTo>
                    <a:pt x="658817" y="827037"/>
                    <a:pt x="656673" y="817058"/>
                    <a:pt x="649525" y="812781"/>
                  </a:cubicBezTo>
                  <a:cubicBezTo>
                    <a:pt x="642377" y="807791"/>
                    <a:pt x="632369" y="809929"/>
                    <a:pt x="627366" y="817058"/>
                  </a:cubicBezTo>
                  <a:cubicBezTo>
                    <a:pt x="614499" y="837730"/>
                    <a:pt x="593769" y="851274"/>
                    <a:pt x="570180" y="856264"/>
                  </a:cubicBezTo>
                  <a:cubicBezTo>
                    <a:pt x="545877" y="861966"/>
                    <a:pt x="521573" y="856976"/>
                    <a:pt x="501558" y="844145"/>
                  </a:cubicBezTo>
                  <a:cubicBezTo>
                    <a:pt x="493695" y="839155"/>
                    <a:pt x="484403" y="841294"/>
                    <a:pt x="479399" y="848422"/>
                  </a:cubicBezTo>
                  <a:cubicBezTo>
                    <a:pt x="474395" y="855551"/>
                    <a:pt x="476540" y="865530"/>
                    <a:pt x="484403" y="869807"/>
                  </a:cubicBezTo>
                  <a:cubicBezTo>
                    <a:pt x="503703" y="882638"/>
                    <a:pt x="526577" y="889767"/>
                    <a:pt x="549451" y="889767"/>
                  </a:cubicBezTo>
                  <a:cubicBezTo>
                    <a:pt x="560888" y="919706"/>
                    <a:pt x="578043" y="945368"/>
                    <a:pt x="599488" y="966753"/>
                  </a:cubicBezTo>
                  <a:cubicBezTo>
                    <a:pt x="578043" y="977445"/>
                    <a:pt x="554455" y="983148"/>
                    <a:pt x="529436" y="983148"/>
                  </a:cubicBezTo>
                  <a:cubicBezTo>
                    <a:pt x="493695" y="983148"/>
                    <a:pt x="459384" y="971030"/>
                    <a:pt x="432221" y="948932"/>
                  </a:cubicBezTo>
                  <a:cubicBezTo>
                    <a:pt x="411492" y="931824"/>
                    <a:pt x="396481" y="909726"/>
                    <a:pt x="388618" y="885490"/>
                  </a:cubicBezTo>
                  <a:cubicBezTo>
                    <a:pt x="388618" y="885490"/>
                    <a:pt x="388618" y="885490"/>
                    <a:pt x="385758" y="875510"/>
                  </a:cubicBezTo>
                  <a:cubicBezTo>
                    <a:pt x="382899" y="864818"/>
                    <a:pt x="381470" y="854125"/>
                    <a:pt x="381470" y="842720"/>
                  </a:cubicBezTo>
                  <a:cubicBezTo>
                    <a:pt x="381470" y="817058"/>
                    <a:pt x="387903" y="792821"/>
                    <a:pt x="400770" y="770723"/>
                  </a:cubicBezTo>
                  <a:cubicBezTo>
                    <a:pt x="405058" y="763595"/>
                    <a:pt x="402199" y="753615"/>
                    <a:pt x="394336" y="749338"/>
                  </a:cubicBezTo>
                  <a:cubicBezTo>
                    <a:pt x="387188" y="745061"/>
                    <a:pt x="377181" y="747913"/>
                    <a:pt x="372892" y="755041"/>
                  </a:cubicBezTo>
                  <a:cubicBezTo>
                    <a:pt x="357881" y="782129"/>
                    <a:pt x="350018" y="812068"/>
                    <a:pt x="350018" y="842720"/>
                  </a:cubicBezTo>
                  <a:cubicBezTo>
                    <a:pt x="350018" y="846997"/>
                    <a:pt x="350733" y="850561"/>
                    <a:pt x="350733" y="854838"/>
                  </a:cubicBezTo>
                  <a:cubicBezTo>
                    <a:pt x="300696" y="847709"/>
                    <a:pt x="263525" y="807078"/>
                    <a:pt x="263525" y="760031"/>
                  </a:cubicBezTo>
                  <a:cubicBezTo>
                    <a:pt x="263525" y="735794"/>
                    <a:pt x="274247" y="711558"/>
                    <a:pt x="292118" y="693737"/>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302" y="312737"/>
                  </a:moveTo>
                  <a:cubicBezTo>
                    <a:pt x="771758" y="312737"/>
                    <a:pt x="806784" y="323430"/>
                    <a:pt x="836091" y="344102"/>
                  </a:cubicBezTo>
                  <a:cubicBezTo>
                    <a:pt x="878980" y="376892"/>
                    <a:pt x="906858" y="428929"/>
                    <a:pt x="906858" y="487382"/>
                  </a:cubicBezTo>
                  <a:cubicBezTo>
                    <a:pt x="906858" y="495936"/>
                    <a:pt x="913291" y="503064"/>
                    <a:pt x="922584" y="503064"/>
                  </a:cubicBezTo>
                  <a:cubicBezTo>
                    <a:pt x="931161" y="503064"/>
                    <a:pt x="938310" y="495936"/>
                    <a:pt x="938310" y="487382"/>
                  </a:cubicBezTo>
                  <a:cubicBezTo>
                    <a:pt x="938310" y="470986"/>
                    <a:pt x="936165" y="455304"/>
                    <a:pt x="932591" y="439622"/>
                  </a:cubicBezTo>
                  <a:cubicBezTo>
                    <a:pt x="987632" y="459581"/>
                    <a:pt x="1039813" y="521598"/>
                    <a:pt x="1039813" y="570783"/>
                  </a:cubicBezTo>
                  <a:cubicBezTo>
                    <a:pt x="1039813" y="589317"/>
                    <a:pt x="1021943" y="603574"/>
                    <a:pt x="1004787" y="606425"/>
                  </a:cubicBezTo>
                  <a:cubicBezTo>
                    <a:pt x="1004787" y="606425"/>
                    <a:pt x="1004787" y="606425"/>
                    <a:pt x="570180" y="606425"/>
                  </a:cubicBezTo>
                  <a:cubicBezTo>
                    <a:pt x="556599" y="601435"/>
                    <a:pt x="543018" y="592881"/>
                    <a:pt x="532295" y="582189"/>
                  </a:cubicBezTo>
                  <a:cubicBezTo>
                    <a:pt x="500129" y="552963"/>
                    <a:pt x="488692" y="506628"/>
                    <a:pt x="502988" y="465284"/>
                  </a:cubicBezTo>
                  <a:cubicBezTo>
                    <a:pt x="505132" y="457443"/>
                    <a:pt x="500843" y="448176"/>
                    <a:pt x="492981" y="445324"/>
                  </a:cubicBezTo>
                  <a:cubicBezTo>
                    <a:pt x="484403" y="443186"/>
                    <a:pt x="475825" y="447463"/>
                    <a:pt x="472966" y="455304"/>
                  </a:cubicBezTo>
                  <a:cubicBezTo>
                    <a:pt x="455095" y="508054"/>
                    <a:pt x="470106" y="567219"/>
                    <a:pt x="510136" y="604999"/>
                  </a:cubicBezTo>
                  <a:cubicBezTo>
                    <a:pt x="510851" y="605712"/>
                    <a:pt x="511566" y="605712"/>
                    <a:pt x="511566" y="606425"/>
                  </a:cubicBezTo>
                  <a:lnTo>
                    <a:pt x="292118" y="606425"/>
                  </a:lnTo>
                  <a:cubicBezTo>
                    <a:pt x="274247" y="588604"/>
                    <a:pt x="263525" y="564368"/>
                    <a:pt x="263525" y="540131"/>
                  </a:cubicBezTo>
                  <a:cubicBezTo>
                    <a:pt x="263525" y="492372"/>
                    <a:pt x="302125" y="451027"/>
                    <a:pt x="352877" y="444612"/>
                  </a:cubicBezTo>
                  <a:cubicBezTo>
                    <a:pt x="352877" y="444612"/>
                    <a:pt x="352877" y="444612"/>
                    <a:pt x="353592" y="444612"/>
                  </a:cubicBezTo>
                  <a:cubicBezTo>
                    <a:pt x="352877" y="448176"/>
                    <a:pt x="352877" y="451740"/>
                    <a:pt x="352877" y="455304"/>
                  </a:cubicBezTo>
                  <a:cubicBezTo>
                    <a:pt x="352877" y="485956"/>
                    <a:pt x="360740" y="515895"/>
                    <a:pt x="375036" y="542270"/>
                  </a:cubicBezTo>
                  <a:cubicBezTo>
                    <a:pt x="377895" y="547260"/>
                    <a:pt x="383614" y="550111"/>
                    <a:pt x="389333" y="550111"/>
                  </a:cubicBezTo>
                  <a:cubicBezTo>
                    <a:pt x="391477" y="550111"/>
                    <a:pt x="394336" y="549398"/>
                    <a:pt x="396481" y="548686"/>
                  </a:cubicBezTo>
                  <a:cubicBezTo>
                    <a:pt x="404344" y="544408"/>
                    <a:pt x="407203" y="534429"/>
                    <a:pt x="402914" y="527300"/>
                  </a:cubicBezTo>
                  <a:cubicBezTo>
                    <a:pt x="390762" y="505203"/>
                    <a:pt x="384329" y="480253"/>
                    <a:pt x="384329" y="455304"/>
                  </a:cubicBezTo>
                  <a:cubicBezTo>
                    <a:pt x="384329" y="431068"/>
                    <a:pt x="390047" y="408970"/>
                    <a:pt x="400055" y="389010"/>
                  </a:cubicBezTo>
                  <a:cubicBezTo>
                    <a:pt x="408632" y="374754"/>
                    <a:pt x="419355" y="361923"/>
                    <a:pt x="432221" y="351230"/>
                  </a:cubicBezTo>
                  <a:cubicBezTo>
                    <a:pt x="459384" y="329132"/>
                    <a:pt x="493695" y="317014"/>
                    <a:pt x="529436" y="317014"/>
                  </a:cubicBezTo>
                  <a:cubicBezTo>
                    <a:pt x="556599" y="317014"/>
                    <a:pt x="581617" y="323430"/>
                    <a:pt x="604492" y="336261"/>
                  </a:cubicBezTo>
                  <a:cubicBezTo>
                    <a:pt x="604492" y="336261"/>
                    <a:pt x="604492" y="336261"/>
                    <a:pt x="613784" y="340538"/>
                  </a:cubicBezTo>
                  <a:cubicBezTo>
                    <a:pt x="643091" y="364774"/>
                    <a:pt x="663821" y="400416"/>
                    <a:pt x="667395" y="441760"/>
                  </a:cubicBezTo>
                  <a:cubicBezTo>
                    <a:pt x="655243" y="438909"/>
                    <a:pt x="642377" y="438909"/>
                    <a:pt x="629510" y="440335"/>
                  </a:cubicBezTo>
                  <a:cubicBezTo>
                    <a:pt x="620932" y="441760"/>
                    <a:pt x="615214" y="449601"/>
                    <a:pt x="615929" y="458155"/>
                  </a:cubicBezTo>
                  <a:cubicBezTo>
                    <a:pt x="617358" y="466709"/>
                    <a:pt x="625221" y="472412"/>
                    <a:pt x="633799" y="471699"/>
                  </a:cubicBezTo>
                  <a:cubicBezTo>
                    <a:pt x="683836" y="465284"/>
                    <a:pt x="729584" y="500213"/>
                    <a:pt x="736017" y="550111"/>
                  </a:cubicBezTo>
                  <a:cubicBezTo>
                    <a:pt x="737447" y="557952"/>
                    <a:pt x="743880" y="563655"/>
                    <a:pt x="751743" y="563655"/>
                  </a:cubicBezTo>
                  <a:cubicBezTo>
                    <a:pt x="752458" y="563655"/>
                    <a:pt x="753173" y="563655"/>
                    <a:pt x="753888" y="563655"/>
                  </a:cubicBezTo>
                  <a:cubicBezTo>
                    <a:pt x="762465" y="562229"/>
                    <a:pt x="768184" y="554388"/>
                    <a:pt x="767469" y="545834"/>
                  </a:cubicBezTo>
                  <a:cubicBezTo>
                    <a:pt x="761751" y="503777"/>
                    <a:pt x="735302" y="469561"/>
                    <a:pt x="699562" y="451740"/>
                  </a:cubicBezTo>
                  <a:cubicBezTo>
                    <a:pt x="698847" y="406119"/>
                    <a:pt x="680262" y="364774"/>
                    <a:pt x="651669" y="333409"/>
                  </a:cubicBezTo>
                  <a:cubicBezTo>
                    <a:pt x="676688" y="319865"/>
                    <a:pt x="705995" y="312737"/>
                    <a:pt x="735302" y="312737"/>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276" name="bcgBugs_Megaphone">
            <a:extLst>
              <a:ext uri="{FF2B5EF4-FFF2-40B4-BE49-F238E27FC236}">
                <a16:creationId xmlns:a16="http://schemas.microsoft.com/office/drawing/2014/main" id="{8BED6950-3EF6-4F40-93E9-976D68411C54}"/>
              </a:ext>
            </a:extLst>
          </p:cNvPr>
          <p:cNvGrpSpPr>
            <a:grpSpLocks noChangeAspect="1"/>
          </p:cNvGrpSpPr>
          <p:nvPr/>
        </p:nvGrpSpPr>
        <p:grpSpPr bwMode="auto">
          <a:xfrm>
            <a:off x="10248809" y="4454921"/>
            <a:ext cx="456753" cy="457200"/>
            <a:chOff x="2818" y="1137"/>
            <a:chExt cx="2044" cy="2046"/>
          </a:xfrm>
        </p:grpSpPr>
        <p:sp>
          <p:nvSpPr>
            <p:cNvPr id="277" name="AutoShape 43">
              <a:extLst>
                <a:ext uri="{FF2B5EF4-FFF2-40B4-BE49-F238E27FC236}">
                  <a16:creationId xmlns:a16="http://schemas.microsoft.com/office/drawing/2014/main" id="{76483520-4FD1-4DEE-B9A0-1DCE8DC6C98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5">
              <a:extLst>
                <a:ext uri="{FF2B5EF4-FFF2-40B4-BE49-F238E27FC236}">
                  <a16:creationId xmlns:a16="http://schemas.microsoft.com/office/drawing/2014/main" id="{CC17AEE6-39E5-4CE9-A12D-09F858135F1C}"/>
                </a:ext>
              </a:extLst>
            </p:cNvPr>
            <p:cNvSpPr>
              <a:spLocks noEditPoints="1"/>
            </p:cNvSpPr>
            <p:nvPr/>
          </p:nvSpPr>
          <p:spPr bwMode="auto">
            <a:xfrm>
              <a:off x="2947" y="1401"/>
              <a:ext cx="1786" cy="1508"/>
            </a:xfrm>
            <a:custGeom>
              <a:avLst/>
              <a:gdLst>
                <a:gd name="T0" fmla="*/ 409 w 873"/>
                <a:gd name="T1" fmla="*/ 705 h 736"/>
                <a:gd name="T2" fmla="*/ 407 w 873"/>
                <a:gd name="T3" fmla="*/ 726 h 736"/>
                <a:gd name="T4" fmla="*/ 389 w 873"/>
                <a:gd name="T5" fmla="*/ 736 h 736"/>
                <a:gd name="T6" fmla="*/ 273 w 873"/>
                <a:gd name="T7" fmla="*/ 736 h 736"/>
                <a:gd name="T8" fmla="*/ 252 w 873"/>
                <a:gd name="T9" fmla="*/ 722 h 736"/>
                <a:gd name="T10" fmla="*/ 143 w 873"/>
                <a:gd name="T11" fmla="*/ 459 h 736"/>
                <a:gd name="T12" fmla="*/ 317 w 873"/>
                <a:gd name="T13" fmla="*/ 485 h 736"/>
                <a:gd name="T14" fmla="*/ 409 w 873"/>
                <a:gd name="T15" fmla="*/ 705 h 736"/>
                <a:gd name="T16" fmla="*/ 736 w 873"/>
                <a:gd name="T17" fmla="*/ 7 h 736"/>
                <a:gd name="T18" fmla="*/ 537 w 873"/>
                <a:gd name="T19" fmla="*/ 104 h 736"/>
                <a:gd name="T20" fmla="*/ 537 w 873"/>
                <a:gd name="T21" fmla="*/ 104 h 736"/>
                <a:gd name="T22" fmla="*/ 122 w 873"/>
                <a:gd name="T23" fmla="*/ 166 h 736"/>
                <a:gd name="T24" fmla="*/ 0 w 873"/>
                <a:gd name="T25" fmla="*/ 289 h 736"/>
                <a:gd name="T26" fmla="*/ 122 w 873"/>
                <a:gd name="T27" fmla="*/ 411 h 736"/>
                <a:gd name="T28" fmla="*/ 537 w 873"/>
                <a:gd name="T29" fmla="*/ 474 h 736"/>
                <a:gd name="T30" fmla="*/ 537 w 873"/>
                <a:gd name="T31" fmla="*/ 474 h 736"/>
                <a:gd name="T32" fmla="*/ 736 w 873"/>
                <a:gd name="T33" fmla="*/ 570 h 736"/>
                <a:gd name="T34" fmla="*/ 769 w 873"/>
                <a:gd name="T35" fmla="*/ 549 h 736"/>
                <a:gd name="T36" fmla="*/ 769 w 873"/>
                <a:gd name="T37" fmla="*/ 28 h 736"/>
                <a:gd name="T38" fmla="*/ 736 w 873"/>
                <a:gd name="T39" fmla="*/ 7 h 736"/>
                <a:gd name="T40" fmla="*/ 813 w 873"/>
                <a:gd name="T41" fmla="*/ 207 h 736"/>
                <a:gd name="T42" fmla="*/ 813 w 873"/>
                <a:gd name="T43" fmla="*/ 358 h 736"/>
                <a:gd name="T44" fmla="*/ 873 w 873"/>
                <a:gd name="T45" fmla="*/ 283 h 736"/>
                <a:gd name="T46" fmla="*/ 813 w 873"/>
                <a:gd name="T47" fmla="*/ 207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3" h="736">
                  <a:moveTo>
                    <a:pt x="409" y="705"/>
                  </a:moveTo>
                  <a:cubicBezTo>
                    <a:pt x="412" y="712"/>
                    <a:pt x="411" y="720"/>
                    <a:pt x="407" y="726"/>
                  </a:cubicBezTo>
                  <a:cubicBezTo>
                    <a:pt x="403" y="732"/>
                    <a:pt x="396" y="736"/>
                    <a:pt x="389" y="736"/>
                  </a:cubicBezTo>
                  <a:cubicBezTo>
                    <a:pt x="273" y="736"/>
                    <a:pt x="273" y="736"/>
                    <a:pt x="273" y="736"/>
                  </a:cubicBezTo>
                  <a:cubicBezTo>
                    <a:pt x="264" y="736"/>
                    <a:pt x="256" y="730"/>
                    <a:pt x="252" y="722"/>
                  </a:cubicBezTo>
                  <a:cubicBezTo>
                    <a:pt x="143" y="459"/>
                    <a:pt x="143" y="459"/>
                    <a:pt x="143" y="459"/>
                  </a:cubicBezTo>
                  <a:cubicBezTo>
                    <a:pt x="317" y="485"/>
                    <a:pt x="317" y="485"/>
                    <a:pt x="317" y="485"/>
                  </a:cubicBezTo>
                  <a:lnTo>
                    <a:pt x="409" y="705"/>
                  </a:lnTo>
                  <a:close/>
                  <a:moveTo>
                    <a:pt x="736" y="7"/>
                  </a:moveTo>
                  <a:cubicBezTo>
                    <a:pt x="537" y="104"/>
                    <a:pt x="537" y="104"/>
                    <a:pt x="537" y="104"/>
                  </a:cubicBezTo>
                  <a:cubicBezTo>
                    <a:pt x="537" y="104"/>
                    <a:pt x="537" y="104"/>
                    <a:pt x="537" y="104"/>
                  </a:cubicBezTo>
                  <a:cubicBezTo>
                    <a:pt x="122" y="166"/>
                    <a:pt x="122" y="166"/>
                    <a:pt x="122" y="166"/>
                  </a:cubicBezTo>
                  <a:cubicBezTo>
                    <a:pt x="55" y="166"/>
                    <a:pt x="0" y="221"/>
                    <a:pt x="0" y="289"/>
                  </a:cubicBezTo>
                  <a:cubicBezTo>
                    <a:pt x="0" y="357"/>
                    <a:pt x="55" y="411"/>
                    <a:pt x="122" y="411"/>
                  </a:cubicBezTo>
                  <a:cubicBezTo>
                    <a:pt x="537" y="474"/>
                    <a:pt x="537" y="474"/>
                    <a:pt x="537" y="474"/>
                  </a:cubicBezTo>
                  <a:cubicBezTo>
                    <a:pt x="537" y="474"/>
                    <a:pt x="537" y="474"/>
                    <a:pt x="537" y="474"/>
                  </a:cubicBezTo>
                  <a:cubicBezTo>
                    <a:pt x="736" y="570"/>
                    <a:pt x="736" y="570"/>
                    <a:pt x="736" y="570"/>
                  </a:cubicBezTo>
                  <a:cubicBezTo>
                    <a:pt x="752" y="578"/>
                    <a:pt x="769" y="567"/>
                    <a:pt x="769" y="549"/>
                  </a:cubicBezTo>
                  <a:cubicBezTo>
                    <a:pt x="769" y="28"/>
                    <a:pt x="769" y="28"/>
                    <a:pt x="769" y="28"/>
                  </a:cubicBezTo>
                  <a:cubicBezTo>
                    <a:pt x="769" y="11"/>
                    <a:pt x="752" y="0"/>
                    <a:pt x="736" y="7"/>
                  </a:cubicBezTo>
                  <a:close/>
                  <a:moveTo>
                    <a:pt x="813" y="207"/>
                  </a:moveTo>
                  <a:cubicBezTo>
                    <a:pt x="813" y="358"/>
                    <a:pt x="813" y="358"/>
                    <a:pt x="813" y="358"/>
                  </a:cubicBezTo>
                  <a:cubicBezTo>
                    <a:pt x="848" y="348"/>
                    <a:pt x="873" y="318"/>
                    <a:pt x="873" y="283"/>
                  </a:cubicBezTo>
                  <a:cubicBezTo>
                    <a:pt x="873" y="247"/>
                    <a:pt x="848" y="217"/>
                    <a:pt x="813" y="20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1" name="Freeform 9">
            <a:extLst>
              <a:ext uri="{FF2B5EF4-FFF2-40B4-BE49-F238E27FC236}">
                <a16:creationId xmlns:a16="http://schemas.microsoft.com/office/drawing/2014/main" id="{D4CFD0D8-EA50-4597-990F-CE68B0EB8BEA}"/>
              </a:ext>
            </a:extLst>
          </p:cNvPr>
          <p:cNvSpPr>
            <a:spLocks/>
          </p:cNvSpPr>
          <p:nvPr/>
        </p:nvSpPr>
        <p:spPr bwMode="auto">
          <a:xfrm>
            <a:off x="8096294" y="5686769"/>
            <a:ext cx="572046" cy="170971"/>
          </a:xfrm>
          <a:custGeom>
            <a:avLst/>
            <a:gdLst>
              <a:gd name="connsiteX0" fmla="*/ 85555 w 1303338"/>
              <a:gd name="connsiteY0" fmla="*/ 273050 h 369888"/>
              <a:gd name="connsiteX1" fmla="*/ 1025696 w 1303338"/>
              <a:gd name="connsiteY1" fmla="*/ 273050 h 369888"/>
              <a:gd name="connsiteX2" fmla="*/ 1041400 w 1303338"/>
              <a:gd name="connsiteY2" fmla="*/ 288132 h 369888"/>
              <a:gd name="connsiteX3" fmla="*/ 1025696 w 1303338"/>
              <a:gd name="connsiteY3" fmla="*/ 303213 h 369888"/>
              <a:gd name="connsiteX4" fmla="*/ 85555 w 1303338"/>
              <a:gd name="connsiteY4" fmla="*/ 303213 h 369888"/>
              <a:gd name="connsiteX5" fmla="*/ 69850 w 1303338"/>
              <a:gd name="connsiteY5" fmla="*/ 288132 h 369888"/>
              <a:gd name="connsiteX6" fmla="*/ 85555 w 1303338"/>
              <a:gd name="connsiteY6" fmla="*/ 273050 h 369888"/>
              <a:gd name="connsiteX7" fmla="*/ 1077002 w 1303338"/>
              <a:gd name="connsiteY7" fmla="*/ 80962 h 369888"/>
              <a:gd name="connsiteX8" fmla="*/ 1042734 w 1303338"/>
              <a:gd name="connsiteY8" fmla="*/ 92521 h 369888"/>
              <a:gd name="connsiteX9" fmla="*/ 1021317 w 1303338"/>
              <a:gd name="connsiteY9" fmla="*/ 130089 h 369888"/>
              <a:gd name="connsiteX10" fmla="*/ 1032026 w 1303338"/>
              <a:gd name="connsiteY10" fmla="*/ 171991 h 369888"/>
              <a:gd name="connsiteX11" fmla="*/ 1110555 w 1303338"/>
              <a:gd name="connsiteY11" fmla="*/ 182828 h 369888"/>
              <a:gd name="connsiteX12" fmla="*/ 1121264 w 1303338"/>
              <a:gd name="connsiteY12" fmla="*/ 103358 h 369888"/>
              <a:gd name="connsiteX13" fmla="*/ 1077002 w 1303338"/>
              <a:gd name="connsiteY13" fmla="*/ 80962 h 369888"/>
              <a:gd name="connsiteX14" fmla="*/ 1089082 w 1303338"/>
              <a:gd name="connsiteY14" fmla="*/ 58887 h 369888"/>
              <a:gd name="connsiteX15" fmla="*/ 1141604 w 1303338"/>
              <a:gd name="connsiteY15" fmla="*/ 89811 h 369888"/>
              <a:gd name="connsiteX16" fmla="*/ 1157298 w 1303338"/>
              <a:gd name="connsiteY16" fmla="*/ 149157 h 369888"/>
              <a:gd name="connsiteX17" fmla="*/ 1134470 w 1303338"/>
              <a:gd name="connsiteY17" fmla="*/ 195633 h 369888"/>
              <a:gd name="connsiteX18" fmla="*/ 1156585 w 1303338"/>
              <a:gd name="connsiteY18" fmla="*/ 223518 h 369888"/>
              <a:gd name="connsiteX19" fmla="*/ 1161579 w 1303338"/>
              <a:gd name="connsiteY19" fmla="*/ 219943 h 369888"/>
              <a:gd name="connsiteX20" fmla="*/ 1165859 w 1303338"/>
              <a:gd name="connsiteY20" fmla="*/ 218513 h 369888"/>
              <a:gd name="connsiteX21" fmla="*/ 1170139 w 1303338"/>
              <a:gd name="connsiteY21" fmla="*/ 220658 h 369888"/>
              <a:gd name="connsiteX22" fmla="*/ 1215795 w 1303338"/>
              <a:gd name="connsiteY22" fmla="*/ 282150 h 369888"/>
              <a:gd name="connsiteX23" fmla="*/ 1206521 w 1303338"/>
              <a:gd name="connsiteY23" fmla="*/ 307890 h 369888"/>
              <a:gd name="connsiteX24" fmla="*/ 1192967 w 1303338"/>
              <a:gd name="connsiteY24" fmla="*/ 314325 h 369888"/>
              <a:gd name="connsiteX25" fmla="*/ 1189400 w 1303338"/>
              <a:gd name="connsiteY25" fmla="*/ 314325 h 369888"/>
              <a:gd name="connsiteX26" fmla="*/ 1179413 w 1303338"/>
              <a:gd name="connsiteY26" fmla="*/ 310035 h 369888"/>
              <a:gd name="connsiteX27" fmla="*/ 1133044 w 1303338"/>
              <a:gd name="connsiteY27" fmla="*/ 248544 h 369888"/>
              <a:gd name="connsiteX28" fmla="*/ 1134470 w 1303338"/>
              <a:gd name="connsiteY28" fmla="*/ 240679 h 369888"/>
              <a:gd name="connsiteX29" fmla="*/ 1139464 w 1303338"/>
              <a:gd name="connsiteY29" fmla="*/ 236389 h 369888"/>
              <a:gd name="connsiteX30" fmla="*/ 1117350 w 1303338"/>
              <a:gd name="connsiteY30" fmla="*/ 207788 h 369888"/>
              <a:gd name="connsiteX31" fmla="*/ 1078114 w 1303338"/>
              <a:gd name="connsiteY31" fmla="*/ 218513 h 369888"/>
              <a:gd name="connsiteX32" fmla="*/ 1066700 w 1303338"/>
              <a:gd name="connsiteY32" fmla="*/ 217798 h 369888"/>
              <a:gd name="connsiteX33" fmla="*/ 1013911 w 1303338"/>
              <a:gd name="connsiteY33" fmla="*/ 186338 h 369888"/>
              <a:gd name="connsiteX34" fmla="*/ 998217 w 1303338"/>
              <a:gd name="connsiteY34" fmla="*/ 126992 h 369888"/>
              <a:gd name="connsiteX35" fmla="*/ 1029605 w 1303338"/>
              <a:gd name="connsiteY35" fmla="*/ 74081 h 369888"/>
              <a:gd name="connsiteX36" fmla="*/ 1089082 w 1303338"/>
              <a:gd name="connsiteY36" fmla="*/ 58887 h 369888"/>
              <a:gd name="connsiteX37" fmla="*/ 30163 w 1303338"/>
              <a:gd name="connsiteY37" fmla="*/ 31750 h 369888"/>
              <a:gd name="connsiteX38" fmla="*/ 30163 w 1303338"/>
              <a:gd name="connsiteY38" fmla="*/ 338138 h 369888"/>
              <a:gd name="connsiteX39" fmla="*/ 1273176 w 1303338"/>
              <a:gd name="connsiteY39" fmla="*/ 338138 h 369888"/>
              <a:gd name="connsiteX40" fmla="*/ 1273176 w 1303338"/>
              <a:gd name="connsiteY40" fmla="*/ 31750 h 369888"/>
              <a:gd name="connsiteX41" fmla="*/ 30163 w 1303338"/>
              <a:gd name="connsiteY41" fmla="*/ 31750 h 369888"/>
              <a:gd name="connsiteX42" fmla="*/ 15703 w 1303338"/>
              <a:gd name="connsiteY42" fmla="*/ 0 h 369888"/>
              <a:gd name="connsiteX43" fmla="*/ 1287635 w 1303338"/>
              <a:gd name="connsiteY43" fmla="*/ 0 h 369888"/>
              <a:gd name="connsiteX44" fmla="*/ 1303338 w 1303338"/>
              <a:gd name="connsiteY44" fmla="*/ 15710 h 369888"/>
              <a:gd name="connsiteX45" fmla="*/ 1303338 w 1303338"/>
              <a:gd name="connsiteY45" fmla="*/ 354179 h 369888"/>
              <a:gd name="connsiteX46" fmla="*/ 1287635 w 1303338"/>
              <a:gd name="connsiteY46" fmla="*/ 369888 h 369888"/>
              <a:gd name="connsiteX47" fmla="*/ 15703 w 1303338"/>
              <a:gd name="connsiteY47" fmla="*/ 369888 h 369888"/>
              <a:gd name="connsiteX48" fmla="*/ 0 w 1303338"/>
              <a:gd name="connsiteY48" fmla="*/ 354179 h 369888"/>
              <a:gd name="connsiteX49" fmla="*/ 0 w 1303338"/>
              <a:gd name="connsiteY49" fmla="*/ 15710 h 369888"/>
              <a:gd name="connsiteX50" fmla="*/ 15703 w 1303338"/>
              <a:gd name="connsiteY50" fmla="*/ 0 h 36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03338" h="369888">
                <a:moveTo>
                  <a:pt x="85555" y="273050"/>
                </a:moveTo>
                <a:cubicBezTo>
                  <a:pt x="85555" y="273050"/>
                  <a:pt x="85555" y="273050"/>
                  <a:pt x="1025696" y="273050"/>
                </a:cubicBezTo>
                <a:cubicBezTo>
                  <a:pt x="1034262" y="273050"/>
                  <a:pt x="1041400" y="279514"/>
                  <a:pt x="1041400" y="288132"/>
                </a:cubicBezTo>
                <a:cubicBezTo>
                  <a:pt x="1041400" y="296750"/>
                  <a:pt x="1034262" y="303213"/>
                  <a:pt x="1025696" y="303213"/>
                </a:cubicBezTo>
                <a:cubicBezTo>
                  <a:pt x="1025696" y="303213"/>
                  <a:pt x="1025696" y="303213"/>
                  <a:pt x="85555" y="303213"/>
                </a:cubicBezTo>
                <a:cubicBezTo>
                  <a:pt x="76989" y="303213"/>
                  <a:pt x="69850" y="296750"/>
                  <a:pt x="69850" y="288132"/>
                </a:cubicBezTo>
                <a:cubicBezTo>
                  <a:pt x="69850" y="279514"/>
                  <a:pt x="76989" y="273050"/>
                  <a:pt x="85555" y="273050"/>
                </a:cubicBezTo>
                <a:close/>
                <a:moveTo>
                  <a:pt x="1077002" y="80962"/>
                </a:moveTo>
                <a:cubicBezTo>
                  <a:pt x="1064865" y="80962"/>
                  <a:pt x="1052729" y="85297"/>
                  <a:pt x="1042734" y="92521"/>
                </a:cubicBezTo>
                <a:cubicBezTo>
                  <a:pt x="1031312" y="101913"/>
                  <a:pt x="1023459" y="114918"/>
                  <a:pt x="1021317" y="130089"/>
                </a:cubicBezTo>
                <a:cubicBezTo>
                  <a:pt x="1019175" y="145261"/>
                  <a:pt x="1023459" y="159710"/>
                  <a:pt x="1032026" y="171991"/>
                </a:cubicBezTo>
                <a:cubicBezTo>
                  <a:pt x="1050587" y="196555"/>
                  <a:pt x="1086282" y="201612"/>
                  <a:pt x="1110555" y="182828"/>
                </a:cubicBezTo>
                <a:cubicBezTo>
                  <a:pt x="1134828" y="164044"/>
                  <a:pt x="1139825" y="128644"/>
                  <a:pt x="1121264" y="103358"/>
                </a:cubicBezTo>
                <a:cubicBezTo>
                  <a:pt x="1110555" y="89632"/>
                  <a:pt x="1094135" y="80962"/>
                  <a:pt x="1077002" y="80962"/>
                </a:cubicBezTo>
                <a:close/>
                <a:moveTo>
                  <a:pt x="1089082" y="58887"/>
                </a:moveTo>
                <a:cubicBezTo>
                  <a:pt x="1109324" y="61747"/>
                  <a:pt x="1128407" y="72293"/>
                  <a:pt x="1141604" y="89811"/>
                </a:cubicBezTo>
                <a:cubicBezTo>
                  <a:pt x="1154445" y="106971"/>
                  <a:pt x="1160152" y="127707"/>
                  <a:pt x="1157298" y="149157"/>
                </a:cubicBezTo>
                <a:cubicBezTo>
                  <a:pt x="1154445" y="167032"/>
                  <a:pt x="1146598" y="182763"/>
                  <a:pt x="1134470" y="195633"/>
                </a:cubicBezTo>
                <a:cubicBezTo>
                  <a:pt x="1134470" y="195633"/>
                  <a:pt x="1134470" y="195633"/>
                  <a:pt x="1156585" y="223518"/>
                </a:cubicBezTo>
                <a:cubicBezTo>
                  <a:pt x="1161579" y="219943"/>
                  <a:pt x="1161579" y="219943"/>
                  <a:pt x="1161579" y="219943"/>
                </a:cubicBezTo>
                <a:cubicBezTo>
                  <a:pt x="1163005" y="218513"/>
                  <a:pt x="1164432" y="218513"/>
                  <a:pt x="1165859" y="218513"/>
                </a:cubicBezTo>
                <a:cubicBezTo>
                  <a:pt x="1167285" y="218513"/>
                  <a:pt x="1168712" y="219943"/>
                  <a:pt x="1170139" y="220658"/>
                </a:cubicBezTo>
                <a:cubicBezTo>
                  <a:pt x="1215795" y="282150"/>
                  <a:pt x="1215795" y="282150"/>
                  <a:pt x="1215795" y="282150"/>
                </a:cubicBezTo>
                <a:cubicBezTo>
                  <a:pt x="1220788" y="288585"/>
                  <a:pt x="1217221" y="300025"/>
                  <a:pt x="1206521" y="307890"/>
                </a:cubicBezTo>
                <a:cubicBezTo>
                  <a:pt x="1202241" y="311465"/>
                  <a:pt x="1197247" y="313610"/>
                  <a:pt x="1192967" y="314325"/>
                </a:cubicBezTo>
                <a:cubicBezTo>
                  <a:pt x="1191540" y="314325"/>
                  <a:pt x="1190827" y="314325"/>
                  <a:pt x="1189400" y="314325"/>
                </a:cubicBezTo>
                <a:cubicBezTo>
                  <a:pt x="1185120" y="314325"/>
                  <a:pt x="1181553" y="312895"/>
                  <a:pt x="1179413" y="310035"/>
                </a:cubicBezTo>
                <a:cubicBezTo>
                  <a:pt x="1133044" y="248544"/>
                  <a:pt x="1133044" y="248544"/>
                  <a:pt x="1133044" y="248544"/>
                </a:cubicBezTo>
                <a:cubicBezTo>
                  <a:pt x="1130904" y="246399"/>
                  <a:pt x="1131617" y="242824"/>
                  <a:pt x="1134470" y="240679"/>
                </a:cubicBezTo>
                <a:cubicBezTo>
                  <a:pt x="1139464" y="236389"/>
                  <a:pt x="1139464" y="236389"/>
                  <a:pt x="1139464" y="236389"/>
                </a:cubicBezTo>
                <a:cubicBezTo>
                  <a:pt x="1129477" y="223518"/>
                  <a:pt x="1117350" y="207788"/>
                  <a:pt x="1117350" y="207788"/>
                </a:cubicBezTo>
                <a:cubicBezTo>
                  <a:pt x="1105222" y="214938"/>
                  <a:pt x="1091668" y="218513"/>
                  <a:pt x="1078114" y="218513"/>
                </a:cubicBezTo>
                <a:cubicBezTo>
                  <a:pt x="1074547" y="218513"/>
                  <a:pt x="1070980" y="218513"/>
                  <a:pt x="1066700" y="217798"/>
                </a:cubicBezTo>
                <a:cubicBezTo>
                  <a:pt x="1045299" y="214938"/>
                  <a:pt x="1026752" y="203498"/>
                  <a:pt x="1013911" y="186338"/>
                </a:cubicBezTo>
                <a:cubicBezTo>
                  <a:pt x="1001070" y="169177"/>
                  <a:pt x="995363" y="148442"/>
                  <a:pt x="998217" y="126992"/>
                </a:cubicBezTo>
                <a:cubicBezTo>
                  <a:pt x="1001784" y="106256"/>
                  <a:pt x="1012484" y="86951"/>
                  <a:pt x="1029605" y="74081"/>
                </a:cubicBezTo>
                <a:cubicBezTo>
                  <a:pt x="1047440" y="60853"/>
                  <a:pt x="1068841" y="56027"/>
                  <a:pt x="1089082" y="58887"/>
                </a:cubicBezTo>
                <a:close/>
                <a:moveTo>
                  <a:pt x="30163" y="31750"/>
                </a:moveTo>
                <a:cubicBezTo>
                  <a:pt x="30163" y="31750"/>
                  <a:pt x="30163" y="31750"/>
                  <a:pt x="30163" y="338138"/>
                </a:cubicBezTo>
                <a:cubicBezTo>
                  <a:pt x="30163" y="338138"/>
                  <a:pt x="30163" y="338138"/>
                  <a:pt x="1273176" y="338138"/>
                </a:cubicBezTo>
                <a:cubicBezTo>
                  <a:pt x="1273176" y="338138"/>
                  <a:pt x="1273176" y="338138"/>
                  <a:pt x="1273176" y="31750"/>
                </a:cubicBezTo>
                <a:cubicBezTo>
                  <a:pt x="1273176" y="31750"/>
                  <a:pt x="1273176" y="31750"/>
                  <a:pt x="30163" y="31750"/>
                </a:cubicBezTo>
                <a:close/>
                <a:moveTo>
                  <a:pt x="15703" y="0"/>
                </a:moveTo>
                <a:cubicBezTo>
                  <a:pt x="15703" y="0"/>
                  <a:pt x="15703" y="0"/>
                  <a:pt x="1287635" y="0"/>
                </a:cubicBezTo>
                <a:cubicBezTo>
                  <a:pt x="1296201" y="0"/>
                  <a:pt x="1303338" y="7141"/>
                  <a:pt x="1303338" y="15710"/>
                </a:cubicBezTo>
                <a:cubicBezTo>
                  <a:pt x="1303338" y="15710"/>
                  <a:pt x="1303338" y="15710"/>
                  <a:pt x="1303338" y="354179"/>
                </a:cubicBezTo>
                <a:cubicBezTo>
                  <a:pt x="1303338" y="362747"/>
                  <a:pt x="1296201" y="369888"/>
                  <a:pt x="1287635" y="369888"/>
                </a:cubicBezTo>
                <a:cubicBezTo>
                  <a:pt x="1287635" y="369888"/>
                  <a:pt x="1287635" y="369888"/>
                  <a:pt x="15703" y="369888"/>
                </a:cubicBezTo>
                <a:cubicBezTo>
                  <a:pt x="7138" y="369888"/>
                  <a:pt x="0" y="362747"/>
                  <a:pt x="0" y="354179"/>
                </a:cubicBezTo>
                <a:cubicBezTo>
                  <a:pt x="0" y="354179"/>
                  <a:pt x="0" y="354179"/>
                  <a:pt x="0" y="15710"/>
                </a:cubicBezTo>
                <a:cubicBezTo>
                  <a:pt x="0" y="7141"/>
                  <a:pt x="7138" y="0"/>
                  <a:pt x="15703"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282" name="Group 281">
            <a:extLst>
              <a:ext uri="{FF2B5EF4-FFF2-40B4-BE49-F238E27FC236}">
                <a16:creationId xmlns:a16="http://schemas.microsoft.com/office/drawing/2014/main" id="{233A5276-565B-4575-8CBB-1FE75316377E}"/>
              </a:ext>
            </a:extLst>
          </p:cNvPr>
          <p:cNvGrpSpPr>
            <a:grpSpLocks noChangeAspect="1"/>
          </p:cNvGrpSpPr>
          <p:nvPr/>
        </p:nvGrpSpPr>
        <p:grpSpPr>
          <a:xfrm>
            <a:off x="5455220" y="2093745"/>
            <a:ext cx="457200" cy="457200"/>
            <a:chOff x="5867400" y="3200400"/>
            <a:chExt cx="457200" cy="457200"/>
          </a:xfrm>
        </p:grpSpPr>
        <p:sp>
          <p:nvSpPr>
            <p:cNvPr id="283" name="AutoShape 3">
              <a:extLst>
                <a:ext uri="{FF2B5EF4-FFF2-40B4-BE49-F238E27FC236}">
                  <a16:creationId xmlns:a16="http://schemas.microsoft.com/office/drawing/2014/main" id="{E41515FE-7922-40A4-B1ED-5BA4A18E8EA8}"/>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Freeform 7">
              <a:extLst>
                <a:ext uri="{FF2B5EF4-FFF2-40B4-BE49-F238E27FC236}">
                  <a16:creationId xmlns:a16="http://schemas.microsoft.com/office/drawing/2014/main" id="{DF0156CC-8DC9-4D08-AAC8-E0A87C8676B7}"/>
                </a:ext>
              </a:extLst>
            </p:cNvPr>
            <p:cNvSpPr>
              <a:spLocks/>
            </p:cNvSpPr>
            <p:nvPr/>
          </p:nvSpPr>
          <p:spPr bwMode="auto">
            <a:xfrm>
              <a:off x="5894388" y="3241675"/>
              <a:ext cx="403642" cy="387351"/>
            </a:xfrm>
            <a:custGeom>
              <a:avLst/>
              <a:gdLst>
                <a:gd name="connsiteX0" fmla="*/ 142653 w 403642"/>
                <a:gd name="connsiteY0" fmla="*/ 201613 h 387351"/>
                <a:gd name="connsiteX1" fmla="*/ 143112 w 403642"/>
                <a:gd name="connsiteY1" fmla="*/ 201613 h 387351"/>
                <a:gd name="connsiteX2" fmla="*/ 145864 w 403642"/>
                <a:gd name="connsiteY2" fmla="*/ 201613 h 387351"/>
                <a:gd name="connsiteX3" fmla="*/ 247693 w 403642"/>
                <a:gd name="connsiteY3" fmla="*/ 207116 h 387351"/>
                <a:gd name="connsiteX4" fmla="*/ 258243 w 403642"/>
                <a:gd name="connsiteY4" fmla="*/ 207575 h 387351"/>
                <a:gd name="connsiteX5" fmla="*/ 267876 w 403642"/>
                <a:gd name="connsiteY5" fmla="*/ 210327 h 387351"/>
                <a:gd name="connsiteX6" fmla="*/ 280260 w 403642"/>
                <a:gd name="connsiteY6" fmla="*/ 230506 h 387351"/>
                <a:gd name="connsiteX7" fmla="*/ 262830 w 403642"/>
                <a:gd name="connsiteY7" fmla="*/ 253436 h 387351"/>
                <a:gd name="connsiteX8" fmla="*/ 259161 w 403642"/>
                <a:gd name="connsiteY8" fmla="*/ 253895 h 387351"/>
                <a:gd name="connsiteX9" fmla="*/ 215126 w 403642"/>
                <a:gd name="connsiteY9" fmla="*/ 258481 h 387351"/>
                <a:gd name="connsiteX10" fmla="*/ 214209 w 403642"/>
                <a:gd name="connsiteY10" fmla="*/ 265360 h 387351"/>
                <a:gd name="connsiteX11" fmla="*/ 223383 w 403642"/>
                <a:gd name="connsiteY11" fmla="*/ 269029 h 387351"/>
                <a:gd name="connsiteX12" fmla="*/ 260537 w 403642"/>
                <a:gd name="connsiteY12" fmla="*/ 275908 h 387351"/>
                <a:gd name="connsiteX13" fmla="*/ 287599 w 403642"/>
                <a:gd name="connsiteY13" fmla="*/ 272239 h 387351"/>
                <a:gd name="connsiteX14" fmla="*/ 289893 w 403642"/>
                <a:gd name="connsiteY14" fmla="*/ 271781 h 387351"/>
                <a:gd name="connsiteX15" fmla="*/ 293104 w 403642"/>
                <a:gd name="connsiteY15" fmla="*/ 270864 h 387351"/>
                <a:gd name="connsiteX16" fmla="*/ 341266 w 403642"/>
                <a:gd name="connsiteY16" fmla="*/ 239678 h 387351"/>
                <a:gd name="connsiteX17" fmla="*/ 359155 w 403642"/>
                <a:gd name="connsiteY17" fmla="*/ 219958 h 387351"/>
                <a:gd name="connsiteX18" fmla="*/ 372457 w 403642"/>
                <a:gd name="connsiteY18" fmla="*/ 212161 h 387351"/>
                <a:gd name="connsiteX19" fmla="*/ 378420 w 403642"/>
                <a:gd name="connsiteY19" fmla="*/ 211244 h 387351"/>
                <a:gd name="connsiteX20" fmla="*/ 395392 w 403642"/>
                <a:gd name="connsiteY20" fmla="*/ 218123 h 387351"/>
                <a:gd name="connsiteX21" fmla="*/ 397685 w 403642"/>
                <a:gd name="connsiteY21" fmla="*/ 253436 h 387351"/>
                <a:gd name="connsiteX22" fmla="*/ 380714 w 403642"/>
                <a:gd name="connsiteY22" fmla="*/ 273157 h 387351"/>
                <a:gd name="connsiteX23" fmla="*/ 298149 w 403642"/>
                <a:gd name="connsiteY23" fmla="*/ 327732 h 387351"/>
                <a:gd name="connsiteX24" fmla="*/ 293562 w 403642"/>
                <a:gd name="connsiteY24" fmla="*/ 329107 h 387351"/>
                <a:gd name="connsiteX25" fmla="*/ 218337 w 403642"/>
                <a:gd name="connsiteY25" fmla="*/ 340573 h 387351"/>
                <a:gd name="connsiteX26" fmla="*/ 200448 w 403642"/>
                <a:gd name="connsiteY26" fmla="*/ 340114 h 387351"/>
                <a:gd name="connsiteX27" fmla="*/ 156872 w 403642"/>
                <a:gd name="connsiteY27" fmla="*/ 336904 h 387351"/>
                <a:gd name="connsiteX28" fmla="*/ 151368 w 403642"/>
                <a:gd name="connsiteY28" fmla="*/ 336445 h 387351"/>
                <a:gd name="connsiteX29" fmla="*/ 124764 w 403642"/>
                <a:gd name="connsiteY29" fmla="*/ 341490 h 387351"/>
                <a:gd name="connsiteX30" fmla="*/ 7798 w 403642"/>
                <a:gd name="connsiteY30" fmla="*/ 386893 h 387351"/>
                <a:gd name="connsiteX31" fmla="*/ 5505 w 403642"/>
                <a:gd name="connsiteY31" fmla="*/ 387351 h 387351"/>
                <a:gd name="connsiteX32" fmla="*/ 0 w 403642"/>
                <a:gd name="connsiteY32" fmla="*/ 381389 h 387351"/>
                <a:gd name="connsiteX33" fmla="*/ 0 w 403642"/>
                <a:gd name="connsiteY33" fmla="*/ 276367 h 387351"/>
                <a:gd name="connsiteX34" fmla="*/ 2752 w 403642"/>
                <a:gd name="connsiteY34" fmla="*/ 271781 h 387351"/>
                <a:gd name="connsiteX35" fmla="*/ 111462 w 403642"/>
                <a:gd name="connsiteY35" fmla="*/ 209868 h 387351"/>
                <a:gd name="connsiteX36" fmla="*/ 142653 w 403642"/>
                <a:gd name="connsiteY36" fmla="*/ 201613 h 387351"/>
                <a:gd name="connsiteX37" fmla="*/ 153848 w 403642"/>
                <a:gd name="connsiteY37" fmla="*/ 0 h 387351"/>
                <a:gd name="connsiteX38" fmla="*/ 360502 w 403642"/>
                <a:gd name="connsiteY38" fmla="*/ 0 h 387351"/>
                <a:gd name="connsiteX39" fmla="*/ 371475 w 403642"/>
                <a:gd name="connsiteY39" fmla="*/ 10966 h 387351"/>
                <a:gd name="connsiteX40" fmla="*/ 371475 w 403642"/>
                <a:gd name="connsiteY40" fmla="*/ 92754 h 387351"/>
                <a:gd name="connsiteX41" fmla="*/ 371475 w 403642"/>
                <a:gd name="connsiteY41" fmla="*/ 175000 h 387351"/>
                <a:gd name="connsiteX42" fmla="*/ 371475 w 403642"/>
                <a:gd name="connsiteY42" fmla="*/ 191449 h 387351"/>
                <a:gd name="connsiteX43" fmla="*/ 343586 w 403642"/>
                <a:gd name="connsiteY43" fmla="*/ 205614 h 387351"/>
                <a:gd name="connsiteX44" fmla="*/ 343129 w 403642"/>
                <a:gd name="connsiteY44" fmla="*/ 206071 h 387351"/>
                <a:gd name="connsiteX45" fmla="*/ 343129 w 403642"/>
                <a:gd name="connsiteY45" fmla="*/ 206527 h 387351"/>
                <a:gd name="connsiteX46" fmla="*/ 325298 w 403642"/>
                <a:gd name="connsiteY46" fmla="*/ 226175 h 387351"/>
                <a:gd name="connsiteX47" fmla="*/ 296494 w 403642"/>
                <a:gd name="connsiteY47" fmla="*/ 247650 h 387351"/>
                <a:gd name="connsiteX48" fmla="*/ 299695 w 403642"/>
                <a:gd name="connsiteY48" fmla="*/ 230287 h 387351"/>
                <a:gd name="connsiteX49" fmla="*/ 276835 w 403642"/>
                <a:gd name="connsiteY49" fmla="*/ 192363 h 387351"/>
                <a:gd name="connsiteX50" fmla="*/ 259004 w 403642"/>
                <a:gd name="connsiteY50" fmla="*/ 187337 h 387351"/>
                <a:gd name="connsiteX51" fmla="*/ 258547 w 403642"/>
                <a:gd name="connsiteY51" fmla="*/ 187337 h 387351"/>
                <a:gd name="connsiteX52" fmla="*/ 248031 w 403642"/>
                <a:gd name="connsiteY52" fmla="*/ 186880 h 387351"/>
                <a:gd name="connsiteX53" fmla="*/ 146533 w 403642"/>
                <a:gd name="connsiteY53" fmla="*/ 181397 h 387351"/>
                <a:gd name="connsiteX54" fmla="*/ 146076 w 403642"/>
                <a:gd name="connsiteY54" fmla="*/ 181397 h 387351"/>
                <a:gd name="connsiteX55" fmla="*/ 145618 w 403642"/>
                <a:gd name="connsiteY55" fmla="*/ 181397 h 387351"/>
                <a:gd name="connsiteX56" fmla="*/ 142875 w 403642"/>
                <a:gd name="connsiteY56" fmla="*/ 181397 h 387351"/>
                <a:gd name="connsiteX57" fmla="*/ 142875 w 403642"/>
                <a:gd name="connsiteY57" fmla="*/ 164948 h 387351"/>
                <a:gd name="connsiteX58" fmla="*/ 142875 w 403642"/>
                <a:gd name="connsiteY58" fmla="*/ 92754 h 387351"/>
                <a:gd name="connsiteX59" fmla="*/ 142875 w 403642"/>
                <a:gd name="connsiteY59" fmla="*/ 10966 h 387351"/>
                <a:gd name="connsiteX60" fmla="*/ 153848 w 403642"/>
                <a:gd name="connsiteY60" fmla="*/ 0 h 38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03642" h="387351">
                  <a:moveTo>
                    <a:pt x="142653" y="201613"/>
                  </a:moveTo>
                  <a:cubicBezTo>
                    <a:pt x="142653" y="201613"/>
                    <a:pt x="143112" y="201613"/>
                    <a:pt x="143112" y="201613"/>
                  </a:cubicBezTo>
                  <a:cubicBezTo>
                    <a:pt x="144029" y="201613"/>
                    <a:pt x="144947" y="201613"/>
                    <a:pt x="145864" y="201613"/>
                  </a:cubicBezTo>
                  <a:cubicBezTo>
                    <a:pt x="145864" y="201613"/>
                    <a:pt x="145864" y="201613"/>
                    <a:pt x="247693" y="207116"/>
                  </a:cubicBezTo>
                  <a:cubicBezTo>
                    <a:pt x="247693" y="207116"/>
                    <a:pt x="247693" y="207116"/>
                    <a:pt x="258243" y="207575"/>
                  </a:cubicBezTo>
                  <a:cubicBezTo>
                    <a:pt x="261913" y="207575"/>
                    <a:pt x="265123" y="208951"/>
                    <a:pt x="267876" y="210327"/>
                  </a:cubicBezTo>
                  <a:cubicBezTo>
                    <a:pt x="275215" y="213996"/>
                    <a:pt x="280260" y="221792"/>
                    <a:pt x="280260" y="230506"/>
                  </a:cubicBezTo>
                  <a:cubicBezTo>
                    <a:pt x="280260" y="241512"/>
                    <a:pt x="272921" y="250685"/>
                    <a:pt x="262830" y="253436"/>
                  </a:cubicBezTo>
                  <a:cubicBezTo>
                    <a:pt x="261454" y="253895"/>
                    <a:pt x="260537" y="253895"/>
                    <a:pt x="259161" y="253895"/>
                  </a:cubicBezTo>
                  <a:cubicBezTo>
                    <a:pt x="259161" y="253895"/>
                    <a:pt x="259161" y="253895"/>
                    <a:pt x="215126" y="258481"/>
                  </a:cubicBezTo>
                  <a:cubicBezTo>
                    <a:pt x="211457" y="258481"/>
                    <a:pt x="210998" y="263984"/>
                    <a:pt x="214209" y="265360"/>
                  </a:cubicBezTo>
                  <a:cubicBezTo>
                    <a:pt x="214209" y="265360"/>
                    <a:pt x="214209" y="265360"/>
                    <a:pt x="223383" y="269029"/>
                  </a:cubicBezTo>
                  <a:cubicBezTo>
                    <a:pt x="235309" y="273615"/>
                    <a:pt x="248152" y="275908"/>
                    <a:pt x="260537" y="275908"/>
                  </a:cubicBezTo>
                  <a:cubicBezTo>
                    <a:pt x="269710" y="275908"/>
                    <a:pt x="278884" y="274991"/>
                    <a:pt x="287599" y="272239"/>
                  </a:cubicBezTo>
                  <a:cubicBezTo>
                    <a:pt x="287599" y="272239"/>
                    <a:pt x="287599" y="272239"/>
                    <a:pt x="289893" y="271781"/>
                  </a:cubicBezTo>
                  <a:cubicBezTo>
                    <a:pt x="291269" y="271322"/>
                    <a:pt x="292186" y="271322"/>
                    <a:pt x="293104" y="270864"/>
                  </a:cubicBezTo>
                  <a:cubicBezTo>
                    <a:pt x="311910" y="264902"/>
                    <a:pt x="328423" y="254354"/>
                    <a:pt x="341266" y="239678"/>
                  </a:cubicBezTo>
                  <a:cubicBezTo>
                    <a:pt x="341266" y="239678"/>
                    <a:pt x="341266" y="239678"/>
                    <a:pt x="359155" y="219958"/>
                  </a:cubicBezTo>
                  <a:cubicBezTo>
                    <a:pt x="362825" y="215830"/>
                    <a:pt x="367412" y="213078"/>
                    <a:pt x="372457" y="212161"/>
                  </a:cubicBezTo>
                  <a:cubicBezTo>
                    <a:pt x="374292" y="211703"/>
                    <a:pt x="376127" y="211244"/>
                    <a:pt x="378420" y="211244"/>
                  </a:cubicBezTo>
                  <a:cubicBezTo>
                    <a:pt x="384383" y="211244"/>
                    <a:pt x="390346" y="213537"/>
                    <a:pt x="395392" y="218123"/>
                  </a:cubicBezTo>
                  <a:cubicBezTo>
                    <a:pt x="405483" y="227295"/>
                    <a:pt x="406400" y="242888"/>
                    <a:pt x="397685" y="253436"/>
                  </a:cubicBezTo>
                  <a:cubicBezTo>
                    <a:pt x="397685" y="253436"/>
                    <a:pt x="397685" y="253436"/>
                    <a:pt x="380714" y="273157"/>
                  </a:cubicBezTo>
                  <a:cubicBezTo>
                    <a:pt x="358696" y="298839"/>
                    <a:pt x="330258" y="318101"/>
                    <a:pt x="298149" y="327732"/>
                  </a:cubicBezTo>
                  <a:cubicBezTo>
                    <a:pt x="298149" y="327732"/>
                    <a:pt x="298149" y="327732"/>
                    <a:pt x="293562" y="329107"/>
                  </a:cubicBezTo>
                  <a:cubicBezTo>
                    <a:pt x="268793" y="336904"/>
                    <a:pt x="244024" y="340573"/>
                    <a:pt x="218337" y="340573"/>
                  </a:cubicBezTo>
                  <a:cubicBezTo>
                    <a:pt x="212374" y="340573"/>
                    <a:pt x="206411" y="340573"/>
                    <a:pt x="200448" y="340114"/>
                  </a:cubicBezTo>
                  <a:cubicBezTo>
                    <a:pt x="200448" y="340114"/>
                    <a:pt x="200448" y="340114"/>
                    <a:pt x="156872" y="336904"/>
                  </a:cubicBezTo>
                  <a:cubicBezTo>
                    <a:pt x="155038" y="336904"/>
                    <a:pt x="153203" y="336445"/>
                    <a:pt x="151368" y="336445"/>
                  </a:cubicBezTo>
                  <a:cubicBezTo>
                    <a:pt x="142194" y="336445"/>
                    <a:pt x="133479" y="338280"/>
                    <a:pt x="124764" y="341490"/>
                  </a:cubicBezTo>
                  <a:cubicBezTo>
                    <a:pt x="124764" y="341490"/>
                    <a:pt x="124764" y="341490"/>
                    <a:pt x="7798" y="386893"/>
                  </a:cubicBezTo>
                  <a:cubicBezTo>
                    <a:pt x="7339" y="386893"/>
                    <a:pt x="6422" y="387351"/>
                    <a:pt x="5505" y="387351"/>
                  </a:cubicBezTo>
                  <a:cubicBezTo>
                    <a:pt x="2752" y="387351"/>
                    <a:pt x="0" y="384599"/>
                    <a:pt x="0" y="381389"/>
                  </a:cubicBezTo>
                  <a:cubicBezTo>
                    <a:pt x="0" y="381389"/>
                    <a:pt x="0" y="381389"/>
                    <a:pt x="0" y="276367"/>
                  </a:cubicBezTo>
                  <a:cubicBezTo>
                    <a:pt x="0" y="274532"/>
                    <a:pt x="918" y="272239"/>
                    <a:pt x="2752" y="271781"/>
                  </a:cubicBezTo>
                  <a:cubicBezTo>
                    <a:pt x="2752" y="271781"/>
                    <a:pt x="2752" y="271781"/>
                    <a:pt x="111462" y="209868"/>
                  </a:cubicBezTo>
                  <a:cubicBezTo>
                    <a:pt x="121095" y="204365"/>
                    <a:pt x="131644" y="201613"/>
                    <a:pt x="142653" y="201613"/>
                  </a:cubicBezTo>
                  <a:close/>
                  <a:moveTo>
                    <a:pt x="153848" y="0"/>
                  </a:moveTo>
                  <a:cubicBezTo>
                    <a:pt x="360502" y="0"/>
                    <a:pt x="360502" y="0"/>
                    <a:pt x="360502" y="0"/>
                  </a:cubicBezTo>
                  <a:cubicBezTo>
                    <a:pt x="366446" y="0"/>
                    <a:pt x="371475" y="5026"/>
                    <a:pt x="371475" y="10966"/>
                  </a:cubicBezTo>
                  <a:cubicBezTo>
                    <a:pt x="371475" y="44778"/>
                    <a:pt x="371475" y="71736"/>
                    <a:pt x="371475" y="92754"/>
                  </a:cubicBezTo>
                  <a:cubicBezTo>
                    <a:pt x="371475" y="175000"/>
                    <a:pt x="371475" y="175000"/>
                    <a:pt x="371475" y="175000"/>
                  </a:cubicBezTo>
                  <a:cubicBezTo>
                    <a:pt x="371475" y="180940"/>
                    <a:pt x="371475" y="186423"/>
                    <a:pt x="371475" y="191449"/>
                  </a:cubicBezTo>
                  <a:cubicBezTo>
                    <a:pt x="360960" y="192820"/>
                    <a:pt x="350901" y="197846"/>
                    <a:pt x="343586" y="205614"/>
                  </a:cubicBezTo>
                  <a:cubicBezTo>
                    <a:pt x="343586" y="205614"/>
                    <a:pt x="343586" y="205614"/>
                    <a:pt x="343129" y="206071"/>
                  </a:cubicBezTo>
                  <a:cubicBezTo>
                    <a:pt x="343129" y="206071"/>
                    <a:pt x="343129" y="206071"/>
                    <a:pt x="343129" y="206527"/>
                  </a:cubicBezTo>
                  <a:cubicBezTo>
                    <a:pt x="343129" y="206527"/>
                    <a:pt x="343129" y="206527"/>
                    <a:pt x="325298" y="226175"/>
                  </a:cubicBezTo>
                  <a:cubicBezTo>
                    <a:pt x="317526" y="235313"/>
                    <a:pt x="307467" y="242624"/>
                    <a:pt x="296494" y="247650"/>
                  </a:cubicBezTo>
                  <a:cubicBezTo>
                    <a:pt x="298780" y="242167"/>
                    <a:pt x="299695" y="236684"/>
                    <a:pt x="299695" y="230287"/>
                  </a:cubicBezTo>
                  <a:cubicBezTo>
                    <a:pt x="299695" y="214752"/>
                    <a:pt x="291008" y="200130"/>
                    <a:pt x="276835" y="192363"/>
                  </a:cubicBezTo>
                  <a:cubicBezTo>
                    <a:pt x="271348" y="189621"/>
                    <a:pt x="265405" y="187794"/>
                    <a:pt x="259004" y="187337"/>
                  </a:cubicBezTo>
                  <a:cubicBezTo>
                    <a:pt x="259004" y="187337"/>
                    <a:pt x="259004" y="187337"/>
                    <a:pt x="258547" y="187337"/>
                  </a:cubicBezTo>
                  <a:cubicBezTo>
                    <a:pt x="258547" y="187337"/>
                    <a:pt x="258547" y="187337"/>
                    <a:pt x="248031" y="186880"/>
                  </a:cubicBezTo>
                  <a:cubicBezTo>
                    <a:pt x="248031" y="186880"/>
                    <a:pt x="248031" y="186880"/>
                    <a:pt x="146533" y="181397"/>
                  </a:cubicBezTo>
                  <a:cubicBezTo>
                    <a:pt x="146533" y="181397"/>
                    <a:pt x="146533" y="181397"/>
                    <a:pt x="146076" y="181397"/>
                  </a:cubicBezTo>
                  <a:lnTo>
                    <a:pt x="145618" y="181397"/>
                  </a:lnTo>
                  <a:cubicBezTo>
                    <a:pt x="145618" y="181397"/>
                    <a:pt x="145618" y="181397"/>
                    <a:pt x="142875" y="181397"/>
                  </a:cubicBezTo>
                  <a:cubicBezTo>
                    <a:pt x="142875" y="175457"/>
                    <a:pt x="142875" y="169974"/>
                    <a:pt x="142875" y="164948"/>
                  </a:cubicBezTo>
                  <a:cubicBezTo>
                    <a:pt x="142875" y="135705"/>
                    <a:pt x="142875" y="111945"/>
                    <a:pt x="142875" y="92754"/>
                  </a:cubicBezTo>
                  <a:cubicBezTo>
                    <a:pt x="142875" y="10966"/>
                    <a:pt x="142875" y="10966"/>
                    <a:pt x="142875" y="10966"/>
                  </a:cubicBezTo>
                  <a:cubicBezTo>
                    <a:pt x="142875" y="5026"/>
                    <a:pt x="147447" y="0"/>
                    <a:pt x="153848"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65" name="Group 164">
            <a:extLst>
              <a:ext uri="{FF2B5EF4-FFF2-40B4-BE49-F238E27FC236}">
                <a16:creationId xmlns:a16="http://schemas.microsoft.com/office/drawing/2014/main" id="{D3BA15BB-8EF6-4E56-B2D0-A63CF19F951D}"/>
              </a:ext>
            </a:extLst>
          </p:cNvPr>
          <p:cNvGrpSpPr>
            <a:grpSpLocks noChangeAspect="1"/>
          </p:cNvGrpSpPr>
          <p:nvPr/>
        </p:nvGrpSpPr>
        <p:grpSpPr>
          <a:xfrm>
            <a:off x="9401948" y="5419711"/>
            <a:ext cx="594945" cy="594371"/>
            <a:chOff x="5273675" y="2606675"/>
            <a:chExt cx="1646238" cy="1644650"/>
          </a:xfrm>
        </p:grpSpPr>
        <p:sp>
          <p:nvSpPr>
            <p:cNvPr id="166" name="AutoShape 3">
              <a:extLst>
                <a:ext uri="{FF2B5EF4-FFF2-40B4-BE49-F238E27FC236}">
                  <a16:creationId xmlns:a16="http://schemas.microsoft.com/office/drawing/2014/main" id="{7E6F21CC-3922-4D55-A39D-AF196DF5BE4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22">
              <a:extLst>
                <a:ext uri="{FF2B5EF4-FFF2-40B4-BE49-F238E27FC236}">
                  <a16:creationId xmlns:a16="http://schemas.microsoft.com/office/drawing/2014/main" id="{C01569BC-948F-4AC5-81AC-3F89EA53E38A}"/>
                </a:ext>
              </a:extLst>
            </p:cNvPr>
            <p:cNvSpPr>
              <a:spLocks/>
            </p:cNvSpPr>
            <p:nvPr/>
          </p:nvSpPr>
          <p:spPr bwMode="auto">
            <a:xfrm>
              <a:off x="5426075" y="2881312"/>
              <a:ext cx="1338263" cy="1093788"/>
            </a:xfrm>
            <a:custGeom>
              <a:avLst/>
              <a:gdLst>
                <a:gd name="connsiteX0" fmla="*/ 554928 w 1338263"/>
                <a:gd name="connsiteY0" fmla="*/ 958850 h 1093788"/>
                <a:gd name="connsiteX1" fmla="*/ 570653 w 1338263"/>
                <a:gd name="connsiteY1" fmla="*/ 974475 h 1093788"/>
                <a:gd name="connsiteX2" fmla="*/ 570653 w 1338263"/>
                <a:gd name="connsiteY2" fmla="*/ 1024189 h 1093788"/>
                <a:gd name="connsiteX3" fmla="*/ 554928 w 1338263"/>
                <a:gd name="connsiteY3" fmla="*/ 1039813 h 1093788"/>
                <a:gd name="connsiteX4" fmla="*/ 407688 w 1338263"/>
                <a:gd name="connsiteY4" fmla="*/ 1039813 h 1093788"/>
                <a:gd name="connsiteX5" fmla="*/ 407688 w 1338263"/>
                <a:gd name="connsiteY5" fmla="*/ 1062539 h 1093788"/>
                <a:gd name="connsiteX6" fmla="*/ 933752 w 1338263"/>
                <a:gd name="connsiteY6" fmla="*/ 1062539 h 1093788"/>
                <a:gd name="connsiteX7" fmla="*/ 933752 w 1338263"/>
                <a:gd name="connsiteY7" fmla="*/ 1039813 h 1093788"/>
                <a:gd name="connsiteX8" fmla="*/ 787941 w 1338263"/>
                <a:gd name="connsiteY8" fmla="*/ 1039813 h 1093788"/>
                <a:gd name="connsiteX9" fmla="*/ 772216 w 1338263"/>
                <a:gd name="connsiteY9" fmla="*/ 1024189 h 1093788"/>
                <a:gd name="connsiteX10" fmla="*/ 772216 w 1338263"/>
                <a:gd name="connsiteY10" fmla="*/ 974475 h 1093788"/>
                <a:gd name="connsiteX11" fmla="*/ 787941 w 1338263"/>
                <a:gd name="connsiteY11" fmla="*/ 958850 h 1093788"/>
                <a:gd name="connsiteX12" fmla="*/ 803665 w 1338263"/>
                <a:gd name="connsiteY12" fmla="*/ 974475 h 1093788"/>
                <a:gd name="connsiteX13" fmla="*/ 803665 w 1338263"/>
                <a:gd name="connsiteY13" fmla="*/ 1008564 h 1093788"/>
                <a:gd name="connsiteX14" fmla="*/ 949476 w 1338263"/>
                <a:gd name="connsiteY14" fmla="*/ 1008564 h 1093788"/>
                <a:gd name="connsiteX15" fmla="*/ 965201 w 1338263"/>
                <a:gd name="connsiteY15" fmla="*/ 1024189 h 1093788"/>
                <a:gd name="connsiteX16" fmla="*/ 965201 w 1338263"/>
                <a:gd name="connsiteY16" fmla="*/ 1078164 h 1093788"/>
                <a:gd name="connsiteX17" fmla="*/ 949476 w 1338263"/>
                <a:gd name="connsiteY17" fmla="*/ 1093788 h 1093788"/>
                <a:gd name="connsiteX18" fmla="*/ 391963 w 1338263"/>
                <a:gd name="connsiteY18" fmla="*/ 1093788 h 1093788"/>
                <a:gd name="connsiteX19" fmla="*/ 376238 w 1338263"/>
                <a:gd name="connsiteY19" fmla="*/ 1078164 h 1093788"/>
                <a:gd name="connsiteX20" fmla="*/ 376238 w 1338263"/>
                <a:gd name="connsiteY20" fmla="*/ 1024189 h 1093788"/>
                <a:gd name="connsiteX21" fmla="*/ 391963 w 1338263"/>
                <a:gd name="connsiteY21" fmla="*/ 1008564 h 1093788"/>
                <a:gd name="connsiteX22" fmla="*/ 539204 w 1338263"/>
                <a:gd name="connsiteY22" fmla="*/ 1008564 h 1093788"/>
                <a:gd name="connsiteX23" fmla="*/ 539204 w 1338263"/>
                <a:gd name="connsiteY23" fmla="*/ 974475 h 1093788"/>
                <a:gd name="connsiteX24" fmla="*/ 554928 w 1338263"/>
                <a:gd name="connsiteY24" fmla="*/ 958850 h 1093788"/>
                <a:gd name="connsiteX25" fmla="*/ 669925 w 1338263"/>
                <a:gd name="connsiteY25" fmla="*/ 825500 h 1093788"/>
                <a:gd name="connsiteX26" fmla="*/ 701675 w 1338263"/>
                <a:gd name="connsiteY26" fmla="*/ 857250 h 1093788"/>
                <a:gd name="connsiteX27" fmla="*/ 669925 w 1338263"/>
                <a:gd name="connsiteY27" fmla="*/ 889000 h 1093788"/>
                <a:gd name="connsiteX28" fmla="*/ 638175 w 1338263"/>
                <a:gd name="connsiteY28" fmla="*/ 857250 h 1093788"/>
                <a:gd name="connsiteX29" fmla="*/ 669925 w 1338263"/>
                <a:gd name="connsiteY29" fmla="*/ 825500 h 1093788"/>
                <a:gd name="connsiteX30" fmla="*/ 31750 w 1338263"/>
                <a:gd name="connsiteY30" fmla="*/ 809625 h 1093788"/>
                <a:gd name="connsiteX31" fmla="*/ 31750 w 1338263"/>
                <a:gd name="connsiteY31" fmla="*/ 900113 h 1093788"/>
                <a:gd name="connsiteX32" fmla="*/ 1308100 w 1338263"/>
                <a:gd name="connsiteY32" fmla="*/ 900113 h 1093788"/>
                <a:gd name="connsiteX33" fmla="*/ 1308100 w 1338263"/>
                <a:gd name="connsiteY33" fmla="*/ 809625 h 1093788"/>
                <a:gd name="connsiteX34" fmla="*/ 31750 w 1338263"/>
                <a:gd name="connsiteY34" fmla="*/ 809625 h 1093788"/>
                <a:gd name="connsiteX35" fmla="*/ 561209 w 1338263"/>
                <a:gd name="connsiteY35" fmla="*/ 450850 h 1093788"/>
                <a:gd name="connsiteX36" fmla="*/ 539750 w 1338263"/>
                <a:gd name="connsiteY36" fmla="*/ 472282 h 1093788"/>
                <a:gd name="connsiteX37" fmla="*/ 561209 w 1338263"/>
                <a:gd name="connsiteY37" fmla="*/ 493713 h 1093788"/>
                <a:gd name="connsiteX38" fmla="*/ 1140592 w 1338263"/>
                <a:gd name="connsiteY38" fmla="*/ 493713 h 1093788"/>
                <a:gd name="connsiteX39" fmla="*/ 1162050 w 1338263"/>
                <a:gd name="connsiteY39" fmla="*/ 472282 h 1093788"/>
                <a:gd name="connsiteX40" fmla="*/ 1140592 w 1338263"/>
                <a:gd name="connsiteY40" fmla="*/ 450850 h 1093788"/>
                <a:gd name="connsiteX41" fmla="*/ 561209 w 1338263"/>
                <a:gd name="connsiteY41" fmla="*/ 450850 h 1093788"/>
                <a:gd name="connsiteX42" fmla="*/ 220663 w 1338263"/>
                <a:gd name="connsiteY42" fmla="*/ 319087 h 1093788"/>
                <a:gd name="connsiteX43" fmla="*/ 363960 w 1338263"/>
                <a:gd name="connsiteY43" fmla="*/ 319087 h 1093788"/>
                <a:gd name="connsiteX44" fmla="*/ 303059 w 1338263"/>
                <a:gd name="connsiteY44" fmla="*/ 385426 h 1093788"/>
                <a:gd name="connsiteX45" fmla="*/ 283714 w 1338263"/>
                <a:gd name="connsiteY45" fmla="*/ 357607 h 1093788"/>
                <a:gd name="connsiteX46" fmla="*/ 253621 w 1338263"/>
                <a:gd name="connsiteY46" fmla="*/ 352613 h 1093788"/>
                <a:gd name="connsiteX47" fmla="*/ 248606 w 1338263"/>
                <a:gd name="connsiteY47" fmla="*/ 382573 h 1093788"/>
                <a:gd name="connsiteX48" fmla="*/ 283714 w 1338263"/>
                <a:gd name="connsiteY48" fmla="*/ 431793 h 1093788"/>
                <a:gd name="connsiteX49" fmla="*/ 299476 w 1338263"/>
                <a:gd name="connsiteY49" fmla="*/ 441066 h 1093788"/>
                <a:gd name="connsiteX50" fmla="*/ 300909 w 1338263"/>
                <a:gd name="connsiteY50" fmla="*/ 441066 h 1093788"/>
                <a:gd name="connsiteX51" fmla="*/ 317388 w 1338263"/>
                <a:gd name="connsiteY51" fmla="*/ 433933 h 1093788"/>
                <a:gd name="connsiteX52" fmla="*/ 382588 w 1338263"/>
                <a:gd name="connsiteY52" fmla="*/ 361887 h 1093788"/>
                <a:gd name="connsiteX53" fmla="*/ 382588 w 1338263"/>
                <a:gd name="connsiteY53" fmla="*/ 481012 h 1093788"/>
                <a:gd name="connsiteX54" fmla="*/ 220663 w 1338263"/>
                <a:gd name="connsiteY54" fmla="*/ 481012 h 1093788"/>
                <a:gd name="connsiteX55" fmla="*/ 220663 w 1338263"/>
                <a:gd name="connsiteY55" fmla="*/ 319087 h 1093788"/>
                <a:gd name="connsiteX56" fmla="*/ 561209 w 1338263"/>
                <a:gd name="connsiteY56" fmla="*/ 304800 h 1093788"/>
                <a:gd name="connsiteX57" fmla="*/ 539750 w 1338263"/>
                <a:gd name="connsiteY57" fmla="*/ 326232 h 1093788"/>
                <a:gd name="connsiteX58" fmla="*/ 561209 w 1338263"/>
                <a:gd name="connsiteY58" fmla="*/ 347663 h 1093788"/>
                <a:gd name="connsiteX59" fmla="*/ 1140592 w 1338263"/>
                <a:gd name="connsiteY59" fmla="*/ 347663 h 1093788"/>
                <a:gd name="connsiteX60" fmla="*/ 1162050 w 1338263"/>
                <a:gd name="connsiteY60" fmla="*/ 326232 h 1093788"/>
                <a:gd name="connsiteX61" fmla="*/ 1140592 w 1338263"/>
                <a:gd name="connsiteY61" fmla="*/ 304800 h 1093788"/>
                <a:gd name="connsiteX62" fmla="*/ 561209 w 1338263"/>
                <a:gd name="connsiteY62" fmla="*/ 304800 h 1093788"/>
                <a:gd name="connsiteX63" fmla="*/ 448409 w 1338263"/>
                <a:gd name="connsiteY63" fmla="*/ 235771 h 1093788"/>
                <a:gd name="connsiteX64" fmla="*/ 433038 w 1338263"/>
                <a:gd name="connsiteY64" fmla="*/ 242641 h 1093788"/>
                <a:gd name="connsiteX65" fmla="*/ 402295 w 1338263"/>
                <a:gd name="connsiteY65" fmla="*/ 276190 h 1093788"/>
                <a:gd name="connsiteX66" fmla="*/ 199249 w 1338263"/>
                <a:gd name="connsiteY66" fmla="*/ 276190 h 1093788"/>
                <a:gd name="connsiteX67" fmla="*/ 177800 w 1338263"/>
                <a:gd name="connsiteY67" fmla="*/ 297603 h 1093788"/>
                <a:gd name="connsiteX68" fmla="*/ 177800 w 1338263"/>
                <a:gd name="connsiteY68" fmla="*/ 502461 h 1093788"/>
                <a:gd name="connsiteX69" fmla="*/ 199249 w 1338263"/>
                <a:gd name="connsiteY69" fmla="*/ 523875 h 1093788"/>
                <a:gd name="connsiteX70" fmla="*/ 403725 w 1338263"/>
                <a:gd name="connsiteY70" fmla="*/ 523875 h 1093788"/>
                <a:gd name="connsiteX71" fmla="*/ 425173 w 1338263"/>
                <a:gd name="connsiteY71" fmla="*/ 502461 h 1093788"/>
                <a:gd name="connsiteX72" fmla="*/ 425173 w 1338263"/>
                <a:gd name="connsiteY72" fmla="*/ 314734 h 1093788"/>
                <a:gd name="connsiteX73" fmla="*/ 465211 w 1338263"/>
                <a:gd name="connsiteY73" fmla="*/ 271193 h 1093788"/>
                <a:gd name="connsiteX74" fmla="*/ 463781 w 1338263"/>
                <a:gd name="connsiteY74" fmla="*/ 241214 h 1093788"/>
                <a:gd name="connsiteX75" fmla="*/ 448409 w 1338263"/>
                <a:gd name="connsiteY75" fmla="*/ 235771 h 1093788"/>
                <a:gd name="connsiteX76" fmla="*/ 75400 w 1338263"/>
                <a:gd name="connsiteY76" fmla="*/ 71437 h 1093788"/>
                <a:gd name="connsiteX77" fmla="*/ 1264451 w 1338263"/>
                <a:gd name="connsiteY77" fmla="*/ 71437 h 1093788"/>
                <a:gd name="connsiteX78" fmla="*/ 1271588 w 1338263"/>
                <a:gd name="connsiteY78" fmla="*/ 78577 h 1093788"/>
                <a:gd name="connsiteX79" fmla="*/ 1271588 w 1338263"/>
                <a:gd name="connsiteY79" fmla="*/ 732635 h 1093788"/>
                <a:gd name="connsiteX80" fmla="*/ 1264451 w 1338263"/>
                <a:gd name="connsiteY80" fmla="*/ 739775 h 1093788"/>
                <a:gd name="connsiteX81" fmla="*/ 75400 w 1338263"/>
                <a:gd name="connsiteY81" fmla="*/ 739775 h 1093788"/>
                <a:gd name="connsiteX82" fmla="*/ 68263 w 1338263"/>
                <a:gd name="connsiteY82" fmla="*/ 732635 h 1093788"/>
                <a:gd name="connsiteX83" fmla="*/ 68263 w 1338263"/>
                <a:gd name="connsiteY83" fmla="*/ 78577 h 1093788"/>
                <a:gd name="connsiteX84" fmla="*/ 75400 w 1338263"/>
                <a:gd name="connsiteY84" fmla="*/ 71437 h 1093788"/>
                <a:gd name="connsiteX85" fmla="*/ 31750 w 1338263"/>
                <a:gd name="connsiteY85" fmla="*/ 30162 h 1093788"/>
                <a:gd name="connsiteX86" fmla="*/ 31750 w 1338263"/>
                <a:gd name="connsiteY86" fmla="*/ 777875 h 1093788"/>
                <a:gd name="connsiteX87" fmla="*/ 1308100 w 1338263"/>
                <a:gd name="connsiteY87" fmla="*/ 777875 h 1093788"/>
                <a:gd name="connsiteX88" fmla="*/ 1308100 w 1338263"/>
                <a:gd name="connsiteY88" fmla="*/ 30162 h 1093788"/>
                <a:gd name="connsiteX89" fmla="*/ 31750 w 1338263"/>
                <a:gd name="connsiteY89" fmla="*/ 30162 h 1093788"/>
                <a:gd name="connsiteX90" fmla="*/ 15719 w 1338263"/>
                <a:gd name="connsiteY90" fmla="*/ 0 h 1093788"/>
                <a:gd name="connsiteX91" fmla="*/ 1322544 w 1338263"/>
                <a:gd name="connsiteY91" fmla="*/ 0 h 1093788"/>
                <a:gd name="connsiteX92" fmla="*/ 1338263 w 1338263"/>
                <a:gd name="connsiteY92" fmla="*/ 15698 h 1093788"/>
                <a:gd name="connsiteX93" fmla="*/ 1338263 w 1338263"/>
                <a:gd name="connsiteY93" fmla="*/ 916166 h 1093788"/>
                <a:gd name="connsiteX94" fmla="*/ 1322544 w 1338263"/>
                <a:gd name="connsiteY94" fmla="*/ 931863 h 1093788"/>
                <a:gd name="connsiteX95" fmla="*/ 15719 w 1338263"/>
                <a:gd name="connsiteY95" fmla="*/ 931863 h 1093788"/>
                <a:gd name="connsiteX96" fmla="*/ 0 w 1338263"/>
                <a:gd name="connsiteY96" fmla="*/ 916166 h 1093788"/>
                <a:gd name="connsiteX97" fmla="*/ 0 w 1338263"/>
                <a:gd name="connsiteY97" fmla="*/ 15698 h 1093788"/>
                <a:gd name="connsiteX98" fmla="*/ 15719 w 1338263"/>
                <a:gd name="connsiteY98" fmla="*/ 0 h 109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38263" h="1093788">
                  <a:moveTo>
                    <a:pt x="554928" y="958850"/>
                  </a:moveTo>
                  <a:cubicBezTo>
                    <a:pt x="563506" y="958850"/>
                    <a:pt x="570653" y="965952"/>
                    <a:pt x="570653" y="974475"/>
                  </a:cubicBezTo>
                  <a:cubicBezTo>
                    <a:pt x="570653" y="1024189"/>
                    <a:pt x="570653" y="1024189"/>
                    <a:pt x="570653" y="1024189"/>
                  </a:cubicBezTo>
                  <a:cubicBezTo>
                    <a:pt x="570653" y="1032711"/>
                    <a:pt x="563506" y="1039813"/>
                    <a:pt x="554928" y="1039813"/>
                  </a:cubicBezTo>
                  <a:cubicBezTo>
                    <a:pt x="407688" y="1039813"/>
                    <a:pt x="407688" y="1039813"/>
                    <a:pt x="407688" y="1039813"/>
                  </a:cubicBezTo>
                  <a:cubicBezTo>
                    <a:pt x="407688" y="1062539"/>
                    <a:pt x="407688" y="1062539"/>
                    <a:pt x="407688" y="1062539"/>
                  </a:cubicBezTo>
                  <a:cubicBezTo>
                    <a:pt x="933752" y="1062539"/>
                    <a:pt x="933752" y="1062539"/>
                    <a:pt x="933752" y="1062539"/>
                  </a:cubicBezTo>
                  <a:cubicBezTo>
                    <a:pt x="933752" y="1039813"/>
                    <a:pt x="933752" y="1039813"/>
                    <a:pt x="933752" y="1039813"/>
                  </a:cubicBezTo>
                  <a:cubicBezTo>
                    <a:pt x="787941" y="1039813"/>
                    <a:pt x="787941" y="1039813"/>
                    <a:pt x="787941" y="1039813"/>
                  </a:cubicBezTo>
                  <a:cubicBezTo>
                    <a:pt x="779363" y="1039813"/>
                    <a:pt x="772216" y="1032711"/>
                    <a:pt x="772216" y="1024189"/>
                  </a:cubicBezTo>
                  <a:cubicBezTo>
                    <a:pt x="772216" y="974475"/>
                    <a:pt x="772216" y="974475"/>
                    <a:pt x="772216" y="974475"/>
                  </a:cubicBezTo>
                  <a:cubicBezTo>
                    <a:pt x="772216" y="965952"/>
                    <a:pt x="779363" y="958850"/>
                    <a:pt x="787941" y="958850"/>
                  </a:cubicBezTo>
                  <a:cubicBezTo>
                    <a:pt x="797232" y="958850"/>
                    <a:pt x="803665" y="965952"/>
                    <a:pt x="803665" y="974475"/>
                  </a:cubicBezTo>
                  <a:cubicBezTo>
                    <a:pt x="803665" y="1008564"/>
                    <a:pt x="803665" y="1008564"/>
                    <a:pt x="803665" y="1008564"/>
                  </a:cubicBezTo>
                  <a:cubicBezTo>
                    <a:pt x="949476" y="1008564"/>
                    <a:pt x="949476" y="1008564"/>
                    <a:pt x="949476" y="1008564"/>
                  </a:cubicBezTo>
                  <a:cubicBezTo>
                    <a:pt x="958054" y="1008564"/>
                    <a:pt x="965201" y="1015666"/>
                    <a:pt x="965201" y="1024189"/>
                  </a:cubicBezTo>
                  <a:cubicBezTo>
                    <a:pt x="965201" y="1078164"/>
                    <a:pt x="965201" y="1078164"/>
                    <a:pt x="965201" y="1078164"/>
                  </a:cubicBezTo>
                  <a:cubicBezTo>
                    <a:pt x="965201" y="1086686"/>
                    <a:pt x="958054" y="1093788"/>
                    <a:pt x="949476" y="1093788"/>
                  </a:cubicBezTo>
                  <a:cubicBezTo>
                    <a:pt x="391963" y="1093788"/>
                    <a:pt x="391963" y="1093788"/>
                    <a:pt x="391963" y="1093788"/>
                  </a:cubicBezTo>
                  <a:cubicBezTo>
                    <a:pt x="383386" y="1093788"/>
                    <a:pt x="376238" y="1086686"/>
                    <a:pt x="376238" y="1078164"/>
                  </a:cubicBezTo>
                  <a:cubicBezTo>
                    <a:pt x="376238" y="1024189"/>
                    <a:pt x="376238" y="1024189"/>
                    <a:pt x="376238" y="1024189"/>
                  </a:cubicBezTo>
                  <a:cubicBezTo>
                    <a:pt x="376238" y="1015666"/>
                    <a:pt x="383386" y="1008564"/>
                    <a:pt x="391963" y="1008564"/>
                  </a:cubicBezTo>
                  <a:cubicBezTo>
                    <a:pt x="539204" y="1008564"/>
                    <a:pt x="539204" y="1008564"/>
                    <a:pt x="539204" y="1008564"/>
                  </a:cubicBezTo>
                  <a:cubicBezTo>
                    <a:pt x="539204" y="974475"/>
                    <a:pt x="539204" y="974475"/>
                    <a:pt x="539204" y="974475"/>
                  </a:cubicBezTo>
                  <a:cubicBezTo>
                    <a:pt x="539204" y="965952"/>
                    <a:pt x="546351" y="958850"/>
                    <a:pt x="554928" y="958850"/>
                  </a:cubicBezTo>
                  <a:close/>
                  <a:moveTo>
                    <a:pt x="669925" y="825500"/>
                  </a:moveTo>
                  <a:cubicBezTo>
                    <a:pt x="687460" y="825500"/>
                    <a:pt x="701675" y="839715"/>
                    <a:pt x="701675" y="857250"/>
                  </a:cubicBezTo>
                  <a:cubicBezTo>
                    <a:pt x="701675" y="874785"/>
                    <a:pt x="687460" y="889000"/>
                    <a:pt x="669925" y="889000"/>
                  </a:cubicBezTo>
                  <a:cubicBezTo>
                    <a:pt x="652390" y="889000"/>
                    <a:pt x="638175" y="874785"/>
                    <a:pt x="638175" y="857250"/>
                  </a:cubicBezTo>
                  <a:cubicBezTo>
                    <a:pt x="638175" y="839715"/>
                    <a:pt x="652390" y="825500"/>
                    <a:pt x="669925" y="825500"/>
                  </a:cubicBezTo>
                  <a:close/>
                  <a:moveTo>
                    <a:pt x="31750" y="809625"/>
                  </a:moveTo>
                  <a:cubicBezTo>
                    <a:pt x="31750" y="900113"/>
                    <a:pt x="31750" y="900113"/>
                    <a:pt x="31750" y="900113"/>
                  </a:cubicBezTo>
                  <a:cubicBezTo>
                    <a:pt x="1308100" y="900113"/>
                    <a:pt x="1308100" y="900113"/>
                    <a:pt x="1308100" y="900113"/>
                  </a:cubicBezTo>
                  <a:cubicBezTo>
                    <a:pt x="1308100" y="809625"/>
                    <a:pt x="1308100" y="809625"/>
                    <a:pt x="1308100" y="809625"/>
                  </a:cubicBezTo>
                  <a:cubicBezTo>
                    <a:pt x="31750" y="809625"/>
                    <a:pt x="31750" y="809625"/>
                    <a:pt x="31750" y="809625"/>
                  </a:cubicBezTo>
                  <a:close/>
                  <a:moveTo>
                    <a:pt x="561209" y="450850"/>
                  </a:moveTo>
                  <a:cubicBezTo>
                    <a:pt x="549049" y="450850"/>
                    <a:pt x="539750" y="460137"/>
                    <a:pt x="539750" y="472282"/>
                  </a:cubicBezTo>
                  <a:cubicBezTo>
                    <a:pt x="539750" y="484426"/>
                    <a:pt x="549049" y="493713"/>
                    <a:pt x="561209" y="493713"/>
                  </a:cubicBezTo>
                  <a:cubicBezTo>
                    <a:pt x="1140592" y="493713"/>
                    <a:pt x="1140592" y="493713"/>
                    <a:pt x="1140592" y="493713"/>
                  </a:cubicBezTo>
                  <a:cubicBezTo>
                    <a:pt x="1152751" y="493713"/>
                    <a:pt x="1162050" y="484426"/>
                    <a:pt x="1162050" y="472282"/>
                  </a:cubicBezTo>
                  <a:cubicBezTo>
                    <a:pt x="1162050" y="460137"/>
                    <a:pt x="1152751" y="450850"/>
                    <a:pt x="1140592" y="450850"/>
                  </a:cubicBezTo>
                  <a:cubicBezTo>
                    <a:pt x="561209" y="450850"/>
                    <a:pt x="561209" y="450850"/>
                    <a:pt x="561209" y="450850"/>
                  </a:cubicBezTo>
                  <a:close/>
                  <a:moveTo>
                    <a:pt x="220663" y="319087"/>
                  </a:moveTo>
                  <a:cubicBezTo>
                    <a:pt x="220663" y="319087"/>
                    <a:pt x="220663" y="319087"/>
                    <a:pt x="363960" y="319087"/>
                  </a:cubicBezTo>
                  <a:cubicBezTo>
                    <a:pt x="363960" y="319087"/>
                    <a:pt x="363960" y="319087"/>
                    <a:pt x="303059" y="385426"/>
                  </a:cubicBezTo>
                  <a:cubicBezTo>
                    <a:pt x="303059" y="385426"/>
                    <a:pt x="303059" y="385426"/>
                    <a:pt x="283714" y="357607"/>
                  </a:cubicBezTo>
                  <a:cubicBezTo>
                    <a:pt x="277265" y="348333"/>
                    <a:pt x="263652" y="346194"/>
                    <a:pt x="253621" y="352613"/>
                  </a:cubicBezTo>
                  <a:cubicBezTo>
                    <a:pt x="244307" y="359747"/>
                    <a:pt x="242158" y="372587"/>
                    <a:pt x="248606" y="382573"/>
                  </a:cubicBezTo>
                  <a:cubicBezTo>
                    <a:pt x="248606" y="382573"/>
                    <a:pt x="248606" y="382573"/>
                    <a:pt x="283714" y="431793"/>
                  </a:cubicBezTo>
                  <a:cubicBezTo>
                    <a:pt x="287296" y="437499"/>
                    <a:pt x="293028" y="440353"/>
                    <a:pt x="299476" y="441066"/>
                  </a:cubicBezTo>
                  <a:cubicBezTo>
                    <a:pt x="300193" y="441066"/>
                    <a:pt x="300909" y="441066"/>
                    <a:pt x="300909" y="441066"/>
                  </a:cubicBezTo>
                  <a:cubicBezTo>
                    <a:pt x="307358" y="441066"/>
                    <a:pt x="313089" y="438213"/>
                    <a:pt x="317388" y="433933"/>
                  </a:cubicBezTo>
                  <a:cubicBezTo>
                    <a:pt x="317388" y="433933"/>
                    <a:pt x="317388" y="433933"/>
                    <a:pt x="382588" y="361887"/>
                  </a:cubicBezTo>
                  <a:cubicBezTo>
                    <a:pt x="382588" y="361887"/>
                    <a:pt x="382588" y="361887"/>
                    <a:pt x="382588" y="481012"/>
                  </a:cubicBezTo>
                  <a:cubicBezTo>
                    <a:pt x="382588" y="481012"/>
                    <a:pt x="382588" y="481012"/>
                    <a:pt x="220663" y="481012"/>
                  </a:cubicBezTo>
                  <a:cubicBezTo>
                    <a:pt x="220663" y="481012"/>
                    <a:pt x="220663" y="481012"/>
                    <a:pt x="220663" y="319087"/>
                  </a:cubicBezTo>
                  <a:close/>
                  <a:moveTo>
                    <a:pt x="561209" y="304800"/>
                  </a:moveTo>
                  <a:cubicBezTo>
                    <a:pt x="549049" y="304800"/>
                    <a:pt x="539750" y="314087"/>
                    <a:pt x="539750" y="326232"/>
                  </a:cubicBezTo>
                  <a:cubicBezTo>
                    <a:pt x="539750" y="338376"/>
                    <a:pt x="549049" y="347663"/>
                    <a:pt x="561209" y="347663"/>
                  </a:cubicBezTo>
                  <a:cubicBezTo>
                    <a:pt x="1140592" y="347663"/>
                    <a:pt x="1140592" y="347663"/>
                    <a:pt x="1140592" y="347663"/>
                  </a:cubicBezTo>
                  <a:cubicBezTo>
                    <a:pt x="1152751" y="347663"/>
                    <a:pt x="1162050" y="338376"/>
                    <a:pt x="1162050" y="326232"/>
                  </a:cubicBezTo>
                  <a:cubicBezTo>
                    <a:pt x="1162050" y="314087"/>
                    <a:pt x="1152751" y="304800"/>
                    <a:pt x="1140592" y="304800"/>
                  </a:cubicBezTo>
                  <a:cubicBezTo>
                    <a:pt x="561209" y="304800"/>
                    <a:pt x="561209" y="304800"/>
                    <a:pt x="561209" y="304800"/>
                  </a:cubicBezTo>
                  <a:close/>
                  <a:moveTo>
                    <a:pt x="448409" y="235771"/>
                  </a:moveTo>
                  <a:cubicBezTo>
                    <a:pt x="442868" y="236039"/>
                    <a:pt x="437328" y="238359"/>
                    <a:pt x="433038" y="242641"/>
                  </a:cubicBezTo>
                  <a:cubicBezTo>
                    <a:pt x="402295" y="276190"/>
                    <a:pt x="402295" y="276190"/>
                    <a:pt x="402295" y="276190"/>
                  </a:cubicBezTo>
                  <a:cubicBezTo>
                    <a:pt x="199249" y="276190"/>
                    <a:pt x="199249" y="276190"/>
                    <a:pt x="199249" y="276190"/>
                  </a:cubicBezTo>
                  <a:cubicBezTo>
                    <a:pt x="187095" y="276190"/>
                    <a:pt x="177800" y="286183"/>
                    <a:pt x="177800" y="297603"/>
                  </a:cubicBezTo>
                  <a:cubicBezTo>
                    <a:pt x="177800" y="502461"/>
                    <a:pt x="177800" y="502461"/>
                    <a:pt x="177800" y="502461"/>
                  </a:cubicBezTo>
                  <a:cubicBezTo>
                    <a:pt x="177800" y="513882"/>
                    <a:pt x="187095" y="523875"/>
                    <a:pt x="199249" y="523875"/>
                  </a:cubicBezTo>
                  <a:cubicBezTo>
                    <a:pt x="403725" y="523875"/>
                    <a:pt x="403725" y="523875"/>
                    <a:pt x="403725" y="523875"/>
                  </a:cubicBezTo>
                  <a:cubicBezTo>
                    <a:pt x="415879" y="523875"/>
                    <a:pt x="425173" y="513882"/>
                    <a:pt x="425173" y="502461"/>
                  </a:cubicBezTo>
                  <a:cubicBezTo>
                    <a:pt x="425173" y="314734"/>
                    <a:pt x="425173" y="314734"/>
                    <a:pt x="425173" y="314734"/>
                  </a:cubicBezTo>
                  <a:cubicBezTo>
                    <a:pt x="465211" y="271193"/>
                    <a:pt x="465211" y="271193"/>
                    <a:pt x="465211" y="271193"/>
                  </a:cubicBezTo>
                  <a:cubicBezTo>
                    <a:pt x="473075" y="262628"/>
                    <a:pt x="472360" y="249066"/>
                    <a:pt x="463781" y="241214"/>
                  </a:cubicBezTo>
                  <a:cubicBezTo>
                    <a:pt x="459491" y="237288"/>
                    <a:pt x="453950" y="235504"/>
                    <a:pt x="448409" y="235771"/>
                  </a:cubicBezTo>
                  <a:close/>
                  <a:moveTo>
                    <a:pt x="75400" y="71437"/>
                  </a:moveTo>
                  <a:cubicBezTo>
                    <a:pt x="1264451" y="71437"/>
                    <a:pt x="1264451" y="71437"/>
                    <a:pt x="1264451" y="71437"/>
                  </a:cubicBezTo>
                  <a:cubicBezTo>
                    <a:pt x="1268020" y="71437"/>
                    <a:pt x="1271588" y="74293"/>
                    <a:pt x="1271588" y="78577"/>
                  </a:cubicBezTo>
                  <a:cubicBezTo>
                    <a:pt x="1271588" y="732635"/>
                    <a:pt x="1271588" y="732635"/>
                    <a:pt x="1271588" y="732635"/>
                  </a:cubicBezTo>
                  <a:cubicBezTo>
                    <a:pt x="1271588" y="736919"/>
                    <a:pt x="1268020" y="739775"/>
                    <a:pt x="1264451" y="739775"/>
                  </a:cubicBezTo>
                  <a:cubicBezTo>
                    <a:pt x="75400" y="739775"/>
                    <a:pt x="75400" y="739775"/>
                    <a:pt x="75400" y="739775"/>
                  </a:cubicBezTo>
                  <a:cubicBezTo>
                    <a:pt x="71832" y="739775"/>
                    <a:pt x="68263" y="736919"/>
                    <a:pt x="68263" y="732635"/>
                  </a:cubicBezTo>
                  <a:cubicBezTo>
                    <a:pt x="68263" y="78577"/>
                    <a:pt x="68263" y="78577"/>
                    <a:pt x="68263" y="78577"/>
                  </a:cubicBezTo>
                  <a:cubicBezTo>
                    <a:pt x="68263" y="74293"/>
                    <a:pt x="71832" y="71437"/>
                    <a:pt x="75400" y="71437"/>
                  </a:cubicBezTo>
                  <a:close/>
                  <a:moveTo>
                    <a:pt x="31750" y="30162"/>
                  </a:moveTo>
                  <a:cubicBezTo>
                    <a:pt x="31750" y="777875"/>
                    <a:pt x="31750" y="777875"/>
                    <a:pt x="31750" y="777875"/>
                  </a:cubicBezTo>
                  <a:cubicBezTo>
                    <a:pt x="1308100" y="777875"/>
                    <a:pt x="1308100" y="777875"/>
                    <a:pt x="1308100" y="777875"/>
                  </a:cubicBezTo>
                  <a:cubicBezTo>
                    <a:pt x="1308100" y="30162"/>
                    <a:pt x="1308100" y="30162"/>
                    <a:pt x="1308100" y="30162"/>
                  </a:cubicBezTo>
                  <a:cubicBezTo>
                    <a:pt x="31750" y="30162"/>
                    <a:pt x="31750" y="30162"/>
                    <a:pt x="31750" y="30162"/>
                  </a:cubicBezTo>
                  <a:close/>
                  <a:moveTo>
                    <a:pt x="15719" y="0"/>
                  </a:moveTo>
                  <a:cubicBezTo>
                    <a:pt x="1322544" y="0"/>
                    <a:pt x="1322544" y="0"/>
                    <a:pt x="1322544" y="0"/>
                  </a:cubicBezTo>
                  <a:cubicBezTo>
                    <a:pt x="1331118" y="0"/>
                    <a:pt x="1338263" y="7135"/>
                    <a:pt x="1338263" y="15698"/>
                  </a:cubicBezTo>
                  <a:cubicBezTo>
                    <a:pt x="1338263" y="916166"/>
                    <a:pt x="1338263" y="916166"/>
                    <a:pt x="1338263" y="916166"/>
                  </a:cubicBezTo>
                  <a:cubicBezTo>
                    <a:pt x="1338263" y="924728"/>
                    <a:pt x="1331118" y="931863"/>
                    <a:pt x="1322544" y="931863"/>
                  </a:cubicBezTo>
                  <a:cubicBezTo>
                    <a:pt x="15719" y="931863"/>
                    <a:pt x="15719" y="931863"/>
                    <a:pt x="15719" y="931863"/>
                  </a:cubicBezTo>
                  <a:cubicBezTo>
                    <a:pt x="7145" y="931863"/>
                    <a:pt x="0" y="924728"/>
                    <a:pt x="0" y="916166"/>
                  </a:cubicBezTo>
                  <a:cubicBezTo>
                    <a:pt x="0" y="15698"/>
                    <a:pt x="0" y="15698"/>
                    <a:pt x="0" y="15698"/>
                  </a:cubicBezTo>
                  <a:cubicBezTo>
                    <a:pt x="0" y="7135"/>
                    <a:pt x="7145" y="0"/>
                    <a:pt x="15719" y="0"/>
                  </a:cubicBezTo>
                  <a:close/>
                </a:path>
              </a:pathLst>
            </a:custGeom>
            <a:solidFill>
              <a:srgbClr val="6E6F73"/>
            </a:solidFill>
            <a:ln w="9525" cap="flat" cmpd="sng" algn="ctr">
              <a:solidFill>
                <a:srgbClr val="9A9A9A"/>
              </a:solidFill>
              <a:prstDash val="solid"/>
              <a:round/>
              <a:headEnd type="none" w="med" len="med"/>
              <a:tailEnd type="none" w="med" len="med"/>
            </a:ln>
          </p:spPr>
          <p:txBody>
            <a:bodyPr vert="horz" wrap="square" lIns="91440" tIns="45720" rIns="91440" bIns="45720" numCol="1" anchor="t" anchorCtr="0" compatLnSpc="1">
              <a:prstTxWarp prst="textNoShape">
                <a:avLst/>
              </a:prstTxWarp>
              <a:noAutofit/>
            </a:bodyPr>
            <a:lstStyle/>
            <a:p>
              <a:endParaRPr lang="en-US" dirty="0"/>
            </a:p>
          </p:txBody>
        </p:sp>
      </p:grpSp>
      <p:sp>
        <p:nvSpPr>
          <p:cNvPr id="6" name="Rectangle 5">
            <a:extLst>
              <a:ext uri="{FF2B5EF4-FFF2-40B4-BE49-F238E27FC236}">
                <a16:creationId xmlns:a16="http://schemas.microsoft.com/office/drawing/2014/main" id="{401C62CD-32D3-4E1A-A420-F0B4BE25E980}"/>
              </a:ext>
            </a:extLst>
          </p:cNvPr>
          <p:cNvSpPr/>
          <p:nvPr/>
        </p:nvSpPr>
        <p:spPr>
          <a:xfrm>
            <a:off x="6369782" y="-5147"/>
            <a:ext cx="5817016" cy="5430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E71C57"/>
                </a:solidFill>
              </a:rPr>
              <a:t>NOTE – an effort is in process to update criticality ratings &amp; related product / service alignment. We will re-align our products &amp; services as required when this completes (anticipated early January, 2022). For more information, please contact Kitty Chow.</a:t>
            </a:r>
          </a:p>
        </p:txBody>
      </p:sp>
    </p:spTree>
    <p:extLst>
      <p:ext uri="{BB962C8B-B14F-4D97-AF65-F5344CB8AC3E}">
        <p14:creationId xmlns:p14="http://schemas.microsoft.com/office/powerpoint/2010/main" val="3132442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041"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8" name="Picture 37">
            <a:extLst>
              <a:ext uri="{FF2B5EF4-FFF2-40B4-BE49-F238E27FC236}">
                <a16:creationId xmlns:a16="http://schemas.microsoft.com/office/drawing/2014/main" id="{04D748F0-8928-4EFD-A248-4C0DC581439F}"/>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05439" y="8796"/>
            <a:ext cx="4375671" cy="6859254"/>
          </a:xfrm>
          <a:prstGeom prst="rect">
            <a:avLst/>
          </a:prstGeom>
        </p:spPr>
      </p:pic>
      <p:sp>
        <p:nvSpPr>
          <p:cNvPr id="43" name="Rectangular Callout 42"/>
          <p:cNvSpPr/>
          <p:nvPr/>
        </p:nvSpPr>
        <p:spPr>
          <a:xfrm>
            <a:off x="216425" y="4362264"/>
            <a:ext cx="1610173" cy="993802"/>
          </a:xfrm>
          <a:prstGeom prst="wedgeRectCallout">
            <a:avLst>
              <a:gd name="adj1" fmla="val 1202"/>
              <a:gd name="adj2" fmla="val 559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MS Teams. Collaboration tools are not integrated.</a:t>
            </a:r>
            <a:r>
              <a:rPr lang="en-GB" sz="1200" dirty="0">
                <a:cs typeface="Arial" pitchFamily="34" charset="0"/>
              </a:rPr>
              <a:t>”</a:t>
            </a:r>
          </a:p>
          <a:p>
            <a:endParaRPr lang="en-GB" sz="1200" dirty="0">
              <a:cs typeface="Arial" pitchFamily="34" charset="0"/>
            </a:endParaRPr>
          </a:p>
          <a:p>
            <a:pPr algn="r"/>
            <a:r>
              <a:rPr lang="en-GB" sz="1000" i="1" dirty="0" err="1">
                <a:cs typeface="Arial" pitchFamily="34" charset="0"/>
              </a:rPr>
              <a:t>MDP</a:t>
            </a:r>
            <a:endParaRPr lang="en-GB" sz="1000" i="1" dirty="0">
              <a:cs typeface="Arial" pitchFamily="34" charset="0"/>
            </a:endParaRPr>
          </a:p>
        </p:txBody>
      </p:sp>
      <p:sp>
        <p:nvSpPr>
          <p:cNvPr id="53" name="Rectangular Callout 52"/>
          <p:cNvSpPr/>
          <p:nvPr/>
        </p:nvSpPr>
        <p:spPr>
          <a:xfrm>
            <a:off x="3322060" y="5533535"/>
            <a:ext cx="4224253" cy="1120129"/>
          </a:xfrm>
          <a:prstGeom prst="wedgeRectCallout">
            <a:avLst>
              <a:gd name="adj1" fmla="val -18398"/>
              <a:gd name="adj2" fmla="val -5593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200" dirty="0">
              <a:cs typeface="Arial" pitchFamily="34" charset="0"/>
            </a:endParaRPr>
          </a:p>
          <a:p>
            <a:r>
              <a:rPr lang="en-GB" sz="1200" dirty="0">
                <a:cs typeface="Arial" pitchFamily="34" charset="0"/>
              </a:rPr>
              <a:t>“</a:t>
            </a:r>
            <a:r>
              <a:rPr lang="en-US" sz="1200" dirty="0">
                <a:cs typeface="Arial" pitchFamily="34" charset="0"/>
              </a:rPr>
              <a:t>Laptop battery life at 3-4 hours max is not suitable for on-the-go working; BCG SEA has no programs in place to offer portable second screen; wired headsets provided don't have mic which helps reduce ambient noise; solutions for efficient hybrid meetings.</a:t>
            </a:r>
            <a:r>
              <a:rPr lang="en-GB" sz="1200" dirty="0">
                <a:cs typeface="Arial" pitchFamily="34" charset="0"/>
              </a:rPr>
              <a:t>”</a:t>
            </a:r>
          </a:p>
          <a:p>
            <a:pPr algn="r"/>
            <a:r>
              <a:rPr lang="en-GB" sz="1000" i="1" dirty="0">
                <a:cs typeface="Arial" pitchFamily="34" charset="0"/>
              </a:rPr>
              <a:t>Project Leader</a:t>
            </a:r>
          </a:p>
          <a:p>
            <a:pPr algn="r"/>
            <a:endParaRPr lang="en-GB" sz="1000" i="1" dirty="0">
              <a:cs typeface="Arial" pitchFamily="34" charset="0"/>
            </a:endParaRPr>
          </a:p>
        </p:txBody>
      </p:sp>
      <p:sp>
        <p:nvSpPr>
          <p:cNvPr id="41" name="Rectangular Callout 40"/>
          <p:cNvSpPr/>
          <p:nvPr/>
        </p:nvSpPr>
        <p:spPr>
          <a:xfrm>
            <a:off x="216424" y="5533536"/>
            <a:ext cx="3009097" cy="1096290"/>
          </a:xfrm>
          <a:prstGeom prst="wedgeRectCallout">
            <a:avLst>
              <a:gd name="adj1" fmla="val 33200"/>
              <a:gd name="adj2" fmla="val -550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Most client sites do not have </a:t>
            </a:r>
            <a:r>
              <a:rPr lang="en-US" sz="1200" dirty="0" err="1">
                <a:cs typeface="Arial" pitchFamily="34" charset="0"/>
              </a:rPr>
              <a:t>wifis</a:t>
            </a:r>
            <a:r>
              <a:rPr lang="en-US" sz="1200" dirty="0">
                <a:cs typeface="Arial" pitchFamily="34" charset="0"/>
              </a:rPr>
              <a:t>, and the dongle is slow and with low limits (4 GB per day). Often I have to go to cafes nearly, go back to office/ home when my phone internet runs out.</a:t>
            </a:r>
            <a:r>
              <a:rPr lang="en-GB" sz="1200" dirty="0">
                <a:cs typeface="Arial" pitchFamily="34" charset="0"/>
              </a:rPr>
              <a:t>”</a:t>
            </a:r>
          </a:p>
          <a:p>
            <a:pPr algn="r"/>
            <a:r>
              <a:rPr lang="en-GB" sz="1000" i="1" dirty="0">
                <a:cs typeface="Arial" pitchFamily="34" charset="0"/>
              </a:rPr>
              <a:t>Consultant</a:t>
            </a:r>
          </a:p>
        </p:txBody>
      </p:sp>
      <p:sp>
        <p:nvSpPr>
          <p:cNvPr id="59" name="Oval 58"/>
          <p:cNvSpPr>
            <a:spLocks noChangeAspect="1"/>
          </p:cNvSpPr>
          <p:nvPr/>
        </p:nvSpPr>
        <p:spPr>
          <a:xfrm>
            <a:off x="8601320" y="1852547"/>
            <a:ext cx="3127248" cy="31272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295E7E">
                    <a:lumMod val="100000"/>
                  </a:srgbClr>
                </a:solidFill>
              </a:rPr>
              <a:t>82</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Mentions</a:t>
            </a:r>
          </a:p>
        </p:txBody>
      </p:sp>
      <p:sp>
        <p:nvSpPr>
          <p:cNvPr id="36" name="Rectangle 35">
            <a:extLst>
              <a:ext uri="{FF2B5EF4-FFF2-40B4-BE49-F238E27FC236}">
                <a16:creationId xmlns:a16="http://schemas.microsoft.com/office/drawing/2014/main" id="{BD7135CD-7748-497B-BD71-90F42AA7ACE5}"/>
              </a:ext>
            </a:extLst>
          </p:cNvPr>
          <p:cNvSpPr/>
          <p:nvPr/>
        </p:nvSpPr>
        <p:spPr>
          <a:xfrm>
            <a:off x="7816241" y="-1"/>
            <a:ext cx="4375759" cy="1220789"/>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200" kern="0" dirty="0">
                <a:solidFill>
                  <a:srgbClr val="FFFFFF"/>
                </a:solidFill>
              </a:rPr>
              <a:t>Tools &amp; Services Provided for – CLIENT SITES</a:t>
            </a:r>
          </a:p>
        </p:txBody>
      </p:sp>
      <p:sp>
        <p:nvSpPr>
          <p:cNvPr id="28" name="Rectangle 27">
            <a:extLst>
              <a:ext uri="{FF2B5EF4-FFF2-40B4-BE49-F238E27FC236}">
                <a16:creationId xmlns:a16="http://schemas.microsoft.com/office/drawing/2014/main" id="{AE8BA0A3-A22B-4066-9085-3FC79F11C9A0}"/>
              </a:ext>
            </a:extLst>
          </p:cNvPr>
          <p:cNvSpPr/>
          <p:nvPr/>
        </p:nvSpPr>
        <p:spPr>
          <a:xfrm>
            <a:off x="158750" y="3951776"/>
            <a:ext cx="5405286" cy="35304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77628" y="400926"/>
            <a:ext cx="7520331" cy="156855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t>Many employees face connectivity issues at client sites such as weak WiFi which impacts tools such as Zoom. Others report the lack of collaboration tools such as MS Teams, impacting their ability to conduct work with their clients. Equipment like dual monitors, portable screens, projectors, etc., are not widely available &amp; the equipment BCG provides (e.g.: headsets, WiFi dongles, short laptop battery life) don't support productive working at client sites. </a:t>
            </a:r>
            <a:endParaRPr lang="en-GB" sz="1600" dirty="0"/>
          </a:p>
        </p:txBody>
      </p:sp>
      <p:sp>
        <p:nvSpPr>
          <p:cNvPr id="35" name="Rectangular Callout 52">
            <a:extLst>
              <a:ext uri="{FF2B5EF4-FFF2-40B4-BE49-F238E27FC236}">
                <a16:creationId xmlns:a16="http://schemas.microsoft.com/office/drawing/2014/main" id="{3D60241C-7E65-454F-A077-25FE918CE6C7}"/>
              </a:ext>
            </a:extLst>
          </p:cNvPr>
          <p:cNvSpPr/>
          <p:nvPr/>
        </p:nvSpPr>
        <p:spPr>
          <a:xfrm>
            <a:off x="1965325" y="4361978"/>
            <a:ext cx="1613838" cy="993804"/>
          </a:xfrm>
          <a:prstGeom prst="wedgeRectCallout">
            <a:avLst>
              <a:gd name="adj1" fmla="val 21740"/>
              <a:gd name="adj2" fmla="val 5255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No support of Microsoft Teams - is used of most of the clients.</a:t>
            </a:r>
            <a:r>
              <a:rPr lang="en-GB" sz="1200" dirty="0">
                <a:cs typeface="Arial" pitchFamily="34" charset="0"/>
              </a:rPr>
              <a:t>”</a:t>
            </a:r>
          </a:p>
          <a:p>
            <a:pPr lvl="1" algn="r"/>
            <a:r>
              <a:rPr lang="en-GB" sz="1000" i="1" dirty="0">
                <a:cs typeface="Arial" pitchFamily="34" charset="0"/>
              </a:rPr>
              <a:t>Project Leader</a:t>
            </a:r>
          </a:p>
        </p:txBody>
      </p:sp>
      <p:sp>
        <p:nvSpPr>
          <p:cNvPr id="34" name="Rectangle 33">
            <a:extLst>
              <a:ext uri="{FF2B5EF4-FFF2-40B4-BE49-F238E27FC236}">
                <a16:creationId xmlns:a16="http://schemas.microsoft.com/office/drawing/2014/main" id="{E764BD15-36CD-41E8-AB6D-27DED5D5C561}"/>
              </a:ext>
            </a:extLst>
          </p:cNvPr>
          <p:cNvSpPr/>
          <p:nvPr/>
        </p:nvSpPr>
        <p:spPr>
          <a:xfrm>
            <a:off x="158750" y="2211388"/>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graphicFrame>
        <p:nvGraphicFramePr>
          <p:cNvPr id="54" name="Chart 53">
            <a:extLst>
              <a:ext uri="{FF2B5EF4-FFF2-40B4-BE49-F238E27FC236}">
                <a16:creationId xmlns:a16="http://schemas.microsoft.com/office/drawing/2014/main" id="{D3CA9581-6919-40B4-A2CC-521528D7B3CA}"/>
              </a:ext>
            </a:extLst>
          </p:cNvPr>
          <p:cNvGraphicFramePr/>
          <p:nvPr>
            <p:custDataLst>
              <p:tags r:id="rId4"/>
            </p:custDataLst>
          </p:nvPr>
        </p:nvGraphicFramePr>
        <p:xfrm>
          <a:off x="158750" y="2289175"/>
          <a:ext cx="7558088" cy="1209675"/>
        </p:xfrm>
        <a:graphic>
          <a:graphicData uri="http://schemas.openxmlformats.org/drawingml/2006/chart">
            <c:chart xmlns:c="http://schemas.openxmlformats.org/drawingml/2006/chart" xmlns:r="http://schemas.openxmlformats.org/officeDocument/2006/relationships" r:id="rId16"/>
          </a:graphicData>
        </a:graphic>
      </p:graphicFrame>
      <p:sp>
        <p:nvSpPr>
          <p:cNvPr id="72" name="Rectangle 71">
            <a:extLst>
              <a:ext uri="{FF2B5EF4-FFF2-40B4-BE49-F238E27FC236}">
                <a16:creationId xmlns:a16="http://schemas.microsoft.com/office/drawing/2014/main" id="{CC495871-4288-480C-8FD7-69AF211BAC06}"/>
              </a:ext>
            </a:extLst>
          </p:cNvPr>
          <p:cNvSpPr/>
          <p:nvPr>
            <p:custDataLst>
              <p:tags r:id="rId5"/>
            </p:custDataLst>
          </p:nvPr>
        </p:nvSpPr>
        <p:spPr bwMode="gray">
          <a:xfrm>
            <a:off x="301625" y="349567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Rectangle 70">
            <a:extLst>
              <a:ext uri="{FF2B5EF4-FFF2-40B4-BE49-F238E27FC236}">
                <a16:creationId xmlns:a16="http://schemas.microsoft.com/office/drawing/2014/main" id="{6D010386-7CF3-452F-B6F7-541A381F022D}"/>
              </a:ext>
            </a:extLst>
          </p:cNvPr>
          <p:cNvSpPr/>
          <p:nvPr>
            <p:custDataLst>
              <p:tags r:id="rId6"/>
            </p:custDataLst>
          </p:nvPr>
        </p:nvSpPr>
        <p:spPr bwMode="gray">
          <a:xfrm>
            <a:off x="1195388" y="34956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Rectangle 69">
            <a:extLst>
              <a:ext uri="{FF2B5EF4-FFF2-40B4-BE49-F238E27FC236}">
                <a16:creationId xmlns:a16="http://schemas.microsoft.com/office/drawing/2014/main" id="{AC700455-590A-4232-9709-9B67AACC995E}"/>
              </a:ext>
            </a:extLst>
          </p:cNvPr>
          <p:cNvSpPr/>
          <p:nvPr>
            <p:custDataLst>
              <p:tags r:id="rId7"/>
            </p:custDataLst>
          </p:nvPr>
        </p:nvSpPr>
        <p:spPr bwMode="gray">
          <a:xfrm>
            <a:off x="2066925" y="34956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4" name="Text Placeholder 3">
            <a:extLst>
              <a:ext uri="{FF2B5EF4-FFF2-40B4-BE49-F238E27FC236}">
                <a16:creationId xmlns:a16="http://schemas.microsoft.com/office/drawing/2014/main" id="{CC9947C7-8186-4A8A-B3AD-1FC660132633}"/>
              </a:ext>
            </a:extLst>
          </p:cNvPr>
          <p:cNvSpPr>
            <a:spLocks noGrp="1"/>
          </p:cNvSpPr>
          <p:nvPr>
            <p:custDataLst>
              <p:tags r:id="rId8"/>
            </p:custDataLst>
          </p:nvPr>
        </p:nvSpPr>
        <p:spPr bwMode="gray">
          <a:xfrm>
            <a:off x="566738" y="347662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333ABB5-82C9-4BDA-BD41-21C780CF45FB}" type="datetime'''''''''''P''''o''''si''''t''''''i''''''v''''''''''''''''e'">
              <a:rPr lang="en-US" altLang="en-US" smtClean="0">
                <a:solidFill>
                  <a:schemeClr val="bg1"/>
                </a:solidFill>
              </a:rPr>
              <a:pPr/>
              <a:t>Positive</a:t>
            </a:fld>
            <a:endParaRPr lang="en-US" dirty="0">
              <a:solidFill>
                <a:schemeClr val="bg1"/>
              </a:solidFill>
              <a:sym typeface="+mn-lt"/>
            </a:endParaRPr>
          </a:p>
        </p:txBody>
      </p:sp>
      <p:sp>
        <p:nvSpPr>
          <p:cNvPr id="75" name="Text Placeholder 3">
            <a:extLst>
              <a:ext uri="{FF2B5EF4-FFF2-40B4-BE49-F238E27FC236}">
                <a16:creationId xmlns:a16="http://schemas.microsoft.com/office/drawing/2014/main" id="{9F4108A1-0AC8-40EB-B42F-37490D7F8C39}"/>
              </a:ext>
            </a:extLst>
          </p:cNvPr>
          <p:cNvSpPr>
            <a:spLocks noGrp="1"/>
          </p:cNvSpPr>
          <p:nvPr>
            <p:custDataLst>
              <p:tags r:id="rId9"/>
            </p:custDataLst>
          </p:nvPr>
        </p:nvSpPr>
        <p:spPr bwMode="gray">
          <a:xfrm>
            <a:off x="2332038" y="347662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D13CCE1-F593-4600-B753-5B4A68682F95}" type="datetime'''''''''''''''''''N''''e''''g''at''i''v''e'''''''''''''">
              <a:rPr lang="en-US" altLang="en-US" smtClean="0">
                <a:solidFill>
                  <a:schemeClr val="bg1"/>
                </a:solidFill>
              </a:rPr>
              <a:pPr/>
              <a:t>Negative</a:t>
            </a:fld>
            <a:endParaRPr lang="en-US" dirty="0">
              <a:solidFill>
                <a:schemeClr val="bg1"/>
              </a:solidFill>
              <a:sym typeface="+mn-lt"/>
            </a:endParaRPr>
          </a:p>
        </p:txBody>
      </p:sp>
      <p:sp>
        <p:nvSpPr>
          <p:cNvPr id="73" name="Text Placeholder 3">
            <a:extLst>
              <a:ext uri="{FF2B5EF4-FFF2-40B4-BE49-F238E27FC236}">
                <a16:creationId xmlns:a16="http://schemas.microsoft.com/office/drawing/2014/main" id="{80BB785B-4CF4-4C62-92BD-15E2CF253226}"/>
              </a:ext>
            </a:extLst>
          </p:cNvPr>
          <p:cNvSpPr>
            <a:spLocks noGrp="1"/>
          </p:cNvSpPr>
          <p:nvPr>
            <p:custDataLst>
              <p:tags r:id="rId10"/>
            </p:custDataLst>
          </p:nvPr>
        </p:nvSpPr>
        <p:spPr bwMode="gray">
          <a:xfrm>
            <a:off x="1460500" y="34766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28C847C-29F6-414B-9115-B4C7376CA3D6}" type="datetime'''''N''''''''''eu''''''''t''''r''''''al'''''''">
              <a:rPr lang="en-US" altLang="en-US" smtClean="0">
                <a:solidFill>
                  <a:schemeClr val="bg1"/>
                </a:solidFill>
              </a:rPr>
              <a:pPr/>
              <a:t>Neutral</a:t>
            </a:fld>
            <a:endParaRPr lang="en-US" dirty="0">
              <a:solidFill>
                <a:schemeClr val="bg1"/>
              </a:solidFill>
              <a:sym typeface="+mn-lt"/>
            </a:endParaRPr>
          </a:p>
        </p:txBody>
      </p:sp>
      <p:sp>
        <p:nvSpPr>
          <p:cNvPr id="85" name="Rectangular Callout 52">
            <a:extLst>
              <a:ext uri="{FF2B5EF4-FFF2-40B4-BE49-F238E27FC236}">
                <a16:creationId xmlns:a16="http://schemas.microsoft.com/office/drawing/2014/main" id="{4DBAC1A7-3B59-4006-BE9E-A0183A8F7844}"/>
              </a:ext>
            </a:extLst>
          </p:cNvPr>
          <p:cNvSpPr/>
          <p:nvPr/>
        </p:nvSpPr>
        <p:spPr>
          <a:xfrm>
            <a:off x="5956765" y="4351919"/>
            <a:ext cx="1589548" cy="993803"/>
          </a:xfrm>
          <a:prstGeom prst="wedgeRectCallout">
            <a:avLst>
              <a:gd name="adj1" fmla="val 7268"/>
              <a:gd name="adj2" fmla="val 593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Internet is slow, no dual monitor, no projection equipment.</a:t>
            </a:r>
            <a:r>
              <a:rPr lang="en-GB" sz="1200" dirty="0">
                <a:cs typeface="Arial" pitchFamily="34" charset="0"/>
              </a:rPr>
              <a:t>” </a:t>
            </a:r>
          </a:p>
          <a:p>
            <a:pPr algn="r"/>
            <a:r>
              <a:rPr lang="en-GB" sz="1000" i="1" dirty="0">
                <a:cs typeface="Arial" pitchFamily="34" charset="0"/>
              </a:rPr>
              <a:t>Principal</a:t>
            </a:r>
          </a:p>
        </p:txBody>
      </p:sp>
      <p:sp>
        <p:nvSpPr>
          <p:cNvPr id="27" name="Rectangular Callout 52">
            <a:extLst>
              <a:ext uri="{FF2B5EF4-FFF2-40B4-BE49-F238E27FC236}">
                <a16:creationId xmlns:a16="http://schemas.microsoft.com/office/drawing/2014/main" id="{D55E203C-CC3F-4C41-834F-63A57F06EEDC}"/>
              </a:ext>
            </a:extLst>
          </p:cNvPr>
          <p:cNvSpPr/>
          <p:nvPr/>
        </p:nvSpPr>
        <p:spPr>
          <a:xfrm>
            <a:off x="3717890" y="4351919"/>
            <a:ext cx="2100147" cy="964963"/>
          </a:xfrm>
          <a:prstGeom prst="wedgeRectCallout">
            <a:avLst>
              <a:gd name="adj1" fmla="val -28833"/>
              <a:gd name="adj2" fmla="val 5578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Quality Bluetooth headsets would be good.</a:t>
            </a:r>
            <a:r>
              <a:rPr lang="en-GB" sz="1200" dirty="0">
                <a:cs typeface="Arial" pitchFamily="34" charset="0"/>
              </a:rPr>
              <a:t>”</a:t>
            </a:r>
          </a:p>
          <a:p>
            <a:endParaRPr lang="en-GB" sz="1200" dirty="0">
              <a:cs typeface="Arial" pitchFamily="34" charset="0"/>
            </a:endParaRPr>
          </a:p>
          <a:p>
            <a:endParaRPr lang="en-GB" sz="1200" dirty="0">
              <a:cs typeface="Arial" pitchFamily="34" charset="0"/>
            </a:endParaRPr>
          </a:p>
          <a:p>
            <a:pPr algn="r"/>
            <a:r>
              <a:rPr lang="en-GB" sz="1000" i="1" dirty="0">
                <a:cs typeface="Arial" pitchFamily="34" charset="0"/>
              </a:rPr>
              <a:t>Project Leader</a:t>
            </a:r>
          </a:p>
          <a:p>
            <a:pPr algn="r"/>
            <a:endParaRPr lang="en-GB" sz="1000" i="1" dirty="0">
              <a:cs typeface="Arial" pitchFamily="34" charset="0"/>
            </a:endParaRPr>
          </a:p>
        </p:txBody>
      </p:sp>
    </p:spTree>
    <p:extLst>
      <p:ext uri="{BB962C8B-B14F-4D97-AF65-F5344CB8AC3E}">
        <p14:creationId xmlns:p14="http://schemas.microsoft.com/office/powerpoint/2010/main" val="3594934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325" name="think-cell Slide" r:id="rId6" imgW="473" imgH="473" progId="TCLayout.ActiveDocument.1">
                  <p:embed/>
                </p:oleObj>
              </mc:Choice>
              <mc:Fallback>
                <p:oleObj name="think-cell Slide" r:id="rId6"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descr="A picture containing person&#10;&#10;Description automatically generated">
            <a:extLst>
              <a:ext uri="{FF2B5EF4-FFF2-40B4-BE49-F238E27FC236}">
                <a16:creationId xmlns:a16="http://schemas.microsoft.com/office/drawing/2014/main" id="{DBAE21DB-EE1D-4948-B14F-CD57EBCF536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11" y="-1"/>
            <a:ext cx="12192000" cy="3688081"/>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426702"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r>
              <a:rPr lang="en-US" altLang="ko-KR" sz="2000" baseline="30000" dirty="0">
                <a:solidFill>
                  <a:srgbClr val="E71C57"/>
                </a:solidFill>
                <a:latin typeface="+mn-ea"/>
                <a:cs typeface="Arial" pitchFamily="34" charset="0"/>
                <a:sym typeface="Trebuchet MS" panose="020B0603020202020204" pitchFamily="34" charset="0"/>
              </a:rPr>
              <a:t>1</a:t>
            </a:r>
            <a:endParaRPr lang="en-US" sz="1600" baseline="30000" dirty="0">
              <a:solidFill>
                <a:srgbClr val="E71C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717238"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Windows Laptops</a:t>
            </a:r>
          </a:p>
          <a:p>
            <a:pPr>
              <a:defRPr/>
            </a:pPr>
            <a:r>
              <a:rPr lang="en-US" sz="1400" dirty="0">
                <a:solidFill>
                  <a:srgbClr val="575757"/>
                </a:solidFill>
                <a:latin typeface="+mn-ea"/>
                <a:cs typeface="Arial" pitchFamily="34" charset="0"/>
                <a:sym typeface="Trebuchet MS" panose="020B0603020202020204" pitchFamily="34" charset="0"/>
              </a:rPr>
              <a:t>Microsoft Office (Excel, Word &amp; PPT)</a:t>
            </a:r>
          </a:p>
          <a:p>
            <a:pPr>
              <a:defRPr/>
            </a:pPr>
            <a:r>
              <a:rPr lang="en-US" sz="1400" dirty="0">
                <a:solidFill>
                  <a:srgbClr val="575757"/>
                </a:solidFill>
                <a:latin typeface="+mn-ea"/>
                <a:cs typeface="Arial" pitchFamily="34" charset="0"/>
                <a:sym typeface="Trebuchet MS" panose="020B0603020202020204" pitchFamily="34" charset="0"/>
              </a:rPr>
              <a:t>Microsoft One Note</a:t>
            </a:r>
          </a:p>
          <a:p>
            <a:pPr>
              <a:defRPr/>
            </a:pPr>
            <a:r>
              <a:rPr lang="en-US" sz="1400" dirty="0">
                <a:solidFill>
                  <a:srgbClr val="575757"/>
                </a:solidFill>
                <a:latin typeface="+mn-ea"/>
                <a:cs typeface="Arial" pitchFamily="34" charset="0"/>
                <a:sym typeface="Trebuchet MS" panose="020B0603020202020204" pitchFamily="34" charset="0"/>
              </a:rPr>
              <a:t>Office for Mobile (Excel, Word &amp; PPT)</a:t>
            </a:r>
          </a:p>
          <a:p>
            <a:pPr>
              <a:defRPr/>
            </a:pPr>
            <a:r>
              <a:rPr lang="en-US" sz="1400" dirty="0">
                <a:solidFill>
                  <a:srgbClr val="575757"/>
                </a:solidFill>
                <a:latin typeface="+mn-ea"/>
                <a:cs typeface="Arial" pitchFamily="34" charset="0"/>
                <a:sym typeface="Trebuchet MS" panose="020B0603020202020204" pitchFamily="34" charset="0"/>
              </a:rPr>
              <a:t>Browsers</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44898" y="4922719"/>
            <a:ext cx="3272126" cy="7006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Productivity Tools</a:t>
            </a:r>
          </a:p>
          <a:p>
            <a:pPr>
              <a:defRPr/>
            </a:pPr>
            <a:r>
              <a:rPr lang="en-US" sz="1400" dirty="0">
                <a:solidFill>
                  <a:srgbClr val="575757"/>
                </a:solidFill>
                <a:latin typeface="+mn-ea"/>
                <a:cs typeface="Arial" pitchFamily="34" charset="0"/>
                <a:sym typeface="Trebuchet MS" panose="020B0603020202020204" pitchFamily="34" charset="0"/>
              </a:rPr>
              <a:t>Windows Hardware &amp; Device Mgmt.</a:t>
            </a:r>
          </a:p>
          <a:p>
            <a:pPr>
              <a:defRPr/>
            </a:pPr>
            <a:r>
              <a:rPr lang="en-US" sz="1400" dirty="0">
                <a:solidFill>
                  <a:srgbClr val="575757"/>
                </a:solidFill>
                <a:latin typeface="+mn-ea"/>
                <a:cs typeface="Arial" pitchFamily="34" charset="0"/>
                <a:sym typeface="Trebuchet MS" panose="020B0603020202020204" pitchFamily="34" charset="0"/>
              </a:rPr>
              <a:t>Windows OS Now</a:t>
            </a:r>
          </a:p>
        </p:txBody>
      </p:sp>
      <p:sp>
        <p:nvSpPr>
          <p:cNvPr id="22" name="Rectangle 21">
            <a:extLst>
              <a:ext uri="{FF2B5EF4-FFF2-40B4-BE49-F238E27FC236}">
                <a16:creationId xmlns:a16="http://schemas.microsoft.com/office/drawing/2014/main" id="{535E6D81-5E83-493E-A281-9BA37492F263}"/>
              </a:ext>
            </a:extLst>
          </p:cNvPr>
          <p:cNvSpPr/>
          <p:nvPr/>
        </p:nvSpPr>
        <p:spPr>
          <a:xfrm>
            <a:off x="-1422" y="0"/>
            <a:ext cx="12192000" cy="3688081"/>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altLang="ko-KR" sz="4400" dirty="0">
                <a:solidFill>
                  <a:srgbClr val="FFFFFF"/>
                </a:solidFill>
              </a:rPr>
              <a:t>Personal Productivity</a:t>
            </a:r>
            <a:endParaRPr lang="en-US" sz="4400" dirty="0">
              <a:solidFill>
                <a:srgbClr val="FFFFFF"/>
              </a:solidFill>
            </a:endParaRPr>
          </a:p>
        </p:txBody>
      </p:sp>
      <p:sp>
        <p:nvSpPr>
          <p:cNvPr id="16" name="TextBox 15">
            <a:extLst>
              <a:ext uri="{FF2B5EF4-FFF2-40B4-BE49-F238E27FC236}">
                <a16:creationId xmlns:a16="http://schemas.microsoft.com/office/drawing/2014/main" id="{5FAE2E56-0641-453E-8BB9-2D803B82E9ED}"/>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390042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587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363"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9571" y="0"/>
            <a:ext cx="2851323"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Despite laptop E-SAT being -12% lower year-over-year versus Q4 2020, the annual average E-SAT for 2021 is +2% better than 2020 </a:t>
            </a:r>
            <a:r>
              <a:rPr lang="en-GB" sz="1400" i="1" dirty="0">
                <a:solidFill>
                  <a:srgbClr val="FFFFFF"/>
                </a:solidFill>
                <a:cs typeface="Arial" pitchFamily="34" charset="0"/>
              </a:rPr>
              <a:t>(see slide 56)</a:t>
            </a:r>
          </a:p>
        </p:txBody>
      </p:sp>
      <p:sp>
        <p:nvSpPr>
          <p:cNvPr id="3" name="Title 2"/>
          <p:cNvSpPr>
            <a:spLocks noGrp="1"/>
          </p:cNvSpPr>
          <p:nvPr>
            <p:ph type="title"/>
          </p:nvPr>
        </p:nvSpPr>
        <p:spPr/>
        <p:txBody>
          <a:bodyPr vert="horz"/>
          <a:lstStyle/>
          <a:p>
            <a:r>
              <a:rPr lang="en-US" dirty="0">
                <a:solidFill>
                  <a:srgbClr val="295E7E"/>
                </a:solidFill>
              </a:rPr>
              <a:t>Laptop Satisfaction - Overall</a:t>
            </a:r>
          </a:p>
        </p:txBody>
      </p:sp>
      <p:graphicFrame>
        <p:nvGraphicFramePr>
          <p:cNvPr id="48" name="Chart 47">
            <a:extLst>
              <a:ext uri="{FF2B5EF4-FFF2-40B4-BE49-F238E27FC236}">
                <a16:creationId xmlns:a16="http://schemas.microsoft.com/office/drawing/2014/main" id="{B2958DAB-D430-4AAE-8D9F-8B992484C51F}"/>
              </a:ext>
            </a:extLst>
          </p:cNvPr>
          <p:cNvGraphicFramePr/>
          <p:nvPr>
            <p:custDataLst>
              <p:tags r:id="rId5"/>
            </p:custDataLst>
            <p:extLst>
              <p:ext uri="{D42A27DB-BD31-4B8C-83A1-F6EECF244321}">
                <p14:modId xmlns:p14="http://schemas.microsoft.com/office/powerpoint/2010/main" val="1752504947"/>
              </p:ext>
            </p:extLst>
          </p:nvPr>
        </p:nvGraphicFramePr>
        <p:xfrm>
          <a:off x="2867025" y="2481263"/>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73" name="Text Placeholder 3"/>
          <p:cNvSpPr>
            <a:spLocks noGrp="1"/>
          </p:cNvSpPr>
          <p:nvPr>
            <p:custDataLst>
              <p:tags r:id="rId6"/>
            </p:custDataLst>
          </p:nvPr>
        </p:nvSpPr>
        <p:spPr bwMode="gray">
          <a:xfrm>
            <a:off x="5300663" y="2928938"/>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C7DB057-605C-433A-BE40-CCB8A2A24C01}" type="datetime'''''''''2''''''''''''''''1'''''">
              <a:rPr lang="en-US" altLang="en-US" smtClean="0">
                <a:solidFill>
                  <a:schemeClr val="bg1"/>
                </a:solidFill>
              </a:rPr>
              <a:pPr/>
              <a:t>21</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7"/>
            </p:custDataLst>
          </p:nvPr>
        </p:nvSpPr>
        <p:spPr bwMode="gray">
          <a:xfrm>
            <a:off x="3441700" y="30194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59CFB71-FAAF-41D7-ADE2-F7A47BFE8B19}" type="datetime'''''''1''''''''''''''''''''4'''">
              <a:rPr lang="en-US" altLang="en-US" smtClean="0">
                <a:solidFill>
                  <a:schemeClr val="bg1"/>
                </a:solidFill>
              </a:rPr>
              <a:pPr/>
              <a:t>14</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8"/>
            </p:custDataLst>
          </p:nvPr>
        </p:nvSpPr>
        <p:spPr bwMode="gray">
          <a:xfrm>
            <a:off x="2994025" y="43783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2018967-3FFD-4A1F-98A0-F60A60659D79}" type="datetime'''''1''''''9'''''''''''''''''''''''''''''''''''''''''''''''''">
              <a:rPr lang="en-US" altLang="en-US" smtClean="0"/>
              <a:pPr/>
              <a:t>19</a:t>
            </a:fld>
            <a:r>
              <a:rPr lang="en-US" altLang="en-US">
                <a:sym typeface="+mn-lt"/>
              </a:rPr>
              <a:t>%</a:t>
            </a:r>
            <a:endParaRPr lang="en-US" dirty="0">
              <a:sym typeface="+mn-lt"/>
            </a:endParaRPr>
          </a:p>
        </p:txBody>
      </p:sp>
      <p:sp>
        <p:nvSpPr>
          <p:cNvPr id="36" name="Text Placeholder 3"/>
          <p:cNvSpPr>
            <a:spLocks noGrp="1"/>
          </p:cNvSpPr>
          <p:nvPr>
            <p:custDataLst>
              <p:tags r:id="rId9"/>
            </p:custDataLst>
          </p:nvPr>
        </p:nvSpPr>
        <p:spPr bwMode="gray">
          <a:xfrm>
            <a:off x="5154613" y="5335588"/>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4F0F269-B73E-4EB0-B91F-45440EC88BCC}" type="datetime'''''''''''''4''''''''''''''''''''''''''''''''''2'''''''''">
              <a:rPr lang="en-US" altLang="en-US" smtClean="0">
                <a:solidFill>
                  <a:schemeClr val="bg1"/>
                </a:solidFill>
              </a:rPr>
              <a:pPr/>
              <a:t>42</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10"/>
            </p:custDataLst>
          </p:nvPr>
        </p:nvSpPr>
        <p:spPr bwMode="gray">
          <a:xfrm>
            <a:off x="4238625" y="2606675"/>
            <a:ext cx="209550"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E93AF02-7AD9-41E2-9E13-B1950E9926E8}" type="datetime'''''''''''''''''''''''''''''''5'''''''''''''''''''''">
              <a:rPr lang="en-US" altLang="en-US" smtClean="0">
                <a:solidFill>
                  <a:schemeClr val="bg1"/>
                </a:solidFill>
                <a:effectLst/>
              </a:rPr>
              <a:pPr/>
              <a:t>5</a:t>
            </a:fld>
            <a:r>
              <a:rPr lang="en-US" altLang="en-US">
                <a:solidFill>
                  <a:schemeClr val="bg1"/>
                </a:solidFill>
                <a:sym typeface="+mn-lt"/>
              </a:rPr>
              <a:t>%</a:t>
            </a:r>
            <a:endParaRPr lang="en-US" dirty="0">
              <a:solidFill>
                <a:schemeClr val="bg1"/>
              </a:solidFill>
              <a:sym typeface="+mn-lt"/>
            </a:endParaRPr>
          </a:p>
        </p:txBody>
      </p:sp>
      <p:sp>
        <p:nvSpPr>
          <p:cNvPr id="45" name="Rectangle 44"/>
          <p:cNvSpPr/>
          <p:nvPr>
            <p:custDataLst>
              <p:tags r:id="rId11"/>
            </p:custDataLst>
          </p:nvPr>
        </p:nvSpPr>
        <p:spPr bwMode="gray">
          <a:xfrm>
            <a:off x="1717675"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3008313"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3"/>
            </p:custDataLst>
          </p:nvPr>
        </p:nvSpPr>
        <p:spPr bwMode="gray">
          <a:xfrm>
            <a:off x="4829175"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4"/>
            </p:custDataLst>
          </p:nvPr>
        </p:nvSpPr>
        <p:spPr bwMode="gray">
          <a:xfrm>
            <a:off x="3957638"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65825"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 Placeholder 3"/>
          <p:cNvSpPr>
            <a:spLocks noGrp="1"/>
          </p:cNvSpPr>
          <p:nvPr>
            <p:custDataLst>
              <p:tags r:id="rId16"/>
            </p:custDataLst>
          </p:nvPr>
        </p:nvSpPr>
        <p:spPr bwMode="gray">
          <a:xfrm>
            <a:off x="5094288"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4" name="Text Placeholder 3"/>
          <p:cNvSpPr>
            <a:spLocks noGrp="1"/>
          </p:cNvSpPr>
          <p:nvPr>
            <p:custDataLst>
              <p:tags r:id="rId17"/>
            </p:custDataLst>
          </p:nvPr>
        </p:nvSpPr>
        <p:spPr bwMode="gray">
          <a:xfrm>
            <a:off x="1982788"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8"/>
            </p:custDataLst>
          </p:nvPr>
        </p:nvSpPr>
        <p:spPr bwMode="gray">
          <a:xfrm>
            <a:off x="3273425"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9"/>
            </p:custDataLst>
          </p:nvPr>
        </p:nvSpPr>
        <p:spPr bwMode="gray">
          <a:xfrm>
            <a:off x="4222750"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20"/>
            </p:custDataLst>
          </p:nvPr>
        </p:nvSpPr>
        <p:spPr bwMode="gray">
          <a:xfrm>
            <a:off x="6230938"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cxnSp>
        <p:nvCxnSpPr>
          <p:cNvPr id="101" name="Straight Connector 100"/>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49" name="Rectangle 48"/>
          <p:cNvSpPr/>
          <p:nvPr/>
        </p:nvSpPr>
        <p:spPr>
          <a:xfrm>
            <a:off x="629999" y="1392247"/>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Grade</a:t>
            </a:r>
          </a:p>
        </p:txBody>
      </p:sp>
      <p:sp>
        <p:nvSpPr>
          <p:cNvPr id="32" name="Rectangle 31"/>
          <p:cNvSpPr/>
          <p:nvPr/>
        </p:nvSpPr>
        <p:spPr>
          <a:xfrm>
            <a:off x="3093591" y="1392248"/>
            <a:ext cx="5387335" cy="6064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62% </a:t>
            </a:r>
            <a:r>
              <a:rPr lang="en-US" dirty="0">
                <a:solidFill>
                  <a:srgbClr val="575757"/>
                </a:solidFill>
              </a:rPr>
              <a:t>satisfied</a:t>
            </a:r>
          </a:p>
          <a:p>
            <a:pPr algn="ctr"/>
            <a:endParaRPr lang="en-US" sz="1000" dirty="0">
              <a:solidFill>
                <a:srgbClr val="575757"/>
              </a:solidFill>
            </a:endParaRPr>
          </a:p>
          <a:p>
            <a:pPr algn="ctr"/>
            <a:r>
              <a:rPr lang="en-US" sz="1400" dirty="0">
                <a:solidFill>
                  <a:srgbClr val="E71C57"/>
                </a:solidFill>
                <a:latin typeface="Wingdings 3" panose="05040102010807070707" pitchFamily="18" charset="2"/>
              </a:rPr>
              <a:t>q</a:t>
            </a:r>
            <a:r>
              <a:rPr lang="en-US" sz="1400" dirty="0">
                <a:solidFill>
                  <a:srgbClr val="575757"/>
                </a:solidFill>
              </a:rPr>
              <a:t>4% vs Q3 '21 | </a:t>
            </a:r>
            <a:r>
              <a:rPr lang="en-US" sz="1400" dirty="0">
                <a:solidFill>
                  <a:srgbClr val="E71C57"/>
                </a:solidFill>
                <a:latin typeface="Wingdings 3" panose="05040102010807070707" pitchFamily="18" charset="2"/>
              </a:rPr>
              <a:t>q</a:t>
            </a:r>
            <a:r>
              <a:rPr lang="en-US" sz="1400" dirty="0">
                <a:solidFill>
                  <a:srgbClr val="575757"/>
                </a:solidFill>
              </a:rPr>
              <a:t>12% vs Q4 '20 |  </a:t>
            </a:r>
            <a:r>
              <a:rPr lang="en-US" sz="1400" dirty="0">
                <a:solidFill>
                  <a:srgbClr val="E71C57"/>
                </a:solidFill>
                <a:latin typeface="Wingdings 3" panose="05040102010807070707" pitchFamily="18" charset="2"/>
              </a:rPr>
              <a:t>q</a:t>
            </a:r>
            <a:r>
              <a:rPr lang="en-US" sz="1400" dirty="0">
                <a:solidFill>
                  <a:srgbClr val="575757"/>
                </a:solidFill>
              </a:rPr>
              <a:t>18% vs BIC target</a:t>
            </a:r>
          </a:p>
        </p:txBody>
      </p:sp>
      <p:sp>
        <p:nvSpPr>
          <p:cNvPr id="30" name="Rectangle 29"/>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7" name="Rectangle 36">
            <a:extLst>
              <a:ext uri="{FF2B5EF4-FFF2-40B4-BE49-F238E27FC236}">
                <a16:creationId xmlns:a16="http://schemas.microsoft.com/office/drawing/2014/main" id="{F2BEC758-AF89-41E0-B686-EAFA572E1A00}"/>
              </a:ext>
            </a:extLst>
          </p:cNvPr>
          <p:cNvSpPr/>
          <p:nvPr/>
        </p:nvSpPr>
        <p:spPr>
          <a:xfrm>
            <a:off x="1443131" y="1392248"/>
            <a:ext cx="1301658" cy="606490"/>
          </a:xfrm>
          <a:prstGeom prst="rect">
            <a:avLst/>
          </a:prstGeom>
          <a:solidFill>
            <a:srgbClr val="EEE8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verage</a:t>
            </a:r>
          </a:p>
        </p:txBody>
      </p:sp>
      <p:grpSp>
        <p:nvGrpSpPr>
          <p:cNvPr id="59" name="Group 58">
            <a:extLst>
              <a:ext uri="{FF2B5EF4-FFF2-40B4-BE49-F238E27FC236}">
                <a16:creationId xmlns:a16="http://schemas.microsoft.com/office/drawing/2014/main" id="{AE85A8A0-A4C9-49A2-AAEE-CB6106722E88}"/>
              </a:ext>
            </a:extLst>
          </p:cNvPr>
          <p:cNvGrpSpPr>
            <a:grpSpLocks noChangeAspect="1"/>
          </p:cNvGrpSpPr>
          <p:nvPr/>
        </p:nvGrpSpPr>
        <p:grpSpPr>
          <a:xfrm>
            <a:off x="599640" y="864696"/>
            <a:ext cx="457200" cy="457200"/>
            <a:chOff x="5867400" y="3200400"/>
            <a:chExt cx="457200" cy="457200"/>
          </a:xfrm>
        </p:grpSpPr>
        <p:sp>
          <p:nvSpPr>
            <p:cNvPr id="60" name="AutoShape 43">
              <a:extLst>
                <a:ext uri="{FF2B5EF4-FFF2-40B4-BE49-F238E27FC236}">
                  <a16:creationId xmlns:a16="http://schemas.microsoft.com/office/drawing/2014/main" id="{38E4DE5D-B183-4DA8-A62D-D6CEDD5D0A8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7">
              <a:extLst>
                <a:ext uri="{FF2B5EF4-FFF2-40B4-BE49-F238E27FC236}">
                  <a16:creationId xmlns:a16="http://schemas.microsoft.com/office/drawing/2014/main" id="{6F8B3CA6-7EDB-46A6-8564-21EF16E7DD3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4243990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809681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88"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defRPr/>
            </a:pPr>
            <a:endParaRPr kumimoji="0" lang="en-US" sz="1200" u="none" strike="noStrike" kern="1200" cap="none" spc="0" normalizeH="0" noProof="0" dirty="0">
              <a:ln>
                <a:noFill/>
              </a:ln>
              <a:solidFill>
                <a:srgbClr val="FFFFFF"/>
              </a:solidFill>
              <a:effectLst/>
              <a:uLnTx/>
              <a:uFillTx/>
              <a:latin typeface="Trebuchet MS" panose="020B0603020202020204" pitchFamily="34" charset="0"/>
              <a:sym typeface="Trebuchet MS" panose="020B0603020202020204" pitchFamily="34" charset="0"/>
            </a:endParaRPr>
          </a:p>
        </p:txBody>
      </p:sp>
      <p:sp>
        <p:nvSpPr>
          <p:cNvPr id="156" name="Rectangle 155"/>
          <p:cNvSpPr/>
          <p:nvPr/>
        </p:nvSpPr>
        <p:spPr>
          <a:xfrm>
            <a:off x="9161454" y="8287"/>
            <a:ext cx="2816181" cy="68497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The 2020 annual average for CT was 59%, the 2021 average is 57% which is a -2% decrease</a:t>
            </a:r>
          </a:p>
        </p:txBody>
      </p:sp>
      <p:sp>
        <p:nvSpPr>
          <p:cNvPr id="3" name="Title 2"/>
          <p:cNvSpPr>
            <a:spLocks noGrp="1"/>
          </p:cNvSpPr>
          <p:nvPr>
            <p:ph type="title"/>
          </p:nvPr>
        </p:nvSpPr>
        <p:spPr/>
        <p:txBody>
          <a:bodyPr vert="horz"/>
          <a:lstStyle/>
          <a:p>
            <a:r>
              <a:rPr lang="en-US" dirty="0">
                <a:solidFill>
                  <a:srgbClr val="295E7E"/>
                </a:solidFill>
              </a:rPr>
              <a:t>Laptop Satisfaction - Overall</a:t>
            </a:r>
          </a:p>
        </p:txBody>
      </p:sp>
      <p:graphicFrame>
        <p:nvGraphicFramePr>
          <p:cNvPr id="68" name="Chart 67">
            <a:extLst>
              <a:ext uri="{FF2B5EF4-FFF2-40B4-BE49-F238E27FC236}">
                <a16:creationId xmlns:a16="http://schemas.microsoft.com/office/drawing/2014/main" id="{12A9E6FC-FC65-480E-857A-8A51B88401BF}"/>
              </a:ext>
            </a:extLst>
          </p:cNvPr>
          <p:cNvGraphicFramePr/>
          <p:nvPr>
            <p:custDataLst>
              <p:tags r:id="rId5"/>
            </p:custDataLst>
            <p:extLst>
              <p:ext uri="{D42A27DB-BD31-4B8C-83A1-F6EECF244321}">
                <p14:modId xmlns:p14="http://schemas.microsoft.com/office/powerpoint/2010/main" val="2944685738"/>
              </p:ext>
            </p:extLst>
          </p:nvPr>
        </p:nvGraphicFramePr>
        <p:xfrm>
          <a:off x="5454650" y="33083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73" name="Text Placeholder 3"/>
          <p:cNvSpPr>
            <a:spLocks noGrp="1"/>
          </p:cNvSpPr>
          <p:nvPr>
            <p:custDataLst>
              <p:tags r:id="rId6"/>
            </p:custDataLst>
          </p:nvPr>
        </p:nvSpPr>
        <p:spPr bwMode="gray">
          <a:xfrm>
            <a:off x="7354888" y="380365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0480A1ED-1810-4AF9-90C9-6D85D6E4C096}" type="datetime'''''2''''''''''''''''7'''''''''''''''''''''''''''">
              <a:rPr lang="en-US" altLang="en-US" smtClean="0">
                <a:solidFill>
                  <a:srgbClr val="FFFFFF"/>
                </a:solidFill>
              </a:rPr>
              <a:pPr/>
              <a:t>27</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55" name="Text Placeholder 3"/>
          <p:cNvSpPr>
            <a:spLocks noGrp="1"/>
          </p:cNvSpPr>
          <p:nvPr>
            <p:custDataLst>
              <p:tags r:id="rId7"/>
            </p:custDataLst>
          </p:nvPr>
        </p:nvSpPr>
        <p:spPr bwMode="gray">
          <a:xfrm>
            <a:off x="6565900" y="556418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DDD6105C-C76C-4CB2-800E-7931C7D17D06}" type="datetime'''''4''''''''''''''''''''7'''''''''''''''''''''">
              <a:rPr lang="en-US" altLang="en-US" smtClean="0">
                <a:solidFill>
                  <a:srgbClr val="FFFFFF"/>
                </a:solidFill>
              </a:rPr>
              <a:pPr/>
              <a:t>47</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53" name="Text Placeholder 3"/>
          <p:cNvSpPr>
            <a:spLocks noGrp="1"/>
          </p:cNvSpPr>
          <p:nvPr>
            <p:custDataLst>
              <p:tags r:id="rId8"/>
            </p:custDataLst>
          </p:nvPr>
        </p:nvSpPr>
        <p:spPr bwMode="gray">
          <a:xfrm>
            <a:off x="5657850" y="405447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3B5BC406-94BD-40F1-AF9B-A7516F7404EF}" type="datetime'''1''''''''''''6'''''''''''''''''''''''''''">
              <a:rPr lang="en-US" altLang="en-US" smtClean="0">
                <a:solidFill>
                  <a:srgbClr val="575757"/>
                </a:solidFill>
              </a:rPr>
              <a:pPr/>
              <a:t>16</a:t>
            </a:fld>
            <a:r>
              <a:rPr kumimoji="0" lang="en-US" altLang="en-US" sz="1200" b="0" i="0" u="none" strike="noStrike" kern="1200" cap="none" spc="0" normalizeH="0" baseline="0" noProof="0">
                <a:ln>
                  <a:noFill/>
                </a:ln>
                <a:solidFill>
                  <a:srgbClr val="575757"/>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50" name="Text Placeholder 3"/>
          <p:cNvSpPr>
            <a:spLocks noGrp="1"/>
          </p:cNvSpPr>
          <p:nvPr>
            <p:custDataLst>
              <p:tags r:id="rId9"/>
            </p:custDataLst>
          </p:nvPr>
        </p:nvSpPr>
        <p:spPr bwMode="gray">
          <a:xfrm>
            <a:off x="6256338" y="3497263"/>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9C8BC13A-FDD2-4721-835D-088088A00074}" type="datetime'''''''''''''''''''''''9'''''''''''''''''''''''">
              <a:rPr lang="en-US" altLang="en-US" smtClean="0">
                <a:solidFill>
                  <a:srgbClr val="FFFFFF"/>
                </a:solidFill>
              </a:rPr>
              <a:pPr/>
              <a:t>9</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41" name="Text Placeholder 3"/>
          <p:cNvSpPr>
            <a:spLocks noGrp="1"/>
          </p:cNvSpPr>
          <p:nvPr>
            <p:custDataLst>
              <p:tags r:id="rId10"/>
            </p:custDataLst>
          </p:nvPr>
        </p:nvSpPr>
        <p:spPr bwMode="gray">
          <a:xfrm>
            <a:off x="6586538" y="341153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3E860634-8AEF-44A1-83CE-63AD512312A1}" type="datetime'1'''''''''''''''''''''''''''''''''''''''''''''''''''''''''''">
              <a:rPr lang="en-US" altLang="en-US" smtClean="0">
                <a:solidFill>
                  <a:srgbClr val="FFFFFF"/>
                </a:solidFill>
                <a:effectLst/>
              </a:rPr>
              <a:pPr/>
              <a:t>1</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45" name="Rectangle 44"/>
          <p:cNvSpPr/>
          <p:nvPr>
            <p:custDataLst>
              <p:tags r:id="rId11"/>
            </p:custDataLst>
          </p:nvPr>
        </p:nvSpPr>
        <p:spPr bwMode="gray">
          <a:xfrm>
            <a:off x="1971675" y="6110288"/>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7" name="Rectangle 46"/>
          <p:cNvSpPr/>
          <p:nvPr>
            <p:custDataLst>
              <p:tags r:id="rId12"/>
            </p:custDataLst>
          </p:nvPr>
        </p:nvSpPr>
        <p:spPr bwMode="gray">
          <a:xfrm>
            <a:off x="4211638" y="61102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6" name="Rectangle 45"/>
          <p:cNvSpPr/>
          <p:nvPr>
            <p:custDataLst>
              <p:tags r:id="rId13"/>
            </p:custDataLst>
          </p:nvPr>
        </p:nvSpPr>
        <p:spPr bwMode="gray">
          <a:xfrm>
            <a:off x="3262313" y="6110288"/>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1" name="Rectangle 50"/>
          <p:cNvSpPr/>
          <p:nvPr>
            <p:custDataLst>
              <p:tags r:id="rId14"/>
            </p:custDataLst>
          </p:nvPr>
        </p:nvSpPr>
        <p:spPr bwMode="gray">
          <a:xfrm>
            <a:off x="5083175" y="6110288"/>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8" name="Rectangle 57"/>
          <p:cNvSpPr/>
          <p:nvPr>
            <p:custDataLst>
              <p:tags r:id="rId15"/>
            </p:custDataLst>
          </p:nvPr>
        </p:nvSpPr>
        <p:spPr bwMode="gray">
          <a:xfrm>
            <a:off x="6219825" y="61102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4" name="Text Placeholder 3"/>
          <p:cNvSpPr>
            <a:spLocks noGrp="1"/>
          </p:cNvSpPr>
          <p:nvPr>
            <p:custDataLst>
              <p:tags r:id="rId16"/>
            </p:custDataLst>
          </p:nvPr>
        </p:nvSpPr>
        <p:spPr bwMode="gray">
          <a:xfrm>
            <a:off x="2236788" y="6091238"/>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6D18C423-3936-4678-8D69-EB50FEEB4EBF}" type="datetime'''''Ve''''r''''y'''' ''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40" name="Text Placeholder 3"/>
          <p:cNvSpPr>
            <a:spLocks noGrp="1"/>
          </p:cNvSpPr>
          <p:nvPr>
            <p:custDataLst>
              <p:tags r:id="rId17"/>
            </p:custDataLst>
          </p:nvPr>
        </p:nvSpPr>
        <p:spPr bwMode="gray">
          <a:xfrm>
            <a:off x="5348288" y="6091238"/>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807089C-9D0F-4F9C-8A1C-016D5EF33B1E}" type="datetime'''''''''''''''''''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8" name="Text Placeholder 3"/>
          <p:cNvSpPr>
            <a:spLocks noGrp="1"/>
          </p:cNvSpPr>
          <p:nvPr>
            <p:custDataLst>
              <p:tags r:id="rId18"/>
            </p:custDataLst>
          </p:nvPr>
        </p:nvSpPr>
        <p:spPr bwMode="gray">
          <a:xfrm>
            <a:off x="3527425" y="6091238"/>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6F89EE3-8ED3-4DC4-A448-130CC42FCABF}" type="datetime'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9" name="Text Placeholder 3"/>
          <p:cNvSpPr>
            <a:spLocks noGrp="1"/>
          </p:cNvSpPr>
          <p:nvPr>
            <p:custDataLst>
              <p:tags r:id="rId19"/>
            </p:custDataLst>
          </p:nvPr>
        </p:nvSpPr>
        <p:spPr bwMode="gray">
          <a:xfrm>
            <a:off x="4476750" y="60912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2172AEC-7BE0-4805-BE4C-EBCC3FBF3CB0}" type="datetime'''''''''''''''''''''''''''''''''''''''''''N''e''ut''ra''''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eutra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42" name="Text Placeholder 3"/>
          <p:cNvSpPr>
            <a:spLocks noGrp="1"/>
          </p:cNvSpPr>
          <p:nvPr>
            <p:custDataLst>
              <p:tags r:id="rId20"/>
            </p:custDataLst>
          </p:nvPr>
        </p:nvSpPr>
        <p:spPr bwMode="gray">
          <a:xfrm>
            <a:off x="6484938" y="6091238"/>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3C170BB-CAEB-4536-B17F-0CAD75E509AD}" type="datetime'Ve''''''''r''''y'''''''' 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graphicFrame>
        <p:nvGraphicFramePr>
          <p:cNvPr id="59" name="Chart 58">
            <a:extLst>
              <a:ext uri="{FF2B5EF4-FFF2-40B4-BE49-F238E27FC236}">
                <a16:creationId xmlns:a16="http://schemas.microsoft.com/office/drawing/2014/main" id="{B90687A8-7080-4342-B8A8-14F4B5126213}"/>
              </a:ext>
            </a:extLst>
          </p:cNvPr>
          <p:cNvGraphicFramePr/>
          <p:nvPr>
            <p:custDataLst>
              <p:tags r:id="rId21"/>
            </p:custDataLst>
            <p:extLst>
              <p:ext uri="{D42A27DB-BD31-4B8C-83A1-F6EECF244321}">
                <p14:modId xmlns:p14="http://schemas.microsoft.com/office/powerpoint/2010/main" val="849563276"/>
              </p:ext>
            </p:extLst>
          </p:nvPr>
        </p:nvGraphicFramePr>
        <p:xfrm>
          <a:off x="1301750" y="3308350"/>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30" name="Text Placeholder 3"/>
          <p:cNvSpPr>
            <a:spLocks noGrp="1"/>
          </p:cNvSpPr>
          <p:nvPr>
            <p:custDataLst>
              <p:tags r:id="rId22"/>
            </p:custDataLst>
          </p:nvPr>
        </p:nvSpPr>
        <p:spPr bwMode="gray">
          <a:xfrm>
            <a:off x="2185988" y="3465513"/>
            <a:ext cx="209550"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7683D1BE-35A0-4246-8C55-9BBAC67F4A2A}" type="datetime'''''''''9'">
              <a:rPr lang="en-US" altLang="en-US" smtClean="0">
                <a:solidFill>
                  <a:srgbClr val="FFFFFF"/>
                </a:solidFill>
              </a:rPr>
              <a:pPr/>
              <a:t>9</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3" name="Text Placeholder 3"/>
          <p:cNvSpPr>
            <a:spLocks noGrp="1"/>
          </p:cNvSpPr>
          <p:nvPr>
            <p:custDataLst>
              <p:tags r:id="rId23"/>
            </p:custDataLst>
          </p:nvPr>
        </p:nvSpPr>
        <p:spPr bwMode="gray">
          <a:xfrm>
            <a:off x="1476375" y="4114800"/>
            <a:ext cx="288925"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FF87A150-D3A1-4B3A-A869-FCDD1812913A}" type="datetime'2''''''''''''''''0'">
              <a:rPr lang="en-US" altLang="en-US" smtClean="0">
                <a:solidFill>
                  <a:srgbClr val="FFFFFF"/>
                </a:solidFill>
              </a:rPr>
              <a:pPr/>
              <a:t>20</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29" name="Text Placeholder 3"/>
          <p:cNvSpPr>
            <a:spLocks noGrp="1"/>
          </p:cNvSpPr>
          <p:nvPr>
            <p:custDataLst>
              <p:tags r:id="rId24"/>
            </p:custDataLst>
          </p:nvPr>
        </p:nvSpPr>
        <p:spPr bwMode="gray">
          <a:xfrm>
            <a:off x="2873375" y="3544888"/>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9EBC39C1-AAE6-4F7B-A4CE-82C05E4A44B6}" type="datetime'''1''''''''''''''''''''''''4'''''''''''''">
              <a:rPr lang="en-US" altLang="en-US" smtClean="0">
                <a:solidFill>
                  <a:srgbClr val="FFFFFF"/>
                </a:solidFill>
              </a:rPr>
              <a:pPr/>
              <a:t>14</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2" name="Text Placeholder 3"/>
          <p:cNvSpPr>
            <a:spLocks noGrp="1"/>
          </p:cNvSpPr>
          <p:nvPr>
            <p:custDataLst>
              <p:tags r:id="rId25"/>
            </p:custDataLst>
          </p:nvPr>
        </p:nvSpPr>
        <p:spPr bwMode="gray">
          <a:xfrm>
            <a:off x="1847850" y="533241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222AE020-A284-4105-9845-352793A7B64F}" type="datetime'''''''''''''''''''2''''''''''''''''''''''2'''''''">
              <a:rPr lang="en-US" altLang="en-US" smtClean="0">
                <a:solidFill>
                  <a:srgbClr val="575757"/>
                </a:solidFill>
              </a:rPr>
              <a:pPr/>
              <a:t>22</a:t>
            </a:fld>
            <a:r>
              <a:rPr kumimoji="0" lang="en-US" altLang="en-US" sz="1200" b="0" i="0" u="none" strike="noStrike" kern="1200" cap="none" spc="0" normalizeH="0" baseline="0" noProof="0">
                <a:ln>
                  <a:noFill/>
                </a:ln>
                <a:solidFill>
                  <a:srgbClr val="575757"/>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 name="Text Placeholder 3"/>
          <p:cNvSpPr>
            <a:spLocks noGrp="1"/>
          </p:cNvSpPr>
          <p:nvPr>
            <p:custDataLst>
              <p:tags r:id="rId26"/>
            </p:custDataLst>
          </p:nvPr>
        </p:nvSpPr>
        <p:spPr bwMode="gray">
          <a:xfrm>
            <a:off x="3390900" y="488315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8FF2F141-0B95-4CEF-8B11-0A526DDD74FA}" type="datetime'''''''3''5'''''''''''''''''''''''''''">
              <a:rPr lang="en-US" altLang="en-US" smtClean="0">
                <a:solidFill>
                  <a:srgbClr val="FFFFFF"/>
                </a:solidFill>
              </a:rPr>
              <a:pPr/>
              <a:t>35</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7" name="Rectangle 6"/>
          <p:cNvSpPr/>
          <p:nvPr/>
        </p:nvSpPr>
        <p:spPr>
          <a:xfrm>
            <a:off x="1824038" y="4207596"/>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CT</a:t>
            </a:r>
          </a:p>
        </p:txBody>
      </p:sp>
      <p:sp>
        <p:nvSpPr>
          <p:cNvPr id="77" name="Rectangle 76"/>
          <p:cNvSpPr/>
          <p:nvPr/>
        </p:nvSpPr>
        <p:spPr>
          <a:xfrm>
            <a:off x="6031659" y="4199732"/>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BST</a:t>
            </a:r>
          </a:p>
        </p:txBody>
      </p:sp>
      <p:sp>
        <p:nvSpPr>
          <p:cNvPr id="62" name="Rectangle 61"/>
          <p:cNvSpPr/>
          <p:nvPr/>
        </p:nvSpPr>
        <p:spPr>
          <a:xfrm>
            <a:off x="420687" y="1472237"/>
            <a:ext cx="4305300" cy="8994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575757"/>
                </a:solidFill>
                <a:latin typeface="Trebuchet MS"/>
              </a:rPr>
              <a:t>49</a:t>
            </a:r>
            <a:r>
              <a:rPr kumimoji="0" lang="en-US" b="1" i="0" u="none" strike="noStrike" kern="1200" cap="none" spc="0" normalizeH="0" baseline="0" noProof="0" dirty="0">
                <a:ln>
                  <a:noFill/>
                </a:ln>
                <a:solidFill>
                  <a:srgbClr val="575757"/>
                </a:solidFill>
                <a:effectLst/>
                <a:uLnTx/>
                <a:uFillTx/>
                <a:latin typeface="Trebuchet MS"/>
                <a:ea typeface="+mn-ea"/>
                <a:cs typeface="+mn-cs"/>
              </a:rPr>
              <a:t>% </a:t>
            </a:r>
            <a:r>
              <a:rPr kumimoji="0" lang="en-US" b="0" i="0" u="none" strike="noStrike" kern="1200" cap="none" spc="0" normalizeH="0" baseline="0" noProof="0" dirty="0">
                <a:ln>
                  <a:noFill/>
                </a:ln>
                <a:solidFill>
                  <a:srgbClr val="575757"/>
                </a:solidFill>
                <a:effectLst/>
                <a:uLnTx/>
                <a:uFillTx/>
                <a:latin typeface="Trebuchet MS"/>
                <a:ea typeface="+mn-ea"/>
                <a:cs typeface="+mn-cs"/>
              </a:rPr>
              <a:t>CT satisfi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lvl="0" algn="ctr">
              <a:defRPr/>
            </a:pPr>
            <a:r>
              <a:rPr lang="en-US" sz="1400" dirty="0">
                <a:solidFill>
                  <a:srgbClr val="E71C57"/>
                </a:solidFill>
                <a:latin typeface="Wingdings 3" panose="05040102010807070707" pitchFamily="18" charset="2"/>
              </a:rPr>
              <a:t>q</a:t>
            </a:r>
            <a:r>
              <a:rPr lang="en-US" sz="1400" dirty="0">
                <a:solidFill>
                  <a:srgbClr val="575757"/>
                </a:solidFill>
              </a:rPr>
              <a:t>2%</a:t>
            </a:r>
            <a:r>
              <a:rPr lang="en-US" sz="1400" dirty="0">
                <a:solidFill>
                  <a:srgbClr val="29BA74"/>
                </a:solidFill>
              </a:rPr>
              <a:t> </a:t>
            </a:r>
            <a:r>
              <a:rPr lang="en-US" sz="1400" dirty="0">
                <a:solidFill>
                  <a:srgbClr val="575757"/>
                </a:solidFill>
              </a:rPr>
              <a:t>vs Q3 '21| </a:t>
            </a:r>
            <a:r>
              <a:rPr lang="en-US" sz="1400" dirty="0">
                <a:solidFill>
                  <a:srgbClr val="E71C57"/>
                </a:solidFill>
                <a:latin typeface="Wingdings 3" panose="05040102010807070707" pitchFamily="18" charset="2"/>
              </a:rPr>
              <a:t>q</a:t>
            </a:r>
            <a:r>
              <a:rPr lang="en-US" sz="1400" dirty="0">
                <a:solidFill>
                  <a:srgbClr val="575757"/>
                </a:solidFill>
              </a:rPr>
              <a:t>21%</a:t>
            </a:r>
            <a:r>
              <a:rPr lang="en-US" sz="1400" dirty="0">
                <a:solidFill>
                  <a:srgbClr val="29BA74"/>
                </a:solidFill>
              </a:rPr>
              <a:t> </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vs Q4 '20 </a:t>
            </a:r>
          </a:p>
          <a:p>
            <a:pPr lvl="0" algn="ctr">
              <a:defRPr/>
            </a:pPr>
            <a:r>
              <a:rPr lang="en-US" sz="1400" dirty="0">
                <a:solidFill>
                  <a:srgbClr val="E71C57"/>
                </a:solidFill>
                <a:latin typeface="Wingdings 3" panose="05040102010807070707" pitchFamily="18" charset="2"/>
              </a:rPr>
              <a:t>q</a:t>
            </a:r>
            <a:r>
              <a:rPr lang="en-US" sz="1400" dirty="0">
                <a:solidFill>
                  <a:srgbClr val="575757"/>
                </a:solidFill>
              </a:rPr>
              <a:t>29%</a:t>
            </a:r>
            <a:r>
              <a:rPr lang="en-US" sz="1400" dirty="0">
                <a:solidFill>
                  <a:srgbClr val="29BA74"/>
                </a:solidFill>
              </a:rPr>
              <a:t> </a:t>
            </a:r>
            <a:r>
              <a:rPr lang="en-US" sz="1400" dirty="0">
                <a:solidFill>
                  <a:srgbClr val="575757"/>
                </a:solidFill>
              </a:rPr>
              <a:t>vs BIC target</a:t>
            </a:r>
            <a:endParaRPr kumimoji="0" lang="en-US" sz="14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3" name="Rectangle 62"/>
          <p:cNvSpPr/>
          <p:nvPr/>
        </p:nvSpPr>
        <p:spPr>
          <a:xfrm>
            <a:off x="4678215" y="1467645"/>
            <a:ext cx="4089695" cy="8747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575757"/>
                </a:solidFill>
                <a:latin typeface="Trebuchet MS"/>
              </a:rPr>
              <a:t>74</a:t>
            </a:r>
            <a:r>
              <a:rPr kumimoji="0" lang="en-US" b="1" i="0" u="none" strike="noStrike" kern="1200" cap="none" spc="0" normalizeH="0" baseline="0" noProof="0" dirty="0">
                <a:ln>
                  <a:noFill/>
                </a:ln>
                <a:solidFill>
                  <a:srgbClr val="575757"/>
                </a:solidFill>
                <a:effectLst/>
                <a:uLnTx/>
                <a:uFillTx/>
                <a:latin typeface="Trebuchet MS"/>
                <a:ea typeface="+mn-ea"/>
                <a:cs typeface="+mn-cs"/>
              </a:rPr>
              <a:t>% </a:t>
            </a:r>
            <a:r>
              <a:rPr kumimoji="0" lang="en-US" b="0" i="0" u="none" strike="noStrike" kern="1200" cap="none" spc="0" normalizeH="0" baseline="0" noProof="0" dirty="0">
                <a:ln>
                  <a:noFill/>
                </a:ln>
                <a:solidFill>
                  <a:srgbClr val="575757"/>
                </a:solidFill>
                <a:effectLst/>
                <a:uLnTx/>
                <a:uFillTx/>
                <a:latin typeface="Trebuchet MS"/>
                <a:ea typeface="+mn-ea"/>
                <a:cs typeface="+mn-cs"/>
              </a:rPr>
              <a:t>BST satisfi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lvl="0" algn="ctr">
              <a:defRPr/>
            </a:pPr>
            <a:r>
              <a:rPr lang="en-US" sz="1400" dirty="0">
                <a:solidFill>
                  <a:srgbClr val="E71C57"/>
                </a:solidFill>
                <a:latin typeface="Wingdings 3" panose="05040102010807070707" pitchFamily="18" charset="2"/>
              </a:rPr>
              <a:t>q</a:t>
            </a:r>
            <a:r>
              <a:rPr lang="en-US" sz="1400" dirty="0">
                <a:solidFill>
                  <a:srgbClr val="575757"/>
                </a:solidFill>
              </a:rPr>
              <a:t>6% vs Q3 '21  | </a:t>
            </a:r>
            <a:r>
              <a:rPr lang="en-US" sz="1400" dirty="0">
                <a:solidFill>
                  <a:srgbClr val="E71C57"/>
                </a:solidFill>
                <a:latin typeface="Wingdings 3" panose="05040102010807070707" pitchFamily="18" charset="2"/>
              </a:rPr>
              <a:t>q</a:t>
            </a:r>
            <a:r>
              <a:rPr lang="en-US" sz="1400" dirty="0">
                <a:solidFill>
                  <a:srgbClr val="575757"/>
                </a:solidFill>
              </a:rPr>
              <a:t>3% vs Q4 '20</a:t>
            </a:r>
          </a:p>
          <a:p>
            <a:pPr lvl="0" algn="ctr">
              <a:defRPr/>
            </a:pPr>
            <a:r>
              <a:rPr lang="en-US" sz="1400" dirty="0">
                <a:solidFill>
                  <a:srgbClr val="E71C57"/>
                </a:solidFill>
                <a:latin typeface="Wingdings 3" panose="05040102010807070707" pitchFamily="18" charset="2"/>
              </a:rPr>
              <a:t>q</a:t>
            </a:r>
            <a:r>
              <a:rPr lang="en-US" sz="1400" dirty="0">
                <a:solidFill>
                  <a:srgbClr val="575757"/>
                </a:solidFill>
              </a:rPr>
              <a:t>6% vs BIC target</a:t>
            </a:r>
          </a:p>
        </p:txBody>
      </p:sp>
      <p:cxnSp>
        <p:nvCxnSpPr>
          <p:cNvPr id="36" name="Straight Connector 35"/>
          <p:cNvCxnSpPr/>
          <p:nvPr/>
        </p:nvCxnSpPr>
        <p:spPr>
          <a:xfrm flipH="1" flipV="1">
            <a:off x="681605" y="2382838"/>
            <a:ext cx="7707176" cy="0"/>
          </a:xfrm>
          <a:prstGeom prst="line">
            <a:avLst/>
          </a:prstGeom>
          <a:ln w="19050" cap="rnd">
            <a:solidFill>
              <a:schemeClr val="tx1">
                <a:lumMod val="60000"/>
                <a:lumOff val="40000"/>
              </a:schemeClr>
            </a:solidFill>
            <a:prstDash val="sysDot"/>
          </a:ln>
        </p:spPr>
      </p:cxnSp>
      <p:sp>
        <p:nvSpPr>
          <p:cNvPr id="35" name="Rectangle 34"/>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By Cohort</a:t>
            </a:r>
          </a:p>
        </p:txBody>
      </p:sp>
      <p:sp>
        <p:nvSpPr>
          <p:cNvPr id="60" name="Rectangle 59">
            <a:extLst>
              <a:ext uri="{FF2B5EF4-FFF2-40B4-BE49-F238E27FC236}">
                <a16:creationId xmlns:a16="http://schemas.microsoft.com/office/drawing/2014/main" id="{A6CEAAAE-8D15-4330-B7BC-65D4FEBB0A5B}"/>
              </a:ext>
            </a:extLst>
          </p:cNvPr>
          <p:cNvSpPr/>
          <p:nvPr/>
        </p:nvSpPr>
        <p:spPr>
          <a:xfrm>
            <a:off x="1814513" y="2386013"/>
            <a:ext cx="1517650" cy="387350"/>
          </a:xfrm>
          <a:prstGeom prst="rect">
            <a:avLst/>
          </a:prstGeom>
          <a:solidFill>
            <a:srgbClr val="9A9A9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Unacceptable</a:t>
            </a:r>
          </a:p>
        </p:txBody>
      </p:sp>
      <p:sp>
        <p:nvSpPr>
          <p:cNvPr id="64" name="Rectangle 63">
            <a:extLst>
              <a:ext uri="{FF2B5EF4-FFF2-40B4-BE49-F238E27FC236}">
                <a16:creationId xmlns:a16="http://schemas.microsoft.com/office/drawing/2014/main" id="{EA8328C0-2E78-4ECE-8880-5FB510827CFB}"/>
              </a:ext>
            </a:extLst>
          </p:cNvPr>
          <p:cNvSpPr/>
          <p:nvPr/>
        </p:nvSpPr>
        <p:spPr>
          <a:xfrm>
            <a:off x="5976253" y="2384222"/>
            <a:ext cx="1519017"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54" name="Group 53">
            <a:extLst>
              <a:ext uri="{FF2B5EF4-FFF2-40B4-BE49-F238E27FC236}">
                <a16:creationId xmlns:a16="http://schemas.microsoft.com/office/drawing/2014/main" id="{13EE0871-EF15-4DA7-949F-4504A1ECCE86}"/>
              </a:ext>
            </a:extLst>
          </p:cNvPr>
          <p:cNvGrpSpPr>
            <a:grpSpLocks noChangeAspect="1"/>
          </p:cNvGrpSpPr>
          <p:nvPr/>
        </p:nvGrpSpPr>
        <p:grpSpPr>
          <a:xfrm>
            <a:off x="599640" y="864696"/>
            <a:ext cx="457200" cy="457200"/>
            <a:chOff x="5867400" y="3200400"/>
            <a:chExt cx="457200" cy="457200"/>
          </a:xfrm>
        </p:grpSpPr>
        <p:sp>
          <p:nvSpPr>
            <p:cNvPr id="56" name="AutoShape 43">
              <a:extLst>
                <a:ext uri="{FF2B5EF4-FFF2-40B4-BE49-F238E27FC236}">
                  <a16:creationId xmlns:a16="http://schemas.microsoft.com/office/drawing/2014/main" id="{84A3F498-8F02-4373-A421-BF6D13DB91E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7">
              <a:extLst>
                <a:ext uri="{FF2B5EF4-FFF2-40B4-BE49-F238E27FC236}">
                  <a16:creationId xmlns:a16="http://schemas.microsoft.com/office/drawing/2014/main" id="{D0F09755-EA97-4108-BA3B-0D4972F34F0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987278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38136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10" name="think-cell Slide" r:id="rId47" imgW="473" imgH="473" progId="TCLayout.ActiveDocument.1">
                  <p:embed/>
                </p:oleObj>
              </mc:Choice>
              <mc:Fallback>
                <p:oleObj name="think-cell Slide" r:id="rId47" imgW="473" imgH="473" progId="TCLayout.ActiveDocument.1">
                  <p:embed/>
                  <p:pic>
                    <p:nvPicPr>
                      <p:cNvPr id="5" name="Object 4" hidden="1"/>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163051" y="8287"/>
            <a:ext cx="2940046" cy="68497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For both cohorts, E-SAT was high when Covid-19 restrictions were more prevalent. There is a possible correlation between greater employee mobility &amp; decreased E-SAT</a:t>
            </a:r>
          </a:p>
          <a:p>
            <a:endParaRPr lang="en-GB" dirty="0">
              <a:solidFill>
                <a:srgbClr val="FFFFFF"/>
              </a:solidFill>
              <a:cs typeface="Arial" pitchFamily="34" charset="0"/>
            </a:endParaRPr>
          </a:p>
          <a:p>
            <a:r>
              <a:rPr lang="en-GB" sz="1200" i="1" dirty="0">
                <a:solidFill>
                  <a:srgbClr val="FFFFFF"/>
                </a:solidFill>
                <a:cs typeface="Arial" pitchFamily="34" charset="0"/>
              </a:rPr>
              <a:t>(Reminder – the strongest trends are shown by annual averages, slide 56)</a:t>
            </a:r>
          </a:p>
        </p:txBody>
      </p:sp>
      <p:sp>
        <p:nvSpPr>
          <p:cNvPr id="3" name="Title 2"/>
          <p:cNvSpPr>
            <a:spLocks noGrp="1"/>
          </p:cNvSpPr>
          <p:nvPr>
            <p:ph type="title"/>
          </p:nvPr>
        </p:nvSpPr>
        <p:spPr/>
        <p:txBody>
          <a:bodyPr vert="horz"/>
          <a:lstStyle/>
          <a:p>
            <a:r>
              <a:rPr lang="en-US" dirty="0">
                <a:solidFill>
                  <a:srgbClr val="295E7E"/>
                </a:solidFill>
              </a:rPr>
              <a:t>Laptop Satisfaction - Overall</a:t>
            </a:r>
          </a:p>
        </p:txBody>
      </p:sp>
      <p:graphicFrame>
        <p:nvGraphicFramePr>
          <p:cNvPr id="112" name="Chart 111">
            <a:extLst>
              <a:ext uri="{FF2B5EF4-FFF2-40B4-BE49-F238E27FC236}">
                <a16:creationId xmlns:a16="http://schemas.microsoft.com/office/drawing/2014/main" id="{0DD8C548-99D9-44C5-BA03-54DE5DA5BFBD}"/>
              </a:ext>
            </a:extLst>
          </p:cNvPr>
          <p:cNvGraphicFramePr/>
          <p:nvPr>
            <p:custDataLst>
              <p:tags r:id="rId5"/>
            </p:custDataLst>
            <p:extLst>
              <p:ext uri="{D42A27DB-BD31-4B8C-83A1-F6EECF244321}">
                <p14:modId xmlns:p14="http://schemas.microsoft.com/office/powerpoint/2010/main" val="4191565779"/>
              </p:ext>
            </p:extLst>
          </p:nvPr>
        </p:nvGraphicFramePr>
        <p:xfrm>
          <a:off x="781050" y="2428875"/>
          <a:ext cx="7689850" cy="3246438"/>
        </p:xfrm>
        <a:graphic>
          <a:graphicData uri="http://schemas.openxmlformats.org/drawingml/2006/chart">
            <c:chart xmlns:c="http://schemas.openxmlformats.org/drawingml/2006/chart" xmlns:r="http://schemas.openxmlformats.org/officeDocument/2006/relationships" r:id="rId49"/>
          </a:graphicData>
        </a:graphic>
      </p:graphicFrame>
      <p:cxnSp>
        <p:nvCxnSpPr>
          <p:cNvPr id="15" name="Straight Connector 14">
            <a:extLst>
              <a:ext uri="{FF2B5EF4-FFF2-40B4-BE49-F238E27FC236}">
                <a16:creationId xmlns:a16="http://schemas.microsoft.com/office/drawing/2014/main" id="{E1F656CC-F702-4838-95A1-0257529C0023}"/>
              </a:ext>
            </a:extLst>
          </p:cNvPr>
          <p:cNvCxnSpPr/>
          <p:nvPr>
            <p:custDataLst>
              <p:tags r:id="rId6"/>
            </p:custDataLst>
          </p:nvPr>
        </p:nvCxnSpPr>
        <p:spPr bwMode="gray">
          <a:xfrm flipV="1">
            <a:off x="2000250" y="3136900"/>
            <a:ext cx="0" cy="665163"/>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B71D7CB0-4C50-46CE-80D6-BD8C02323393}"/>
              </a:ext>
            </a:extLst>
          </p:cNvPr>
          <p:cNvCxnSpPr/>
          <p:nvPr>
            <p:custDataLst>
              <p:tags r:id="rId7"/>
            </p:custDataLst>
          </p:nvPr>
        </p:nvCxnSpPr>
        <p:spPr bwMode="gray">
          <a:xfrm>
            <a:off x="2000250" y="3136900"/>
            <a:ext cx="977900" cy="0"/>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CD962DBF-82B7-4A50-9D56-BB96B5BEB30F}"/>
              </a:ext>
            </a:extLst>
          </p:cNvPr>
          <p:cNvCxnSpPr/>
          <p:nvPr>
            <p:custDataLst>
              <p:tags r:id="rId8"/>
            </p:custDataLst>
          </p:nvPr>
        </p:nvCxnSpPr>
        <p:spPr bwMode="gray">
          <a:xfrm>
            <a:off x="4337050" y="3136900"/>
            <a:ext cx="0" cy="152400"/>
          </a:xfrm>
          <a:prstGeom prst="line">
            <a:avLst/>
          </a:prstGeom>
          <a:ln w="9525" cap="flat" cmpd="sng" algn="ctr">
            <a:solidFill>
              <a:srgbClr val="30C1D7"/>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90459598-2E14-42AA-8A56-02D039D846C7}"/>
              </a:ext>
            </a:extLst>
          </p:cNvPr>
          <p:cNvCxnSpPr/>
          <p:nvPr>
            <p:custDataLst>
              <p:tags r:id="rId9"/>
            </p:custDataLst>
          </p:nvPr>
        </p:nvCxnSpPr>
        <p:spPr bwMode="gray">
          <a:xfrm>
            <a:off x="3359150" y="3136900"/>
            <a:ext cx="977900" cy="0"/>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BC745F1-3CBA-4D6C-84C1-1BD8BAFA9631}"/>
              </a:ext>
            </a:extLst>
          </p:cNvPr>
          <p:cNvCxnSpPr/>
          <p:nvPr>
            <p:custDataLst>
              <p:tags r:id="rId10"/>
            </p:custDataLst>
          </p:nvPr>
        </p:nvCxnSpPr>
        <p:spPr bwMode="gray">
          <a:xfrm>
            <a:off x="4786313" y="2774951"/>
            <a:ext cx="0" cy="422275"/>
          </a:xfrm>
          <a:prstGeom prst="line">
            <a:avLst/>
          </a:prstGeom>
          <a:ln w="9525" cap="flat" cmpd="sng" algn="ctr">
            <a:solidFill>
              <a:srgbClr val="D9D9D9"/>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D9626C03-DC0E-4093-AA1A-2F334931F27C}"/>
              </a:ext>
            </a:extLst>
          </p:cNvPr>
          <p:cNvCxnSpPr/>
          <p:nvPr>
            <p:custDataLst>
              <p:tags r:id="rId11"/>
            </p:custDataLst>
          </p:nvPr>
        </p:nvCxnSpPr>
        <p:spPr bwMode="gray">
          <a:xfrm flipV="1">
            <a:off x="2449513" y="2774950"/>
            <a:ext cx="0" cy="725488"/>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E0837BF0-4B6B-44EC-A376-4428A70A584C}"/>
              </a:ext>
            </a:extLst>
          </p:cNvPr>
          <p:cNvCxnSpPr/>
          <p:nvPr>
            <p:custDataLst>
              <p:tags r:id="rId12"/>
            </p:custDataLst>
          </p:nvPr>
        </p:nvCxnSpPr>
        <p:spPr bwMode="gray">
          <a:xfrm>
            <a:off x="2449513" y="2774950"/>
            <a:ext cx="977900" cy="0"/>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CA9E1AE-6FA0-4A0E-B35E-AB46CB9891AC}"/>
              </a:ext>
            </a:extLst>
          </p:cNvPr>
          <p:cNvCxnSpPr/>
          <p:nvPr>
            <p:custDataLst>
              <p:tags r:id="rId13"/>
            </p:custDataLst>
          </p:nvPr>
        </p:nvCxnSpPr>
        <p:spPr bwMode="gray">
          <a:xfrm>
            <a:off x="3808413" y="2774950"/>
            <a:ext cx="977900" cy="0"/>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9621915F-7B06-48F2-879F-8EA56984EF8C}"/>
              </a:ext>
            </a:extLst>
          </p:cNvPr>
          <p:cNvCxnSpPr/>
          <p:nvPr>
            <p:custDataLst>
              <p:tags r:id="rId14"/>
            </p:custDataLst>
          </p:nvPr>
        </p:nvCxnSpPr>
        <p:spPr bwMode="gray">
          <a:xfrm flipV="1">
            <a:off x="2898775" y="2413000"/>
            <a:ext cx="0" cy="1600200"/>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A30B5A78-A8C2-4B77-B7C5-3A0A5CD3F53D}"/>
              </a:ext>
            </a:extLst>
          </p:cNvPr>
          <p:cNvCxnSpPr/>
          <p:nvPr>
            <p:custDataLst>
              <p:tags r:id="rId15"/>
            </p:custDataLst>
          </p:nvPr>
        </p:nvCxnSpPr>
        <p:spPr bwMode="gray">
          <a:xfrm>
            <a:off x="4257675" y="2413000"/>
            <a:ext cx="977900" cy="0"/>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BBD6F5E5-2098-4C38-A628-0C116648015C}"/>
              </a:ext>
            </a:extLst>
          </p:cNvPr>
          <p:cNvCxnSpPr/>
          <p:nvPr>
            <p:custDataLst>
              <p:tags r:id="rId16"/>
            </p:custDataLst>
          </p:nvPr>
        </p:nvCxnSpPr>
        <p:spPr bwMode="gray">
          <a:xfrm>
            <a:off x="2898775" y="2413000"/>
            <a:ext cx="977900" cy="0"/>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77841E1-5F56-4414-AA2D-BBB9AA9CAA89}"/>
              </a:ext>
            </a:extLst>
          </p:cNvPr>
          <p:cNvCxnSpPr/>
          <p:nvPr>
            <p:custDataLst>
              <p:tags r:id="rId17"/>
            </p:custDataLst>
          </p:nvPr>
        </p:nvCxnSpPr>
        <p:spPr bwMode="gray">
          <a:xfrm>
            <a:off x="5235575" y="2413000"/>
            <a:ext cx="0" cy="996950"/>
          </a:xfrm>
          <a:prstGeom prst="line">
            <a:avLst/>
          </a:prstGeom>
          <a:ln w="9525" cap="flat" cmpd="sng" algn="ctr">
            <a:solidFill>
              <a:srgbClr val="2E3558"/>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B43FABFC-CFB7-4276-969C-2F28EB2C0537}"/>
              </a:ext>
            </a:extLst>
          </p:cNvPr>
          <p:cNvCxnSpPr/>
          <p:nvPr>
            <p:custDataLst>
              <p:tags r:id="rId18"/>
            </p:custDataLst>
          </p:nvPr>
        </p:nvCxnSpPr>
        <p:spPr bwMode="gray">
          <a:xfrm>
            <a:off x="5761039" y="3044825"/>
            <a:ext cx="989013" cy="0"/>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94D79481-3854-4BDA-9131-898685FA823F}"/>
              </a:ext>
            </a:extLst>
          </p:cNvPr>
          <p:cNvCxnSpPr/>
          <p:nvPr>
            <p:custDataLst>
              <p:tags r:id="rId19"/>
            </p:custDataLst>
          </p:nvPr>
        </p:nvCxnSpPr>
        <p:spPr bwMode="gray">
          <a:xfrm flipV="1">
            <a:off x="4413250" y="3044826"/>
            <a:ext cx="0" cy="244475"/>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CE464207-46BE-43E6-8BD2-A1E3364E0252}"/>
              </a:ext>
            </a:extLst>
          </p:cNvPr>
          <p:cNvCxnSpPr/>
          <p:nvPr>
            <p:custDataLst>
              <p:tags r:id="rId20"/>
            </p:custDataLst>
          </p:nvPr>
        </p:nvCxnSpPr>
        <p:spPr bwMode="gray">
          <a:xfrm>
            <a:off x="4413250" y="3044825"/>
            <a:ext cx="990600" cy="0"/>
          </a:xfrm>
          <a:prstGeom prst="line">
            <a:avLst/>
          </a:prstGeom>
          <a:ln w="9525" cap="flat" cmpd="sng" algn="ctr">
            <a:solidFill>
              <a:srgbClr val="30C1D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6D20F679-F6C0-49BC-BF27-8FE9C3F6E82C}"/>
              </a:ext>
            </a:extLst>
          </p:cNvPr>
          <p:cNvCxnSpPr/>
          <p:nvPr>
            <p:custDataLst>
              <p:tags r:id="rId21"/>
            </p:custDataLst>
          </p:nvPr>
        </p:nvCxnSpPr>
        <p:spPr bwMode="gray">
          <a:xfrm>
            <a:off x="6750050" y="3044826"/>
            <a:ext cx="0" cy="606425"/>
          </a:xfrm>
          <a:prstGeom prst="line">
            <a:avLst/>
          </a:prstGeom>
          <a:ln w="9525" cap="flat" cmpd="sng" algn="ctr">
            <a:solidFill>
              <a:srgbClr val="30C1D7"/>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A6FE6EDB-55A2-4026-BD91-5480538A13DE}"/>
              </a:ext>
            </a:extLst>
          </p:cNvPr>
          <p:cNvCxnSpPr/>
          <p:nvPr>
            <p:custDataLst>
              <p:tags r:id="rId22"/>
            </p:custDataLst>
          </p:nvPr>
        </p:nvCxnSpPr>
        <p:spPr bwMode="gray">
          <a:xfrm>
            <a:off x="7199313" y="2825750"/>
            <a:ext cx="0" cy="463550"/>
          </a:xfrm>
          <a:prstGeom prst="line">
            <a:avLst/>
          </a:prstGeom>
          <a:ln w="9525" cap="flat" cmpd="sng" algn="ctr">
            <a:solidFill>
              <a:srgbClr val="D9D9D9"/>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6D7F2706-56A6-47AC-BDE1-C8CC0602E3E1}"/>
              </a:ext>
            </a:extLst>
          </p:cNvPr>
          <p:cNvCxnSpPr/>
          <p:nvPr>
            <p:custDataLst>
              <p:tags r:id="rId23"/>
            </p:custDataLst>
          </p:nvPr>
        </p:nvCxnSpPr>
        <p:spPr bwMode="gray">
          <a:xfrm flipV="1">
            <a:off x="4862513" y="2825750"/>
            <a:ext cx="0" cy="371475"/>
          </a:xfrm>
          <a:prstGeom prst="line">
            <a:avLst/>
          </a:prstGeom>
          <a:ln w="9525" cap="flat" cmpd="sng" algn="ctr">
            <a:solidFill>
              <a:srgbClr val="D9D9D9"/>
            </a:solidFill>
            <a:prstDash val="solid"/>
            <a:round/>
            <a:headEnd type="triangl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BD03762-CC88-4827-924F-82C77F924453}"/>
              </a:ext>
            </a:extLst>
          </p:cNvPr>
          <p:cNvCxnSpPr/>
          <p:nvPr>
            <p:custDataLst>
              <p:tags r:id="rId24"/>
            </p:custDataLst>
          </p:nvPr>
        </p:nvCxnSpPr>
        <p:spPr bwMode="gray">
          <a:xfrm>
            <a:off x="4862513" y="2825750"/>
            <a:ext cx="1030288" cy="0"/>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CEBDA521-20A0-4D45-B71B-950FC752DAC5}"/>
              </a:ext>
            </a:extLst>
          </p:cNvPr>
          <p:cNvCxnSpPr/>
          <p:nvPr>
            <p:custDataLst>
              <p:tags r:id="rId25"/>
            </p:custDataLst>
          </p:nvPr>
        </p:nvCxnSpPr>
        <p:spPr bwMode="gray">
          <a:xfrm>
            <a:off x="6170612" y="2825750"/>
            <a:ext cx="1028700" cy="0"/>
          </a:xfrm>
          <a:prstGeom prst="line">
            <a:avLst/>
          </a:prstGeom>
          <a:ln w="9525" cap="flat" cmpd="sng" algn="ctr">
            <a:solidFill>
              <a:srgbClr val="D9D9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3F7221A0-E633-4D72-ABFB-75B4C75C088F}"/>
              </a:ext>
            </a:extLst>
          </p:cNvPr>
          <p:cNvCxnSpPr/>
          <p:nvPr>
            <p:custDataLst>
              <p:tags r:id="rId26"/>
            </p:custDataLst>
          </p:nvPr>
        </p:nvCxnSpPr>
        <p:spPr bwMode="gray">
          <a:xfrm flipV="1">
            <a:off x="5311775" y="2606676"/>
            <a:ext cx="0" cy="803275"/>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1E46B1CB-5205-475D-9223-2A1716744950}"/>
              </a:ext>
            </a:extLst>
          </p:cNvPr>
          <p:cNvCxnSpPr/>
          <p:nvPr>
            <p:custDataLst>
              <p:tags r:id="rId27"/>
            </p:custDataLst>
          </p:nvPr>
        </p:nvCxnSpPr>
        <p:spPr bwMode="gray">
          <a:xfrm>
            <a:off x="5311775" y="2606675"/>
            <a:ext cx="990600" cy="0"/>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5ACBEBBF-DE6E-4F3F-BBAA-B518189A18AE}"/>
              </a:ext>
            </a:extLst>
          </p:cNvPr>
          <p:cNvCxnSpPr/>
          <p:nvPr>
            <p:custDataLst>
              <p:tags r:id="rId28"/>
            </p:custDataLst>
          </p:nvPr>
        </p:nvCxnSpPr>
        <p:spPr bwMode="gray">
          <a:xfrm>
            <a:off x="6659564" y="2606675"/>
            <a:ext cx="989013" cy="0"/>
          </a:xfrm>
          <a:prstGeom prst="line">
            <a:avLst/>
          </a:prstGeom>
          <a:ln w="9525" cap="flat" cmpd="sng" algn="ctr">
            <a:solidFill>
              <a:srgbClr val="2E355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50797B95-088D-4385-9661-947B5AB78ACD}"/>
              </a:ext>
            </a:extLst>
          </p:cNvPr>
          <p:cNvCxnSpPr/>
          <p:nvPr>
            <p:custDataLst>
              <p:tags r:id="rId29"/>
            </p:custDataLst>
          </p:nvPr>
        </p:nvCxnSpPr>
        <p:spPr bwMode="gray">
          <a:xfrm>
            <a:off x="7648575" y="2606675"/>
            <a:ext cx="0" cy="1436688"/>
          </a:xfrm>
          <a:prstGeom prst="line">
            <a:avLst/>
          </a:prstGeom>
          <a:ln w="9525" cap="flat" cmpd="sng" algn="ctr">
            <a:solidFill>
              <a:srgbClr val="2E3558"/>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 name="Text Placeholder 3">
            <a:extLst>
              <a:ext uri="{FF2B5EF4-FFF2-40B4-BE49-F238E27FC236}">
                <a16:creationId xmlns:a16="http://schemas.microsoft.com/office/drawing/2014/main" id="{895E5135-D98A-479E-B3BB-E5B9F395A6E8}"/>
              </a:ext>
            </a:extLst>
          </p:cNvPr>
          <p:cNvSpPr>
            <a:spLocks noGrp="1"/>
          </p:cNvSpPr>
          <p:nvPr>
            <p:custDataLst>
              <p:tags r:id="rId30"/>
            </p:custDataLst>
          </p:nvPr>
        </p:nvSpPr>
        <p:spPr bwMode="gray">
          <a:xfrm>
            <a:off x="6972301" y="5611813"/>
            <a:ext cx="455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48ED185-1312-44E1-A85F-3941C7073277}" type="datetime'''''Q''''4'''''''''''''' ''''’''''''''''''''''''2''''''1'''''">
              <a:rPr lang="en-US" altLang="en-US" smtClean="0"/>
              <a:pPr/>
              <a:t>Q4 ’21</a:t>
            </a:fld>
            <a:endParaRPr lang="en-US" dirty="0">
              <a:sym typeface="+mn-lt"/>
            </a:endParaRPr>
          </a:p>
        </p:txBody>
      </p:sp>
      <p:sp>
        <p:nvSpPr>
          <p:cNvPr id="60" name="Text Placeholder 3"/>
          <p:cNvSpPr>
            <a:spLocks noGrp="1"/>
          </p:cNvSpPr>
          <p:nvPr>
            <p:custDataLst>
              <p:tags r:id="rId31"/>
            </p:custDataLst>
          </p:nvPr>
        </p:nvSpPr>
        <p:spPr bwMode="gray">
          <a:xfrm>
            <a:off x="4597400" y="5611813"/>
            <a:ext cx="455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1814D55-211A-4456-BF46-FA2625A421EF}" type="datetime'''''''''''Q''4'''''''''''''' ''''’''''''''''''''2''''''''0'">
              <a:rPr lang="en-US" altLang="en-US" smtClean="0"/>
              <a:pPr/>
              <a:t>Q4 ’20</a:t>
            </a:fld>
            <a:endParaRPr lang="en-US" dirty="0">
              <a:sym typeface="+mn-lt"/>
            </a:endParaRPr>
          </a:p>
        </p:txBody>
      </p:sp>
      <p:sp>
        <p:nvSpPr>
          <p:cNvPr id="52" name="Text Placeholder 3"/>
          <p:cNvSpPr>
            <a:spLocks noGrp="1"/>
          </p:cNvSpPr>
          <p:nvPr>
            <p:custDataLst>
              <p:tags r:id="rId32"/>
            </p:custDataLst>
          </p:nvPr>
        </p:nvSpPr>
        <p:spPr bwMode="gray">
          <a:xfrm>
            <a:off x="2222500" y="5611813"/>
            <a:ext cx="455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C28831C-2AED-43D7-8373-E7755D62092D}" type="datetime'''Q4'' ''''''''''''''''''''''''’1''''''''''''''9'''''''''">
              <a:rPr lang="en-US" altLang="en-US" smtClean="0"/>
              <a:pPr/>
              <a:t>Q4 ’19</a:t>
            </a:fld>
            <a:endParaRPr lang="en-US" dirty="0">
              <a:sym typeface="+mn-lt"/>
            </a:endParaRPr>
          </a:p>
        </p:txBody>
      </p:sp>
      <p:sp>
        <p:nvSpPr>
          <p:cNvPr id="35" name="Text Placeholder 3">
            <a:extLst>
              <a:ext uri="{FF2B5EF4-FFF2-40B4-BE49-F238E27FC236}">
                <a16:creationId xmlns:a16="http://schemas.microsoft.com/office/drawing/2014/main" id="{6625752A-7DB9-4315-8CA8-1F061050F926}"/>
              </a:ext>
            </a:extLst>
          </p:cNvPr>
          <p:cNvSpPr>
            <a:spLocks noGrp="1"/>
          </p:cNvSpPr>
          <p:nvPr>
            <p:custDataLst>
              <p:tags r:id="rId33"/>
            </p:custDataLst>
          </p:nvPr>
        </p:nvSpPr>
        <p:spPr bwMode="gray">
          <a:xfrm>
            <a:off x="2935288" y="2994025"/>
            <a:ext cx="468313"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buNone/>
            </a:pPr>
            <a:r>
              <a:rPr lang="en-US" dirty="0">
                <a:solidFill>
                  <a:srgbClr val="29BA74"/>
                </a:solidFill>
                <a:sym typeface="+mn-lt"/>
              </a:rPr>
              <a:t>+17%</a:t>
            </a:r>
          </a:p>
        </p:txBody>
      </p:sp>
      <p:sp>
        <p:nvSpPr>
          <p:cNvPr id="28" name="Text Placeholder 3">
            <a:extLst>
              <a:ext uri="{FF2B5EF4-FFF2-40B4-BE49-F238E27FC236}">
                <a16:creationId xmlns:a16="http://schemas.microsoft.com/office/drawing/2014/main" id="{6BE5C2C5-9E55-47EB-BE71-97F1C7DED831}"/>
              </a:ext>
            </a:extLst>
          </p:cNvPr>
          <p:cNvSpPr>
            <a:spLocks noGrp="1"/>
          </p:cNvSpPr>
          <p:nvPr>
            <p:custDataLst>
              <p:tags r:id="rId34"/>
            </p:custDataLst>
          </p:nvPr>
        </p:nvSpPr>
        <p:spPr bwMode="gray">
          <a:xfrm>
            <a:off x="3384551" y="2632075"/>
            <a:ext cx="468313"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29BA74"/>
                </a:solidFill>
              </a:rPr>
              <a:t>+10%</a:t>
            </a:r>
            <a:endParaRPr lang="en-US" dirty="0">
              <a:solidFill>
                <a:srgbClr val="29BA74"/>
              </a:solidFill>
              <a:sym typeface="+mn-lt"/>
            </a:endParaRPr>
          </a:p>
        </p:txBody>
      </p:sp>
      <p:sp>
        <p:nvSpPr>
          <p:cNvPr id="49" name="Text Placeholder 3">
            <a:extLst>
              <a:ext uri="{FF2B5EF4-FFF2-40B4-BE49-F238E27FC236}">
                <a16:creationId xmlns:a16="http://schemas.microsoft.com/office/drawing/2014/main" id="{5F3FEB25-DA0E-4455-A772-86690EF7F857}"/>
              </a:ext>
            </a:extLst>
          </p:cNvPr>
          <p:cNvSpPr>
            <a:spLocks noGrp="1"/>
          </p:cNvSpPr>
          <p:nvPr>
            <p:custDataLst>
              <p:tags r:id="rId35"/>
            </p:custDataLst>
          </p:nvPr>
        </p:nvSpPr>
        <p:spPr bwMode="gray">
          <a:xfrm>
            <a:off x="3833813" y="2270125"/>
            <a:ext cx="468313"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29BA74"/>
                </a:solidFill>
                <a:effectLst/>
                <a:sym typeface="+mn-lt"/>
              </a:rPr>
              <a:t>+20%</a:t>
            </a:r>
            <a:endParaRPr lang="en-US" dirty="0">
              <a:solidFill>
                <a:srgbClr val="29BA74"/>
              </a:solidFill>
              <a:sym typeface="+mn-lt"/>
            </a:endParaRPr>
          </a:p>
        </p:txBody>
      </p:sp>
      <p:sp>
        <p:nvSpPr>
          <p:cNvPr id="56" name="Text Placeholder 3">
            <a:extLst>
              <a:ext uri="{FF2B5EF4-FFF2-40B4-BE49-F238E27FC236}">
                <a16:creationId xmlns:a16="http://schemas.microsoft.com/office/drawing/2014/main" id="{369DC0BE-32BB-4F6B-859B-C7043BE04122}"/>
              </a:ext>
            </a:extLst>
          </p:cNvPr>
          <p:cNvSpPr>
            <a:spLocks noGrp="1"/>
          </p:cNvSpPr>
          <p:nvPr>
            <p:custDataLst>
              <p:tags r:id="rId36"/>
            </p:custDataLst>
          </p:nvPr>
        </p:nvSpPr>
        <p:spPr bwMode="gray">
          <a:xfrm>
            <a:off x="5365749" y="2901950"/>
            <a:ext cx="433388"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E71C57"/>
                </a:solidFill>
                <a:effectLst/>
                <a:sym typeface="+mn-lt"/>
              </a:rPr>
              <a:t>-12%</a:t>
            </a:r>
            <a:endParaRPr lang="en-US" dirty="0">
              <a:solidFill>
                <a:srgbClr val="E71C57"/>
              </a:solidFill>
              <a:sym typeface="+mn-lt"/>
            </a:endParaRPr>
          </a:p>
        </p:txBody>
      </p:sp>
      <p:sp>
        <p:nvSpPr>
          <p:cNvPr id="43" name="Text Placeholder 3">
            <a:extLst>
              <a:ext uri="{FF2B5EF4-FFF2-40B4-BE49-F238E27FC236}">
                <a16:creationId xmlns:a16="http://schemas.microsoft.com/office/drawing/2014/main" id="{8073806E-7548-4935-8429-25A722CCBE53}"/>
              </a:ext>
            </a:extLst>
          </p:cNvPr>
          <p:cNvSpPr>
            <a:spLocks noGrp="1"/>
          </p:cNvSpPr>
          <p:nvPr>
            <p:custDataLst>
              <p:tags r:id="rId37"/>
            </p:custDataLst>
          </p:nvPr>
        </p:nvSpPr>
        <p:spPr bwMode="gray">
          <a:xfrm>
            <a:off x="5870576" y="2682875"/>
            <a:ext cx="322263"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E71C57"/>
                </a:solidFill>
                <a:effectLst/>
                <a:sym typeface="+mn-lt"/>
              </a:rPr>
              <a:t>-3%</a:t>
            </a:r>
            <a:endParaRPr lang="en-US" dirty="0">
              <a:solidFill>
                <a:srgbClr val="E71C57"/>
              </a:solidFill>
              <a:sym typeface="+mn-lt"/>
            </a:endParaRPr>
          </a:p>
        </p:txBody>
      </p:sp>
      <p:sp>
        <p:nvSpPr>
          <p:cNvPr id="63" name="Text Placeholder 3">
            <a:extLst>
              <a:ext uri="{FF2B5EF4-FFF2-40B4-BE49-F238E27FC236}">
                <a16:creationId xmlns:a16="http://schemas.microsoft.com/office/drawing/2014/main" id="{92F49BC4-2031-4C5F-9923-50257263DAE8}"/>
              </a:ext>
            </a:extLst>
          </p:cNvPr>
          <p:cNvSpPr>
            <a:spLocks noGrp="1"/>
          </p:cNvSpPr>
          <p:nvPr>
            <p:custDataLst>
              <p:tags r:id="rId38"/>
            </p:custDataLst>
          </p:nvPr>
        </p:nvSpPr>
        <p:spPr bwMode="gray">
          <a:xfrm>
            <a:off x="6264274" y="2463800"/>
            <a:ext cx="433388" cy="285750"/>
          </a:xfrm>
          <a:prstGeom prst="ellipse">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rgbClr val="E71C57"/>
                </a:solidFill>
                <a:effectLst/>
                <a:sym typeface="+mn-lt"/>
              </a:rPr>
              <a:t>-21%</a:t>
            </a:r>
            <a:endParaRPr lang="en-US" dirty="0">
              <a:solidFill>
                <a:srgbClr val="E71C57"/>
              </a:solidFill>
              <a:sym typeface="+mn-lt"/>
            </a:endParaRPr>
          </a:p>
        </p:txBody>
      </p:sp>
      <p:sp>
        <p:nvSpPr>
          <p:cNvPr id="6" name="Rectangle 5"/>
          <p:cNvSpPr/>
          <p:nvPr>
            <p:custDataLst>
              <p:tags r:id="rId39"/>
            </p:custDataLst>
          </p:nvPr>
        </p:nvSpPr>
        <p:spPr bwMode="gray">
          <a:xfrm>
            <a:off x="4964113" y="5969000"/>
            <a:ext cx="214313" cy="160338"/>
          </a:xfrm>
          <a:prstGeom prst="rect">
            <a:avLst/>
          </a:prstGeom>
          <a:solidFill>
            <a:srgbClr val="ABA8B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ectangle 23"/>
          <p:cNvSpPr/>
          <p:nvPr>
            <p:custDataLst>
              <p:tags r:id="rId40"/>
            </p:custDataLst>
          </p:nvPr>
        </p:nvSpPr>
        <p:spPr bwMode="gray">
          <a:xfrm>
            <a:off x="3524250" y="5969000"/>
            <a:ext cx="214313" cy="160338"/>
          </a:xfrm>
          <a:prstGeom prst="rect">
            <a:avLst/>
          </a:prstGeom>
          <a:solidFill>
            <a:srgbClr val="30C1D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p:cNvSpPr/>
          <p:nvPr>
            <p:custDataLst>
              <p:tags r:id="rId41"/>
            </p:custDataLst>
          </p:nvPr>
        </p:nvSpPr>
        <p:spPr bwMode="gray">
          <a:xfrm>
            <a:off x="5578475" y="5969000"/>
            <a:ext cx="214313" cy="160338"/>
          </a:xfrm>
          <a:prstGeom prst="rect">
            <a:avLst/>
          </a:prstGeom>
          <a:solidFill>
            <a:srgbClr val="295E7E"/>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Text Placeholder 3"/>
          <p:cNvSpPr>
            <a:spLocks noGrp="1"/>
          </p:cNvSpPr>
          <p:nvPr>
            <p:custDataLst>
              <p:tags r:id="rId42"/>
            </p:custDataLst>
          </p:nvPr>
        </p:nvSpPr>
        <p:spPr bwMode="gray">
          <a:xfrm>
            <a:off x="5843588" y="5949950"/>
            <a:ext cx="1793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B44DE8C-8A7B-4879-829C-2A01D5096DA4}" type="datetime'''''C''''''''''''''''''''''''''T'''''''''''''''''''''''''''">
              <a:rPr lang="en-US" altLang="en-US" smtClean="0">
                <a:sym typeface="+mn-lt"/>
              </a:rPr>
              <a:pPr>
                <a:spcBef>
                  <a:spcPct val="0"/>
                </a:spcBef>
                <a:spcAft>
                  <a:spcPct val="0"/>
                </a:spcAft>
              </a:pPr>
              <a:t>CT</a:t>
            </a:fld>
            <a:endParaRPr lang="en-US" dirty="0">
              <a:sym typeface="+mn-lt"/>
            </a:endParaRPr>
          </a:p>
        </p:txBody>
      </p:sp>
      <p:sp>
        <p:nvSpPr>
          <p:cNvPr id="100" name="Text Placeholder 3"/>
          <p:cNvSpPr>
            <a:spLocks noGrp="1"/>
          </p:cNvSpPr>
          <p:nvPr>
            <p:custDataLst>
              <p:tags r:id="rId43"/>
            </p:custDataLst>
          </p:nvPr>
        </p:nvSpPr>
        <p:spPr bwMode="gray">
          <a:xfrm>
            <a:off x="3789363" y="5949950"/>
            <a:ext cx="10731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FB75C77-B26C-47BE-9D67-876E3B04339A}" type="datetime'''''All'''' ''''R''e''''s''''po''''''n''''d''en''t''''s'''">
              <a:rPr lang="en-US" altLang="en-US" smtClean="0">
                <a:sym typeface="+mn-lt"/>
              </a:rPr>
              <a:pPr>
                <a:spcBef>
                  <a:spcPct val="0"/>
                </a:spcBef>
                <a:spcAft>
                  <a:spcPct val="0"/>
                </a:spcAft>
              </a:pPr>
              <a:t>All Respondents</a:t>
            </a:fld>
            <a:endParaRPr lang="en-US" dirty="0">
              <a:sym typeface="+mn-lt"/>
            </a:endParaRPr>
          </a:p>
        </p:txBody>
      </p:sp>
      <p:sp>
        <p:nvSpPr>
          <p:cNvPr id="68" name="Text Placeholder 3"/>
          <p:cNvSpPr>
            <a:spLocks noGrp="1"/>
          </p:cNvSpPr>
          <p:nvPr>
            <p:custDataLst>
              <p:tags r:id="rId44"/>
            </p:custDataLst>
          </p:nvPr>
        </p:nvSpPr>
        <p:spPr bwMode="gray">
          <a:xfrm>
            <a:off x="5229225" y="5949950"/>
            <a:ext cx="2476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4D74148-9164-424B-A1FD-9338B3B77F52}" type="datetime'''''''B''''''''''''''''''''''''''''''''''S''T'''''''">
              <a:rPr lang="en-US" altLang="en-US" smtClean="0">
                <a:sym typeface="+mn-lt"/>
              </a:rPr>
              <a:pPr>
                <a:spcBef>
                  <a:spcPct val="0"/>
                </a:spcBef>
                <a:spcAft>
                  <a:spcPct val="0"/>
                </a:spcAft>
              </a:pPr>
              <a:t>BST</a:t>
            </a:fld>
            <a:endParaRPr lang="en-US" dirty="0">
              <a:sym typeface="+mn-lt"/>
            </a:endParaRPr>
          </a:p>
        </p:txBody>
      </p:sp>
      <p:sp>
        <p:nvSpPr>
          <p:cNvPr id="23" name="TextBox 22"/>
          <p:cNvSpPr txBox="1"/>
          <p:nvPr/>
        </p:nvSpPr>
        <p:spPr>
          <a:xfrm>
            <a:off x="860425" y="2079624"/>
            <a:ext cx="1967092" cy="2222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295E7E"/>
                </a:solidFill>
              </a:rPr>
              <a:t>% satisfied</a:t>
            </a:r>
          </a:p>
        </p:txBody>
      </p:sp>
      <p:grpSp>
        <p:nvGrpSpPr>
          <p:cNvPr id="94" name="Group 93">
            <a:extLst>
              <a:ext uri="{FF2B5EF4-FFF2-40B4-BE49-F238E27FC236}">
                <a16:creationId xmlns:a16="http://schemas.microsoft.com/office/drawing/2014/main" id="{A2217CB0-1D38-4D18-A4E4-AA1438E43E63}"/>
              </a:ext>
            </a:extLst>
          </p:cNvPr>
          <p:cNvGrpSpPr>
            <a:grpSpLocks noChangeAspect="1"/>
          </p:cNvGrpSpPr>
          <p:nvPr/>
        </p:nvGrpSpPr>
        <p:grpSpPr>
          <a:xfrm>
            <a:off x="599640" y="864696"/>
            <a:ext cx="457200" cy="457200"/>
            <a:chOff x="5867400" y="3200400"/>
            <a:chExt cx="457200" cy="457200"/>
          </a:xfrm>
        </p:grpSpPr>
        <p:sp>
          <p:nvSpPr>
            <p:cNvPr id="95" name="AutoShape 43">
              <a:extLst>
                <a:ext uri="{FF2B5EF4-FFF2-40B4-BE49-F238E27FC236}">
                  <a16:creationId xmlns:a16="http://schemas.microsoft.com/office/drawing/2014/main" id="{CA1556C8-70AD-4515-AEF3-827F8FA013CD}"/>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7">
              <a:extLst>
                <a:ext uri="{FF2B5EF4-FFF2-40B4-BE49-F238E27FC236}">
                  <a16:creationId xmlns:a16="http://schemas.microsoft.com/office/drawing/2014/main" id="{DE8E4BE1-B517-48E8-972E-EFE89EA15AD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5" name="Rectangle 24">
            <a:extLst>
              <a:ext uri="{FF2B5EF4-FFF2-40B4-BE49-F238E27FC236}">
                <a16:creationId xmlns:a16="http://schemas.microsoft.com/office/drawing/2014/main" id="{CD3607D1-E886-4002-B469-EB1AB0ABC7A6}"/>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Year-over-Year – Bar Chart View</a:t>
            </a:r>
          </a:p>
        </p:txBody>
      </p:sp>
    </p:spTree>
    <p:custDataLst>
      <p:tags r:id="rId2"/>
    </p:custDataLst>
    <p:extLst>
      <p:ext uri="{BB962C8B-B14F-4D97-AF65-F5344CB8AC3E}">
        <p14:creationId xmlns:p14="http://schemas.microsoft.com/office/powerpoint/2010/main" val="3829247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160145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39" name="think-cell Slide" r:id="rId37" imgW="473" imgH="473" progId="TCLayout.ActiveDocument.1">
                  <p:embed/>
                </p:oleObj>
              </mc:Choice>
              <mc:Fallback>
                <p:oleObj name="think-cell Slide" r:id="rId37" imgW="473" imgH="473" progId="TCLayout.ActiveDocument.1">
                  <p:embed/>
                  <p:pic>
                    <p:nvPicPr>
                      <p:cNvPr id="5" name="Object 4" hidden="1"/>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cxnSp>
        <p:nvCxnSpPr>
          <p:cNvPr id="21" name="Straight Connector 20"/>
          <p:cNvCxnSpPr/>
          <p:nvPr>
            <p:custDataLst>
              <p:tags r:id="rId5"/>
            </p:custDataLst>
          </p:nvPr>
        </p:nvCxnSpPr>
        <p:spPr bwMode="gray">
          <a:xfrm flipH="1">
            <a:off x="5572126" y="2362200"/>
            <a:ext cx="34925" cy="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Text Placeholder 3"/>
          <p:cNvSpPr>
            <a:spLocks noGrp="1"/>
          </p:cNvSpPr>
          <p:nvPr>
            <p:custDataLst>
              <p:tags r:id="rId6"/>
            </p:custDataLst>
          </p:nvPr>
        </p:nvSpPr>
        <p:spPr bwMode="gray">
          <a:xfrm>
            <a:off x="2673350" y="1825626"/>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0" name="Text Placeholder 3"/>
          <p:cNvSpPr>
            <a:spLocks noGrp="1"/>
          </p:cNvSpPr>
          <p:nvPr>
            <p:custDataLst>
              <p:tags r:id="rId7"/>
            </p:custDataLst>
          </p:nvPr>
        </p:nvSpPr>
        <p:spPr bwMode="gray">
          <a:xfrm>
            <a:off x="3648075" y="182562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3" name="Text Placeholder 3"/>
          <p:cNvSpPr>
            <a:spLocks noGrp="1"/>
          </p:cNvSpPr>
          <p:nvPr>
            <p:custDataLst>
              <p:tags r:id="rId8"/>
            </p:custDataLst>
          </p:nvPr>
        </p:nvSpPr>
        <p:spPr bwMode="gray">
          <a:xfrm>
            <a:off x="4281488" y="18256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5" name="Text Placeholder 3"/>
          <p:cNvSpPr>
            <a:spLocks noGrp="1"/>
          </p:cNvSpPr>
          <p:nvPr>
            <p:custDataLst>
              <p:tags r:id="rId9"/>
            </p:custDataLst>
          </p:nvPr>
        </p:nvSpPr>
        <p:spPr bwMode="gray">
          <a:xfrm>
            <a:off x="4837113" y="182562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7" name="Text Placeholder 3"/>
          <p:cNvSpPr>
            <a:spLocks noGrp="1"/>
          </p:cNvSpPr>
          <p:nvPr>
            <p:custDataLst>
              <p:tags r:id="rId10"/>
            </p:custDataLst>
          </p:nvPr>
        </p:nvSpPr>
        <p:spPr bwMode="gray">
          <a:xfrm>
            <a:off x="5657850" y="182562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3" name="Title 2"/>
          <p:cNvSpPr>
            <a:spLocks noGrp="1"/>
          </p:cNvSpPr>
          <p:nvPr>
            <p:ph type="title"/>
          </p:nvPr>
        </p:nvSpPr>
        <p:spPr/>
        <p:txBody>
          <a:bodyPr vert="horz"/>
          <a:lstStyle/>
          <a:p>
            <a:r>
              <a:rPr lang="en-US" dirty="0">
                <a:solidFill>
                  <a:srgbClr val="295E7E"/>
                </a:solidFill>
              </a:rPr>
              <a:t>Laptop &amp; MS Office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8" name="Rectangle 37"/>
          <p:cNvSpPr/>
          <p:nvPr/>
        </p:nvSpPr>
        <p:spPr>
          <a:xfrm>
            <a:off x="6989358" y="1914472"/>
            <a:ext cx="611980" cy="20422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E-SAT</a:t>
            </a:r>
          </a:p>
        </p:txBody>
      </p:sp>
      <p:sp>
        <p:nvSpPr>
          <p:cNvPr id="39" name="Rectangle 38"/>
          <p:cNvSpPr/>
          <p:nvPr/>
        </p:nvSpPr>
        <p:spPr>
          <a:xfrm>
            <a:off x="7796109" y="1871265"/>
            <a:ext cx="657958" cy="2613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Grade</a:t>
            </a:r>
          </a:p>
        </p:txBody>
      </p:sp>
      <p:sp>
        <p:nvSpPr>
          <p:cNvPr id="41" name="Rectangle 40"/>
          <p:cNvSpPr/>
          <p:nvPr/>
        </p:nvSpPr>
        <p:spPr>
          <a:xfrm>
            <a:off x="7068992" y="2808681"/>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8%</a:t>
            </a:r>
          </a:p>
        </p:txBody>
      </p:sp>
      <p:sp>
        <p:nvSpPr>
          <p:cNvPr id="47" name="Rectangle 46"/>
          <p:cNvSpPr/>
          <p:nvPr/>
        </p:nvSpPr>
        <p:spPr>
          <a:xfrm>
            <a:off x="7033174" y="5276550"/>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0%</a:t>
            </a:r>
          </a:p>
        </p:txBody>
      </p:sp>
      <p:sp>
        <p:nvSpPr>
          <p:cNvPr id="48" name="Rectangle 47"/>
          <p:cNvSpPr/>
          <p:nvPr/>
        </p:nvSpPr>
        <p:spPr>
          <a:xfrm>
            <a:off x="7631384" y="5232095"/>
            <a:ext cx="1158633" cy="332398"/>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49" name="Rectangle 48"/>
          <p:cNvSpPr/>
          <p:nvPr/>
        </p:nvSpPr>
        <p:spPr>
          <a:xfrm>
            <a:off x="7050084" y="4290602"/>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6%</a:t>
            </a:r>
          </a:p>
        </p:txBody>
      </p:sp>
      <p:sp>
        <p:nvSpPr>
          <p:cNvPr id="50" name="Rectangle 49"/>
          <p:cNvSpPr/>
          <p:nvPr/>
        </p:nvSpPr>
        <p:spPr>
          <a:xfrm>
            <a:off x="7625844" y="4246257"/>
            <a:ext cx="1158633" cy="332398"/>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51" name="Rectangle 50"/>
          <p:cNvSpPr/>
          <p:nvPr/>
        </p:nvSpPr>
        <p:spPr>
          <a:xfrm>
            <a:off x="7033174" y="3793492"/>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0%</a:t>
            </a:r>
          </a:p>
        </p:txBody>
      </p:sp>
      <p:sp>
        <p:nvSpPr>
          <p:cNvPr id="53" name="Rectangle 52"/>
          <p:cNvSpPr/>
          <p:nvPr/>
        </p:nvSpPr>
        <p:spPr>
          <a:xfrm>
            <a:off x="7058199" y="3318388"/>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0%</a:t>
            </a:r>
          </a:p>
        </p:txBody>
      </p:sp>
      <p:sp>
        <p:nvSpPr>
          <p:cNvPr id="54" name="Rectangle 53"/>
          <p:cNvSpPr/>
          <p:nvPr/>
        </p:nvSpPr>
        <p:spPr>
          <a:xfrm>
            <a:off x="7601262" y="3266226"/>
            <a:ext cx="1158633" cy="33239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9" name="Rectangle 5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aphicFrame>
        <p:nvGraphicFramePr>
          <p:cNvPr id="112" name="Chart 111">
            <a:extLst>
              <a:ext uri="{FF2B5EF4-FFF2-40B4-BE49-F238E27FC236}">
                <a16:creationId xmlns:a16="http://schemas.microsoft.com/office/drawing/2014/main" id="{3B32275E-3DC8-425A-A825-E71C7CA1A999}"/>
              </a:ext>
            </a:extLst>
          </p:cNvPr>
          <p:cNvGraphicFramePr/>
          <p:nvPr>
            <p:custDataLst>
              <p:tags r:id="rId11"/>
            </p:custDataLst>
            <p:extLst>
              <p:ext uri="{D42A27DB-BD31-4B8C-83A1-F6EECF244321}">
                <p14:modId xmlns:p14="http://schemas.microsoft.com/office/powerpoint/2010/main" val="1220395509"/>
              </p:ext>
            </p:extLst>
          </p:nvPr>
        </p:nvGraphicFramePr>
        <p:xfrm>
          <a:off x="2339975" y="2057400"/>
          <a:ext cx="4897438" cy="3916363"/>
        </p:xfrm>
        <a:graphic>
          <a:graphicData uri="http://schemas.openxmlformats.org/drawingml/2006/chart">
            <c:chart xmlns:c="http://schemas.openxmlformats.org/drawingml/2006/chart" xmlns:r="http://schemas.openxmlformats.org/officeDocument/2006/relationships" r:id="rId39"/>
          </a:graphicData>
        </a:graphic>
      </p:graphicFrame>
      <p:cxnSp>
        <p:nvCxnSpPr>
          <p:cNvPr id="58" name="Straight Connector 57">
            <a:extLst>
              <a:ext uri="{FF2B5EF4-FFF2-40B4-BE49-F238E27FC236}">
                <a16:creationId xmlns:a16="http://schemas.microsoft.com/office/drawing/2014/main" id="{C758DE4F-F176-41DD-97C6-AA5B5EB0B941}"/>
              </a:ext>
            </a:extLst>
          </p:cNvPr>
          <p:cNvCxnSpPr/>
          <p:nvPr>
            <p:custDataLst>
              <p:tags r:id="rId12"/>
            </p:custDataLst>
          </p:nvPr>
        </p:nvCxnSpPr>
        <p:spPr bwMode="gray">
          <a:xfrm>
            <a:off x="6865938" y="2266950"/>
            <a:ext cx="79375" cy="571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6" name="Text Placeholder 3">
            <a:extLst>
              <a:ext uri="{FF2B5EF4-FFF2-40B4-BE49-F238E27FC236}">
                <a16:creationId xmlns:a16="http://schemas.microsoft.com/office/drawing/2014/main" id="{43B49650-FE55-4D17-99A4-733EDF86BF60}"/>
              </a:ext>
            </a:extLst>
          </p:cNvPr>
          <p:cNvSpPr>
            <a:spLocks noGrp="1"/>
          </p:cNvSpPr>
          <p:nvPr>
            <p:custDataLst>
              <p:tags r:id="rId13"/>
            </p:custDataLst>
          </p:nvPr>
        </p:nvSpPr>
        <p:spPr bwMode="gray">
          <a:xfrm>
            <a:off x="2109788" y="2833688"/>
            <a:ext cx="3952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C47E974-1A54-4348-B3DE-AB14816B95F6}" type="datetime'''''W''''''o''r''''''''''''d'''''''''''''''''' '''''">
              <a:rPr lang="en-US" altLang="en-US" smtClean="0">
                <a:effectLst/>
                <a:sym typeface="+mn-lt"/>
              </a:rPr>
              <a:pPr algn="r">
                <a:spcBef>
                  <a:spcPct val="0"/>
                </a:spcBef>
                <a:spcAft>
                  <a:spcPct val="0"/>
                </a:spcAft>
              </a:pPr>
              <a:t>Word </a:t>
            </a:fld>
            <a:endParaRPr lang="en-US" dirty="0">
              <a:sym typeface="+mn-lt"/>
            </a:endParaRPr>
          </a:p>
        </p:txBody>
      </p:sp>
      <p:sp>
        <p:nvSpPr>
          <p:cNvPr id="162" name="Text Placeholder 3">
            <a:extLst>
              <a:ext uri="{FF2B5EF4-FFF2-40B4-BE49-F238E27FC236}">
                <a16:creationId xmlns:a16="http://schemas.microsoft.com/office/drawing/2014/main" id="{9B8FBFCD-5938-43A7-ADC4-8FC848545A1E}"/>
              </a:ext>
            </a:extLst>
          </p:cNvPr>
          <p:cNvSpPr>
            <a:spLocks noGrp="1"/>
          </p:cNvSpPr>
          <p:nvPr>
            <p:custDataLst>
              <p:tags r:id="rId14"/>
            </p:custDataLst>
          </p:nvPr>
        </p:nvSpPr>
        <p:spPr bwMode="gray">
          <a:xfrm>
            <a:off x="6777038" y="2339976"/>
            <a:ext cx="209550"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7DB34D3-1FE1-4E29-BF77-39D05F8CC436}" type="datetime'''2%'''''''''''''''''''''''''''''''''''''''''''''''''">
              <a:rPr lang="en-US" altLang="en-US" smtClean="0">
                <a:solidFill>
                  <a:schemeClr val="bg1"/>
                </a:solidFill>
                <a:effectLst/>
                <a:sym typeface="+mn-lt"/>
              </a:rPr>
              <a:pPr algn="ctr">
                <a:spcBef>
                  <a:spcPct val="0"/>
                </a:spcBef>
                <a:spcAft>
                  <a:spcPct val="0"/>
                </a:spcAft>
              </a:pPr>
              <a:t>2%</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1854C2BD-859E-48D7-98CE-B62BC0096B12}"/>
              </a:ext>
            </a:extLst>
          </p:cNvPr>
          <p:cNvSpPr>
            <a:spLocks noGrp="1"/>
          </p:cNvSpPr>
          <p:nvPr>
            <p:custDataLst>
              <p:tags r:id="rId15"/>
            </p:custDataLst>
          </p:nvPr>
        </p:nvSpPr>
        <p:spPr bwMode="gray">
          <a:xfrm>
            <a:off x="1914525" y="2339975"/>
            <a:ext cx="5905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3860FEE-456A-4618-A268-2D86DE28B5A0}" type="datetime'O''''''''''''''''''n''''''''''eNot''''''''''e'''''''''''">
              <a:rPr lang="en-US" altLang="en-US" smtClean="0"/>
              <a:pPr/>
              <a:t>OneNote</a:t>
            </a:fld>
            <a:endParaRPr lang="en-US" dirty="0">
              <a:sym typeface="+mn-lt"/>
            </a:endParaRPr>
          </a:p>
        </p:txBody>
      </p:sp>
      <p:sp>
        <p:nvSpPr>
          <p:cNvPr id="186" name="Text Placeholder 3">
            <a:extLst>
              <a:ext uri="{FF2B5EF4-FFF2-40B4-BE49-F238E27FC236}">
                <a16:creationId xmlns:a16="http://schemas.microsoft.com/office/drawing/2014/main" id="{3191A7AF-D8B8-47DD-A085-9BC38DC86320}"/>
              </a:ext>
            </a:extLst>
          </p:cNvPr>
          <p:cNvSpPr>
            <a:spLocks noGrp="1"/>
          </p:cNvSpPr>
          <p:nvPr>
            <p:custDataLst>
              <p:tags r:id="rId16"/>
            </p:custDataLst>
          </p:nvPr>
        </p:nvSpPr>
        <p:spPr bwMode="gray">
          <a:xfrm>
            <a:off x="6853238" y="2757488"/>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599AF7D-29A4-4411-A72E-853C4F80101C}" type="datetime'''''''''1''''''''''''''''''%'''''''''''''''''''''''''''''''''">
              <a:rPr lang="en-US" altLang="en-US" smtClean="0">
                <a:solidFill>
                  <a:srgbClr val="FFFFFF"/>
                </a:solidFill>
                <a:effectLst/>
              </a:rPr>
              <a:pPr/>
              <a:t>1%</a:t>
            </a:fld>
            <a:endParaRPr lang="en-US" dirty="0">
              <a:solidFill>
                <a:srgbClr val="FFFFFF"/>
              </a:solidFill>
              <a:sym typeface="+mn-lt"/>
            </a:endParaRPr>
          </a:p>
        </p:txBody>
      </p:sp>
      <p:sp>
        <p:nvSpPr>
          <p:cNvPr id="407" name="Text Placeholder 3">
            <a:extLst>
              <a:ext uri="{FF2B5EF4-FFF2-40B4-BE49-F238E27FC236}">
                <a16:creationId xmlns:a16="http://schemas.microsoft.com/office/drawing/2014/main" id="{0026B08B-9D71-4F1C-8AB5-BA2E08DF330F}"/>
              </a:ext>
            </a:extLst>
          </p:cNvPr>
          <p:cNvSpPr>
            <a:spLocks noGrp="1"/>
          </p:cNvSpPr>
          <p:nvPr>
            <p:custDataLst>
              <p:tags r:id="rId17"/>
            </p:custDataLst>
          </p:nvPr>
        </p:nvSpPr>
        <p:spPr bwMode="gray">
          <a:xfrm>
            <a:off x="6823075" y="3325813"/>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E73A377-BC4E-486C-BA95-E001BD898218}" type="datetime'''''''2''''''%'''''''">
              <a:rPr lang="en-US" altLang="en-US" smtClean="0">
                <a:solidFill>
                  <a:srgbClr val="FFFFFF"/>
                </a:solidFill>
                <a:effectLst/>
                <a:sym typeface="+mn-lt"/>
              </a:rPr>
              <a:pPr/>
              <a:t>2%</a:t>
            </a:fld>
            <a:endParaRPr lang="en-US" dirty="0">
              <a:solidFill>
                <a:srgbClr val="FFFFFF"/>
              </a:solidFill>
              <a:sym typeface="+mn-lt"/>
            </a:endParaRPr>
          </a:p>
        </p:txBody>
      </p:sp>
      <p:sp>
        <p:nvSpPr>
          <p:cNvPr id="357" name="Text Placeholder 3">
            <a:extLst>
              <a:ext uri="{FF2B5EF4-FFF2-40B4-BE49-F238E27FC236}">
                <a16:creationId xmlns:a16="http://schemas.microsoft.com/office/drawing/2014/main" id="{1AC2BB48-47A0-4DB1-BE2F-FD366643C2B9}"/>
              </a:ext>
            </a:extLst>
          </p:cNvPr>
          <p:cNvSpPr>
            <a:spLocks noGrp="1"/>
          </p:cNvSpPr>
          <p:nvPr>
            <p:custDataLst>
              <p:tags r:id="rId18"/>
            </p:custDataLst>
          </p:nvPr>
        </p:nvSpPr>
        <p:spPr bwMode="gray">
          <a:xfrm>
            <a:off x="6797675" y="2911475"/>
            <a:ext cx="209550"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6F1344E-4DDC-4606-BA9F-E8A2918562E4}" type="datetime'''''''''''''''''''''''''''''''''''''''''''''2''''''''''''''%'">
              <a:rPr lang="en-US" altLang="en-US" smtClean="0">
                <a:solidFill>
                  <a:schemeClr val="bg1"/>
                </a:solidFill>
                <a:effectLst/>
                <a:sym typeface="+mn-lt"/>
              </a:rPr>
              <a:pPr algn="ctr">
                <a:spcBef>
                  <a:spcPct val="0"/>
                </a:spcBef>
                <a:spcAft>
                  <a:spcPct val="0"/>
                </a:spcAft>
              </a:pPr>
              <a:t>2%</a:t>
            </a:fld>
            <a:endParaRPr lang="en-US" dirty="0">
              <a:solidFill>
                <a:schemeClr val="bg1"/>
              </a:solidFill>
              <a:sym typeface="+mn-lt"/>
            </a:endParaRPr>
          </a:p>
        </p:txBody>
      </p:sp>
      <p:sp>
        <p:nvSpPr>
          <p:cNvPr id="137" name="Text Placeholder 3">
            <a:extLst>
              <a:ext uri="{FF2B5EF4-FFF2-40B4-BE49-F238E27FC236}">
                <a16:creationId xmlns:a16="http://schemas.microsoft.com/office/drawing/2014/main" id="{3041F77E-A5CA-416A-AC49-5F1147D0F7B6}"/>
              </a:ext>
            </a:extLst>
          </p:cNvPr>
          <p:cNvSpPr>
            <a:spLocks noGrp="1"/>
          </p:cNvSpPr>
          <p:nvPr>
            <p:custDataLst>
              <p:tags r:id="rId19"/>
            </p:custDataLst>
          </p:nvPr>
        </p:nvSpPr>
        <p:spPr bwMode="gray">
          <a:xfrm>
            <a:off x="2098675" y="3325813"/>
            <a:ext cx="4064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AA453DA-A544-4323-88B1-373E80CE68DB}" type="datetime'''''''''''''''''''''''''''''''E''x''''''''c''''''''''el '''">
              <a:rPr lang="en-US" altLang="en-US" smtClean="0"/>
              <a:pPr/>
              <a:t>Excel </a:t>
            </a:fld>
            <a:endParaRPr lang="en-US" dirty="0">
              <a:sym typeface="+mn-lt"/>
            </a:endParaRPr>
          </a:p>
        </p:txBody>
      </p:sp>
      <p:sp>
        <p:nvSpPr>
          <p:cNvPr id="139" name="Text Placeholder 3">
            <a:extLst>
              <a:ext uri="{FF2B5EF4-FFF2-40B4-BE49-F238E27FC236}">
                <a16:creationId xmlns:a16="http://schemas.microsoft.com/office/drawing/2014/main" id="{1136B5C5-9FD0-4A29-8C3A-1C7A6FA3256C}"/>
              </a:ext>
            </a:extLst>
          </p:cNvPr>
          <p:cNvSpPr>
            <a:spLocks noGrp="1"/>
          </p:cNvSpPr>
          <p:nvPr>
            <p:custDataLst>
              <p:tags r:id="rId20"/>
            </p:custDataLst>
          </p:nvPr>
        </p:nvSpPr>
        <p:spPr bwMode="gray">
          <a:xfrm>
            <a:off x="1589088" y="3819525"/>
            <a:ext cx="9159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1B1F462-ABA3-492E-964A-442A3744B27D}" type="datetime'''L''a''''''''''''pto''''''''''p'''''''''''' ''''''Model'''">
              <a:rPr lang="en-US" altLang="en-US" smtClean="0"/>
              <a:pPr/>
              <a:t>Laptop Model</a:t>
            </a:fld>
            <a:endParaRPr lang="en-US" dirty="0">
              <a:sym typeface="+mn-lt"/>
            </a:endParaRPr>
          </a:p>
        </p:txBody>
      </p:sp>
      <p:sp>
        <p:nvSpPr>
          <p:cNvPr id="414" name="Text Placeholder 3">
            <a:extLst>
              <a:ext uri="{FF2B5EF4-FFF2-40B4-BE49-F238E27FC236}">
                <a16:creationId xmlns:a16="http://schemas.microsoft.com/office/drawing/2014/main" id="{F016AF35-F8DF-4547-9216-9DC883B92938}"/>
              </a:ext>
            </a:extLst>
          </p:cNvPr>
          <p:cNvSpPr>
            <a:spLocks noGrp="1"/>
          </p:cNvSpPr>
          <p:nvPr>
            <p:custDataLst>
              <p:tags r:id="rId21"/>
            </p:custDataLst>
          </p:nvPr>
        </p:nvSpPr>
        <p:spPr bwMode="gray">
          <a:xfrm>
            <a:off x="6786563" y="4311651"/>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D7A3F33-5E50-4CEF-917B-45626CFCF549}" type="datetime'''4''''''''%'''''''''''''">
              <a:rPr lang="en-US" altLang="en-US" smtClean="0">
                <a:solidFill>
                  <a:srgbClr val="FFFFFF"/>
                </a:solidFill>
                <a:effectLst/>
                <a:sym typeface="+mn-lt"/>
              </a:rPr>
              <a:pPr algn="ctr">
                <a:spcBef>
                  <a:spcPct val="0"/>
                </a:spcBef>
                <a:spcAft>
                  <a:spcPct val="0"/>
                </a:spcAft>
              </a:pPr>
              <a:t>4%</a:t>
            </a:fld>
            <a:endParaRPr lang="en-US" dirty="0">
              <a:solidFill>
                <a:srgbClr val="FFFFFF"/>
              </a:solidFill>
              <a:sym typeface="+mn-lt"/>
            </a:endParaRPr>
          </a:p>
        </p:txBody>
      </p:sp>
      <p:sp>
        <p:nvSpPr>
          <p:cNvPr id="141" name="Text Placeholder 3">
            <a:extLst>
              <a:ext uri="{FF2B5EF4-FFF2-40B4-BE49-F238E27FC236}">
                <a16:creationId xmlns:a16="http://schemas.microsoft.com/office/drawing/2014/main" id="{E3747BBA-B38C-4310-8320-C22163E0C812}"/>
              </a:ext>
            </a:extLst>
          </p:cNvPr>
          <p:cNvSpPr>
            <a:spLocks noGrp="1"/>
          </p:cNvSpPr>
          <p:nvPr>
            <p:custDataLst>
              <p:tags r:id="rId22"/>
            </p:custDataLst>
          </p:nvPr>
        </p:nvSpPr>
        <p:spPr bwMode="gray">
          <a:xfrm>
            <a:off x="1697038" y="4311650"/>
            <a:ext cx="8080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484A503-8711-4054-BB1E-96B9DDEADEA9}" type="datetime'''''''Po''''we''''''''rP''''''''''''o''''i''n''''t'''''''' '''">
              <a:rPr lang="en-US" altLang="en-US" smtClean="0">
                <a:effectLst/>
                <a:sym typeface="+mn-lt"/>
              </a:rPr>
              <a:pPr algn="r">
                <a:spcBef>
                  <a:spcPct val="0"/>
                </a:spcBef>
                <a:spcAft>
                  <a:spcPct val="0"/>
                </a:spcAft>
              </a:pPr>
              <a:t>PowerPoint </a:t>
            </a:fld>
            <a:endParaRPr lang="en-US" dirty="0">
              <a:sym typeface="+mn-lt"/>
            </a:endParaRPr>
          </a:p>
        </p:txBody>
      </p:sp>
      <p:sp>
        <p:nvSpPr>
          <p:cNvPr id="142" name="Text Placeholder 3">
            <a:extLst>
              <a:ext uri="{FF2B5EF4-FFF2-40B4-BE49-F238E27FC236}">
                <a16:creationId xmlns:a16="http://schemas.microsoft.com/office/drawing/2014/main" id="{EB1F00EB-EC84-4C36-B3AD-4E190245358A}"/>
              </a:ext>
            </a:extLst>
          </p:cNvPr>
          <p:cNvSpPr>
            <a:spLocks noGrp="1"/>
          </p:cNvSpPr>
          <p:nvPr>
            <p:custDataLst>
              <p:tags r:id="rId23"/>
            </p:custDataLst>
          </p:nvPr>
        </p:nvSpPr>
        <p:spPr bwMode="gray">
          <a:xfrm>
            <a:off x="1428751" y="4805363"/>
            <a:ext cx="10763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DF80EE9-19A6-4D45-9FD6-1575E1F0B73A}" type="datetime'L''apt''op ''''''''''''S''''''''''ta''''''''bili''''t''y'''''">
              <a:rPr lang="en-US" altLang="en-US" smtClean="0"/>
              <a:pPr/>
              <a:t>Laptop Stability</a:t>
            </a:fld>
            <a:endParaRPr lang="en-US" dirty="0">
              <a:sym typeface="+mn-lt"/>
            </a:endParaRPr>
          </a:p>
        </p:txBody>
      </p:sp>
      <p:sp>
        <p:nvSpPr>
          <p:cNvPr id="121" name="Text Placeholder 3">
            <a:extLst>
              <a:ext uri="{FF2B5EF4-FFF2-40B4-BE49-F238E27FC236}">
                <a16:creationId xmlns:a16="http://schemas.microsoft.com/office/drawing/2014/main" id="{64977C73-17A4-4162-8436-B208FF96DA98}"/>
              </a:ext>
            </a:extLst>
          </p:cNvPr>
          <p:cNvSpPr>
            <a:spLocks noGrp="1"/>
          </p:cNvSpPr>
          <p:nvPr>
            <p:custDataLst>
              <p:tags r:id="rId24"/>
            </p:custDataLst>
          </p:nvPr>
        </p:nvSpPr>
        <p:spPr bwMode="gray">
          <a:xfrm>
            <a:off x="1125537" y="5297488"/>
            <a:ext cx="13795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024EA3A-7A09-496B-B765-CFEE42F1E8B0}" type="datetime'L''''''''''ap''top'''' ''Perf''orm''a''n''''c''e'''''''''''">
              <a:rPr lang="en-US" altLang="en-US" smtClean="0"/>
              <a:pPr/>
              <a:t>Laptop Performance</a:t>
            </a:fld>
            <a:endParaRPr lang="en-US" dirty="0">
              <a:sym typeface="+mn-lt"/>
            </a:endParaRPr>
          </a:p>
        </p:txBody>
      </p:sp>
      <p:sp>
        <p:nvSpPr>
          <p:cNvPr id="28" name="Rectangle 27"/>
          <p:cNvSpPr/>
          <p:nvPr>
            <p:custDataLst>
              <p:tags r:id="rId25"/>
            </p:custDataLst>
          </p:nvPr>
        </p:nvSpPr>
        <p:spPr bwMode="gray">
          <a:xfrm>
            <a:off x="2667000" y="6038850"/>
            <a:ext cx="214313" cy="160338"/>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6" name="Rectangle 225"/>
          <p:cNvSpPr/>
          <p:nvPr>
            <p:custDataLst>
              <p:tags r:id="rId26"/>
            </p:custDataLst>
          </p:nvPr>
        </p:nvSpPr>
        <p:spPr bwMode="gray">
          <a:xfrm>
            <a:off x="4906963" y="60388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p:cNvSpPr/>
          <p:nvPr>
            <p:custDataLst>
              <p:tags r:id="rId27"/>
            </p:custDataLst>
          </p:nvPr>
        </p:nvSpPr>
        <p:spPr bwMode="gray">
          <a:xfrm>
            <a:off x="3957638" y="60388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7" name="Rectangle 226"/>
          <p:cNvSpPr/>
          <p:nvPr>
            <p:custDataLst>
              <p:tags r:id="rId28"/>
            </p:custDataLst>
          </p:nvPr>
        </p:nvSpPr>
        <p:spPr bwMode="gray">
          <a:xfrm>
            <a:off x="5778500" y="60388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8" name="Rectangle 227"/>
          <p:cNvSpPr/>
          <p:nvPr>
            <p:custDataLst>
              <p:tags r:id="rId29"/>
            </p:custDataLst>
          </p:nvPr>
        </p:nvSpPr>
        <p:spPr bwMode="gray">
          <a:xfrm>
            <a:off x="6915150" y="60388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8" name="Text Placeholder 3"/>
          <p:cNvSpPr>
            <a:spLocks noGrp="1"/>
          </p:cNvSpPr>
          <p:nvPr>
            <p:custDataLst>
              <p:tags r:id="rId30"/>
            </p:custDataLst>
          </p:nvPr>
        </p:nvSpPr>
        <p:spPr bwMode="gray">
          <a:xfrm>
            <a:off x="7180263" y="60198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ED6D6B1-E08C-46EE-B017-F9C465FB2394}" type="datetime'''V''e''ry D''i''''''''''''''s''s''at''i''''si''''''fed'''''">
              <a:rPr lang="en-US" altLang="en-US" smtClean="0">
                <a:sym typeface="+mn-lt"/>
              </a:rPr>
              <a:pPr>
                <a:spcBef>
                  <a:spcPct val="0"/>
                </a:spcBef>
                <a:spcAft>
                  <a:spcPct val="0"/>
                </a:spcAft>
              </a:pPr>
              <a:t>Very Dissatisifed</a:t>
            </a:fld>
            <a:endParaRPr lang="en-US" dirty="0">
              <a:sym typeface="+mn-lt"/>
            </a:endParaRPr>
          </a:p>
        </p:txBody>
      </p:sp>
      <p:sp>
        <p:nvSpPr>
          <p:cNvPr id="187" name="Text Placeholder 3"/>
          <p:cNvSpPr>
            <a:spLocks noGrp="1"/>
          </p:cNvSpPr>
          <p:nvPr>
            <p:custDataLst>
              <p:tags r:id="rId31"/>
            </p:custDataLst>
          </p:nvPr>
        </p:nvSpPr>
        <p:spPr bwMode="gray">
          <a:xfrm>
            <a:off x="2932113" y="60198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4E7DD6D-59D4-44AC-8478-8922BA395A31}" type="datetime'''V''e''r''y'''''' Sa''ti''''''''''''''''sfie''''''''''d'''''">
              <a:rPr lang="en-US" altLang="en-US" smtClean="0">
                <a:sym typeface="+mn-lt"/>
              </a:rPr>
              <a:pPr>
                <a:spcBef>
                  <a:spcPct val="0"/>
                </a:spcBef>
                <a:spcAft>
                  <a:spcPct val="0"/>
                </a:spcAft>
              </a:pPr>
              <a:t>Very Satisfied</a:t>
            </a:fld>
            <a:endParaRPr lang="en-US" dirty="0">
              <a:sym typeface="+mn-lt"/>
            </a:endParaRPr>
          </a:p>
        </p:txBody>
      </p:sp>
      <p:sp>
        <p:nvSpPr>
          <p:cNvPr id="190" name="Text Placeholder 3"/>
          <p:cNvSpPr>
            <a:spLocks noGrp="1"/>
          </p:cNvSpPr>
          <p:nvPr>
            <p:custDataLst>
              <p:tags r:id="rId32"/>
            </p:custDataLst>
          </p:nvPr>
        </p:nvSpPr>
        <p:spPr bwMode="gray">
          <a:xfrm>
            <a:off x="4222750" y="60198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419474E-73FA-43FC-A311-E4FD2708EE60}" type="datetime'S''''''''''''''''''a''''''''''tis''''''f''''i''''''ed'''">
              <a:rPr lang="en-US" altLang="en-US" smtClean="0">
                <a:sym typeface="+mn-lt"/>
              </a:rPr>
              <a:pPr>
                <a:spcBef>
                  <a:spcPct val="0"/>
                </a:spcBef>
                <a:spcAft>
                  <a:spcPct val="0"/>
                </a:spcAft>
              </a:pPr>
              <a:t>Satisfied</a:t>
            </a:fld>
            <a:endParaRPr lang="en-US" dirty="0">
              <a:sym typeface="+mn-lt"/>
            </a:endParaRPr>
          </a:p>
        </p:txBody>
      </p:sp>
      <p:sp>
        <p:nvSpPr>
          <p:cNvPr id="191" name="Text Placeholder 3"/>
          <p:cNvSpPr>
            <a:spLocks noGrp="1"/>
          </p:cNvSpPr>
          <p:nvPr>
            <p:custDataLst>
              <p:tags r:id="rId33"/>
            </p:custDataLst>
          </p:nvPr>
        </p:nvSpPr>
        <p:spPr bwMode="gray">
          <a:xfrm>
            <a:off x="5172075" y="60198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AF77FA4-C2FB-47DC-8794-97B2CCDD4925}" type="datetime'''N''''''''e''''''''''''''''''''''u''tr''''''al'''''''">
              <a:rPr lang="en-US" altLang="en-US" smtClean="0">
                <a:sym typeface="+mn-lt"/>
              </a:rPr>
              <a:pPr>
                <a:spcBef>
                  <a:spcPct val="0"/>
                </a:spcBef>
                <a:spcAft>
                  <a:spcPct val="0"/>
                </a:spcAft>
              </a:pPr>
              <a:t>Neutral</a:t>
            </a:fld>
            <a:endParaRPr lang="en-US" dirty="0">
              <a:sym typeface="+mn-lt"/>
            </a:endParaRPr>
          </a:p>
        </p:txBody>
      </p:sp>
      <p:sp>
        <p:nvSpPr>
          <p:cNvPr id="189" name="Text Placeholder 3"/>
          <p:cNvSpPr>
            <a:spLocks noGrp="1"/>
          </p:cNvSpPr>
          <p:nvPr>
            <p:custDataLst>
              <p:tags r:id="rId34"/>
            </p:custDataLst>
          </p:nvPr>
        </p:nvSpPr>
        <p:spPr bwMode="gray">
          <a:xfrm>
            <a:off x="6043613" y="60198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1B07022-26B5-46BA-8BEE-4CEBD1EB3F51}" type="datetime'''D''i''ss''''''''a''''''''''t''i''sfi''e''''''''d'''''''''">
              <a:rPr lang="en-US" altLang="en-US" smtClean="0">
                <a:sym typeface="+mn-lt"/>
              </a:rPr>
              <a:pPr>
                <a:spcBef>
                  <a:spcPct val="0"/>
                </a:spcBef>
                <a:spcAft>
                  <a:spcPct val="0"/>
                </a:spcAft>
              </a:pPr>
              <a:t>Dissatisfied</a:t>
            </a:fld>
            <a:endParaRPr lang="en-US" dirty="0">
              <a:sym typeface="+mn-lt"/>
            </a:endParaRPr>
          </a:p>
        </p:txBody>
      </p:sp>
      <p:sp>
        <p:nvSpPr>
          <p:cNvPr id="61" name="Rectangle 60"/>
          <p:cNvSpPr/>
          <p:nvPr/>
        </p:nvSpPr>
        <p:spPr>
          <a:xfrm>
            <a:off x="7611891" y="3767709"/>
            <a:ext cx="1158633" cy="33239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5" name="Rectangle 54">
            <a:extLst>
              <a:ext uri="{FF2B5EF4-FFF2-40B4-BE49-F238E27FC236}">
                <a16:creationId xmlns:a16="http://schemas.microsoft.com/office/drawing/2014/main" id="{24DA3087-B320-43F0-9331-B9D0ACAA18B7}"/>
              </a:ext>
            </a:extLst>
          </p:cNvPr>
          <p:cNvSpPr/>
          <p:nvPr/>
        </p:nvSpPr>
        <p:spPr>
          <a:xfrm>
            <a:off x="9172909" y="0"/>
            <a:ext cx="289857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cs typeface="Arial" pitchFamily="34" charset="0"/>
            </a:endParaRPr>
          </a:p>
          <a:p>
            <a:r>
              <a:rPr lang="en-GB" dirty="0">
                <a:solidFill>
                  <a:srgbClr val="FFFFFF"/>
                </a:solidFill>
                <a:cs typeface="Arial" pitchFamily="34" charset="0"/>
              </a:rPr>
              <a:t>OneNote remains top of this list with continued high E-SAT of 85% </a:t>
            </a:r>
          </a:p>
          <a:p>
            <a:endParaRPr lang="en-GB" dirty="0">
              <a:solidFill>
                <a:srgbClr val="FFFFFF"/>
              </a:solidFill>
              <a:cs typeface="Arial" pitchFamily="34" charset="0"/>
            </a:endParaRPr>
          </a:p>
          <a:p>
            <a:r>
              <a:rPr lang="en-GB" dirty="0">
                <a:solidFill>
                  <a:srgbClr val="FFFFFF"/>
                </a:solidFill>
                <a:cs typeface="Arial" pitchFamily="34" charset="0"/>
              </a:rPr>
              <a:t>Laptop stability &amp; performance been bottom since Q2 '19</a:t>
            </a:r>
          </a:p>
          <a:p>
            <a:r>
              <a:rPr lang="en-GB" sz="1400" i="1" dirty="0">
                <a:solidFill>
                  <a:srgbClr val="FFFFFF"/>
                </a:solidFill>
                <a:cs typeface="Arial" pitchFamily="34" charset="0"/>
              </a:rPr>
              <a:t>(See slide 56 for more trends)</a:t>
            </a:r>
          </a:p>
        </p:txBody>
      </p:sp>
      <p:grpSp>
        <p:nvGrpSpPr>
          <p:cNvPr id="65" name="Group 64">
            <a:extLst>
              <a:ext uri="{FF2B5EF4-FFF2-40B4-BE49-F238E27FC236}">
                <a16:creationId xmlns:a16="http://schemas.microsoft.com/office/drawing/2014/main" id="{8D9C92F5-2A2C-421B-8D4E-F31CA8D80613}"/>
              </a:ext>
            </a:extLst>
          </p:cNvPr>
          <p:cNvGrpSpPr>
            <a:grpSpLocks noChangeAspect="1"/>
          </p:cNvGrpSpPr>
          <p:nvPr/>
        </p:nvGrpSpPr>
        <p:grpSpPr>
          <a:xfrm>
            <a:off x="599640" y="864696"/>
            <a:ext cx="457200" cy="457200"/>
            <a:chOff x="5867400" y="3200400"/>
            <a:chExt cx="457200" cy="457200"/>
          </a:xfrm>
        </p:grpSpPr>
        <p:sp>
          <p:nvSpPr>
            <p:cNvPr id="66" name="AutoShape 43">
              <a:extLst>
                <a:ext uri="{FF2B5EF4-FFF2-40B4-BE49-F238E27FC236}">
                  <a16:creationId xmlns:a16="http://schemas.microsoft.com/office/drawing/2014/main" id="{0319BD61-139F-4C17-9247-CA6BE2ED5B4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7">
              <a:extLst>
                <a:ext uri="{FF2B5EF4-FFF2-40B4-BE49-F238E27FC236}">
                  <a16:creationId xmlns:a16="http://schemas.microsoft.com/office/drawing/2014/main" id="{0009BC14-AFDD-4B20-96C4-AB8D1CC681D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3" name="Rectangle 32" hidden="1">
            <a:extLst>
              <a:ext uri="{FF2B5EF4-FFF2-40B4-BE49-F238E27FC236}">
                <a16:creationId xmlns:a16="http://schemas.microsoft.com/office/drawing/2014/main" id="{EF73ED34-66EB-45D1-9C1C-E3FF4BB2DE53}"/>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216" name="Rectangle 215">
            <a:extLst>
              <a:ext uri="{FF2B5EF4-FFF2-40B4-BE49-F238E27FC236}">
                <a16:creationId xmlns:a16="http://schemas.microsoft.com/office/drawing/2014/main" id="{E0FADBDC-6759-4C24-890A-5B2F68D22B44}"/>
              </a:ext>
            </a:extLst>
          </p:cNvPr>
          <p:cNvSpPr/>
          <p:nvPr/>
        </p:nvSpPr>
        <p:spPr>
          <a:xfrm>
            <a:off x="7068993" y="2322636"/>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5%</a:t>
            </a:r>
          </a:p>
        </p:txBody>
      </p:sp>
      <p:sp>
        <p:nvSpPr>
          <p:cNvPr id="219" name="Rectangle 218">
            <a:extLst>
              <a:ext uri="{FF2B5EF4-FFF2-40B4-BE49-F238E27FC236}">
                <a16:creationId xmlns:a16="http://schemas.microsoft.com/office/drawing/2014/main" id="{0636B067-7E6B-4047-879A-EDE1DC8AE881}"/>
              </a:ext>
            </a:extLst>
          </p:cNvPr>
          <p:cNvSpPr/>
          <p:nvPr/>
        </p:nvSpPr>
        <p:spPr>
          <a:xfrm>
            <a:off x="7604947" y="2265190"/>
            <a:ext cx="1158633" cy="332398"/>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6" name="Rectangle 5" hidden="1">
            <a:extLst>
              <a:ext uri="{FF2B5EF4-FFF2-40B4-BE49-F238E27FC236}">
                <a16:creationId xmlns:a16="http://schemas.microsoft.com/office/drawing/2014/main" id="{54E20E74-D5B5-4811-9F58-0D0227377E1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9" name="Rectangle 8" hidden="1">
            <a:extLst>
              <a:ext uri="{FF2B5EF4-FFF2-40B4-BE49-F238E27FC236}">
                <a16:creationId xmlns:a16="http://schemas.microsoft.com/office/drawing/2014/main" id="{8310988A-0970-4F36-966B-0F0C62A07752}"/>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endParaRPr>
          </a:p>
        </p:txBody>
      </p:sp>
      <p:sp>
        <p:nvSpPr>
          <p:cNvPr id="68" name="Rectangle 67">
            <a:extLst>
              <a:ext uri="{FF2B5EF4-FFF2-40B4-BE49-F238E27FC236}">
                <a16:creationId xmlns:a16="http://schemas.microsoft.com/office/drawing/2014/main" id="{69E3C11D-81D7-460B-8C8E-AF83296911B3}"/>
              </a:ext>
            </a:extLst>
          </p:cNvPr>
          <p:cNvSpPr/>
          <p:nvPr/>
        </p:nvSpPr>
        <p:spPr>
          <a:xfrm>
            <a:off x="7101681" y="5623473"/>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174" name="Rectangle 173">
            <a:extLst>
              <a:ext uri="{FF2B5EF4-FFF2-40B4-BE49-F238E27FC236}">
                <a16:creationId xmlns:a16="http://schemas.microsoft.com/office/drawing/2014/main" id="{A711AEE2-FF47-4BF7-A133-C5E036894D1A}"/>
              </a:ext>
            </a:extLst>
          </p:cNvPr>
          <p:cNvSpPr/>
          <p:nvPr/>
        </p:nvSpPr>
        <p:spPr>
          <a:xfrm>
            <a:off x="7614648" y="4739176"/>
            <a:ext cx="1158633" cy="332398"/>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175" name="Rectangle 174">
            <a:extLst>
              <a:ext uri="{FF2B5EF4-FFF2-40B4-BE49-F238E27FC236}">
                <a16:creationId xmlns:a16="http://schemas.microsoft.com/office/drawing/2014/main" id="{1C1E0FC7-9C73-4C3E-A962-D32332431A77}"/>
              </a:ext>
            </a:extLst>
          </p:cNvPr>
          <p:cNvSpPr/>
          <p:nvPr/>
        </p:nvSpPr>
        <p:spPr>
          <a:xfrm>
            <a:off x="7033174" y="4783114"/>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8%</a:t>
            </a:r>
          </a:p>
        </p:txBody>
      </p:sp>
      <p:sp>
        <p:nvSpPr>
          <p:cNvPr id="336" name="Rectangle 335">
            <a:extLst>
              <a:ext uri="{FF2B5EF4-FFF2-40B4-BE49-F238E27FC236}">
                <a16:creationId xmlns:a16="http://schemas.microsoft.com/office/drawing/2014/main" id="{2A77BC5B-4CF0-4CD0-90A6-A6BA5587902E}"/>
              </a:ext>
            </a:extLst>
          </p:cNvPr>
          <p:cNvSpPr/>
          <p:nvPr/>
        </p:nvSpPr>
        <p:spPr>
          <a:xfrm>
            <a:off x="7611890" y="2760679"/>
            <a:ext cx="1158633" cy="33239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Tree>
    <p:custDataLst>
      <p:tags r:id="rId2"/>
    </p:custDataLst>
    <p:extLst>
      <p:ext uri="{BB962C8B-B14F-4D97-AF65-F5344CB8AC3E}">
        <p14:creationId xmlns:p14="http://schemas.microsoft.com/office/powerpoint/2010/main" val="1906496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967397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462" name="think-cell Slide" r:id="rId35" imgW="473" imgH="473" progId="TCLayout.ActiveDocument.1">
                  <p:embed/>
                </p:oleObj>
              </mc:Choice>
              <mc:Fallback>
                <p:oleObj name="think-cell Slide" r:id="rId35" imgW="473" imgH="473" progId="TCLayout.ActiveDocument.1">
                  <p:embed/>
                  <p:pic>
                    <p:nvPicPr>
                      <p:cNvPr id="5" name="Object 4"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54068" y="0"/>
            <a:ext cx="2861908"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With the exception of OneNote for BST, all products trended down for both cohorts year-over-year versus Q4 2020</a:t>
            </a:r>
          </a:p>
          <a:p>
            <a:endParaRPr lang="en-GB" dirty="0">
              <a:solidFill>
                <a:srgbClr val="FFFFFF"/>
              </a:solidFill>
              <a:cs typeface="Arial" pitchFamily="34" charset="0"/>
            </a:endParaRPr>
          </a:p>
          <a:p>
            <a:r>
              <a:rPr lang="en-GB" sz="1200" i="1" dirty="0">
                <a:solidFill>
                  <a:srgbClr val="FFFFFF"/>
                </a:solidFill>
                <a:cs typeface="Arial" pitchFamily="34" charset="0"/>
              </a:rPr>
              <a:t>(Reminder – the strongest trends are shown by annual averages, slide 56)</a:t>
            </a:r>
          </a:p>
        </p:txBody>
      </p:sp>
      <p:sp>
        <p:nvSpPr>
          <p:cNvPr id="3" name="Title 2"/>
          <p:cNvSpPr>
            <a:spLocks noGrp="1"/>
          </p:cNvSpPr>
          <p:nvPr>
            <p:ph type="title"/>
          </p:nvPr>
        </p:nvSpPr>
        <p:spPr>
          <a:xfrm>
            <a:off x="629999" y="622800"/>
            <a:ext cx="8363275" cy="332399"/>
          </a:xfrm>
        </p:spPr>
        <p:txBody>
          <a:bodyPr vert="horz"/>
          <a:lstStyle/>
          <a:p>
            <a:r>
              <a:rPr lang="en-US" dirty="0">
                <a:solidFill>
                  <a:srgbClr val="295E7E"/>
                </a:solidFill>
              </a:rPr>
              <a:t>Laptop &amp; MS Office Satisfaction</a:t>
            </a:r>
          </a:p>
        </p:txBody>
      </p:sp>
      <p:graphicFrame>
        <p:nvGraphicFramePr>
          <p:cNvPr id="80" name="Chart 79">
            <a:extLst>
              <a:ext uri="{FF2B5EF4-FFF2-40B4-BE49-F238E27FC236}">
                <a16:creationId xmlns:a16="http://schemas.microsoft.com/office/drawing/2014/main" id="{82F3CCCD-1759-4F80-B4EE-7A4188A6AC3F}"/>
              </a:ext>
            </a:extLst>
          </p:cNvPr>
          <p:cNvGraphicFramePr/>
          <p:nvPr>
            <p:custDataLst>
              <p:tags r:id="rId5"/>
            </p:custDataLst>
            <p:extLst>
              <p:ext uri="{D42A27DB-BD31-4B8C-83A1-F6EECF244321}">
                <p14:modId xmlns:p14="http://schemas.microsoft.com/office/powerpoint/2010/main" val="1583131823"/>
              </p:ext>
            </p:extLst>
          </p:nvPr>
        </p:nvGraphicFramePr>
        <p:xfrm>
          <a:off x="484188" y="1814513"/>
          <a:ext cx="7173912" cy="1920875"/>
        </p:xfrm>
        <a:graphic>
          <a:graphicData uri="http://schemas.openxmlformats.org/drawingml/2006/chart">
            <c:chart xmlns:c="http://schemas.openxmlformats.org/drawingml/2006/chart" xmlns:r="http://schemas.openxmlformats.org/officeDocument/2006/relationships" r:id="rId37"/>
          </a:graphicData>
        </a:graphic>
      </p:graphicFrame>
      <p:sp>
        <p:nvSpPr>
          <p:cNvPr id="70" name="Text Placeholder 3">
            <a:extLst>
              <a:ext uri="{FF2B5EF4-FFF2-40B4-BE49-F238E27FC236}">
                <a16:creationId xmlns:a16="http://schemas.microsoft.com/office/drawing/2014/main" id="{27E0D355-954F-4107-931F-6812A35A156A}"/>
              </a:ext>
            </a:extLst>
          </p:cNvPr>
          <p:cNvSpPr>
            <a:spLocks noGrp="1"/>
          </p:cNvSpPr>
          <p:nvPr>
            <p:custDataLst>
              <p:tags r:id="rId6"/>
            </p:custDataLst>
          </p:nvPr>
        </p:nvSpPr>
        <p:spPr bwMode="gray">
          <a:xfrm>
            <a:off x="2887662" y="3722689"/>
            <a:ext cx="8778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D63A843-75A0-4E49-A3AB-4A84FCFA7C90}" type="datetime'''L''a''p''t''op'' ''P''''''''''er''f''''o''rma''''n''c''e'">
              <a:rPr lang="en-GB" altLang="en-US" smtClean="0"/>
              <a:pPr/>
              <a:t>Laptop Performance</a:t>
            </a:fld>
            <a:endParaRPr lang="en-GB" dirty="0">
              <a:sym typeface="+mn-lt"/>
            </a:endParaRPr>
          </a:p>
        </p:txBody>
      </p:sp>
      <p:sp>
        <p:nvSpPr>
          <p:cNvPr id="56" name="Text Placeholder 3"/>
          <p:cNvSpPr>
            <a:spLocks noGrp="1"/>
          </p:cNvSpPr>
          <p:nvPr>
            <p:custDataLst>
              <p:tags r:id="rId7"/>
            </p:custDataLst>
          </p:nvPr>
        </p:nvSpPr>
        <p:spPr bwMode="gray">
          <a:xfrm>
            <a:off x="974725" y="3722688"/>
            <a:ext cx="928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5BA861D-7ACF-4766-928A-C02AF30017E4}" type="datetime'''''''''''Lap''t''''''o''''''''''''p ''''''''M''o''d''e''l'''">
              <a:rPr lang="en-GB" altLang="en-US" smtClean="0"/>
              <a:pPr/>
              <a:t>Laptop Model</a:t>
            </a:fld>
            <a:endParaRPr lang="en-GB" dirty="0">
              <a:sym typeface="+mn-lt"/>
            </a:endParaRPr>
          </a:p>
        </p:txBody>
      </p:sp>
      <p:sp>
        <p:nvSpPr>
          <p:cNvPr id="49" name="Text Placeholder 3"/>
          <p:cNvSpPr>
            <a:spLocks noGrp="1"/>
          </p:cNvSpPr>
          <p:nvPr>
            <p:custDataLst>
              <p:tags r:id="rId8"/>
            </p:custDataLst>
          </p:nvPr>
        </p:nvSpPr>
        <p:spPr bwMode="gray">
          <a:xfrm>
            <a:off x="2093914" y="3722689"/>
            <a:ext cx="574675"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6118A59-B5BF-49F0-9543-CE224F692B20}" type="datetime'L''a''p''''t''''''''''o''''''p'''''' ''Sta''''''bility'">
              <a:rPr lang="en-GB" altLang="en-US" smtClean="0"/>
              <a:pPr/>
              <a:t>Laptop Stability</a:t>
            </a:fld>
            <a:endParaRPr lang="en-GB" dirty="0">
              <a:sym typeface="+mn-lt"/>
            </a:endParaRPr>
          </a:p>
        </p:txBody>
      </p:sp>
      <p:sp>
        <p:nvSpPr>
          <p:cNvPr id="81" name="Text Placeholder 3">
            <a:extLst>
              <a:ext uri="{FF2B5EF4-FFF2-40B4-BE49-F238E27FC236}">
                <a16:creationId xmlns:a16="http://schemas.microsoft.com/office/drawing/2014/main" id="{F8E707A1-D324-45CB-9567-E5479AA9725B}"/>
              </a:ext>
            </a:extLst>
          </p:cNvPr>
          <p:cNvSpPr>
            <a:spLocks noGrp="1"/>
          </p:cNvSpPr>
          <p:nvPr>
            <p:custDataLst>
              <p:tags r:id="rId9"/>
            </p:custDataLst>
          </p:nvPr>
        </p:nvSpPr>
        <p:spPr bwMode="gray">
          <a:xfrm>
            <a:off x="4084638" y="3722688"/>
            <a:ext cx="3730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0812AE1-500E-49C0-AC62-04B0152DBFAA}" type="datetime'''Ex''''c''''''''''''''''''e''''''''''''''''''''''''l'''">
              <a:rPr lang="en-GB" altLang="en-US" smtClean="0"/>
              <a:pPr/>
              <a:t>Excel</a:t>
            </a:fld>
            <a:endParaRPr lang="en-GB" dirty="0">
              <a:sym typeface="+mn-lt"/>
            </a:endParaRPr>
          </a:p>
        </p:txBody>
      </p:sp>
      <p:sp>
        <p:nvSpPr>
          <p:cNvPr id="139" name="Text Placeholder 3">
            <a:extLst>
              <a:ext uri="{FF2B5EF4-FFF2-40B4-BE49-F238E27FC236}">
                <a16:creationId xmlns:a16="http://schemas.microsoft.com/office/drawing/2014/main" id="{F3400203-2EBA-4152-95FA-5E71736F748F}"/>
              </a:ext>
            </a:extLst>
          </p:cNvPr>
          <p:cNvSpPr>
            <a:spLocks noGrp="1"/>
          </p:cNvSpPr>
          <p:nvPr>
            <p:custDataLst>
              <p:tags r:id="rId10"/>
            </p:custDataLst>
          </p:nvPr>
        </p:nvSpPr>
        <p:spPr bwMode="gray">
          <a:xfrm>
            <a:off x="6800850" y="372268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631E083-AD5F-41BC-8F28-3C867F50AAE6}" type="datetime'''''''O''''''''''''n''''''''''''''''e''''No''t''''e'''">
              <a:rPr lang="en-GB" altLang="en-US" smtClean="0"/>
              <a:pPr/>
              <a:t>OneNote</a:t>
            </a:fld>
            <a:endParaRPr lang="en-GB" dirty="0">
              <a:sym typeface="+mn-lt"/>
            </a:endParaRPr>
          </a:p>
        </p:txBody>
      </p:sp>
      <p:sp>
        <p:nvSpPr>
          <p:cNvPr id="60" name="Text Placeholder 3">
            <a:extLst>
              <a:ext uri="{FF2B5EF4-FFF2-40B4-BE49-F238E27FC236}">
                <a16:creationId xmlns:a16="http://schemas.microsoft.com/office/drawing/2014/main" id="{57CEC808-5E97-4D4D-BE01-99CE4B73939D}"/>
              </a:ext>
            </a:extLst>
          </p:cNvPr>
          <p:cNvSpPr>
            <a:spLocks noGrp="1"/>
          </p:cNvSpPr>
          <p:nvPr>
            <p:custDataLst>
              <p:tags r:id="rId11"/>
            </p:custDataLst>
          </p:nvPr>
        </p:nvSpPr>
        <p:spPr bwMode="gray">
          <a:xfrm>
            <a:off x="4827588" y="3722688"/>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52BDF56-2E18-42A1-8F53-31A04F243283}" type="datetime'''P''ow''''e''''''r''''''P''''o''i''''''''n''t'''''''''''''">
              <a:rPr lang="en-GB" altLang="en-US" smtClean="0"/>
              <a:pPr/>
              <a:t>PowerPoint</a:t>
            </a:fld>
            <a:endParaRPr lang="en-GB" dirty="0">
              <a:sym typeface="+mn-lt"/>
            </a:endParaRPr>
          </a:p>
        </p:txBody>
      </p:sp>
      <p:sp>
        <p:nvSpPr>
          <p:cNvPr id="69" name="Text Placeholder 3">
            <a:extLst>
              <a:ext uri="{FF2B5EF4-FFF2-40B4-BE49-F238E27FC236}">
                <a16:creationId xmlns:a16="http://schemas.microsoft.com/office/drawing/2014/main" id="{4D196B45-880F-437A-8B48-97228404B69D}"/>
              </a:ext>
            </a:extLst>
          </p:cNvPr>
          <p:cNvSpPr>
            <a:spLocks noGrp="1"/>
          </p:cNvSpPr>
          <p:nvPr>
            <p:custDataLst>
              <p:tags r:id="rId12"/>
            </p:custDataLst>
          </p:nvPr>
        </p:nvSpPr>
        <p:spPr bwMode="gray">
          <a:xfrm>
            <a:off x="5976938" y="3722688"/>
            <a:ext cx="361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80E45A7-2551-4F1E-AAAA-02E2EF1E9E6E}" type="datetime'''''''''''''''''''''''''''''''''W''''''''''''o''r''''''d'''''">
              <a:rPr lang="en-GB" altLang="en-US" smtClean="0"/>
              <a:pPr/>
              <a:t>Word</a:t>
            </a:fld>
            <a:endParaRPr lang="en-GB" dirty="0">
              <a:sym typeface="+mn-lt"/>
            </a:endParaRPr>
          </a:p>
        </p:txBody>
      </p:sp>
      <p:sp>
        <p:nvSpPr>
          <p:cNvPr id="8" name="Rectangle 7">
            <a:extLst>
              <a:ext uri="{FF2B5EF4-FFF2-40B4-BE49-F238E27FC236}">
                <a16:creationId xmlns:a16="http://schemas.microsoft.com/office/drawing/2014/main" id="{27C35D97-04AA-4BA7-9E1E-20B672AE7B04}"/>
              </a:ext>
            </a:extLst>
          </p:cNvPr>
          <p:cNvSpPr/>
          <p:nvPr>
            <p:custDataLst>
              <p:tags r:id="rId13"/>
            </p:custDataLst>
          </p:nvPr>
        </p:nvSpPr>
        <p:spPr bwMode="gray">
          <a:xfrm>
            <a:off x="7821613" y="3548063"/>
            <a:ext cx="214312" cy="160337"/>
          </a:xfrm>
          <a:prstGeom prst="rect">
            <a:avLst/>
          </a:prstGeom>
          <a:solidFill>
            <a:srgbClr val="2BD5D9"/>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Rectangle 1">
            <a:extLst>
              <a:ext uri="{FF2B5EF4-FFF2-40B4-BE49-F238E27FC236}">
                <a16:creationId xmlns:a16="http://schemas.microsoft.com/office/drawing/2014/main" id="{B0BE53E1-088C-463D-A172-17FBFBED3943}"/>
              </a:ext>
            </a:extLst>
          </p:cNvPr>
          <p:cNvSpPr/>
          <p:nvPr>
            <p:custDataLst>
              <p:tags r:id="rId14"/>
            </p:custDataLst>
          </p:nvPr>
        </p:nvSpPr>
        <p:spPr bwMode="gray">
          <a:xfrm>
            <a:off x="7821613" y="3314699"/>
            <a:ext cx="214312" cy="160338"/>
          </a:xfrm>
          <a:prstGeom prst="rect">
            <a:avLst/>
          </a:prstGeom>
          <a:solidFill>
            <a:srgbClr val="008AC2"/>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Rectangle 56"/>
          <p:cNvSpPr/>
          <p:nvPr>
            <p:custDataLst>
              <p:tags r:id="rId15"/>
            </p:custDataLst>
          </p:nvPr>
        </p:nvSpPr>
        <p:spPr bwMode="gray">
          <a:xfrm>
            <a:off x="7821613" y="3081338"/>
            <a:ext cx="214313" cy="160338"/>
          </a:xfrm>
          <a:prstGeom prst="rect">
            <a:avLst/>
          </a:prstGeom>
          <a:solidFill>
            <a:srgbClr val="295E7E"/>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rgbClr val="FFFFFF"/>
              </a:solidFill>
            </a:endParaRPr>
          </a:p>
        </p:txBody>
      </p:sp>
      <p:sp>
        <p:nvSpPr>
          <p:cNvPr id="61" name="Text Placeholder 3"/>
          <p:cNvSpPr>
            <a:spLocks noGrp="1"/>
          </p:cNvSpPr>
          <p:nvPr>
            <p:custDataLst>
              <p:tags r:id="rId16"/>
            </p:custDataLst>
          </p:nvPr>
        </p:nvSpPr>
        <p:spPr bwMode="gray">
          <a:xfrm>
            <a:off x="8086725" y="3076575"/>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9124585-48B0-46BD-8A70-05EF86806BED}" type="datetime'''''Q''''''''''''''4'' ’''''1''''''''''''''''''''9'''''''''">
              <a:rPr lang="en-GB" altLang="en-US" smtClean="0"/>
              <a:pPr/>
              <a:t>Q4 ’19</a:t>
            </a:fld>
            <a:endParaRPr lang="en-GB" dirty="0">
              <a:sym typeface="+mn-lt"/>
            </a:endParaRPr>
          </a:p>
        </p:txBody>
      </p:sp>
      <p:sp>
        <p:nvSpPr>
          <p:cNvPr id="62" name="Text Placeholder 3">
            <a:extLst>
              <a:ext uri="{FF2B5EF4-FFF2-40B4-BE49-F238E27FC236}">
                <a16:creationId xmlns:a16="http://schemas.microsoft.com/office/drawing/2014/main" id="{38B4DAC4-A4B2-4AFF-9930-E653565DE831}"/>
              </a:ext>
            </a:extLst>
          </p:cNvPr>
          <p:cNvSpPr>
            <a:spLocks noGrp="1"/>
          </p:cNvSpPr>
          <p:nvPr>
            <p:custDataLst>
              <p:tags r:id="rId17"/>
            </p:custDataLst>
          </p:nvPr>
        </p:nvSpPr>
        <p:spPr bwMode="gray">
          <a:xfrm>
            <a:off x="8086725" y="3309938"/>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B28A482-C153-4C14-B51E-ADBCAA65D14C}" type="datetime'''''''Q''4'''''''''' ''''''''''''''''''''''''’''''20'''''">
              <a:rPr lang="en-GB" altLang="en-US" smtClean="0"/>
              <a:pPr/>
              <a:t>Q4 ’20</a:t>
            </a:fld>
            <a:endParaRPr lang="en-GB" dirty="0">
              <a:sym typeface="+mn-lt"/>
            </a:endParaRPr>
          </a:p>
        </p:txBody>
      </p:sp>
      <p:sp>
        <p:nvSpPr>
          <p:cNvPr id="78" name="Text Placeholder 3">
            <a:extLst>
              <a:ext uri="{FF2B5EF4-FFF2-40B4-BE49-F238E27FC236}">
                <a16:creationId xmlns:a16="http://schemas.microsoft.com/office/drawing/2014/main" id="{E208466C-25FB-4DE0-B6C6-F5E843F626BD}"/>
              </a:ext>
            </a:extLst>
          </p:cNvPr>
          <p:cNvSpPr>
            <a:spLocks noGrp="1"/>
          </p:cNvSpPr>
          <p:nvPr>
            <p:custDataLst>
              <p:tags r:id="rId18"/>
            </p:custDataLst>
          </p:nvPr>
        </p:nvSpPr>
        <p:spPr bwMode="gray">
          <a:xfrm>
            <a:off x="8086725" y="3543300"/>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D7BF711-6D39-4C2B-8811-07D24AD7BD52}" type="datetime'''Q''''''''''''''''''''''''''''''4'''''''' ’''''2''''''''1'">
              <a:rPr lang="en-GB" altLang="en-US" smtClean="0"/>
              <a:pPr/>
              <a:t>Q4 ’21</a:t>
            </a:fld>
            <a:endParaRPr lang="en-GB" dirty="0">
              <a:sym typeface="+mn-lt"/>
            </a:endParaRPr>
          </a:p>
        </p:txBody>
      </p:sp>
      <p:sp>
        <p:nvSpPr>
          <p:cNvPr id="86" name="Rectangle 85">
            <a:extLst>
              <a:ext uri="{FF2B5EF4-FFF2-40B4-BE49-F238E27FC236}">
                <a16:creationId xmlns:a16="http://schemas.microsoft.com/office/drawing/2014/main" id="{988152C3-F650-465E-AB45-0AB84EF8A7EA}"/>
              </a:ext>
            </a:extLst>
          </p:cNvPr>
          <p:cNvSpPr/>
          <p:nvPr/>
        </p:nvSpPr>
        <p:spPr>
          <a:xfrm>
            <a:off x="548104" y="135563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400" dirty="0">
                <a:solidFill>
                  <a:srgbClr val="295E7E"/>
                </a:solidFill>
              </a:rPr>
              <a:t>% of respondents satisfied with:</a:t>
            </a:r>
            <a:endParaRPr lang="en-GB" sz="1400" b="1" dirty="0">
              <a:solidFill>
                <a:srgbClr val="295E7E"/>
              </a:solidFill>
            </a:endParaRPr>
          </a:p>
        </p:txBody>
      </p:sp>
      <p:sp>
        <p:nvSpPr>
          <p:cNvPr id="26" name="Rectangle 25"/>
          <p:cNvSpPr/>
          <p:nvPr/>
        </p:nvSpPr>
        <p:spPr>
          <a:xfrm>
            <a:off x="628493" y="1638002"/>
            <a:ext cx="271216"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graphicFrame>
        <p:nvGraphicFramePr>
          <p:cNvPr id="234" name="Chart 233">
            <a:extLst>
              <a:ext uri="{FF2B5EF4-FFF2-40B4-BE49-F238E27FC236}">
                <a16:creationId xmlns:a16="http://schemas.microsoft.com/office/drawing/2014/main" id="{66D09310-2958-44EA-94A6-5440F7196AC5}"/>
              </a:ext>
            </a:extLst>
          </p:cNvPr>
          <p:cNvGraphicFramePr/>
          <p:nvPr>
            <p:custDataLst>
              <p:tags r:id="rId19"/>
            </p:custDataLst>
            <p:extLst>
              <p:ext uri="{D42A27DB-BD31-4B8C-83A1-F6EECF244321}">
                <p14:modId xmlns:p14="http://schemas.microsoft.com/office/powerpoint/2010/main" val="2868164312"/>
              </p:ext>
            </p:extLst>
          </p:nvPr>
        </p:nvGraphicFramePr>
        <p:xfrm>
          <a:off x="466725" y="4333875"/>
          <a:ext cx="7191375" cy="1920875"/>
        </p:xfrm>
        <a:graphic>
          <a:graphicData uri="http://schemas.openxmlformats.org/drawingml/2006/chart">
            <c:chart xmlns:c="http://schemas.openxmlformats.org/drawingml/2006/chart" xmlns:r="http://schemas.openxmlformats.org/officeDocument/2006/relationships" r:id="rId38"/>
          </a:graphicData>
        </a:graphic>
      </p:graphicFrame>
      <p:sp>
        <p:nvSpPr>
          <p:cNvPr id="32" name="Text Placeholder 3"/>
          <p:cNvSpPr>
            <a:spLocks noGrp="1"/>
          </p:cNvSpPr>
          <p:nvPr>
            <p:custDataLst>
              <p:tags r:id="rId20"/>
            </p:custDataLst>
          </p:nvPr>
        </p:nvSpPr>
        <p:spPr bwMode="gray">
          <a:xfrm>
            <a:off x="4075113" y="6242050"/>
            <a:ext cx="3730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2CD9CE3-D895-440B-8DAC-DCDD4EA11C75}" type="datetime'E''x''''c''e''''''''''l'''">
              <a:rPr lang="en-GB" altLang="en-US" smtClean="0"/>
              <a:pPr/>
              <a:t>Excel</a:t>
            </a:fld>
            <a:endParaRPr lang="en-GB" dirty="0">
              <a:sym typeface="+mn-lt"/>
            </a:endParaRPr>
          </a:p>
        </p:txBody>
      </p:sp>
      <p:sp>
        <p:nvSpPr>
          <p:cNvPr id="186" name="Text Placeholder 3">
            <a:extLst>
              <a:ext uri="{FF2B5EF4-FFF2-40B4-BE49-F238E27FC236}">
                <a16:creationId xmlns:a16="http://schemas.microsoft.com/office/drawing/2014/main" id="{2986DE9E-E002-45A8-8A5E-2DCDE026294E}"/>
              </a:ext>
            </a:extLst>
          </p:cNvPr>
          <p:cNvSpPr>
            <a:spLocks noGrp="1"/>
          </p:cNvSpPr>
          <p:nvPr>
            <p:custDataLst>
              <p:tags r:id="rId21"/>
            </p:custDataLst>
          </p:nvPr>
        </p:nvSpPr>
        <p:spPr bwMode="gray">
          <a:xfrm>
            <a:off x="2876550" y="6242051"/>
            <a:ext cx="8778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6E85E61-749C-493C-8F99-A65C38FD60B6}" type="datetime'''''L''ap''''''to''p Per''for''man''c''''''''''''e'''''''">
              <a:rPr lang="en-GB" altLang="en-US" smtClean="0"/>
              <a:pPr/>
              <a:t>Laptop Performance</a:t>
            </a:fld>
            <a:endParaRPr lang="en-GB" dirty="0">
              <a:sym typeface="+mn-lt"/>
            </a:endParaRPr>
          </a:p>
        </p:txBody>
      </p:sp>
      <p:sp>
        <p:nvSpPr>
          <p:cNvPr id="85" name="Text Placeholder 3">
            <a:extLst>
              <a:ext uri="{FF2B5EF4-FFF2-40B4-BE49-F238E27FC236}">
                <a16:creationId xmlns:a16="http://schemas.microsoft.com/office/drawing/2014/main" id="{3ABC3C70-B217-430B-998F-B2511C69AB95}"/>
              </a:ext>
            </a:extLst>
          </p:cNvPr>
          <p:cNvSpPr>
            <a:spLocks noGrp="1"/>
          </p:cNvSpPr>
          <p:nvPr>
            <p:custDataLst>
              <p:tags r:id="rId22"/>
            </p:custDataLst>
          </p:nvPr>
        </p:nvSpPr>
        <p:spPr bwMode="gray">
          <a:xfrm>
            <a:off x="4819650" y="6242050"/>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1D1E466-0D66-40D3-AB0D-2B9B23A86A19}" type="datetime'''''''P''''''o''''''w''''er''P''''''''''oi''''''n''t'">
              <a:rPr lang="en-GB" altLang="en-US" smtClean="0"/>
              <a:pPr/>
              <a:t>PowerPoint</a:t>
            </a:fld>
            <a:endParaRPr lang="en-GB" dirty="0">
              <a:sym typeface="+mn-lt"/>
            </a:endParaRPr>
          </a:p>
        </p:txBody>
      </p:sp>
      <p:sp>
        <p:nvSpPr>
          <p:cNvPr id="33" name="Text Placeholder 3"/>
          <p:cNvSpPr>
            <a:spLocks noGrp="1"/>
          </p:cNvSpPr>
          <p:nvPr>
            <p:custDataLst>
              <p:tags r:id="rId23"/>
            </p:custDataLst>
          </p:nvPr>
        </p:nvSpPr>
        <p:spPr bwMode="gray">
          <a:xfrm>
            <a:off x="957263" y="6242050"/>
            <a:ext cx="928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48B8DA2-BB84-4FC4-A659-DAB1FCCD273B}" type="datetime'''''''''''''L''''ap''to''''''''''p ''''M''''''''od''e''''l'">
              <a:rPr lang="en-GB" altLang="en-US" smtClean="0"/>
              <a:pPr/>
              <a:t>Laptop Model</a:t>
            </a:fld>
            <a:endParaRPr lang="en-GB" dirty="0">
              <a:sym typeface="+mn-lt"/>
            </a:endParaRPr>
          </a:p>
        </p:txBody>
      </p:sp>
      <p:sp>
        <p:nvSpPr>
          <p:cNvPr id="35" name="Text Placeholder 3"/>
          <p:cNvSpPr>
            <a:spLocks noGrp="1"/>
          </p:cNvSpPr>
          <p:nvPr>
            <p:custDataLst>
              <p:tags r:id="rId24"/>
            </p:custDataLst>
          </p:nvPr>
        </p:nvSpPr>
        <p:spPr bwMode="gray">
          <a:xfrm>
            <a:off x="2081214" y="6242051"/>
            <a:ext cx="574675"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6C862B9-BDDD-4E71-ACFA-09F4C68EE5E8}" type="datetime'''L''''''''ap''t''o''p S''ta''''b''''''''''''''''ili''t''''y'">
              <a:rPr lang="en-GB" altLang="en-US" smtClean="0"/>
              <a:pPr/>
              <a:t>Laptop Stability</a:t>
            </a:fld>
            <a:endParaRPr lang="en-GB" dirty="0">
              <a:sym typeface="+mn-lt"/>
            </a:endParaRPr>
          </a:p>
        </p:txBody>
      </p:sp>
      <p:sp>
        <p:nvSpPr>
          <p:cNvPr id="164" name="Text Placeholder 3">
            <a:extLst>
              <a:ext uri="{FF2B5EF4-FFF2-40B4-BE49-F238E27FC236}">
                <a16:creationId xmlns:a16="http://schemas.microsoft.com/office/drawing/2014/main" id="{4B0F7031-5A8F-470A-BFB6-5C29178230BD}"/>
              </a:ext>
            </a:extLst>
          </p:cNvPr>
          <p:cNvSpPr>
            <a:spLocks noGrp="1"/>
          </p:cNvSpPr>
          <p:nvPr>
            <p:custDataLst>
              <p:tags r:id="rId25"/>
            </p:custDataLst>
          </p:nvPr>
        </p:nvSpPr>
        <p:spPr bwMode="gray">
          <a:xfrm>
            <a:off x="6799263" y="6242050"/>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4D5F4BC-A869-40C4-B917-CC328430E286}" type="datetime'''''''''''''''''''''O''''n''''''''''eN''''''''o''''''''''t''e'">
              <a:rPr lang="en-GB" altLang="en-US" smtClean="0"/>
              <a:pPr/>
              <a:t>OneNote</a:t>
            </a:fld>
            <a:endParaRPr lang="en-GB" dirty="0">
              <a:sym typeface="+mn-lt"/>
            </a:endParaRPr>
          </a:p>
        </p:txBody>
      </p:sp>
      <p:sp>
        <p:nvSpPr>
          <p:cNvPr id="87" name="Text Placeholder 3">
            <a:extLst>
              <a:ext uri="{FF2B5EF4-FFF2-40B4-BE49-F238E27FC236}">
                <a16:creationId xmlns:a16="http://schemas.microsoft.com/office/drawing/2014/main" id="{E2E31B4B-9C6A-421D-B955-009B49ABF22D}"/>
              </a:ext>
            </a:extLst>
          </p:cNvPr>
          <p:cNvSpPr>
            <a:spLocks noGrp="1"/>
          </p:cNvSpPr>
          <p:nvPr>
            <p:custDataLst>
              <p:tags r:id="rId26"/>
            </p:custDataLst>
          </p:nvPr>
        </p:nvSpPr>
        <p:spPr bwMode="gray">
          <a:xfrm>
            <a:off x="5973763" y="6242050"/>
            <a:ext cx="361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6CF8B3C-563A-47E6-8A03-418231C03CEA}" type="datetime'''''''''''''W''''''''o''''''''''r''d'''''''">
              <a:rPr lang="en-GB" altLang="en-US" smtClean="0"/>
              <a:pPr/>
              <a:t>Word</a:t>
            </a:fld>
            <a:endParaRPr lang="en-GB" dirty="0">
              <a:sym typeface="+mn-lt"/>
            </a:endParaRPr>
          </a:p>
        </p:txBody>
      </p:sp>
      <p:sp>
        <p:nvSpPr>
          <p:cNvPr id="154" name="Rectangle 153">
            <a:extLst>
              <a:ext uri="{FF2B5EF4-FFF2-40B4-BE49-F238E27FC236}">
                <a16:creationId xmlns:a16="http://schemas.microsoft.com/office/drawing/2014/main" id="{B9069247-7AFE-4268-80E3-102C97928C4C}"/>
              </a:ext>
            </a:extLst>
          </p:cNvPr>
          <p:cNvSpPr/>
          <p:nvPr>
            <p:custDataLst>
              <p:tags r:id="rId27"/>
            </p:custDataLst>
          </p:nvPr>
        </p:nvSpPr>
        <p:spPr bwMode="gray">
          <a:xfrm>
            <a:off x="7821613" y="5795963"/>
            <a:ext cx="214312" cy="160338"/>
          </a:xfrm>
          <a:prstGeom prst="rect">
            <a:avLst/>
          </a:prstGeom>
          <a:solidFill>
            <a:srgbClr val="837F7F"/>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Rectangle 39"/>
          <p:cNvSpPr/>
          <p:nvPr>
            <p:custDataLst>
              <p:tags r:id="rId28"/>
            </p:custDataLst>
          </p:nvPr>
        </p:nvSpPr>
        <p:spPr bwMode="gray">
          <a:xfrm>
            <a:off x="7821613" y="5329238"/>
            <a:ext cx="214313" cy="160338"/>
          </a:xfrm>
          <a:prstGeom prst="rect">
            <a:avLst/>
          </a:prstGeom>
          <a:solidFill>
            <a:srgbClr val="837F7F"/>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rgbClr val="FFFFFF"/>
              </a:solidFill>
            </a:endParaRPr>
          </a:p>
        </p:txBody>
      </p:sp>
      <p:sp>
        <p:nvSpPr>
          <p:cNvPr id="13" name="Rectangle 12">
            <a:extLst>
              <a:ext uri="{FF2B5EF4-FFF2-40B4-BE49-F238E27FC236}">
                <a16:creationId xmlns:a16="http://schemas.microsoft.com/office/drawing/2014/main" id="{3BE938F0-BE37-4BA7-902D-3335C235AD4C}"/>
              </a:ext>
            </a:extLst>
          </p:cNvPr>
          <p:cNvSpPr/>
          <p:nvPr>
            <p:custDataLst>
              <p:tags r:id="rId29"/>
            </p:custDataLst>
          </p:nvPr>
        </p:nvSpPr>
        <p:spPr bwMode="gray">
          <a:xfrm>
            <a:off x="7821613" y="5562600"/>
            <a:ext cx="214312" cy="160338"/>
          </a:xfrm>
          <a:prstGeom prst="rect">
            <a:avLst/>
          </a:prstGeom>
          <a:solidFill>
            <a:srgbClr val="ABA8B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 name="Text Placeholder 3"/>
          <p:cNvSpPr>
            <a:spLocks noGrp="1"/>
          </p:cNvSpPr>
          <p:nvPr>
            <p:custDataLst>
              <p:tags r:id="rId30"/>
            </p:custDataLst>
          </p:nvPr>
        </p:nvSpPr>
        <p:spPr bwMode="gray">
          <a:xfrm>
            <a:off x="8086726" y="5324475"/>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F7C40A6-0089-4651-AFA7-6519F1627138}" type="datetime'''Q''''4'' ''''''''''''’''''''''''''''''''''1''''''''9'''">
              <a:rPr lang="en-GB" altLang="en-US" smtClean="0"/>
              <a:pPr/>
              <a:t>Q4 ’19</a:t>
            </a:fld>
            <a:endParaRPr lang="en-GB" dirty="0">
              <a:sym typeface="+mn-lt"/>
            </a:endParaRPr>
          </a:p>
        </p:txBody>
      </p:sp>
      <p:sp>
        <p:nvSpPr>
          <p:cNvPr id="98" name="Text Placeholder 3">
            <a:extLst>
              <a:ext uri="{FF2B5EF4-FFF2-40B4-BE49-F238E27FC236}">
                <a16:creationId xmlns:a16="http://schemas.microsoft.com/office/drawing/2014/main" id="{D50B30A6-EA0F-47AB-AEB7-114614E7F39C}"/>
              </a:ext>
            </a:extLst>
          </p:cNvPr>
          <p:cNvSpPr>
            <a:spLocks noGrp="1"/>
          </p:cNvSpPr>
          <p:nvPr>
            <p:custDataLst>
              <p:tags r:id="rId31"/>
            </p:custDataLst>
          </p:nvPr>
        </p:nvSpPr>
        <p:spPr bwMode="gray">
          <a:xfrm>
            <a:off x="8086725" y="5557838"/>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35FF8D5-4484-4EFB-86F1-D90AAA25B9DA}" type="datetime'''Q4 ’''''''2''''0'''''''''''''''''''''''''''">
              <a:rPr lang="en-GB" altLang="en-US" smtClean="0"/>
              <a:pPr/>
              <a:t>Q4 ’20</a:t>
            </a:fld>
            <a:endParaRPr lang="en-GB" dirty="0">
              <a:sym typeface="+mn-lt"/>
            </a:endParaRPr>
          </a:p>
        </p:txBody>
      </p:sp>
      <p:sp>
        <p:nvSpPr>
          <p:cNvPr id="172" name="Text Placeholder 3">
            <a:extLst>
              <a:ext uri="{FF2B5EF4-FFF2-40B4-BE49-F238E27FC236}">
                <a16:creationId xmlns:a16="http://schemas.microsoft.com/office/drawing/2014/main" id="{8E363BBE-1DFA-4965-83D4-8F51A50FABC8}"/>
              </a:ext>
            </a:extLst>
          </p:cNvPr>
          <p:cNvSpPr>
            <a:spLocks noGrp="1"/>
          </p:cNvSpPr>
          <p:nvPr>
            <p:custDataLst>
              <p:tags r:id="rId32"/>
            </p:custDataLst>
          </p:nvPr>
        </p:nvSpPr>
        <p:spPr bwMode="gray">
          <a:xfrm>
            <a:off x="8086725" y="5791200"/>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FB8B6D4-04D4-40D8-A7F9-543558768BB1}" type="datetime'''Q4'''''''' ''''''''''''''''’''2''''''''''''1'''''''''">
              <a:rPr lang="en-GB" altLang="en-US" smtClean="0"/>
              <a:pPr/>
              <a:t>Q4 ’21</a:t>
            </a:fld>
            <a:endParaRPr lang="en-GB" dirty="0">
              <a:sym typeface="+mn-lt"/>
            </a:endParaRPr>
          </a:p>
        </p:txBody>
      </p:sp>
      <p:sp>
        <p:nvSpPr>
          <p:cNvPr id="51" name="Rectangle 50"/>
          <p:cNvSpPr/>
          <p:nvPr/>
        </p:nvSpPr>
        <p:spPr>
          <a:xfrm>
            <a:off x="626971" y="4154488"/>
            <a:ext cx="271216" cy="2651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cxnSp>
        <p:nvCxnSpPr>
          <p:cNvPr id="79" name="Straight Connector 78">
            <a:extLst>
              <a:ext uri="{FF2B5EF4-FFF2-40B4-BE49-F238E27FC236}">
                <a16:creationId xmlns:a16="http://schemas.microsoft.com/office/drawing/2014/main" id="{5CDBC443-D202-4E54-B1C0-59BABE15E0EF}"/>
              </a:ext>
            </a:extLst>
          </p:cNvPr>
          <p:cNvCxnSpPr>
            <a:cxnSpLocks/>
          </p:cNvCxnSpPr>
          <p:nvPr/>
        </p:nvCxnSpPr>
        <p:spPr>
          <a:xfrm flipV="1">
            <a:off x="1158660" y="2329609"/>
            <a:ext cx="249403" cy="15901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F764D565-8DE6-4F43-8392-34398070E840}"/>
              </a:ext>
            </a:extLst>
          </p:cNvPr>
          <p:cNvSpPr/>
          <p:nvPr/>
        </p:nvSpPr>
        <p:spPr>
          <a:xfrm>
            <a:off x="6450369" y="1595077"/>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295E7E"/>
                </a:solidFill>
              </a:rPr>
              <a:t>Consulting</a:t>
            </a:r>
          </a:p>
        </p:txBody>
      </p:sp>
      <p:sp>
        <p:nvSpPr>
          <p:cNvPr id="74" name="Rectangle 73">
            <a:extLst>
              <a:ext uri="{FF2B5EF4-FFF2-40B4-BE49-F238E27FC236}">
                <a16:creationId xmlns:a16="http://schemas.microsoft.com/office/drawing/2014/main" id="{67FEBFE7-9A00-49BC-BBCB-E1637C9013D5}"/>
              </a:ext>
            </a:extLst>
          </p:cNvPr>
          <p:cNvSpPr/>
          <p:nvPr/>
        </p:nvSpPr>
        <p:spPr>
          <a:xfrm>
            <a:off x="7019981" y="4143375"/>
            <a:ext cx="543841" cy="3317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575757"/>
                </a:solidFill>
              </a:rPr>
              <a:t>BST</a:t>
            </a:r>
          </a:p>
        </p:txBody>
      </p:sp>
      <p:sp>
        <p:nvSpPr>
          <p:cNvPr id="27" name="Rectangle 26" hidden="1">
            <a:extLst>
              <a:ext uri="{FF2B5EF4-FFF2-40B4-BE49-F238E27FC236}">
                <a16:creationId xmlns:a16="http://schemas.microsoft.com/office/drawing/2014/main" id="{8F569741-8110-4303-B622-DB1DB08A998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122" name="Rectangle 121" hidden="1">
            <a:extLst>
              <a:ext uri="{FF2B5EF4-FFF2-40B4-BE49-F238E27FC236}">
                <a16:creationId xmlns:a16="http://schemas.microsoft.com/office/drawing/2014/main" id="{6F8A7AE9-FD72-4339-948B-02200F31D9A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32" name="Straight Connector 131">
            <a:extLst>
              <a:ext uri="{FF2B5EF4-FFF2-40B4-BE49-F238E27FC236}">
                <a16:creationId xmlns:a16="http://schemas.microsoft.com/office/drawing/2014/main" id="{7CC39FFB-15A2-4CBA-9C67-89868896CC37}"/>
              </a:ext>
            </a:extLst>
          </p:cNvPr>
          <p:cNvCxnSpPr>
            <a:cxnSpLocks/>
          </p:cNvCxnSpPr>
          <p:nvPr/>
        </p:nvCxnSpPr>
        <p:spPr>
          <a:xfrm flipV="1">
            <a:off x="3055664" y="2704274"/>
            <a:ext cx="270942" cy="19637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1" name="Rectangle 190" hidden="1">
            <a:extLst>
              <a:ext uri="{FF2B5EF4-FFF2-40B4-BE49-F238E27FC236}">
                <a16:creationId xmlns:a16="http://schemas.microsoft.com/office/drawing/2014/main" id="{D8EBD3D9-60BF-4A47-B248-1497E8EEB9F1}"/>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93" name="Straight Connector 192">
            <a:extLst>
              <a:ext uri="{FF2B5EF4-FFF2-40B4-BE49-F238E27FC236}">
                <a16:creationId xmlns:a16="http://schemas.microsoft.com/office/drawing/2014/main" id="{03017B59-3DC5-4968-980D-78D09BC1F4D4}"/>
              </a:ext>
            </a:extLst>
          </p:cNvPr>
          <p:cNvCxnSpPr>
            <a:cxnSpLocks/>
          </p:cNvCxnSpPr>
          <p:nvPr/>
        </p:nvCxnSpPr>
        <p:spPr>
          <a:xfrm flipV="1">
            <a:off x="1155710" y="4800321"/>
            <a:ext cx="252353" cy="11140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403EB36-8539-4C72-ADB7-80A920EADA68}"/>
              </a:ext>
            </a:extLst>
          </p:cNvPr>
          <p:cNvCxnSpPr>
            <a:cxnSpLocks/>
          </p:cNvCxnSpPr>
          <p:nvPr/>
        </p:nvCxnSpPr>
        <p:spPr>
          <a:xfrm flipV="1">
            <a:off x="2078347" y="4971420"/>
            <a:ext cx="273875" cy="37249"/>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7D959197-3DE6-46ED-BC1E-CB27D7DE42F3}"/>
              </a:ext>
            </a:extLst>
          </p:cNvPr>
          <p:cNvCxnSpPr>
            <a:cxnSpLocks/>
          </p:cNvCxnSpPr>
          <p:nvPr/>
        </p:nvCxnSpPr>
        <p:spPr>
          <a:xfrm flipV="1">
            <a:off x="3055664" y="4951380"/>
            <a:ext cx="284081" cy="24447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54D55BE9-A2A0-4999-AD08-A5CACD4D26EB}"/>
              </a:ext>
            </a:extLst>
          </p:cNvPr>
          <p:cNvCxnSpPr>
            <a:cxnSpLocks/>
          </p:cNvCxnSpPr>
          <p:nvPr/>
        </p:nvCxnSpPr>
        <p:spPr>
          <a:xfrm flipV="1">
            <a:off x="3993422" y="4800321"/>
            <a:ext cx="277542" cy="214613"/>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8BADB44A-848A-45BA-ACCE-1D8E6A7FA476}"/>
              </a:ext>
            </a:extLst>
          </p:cNvPr>
          <p:cNvCxnSpPr>
            <a:cxnSpLocks/>
          </p:cNvCxnSpPr>
          <p:nvPr/>
        </p:nvCxnSpPr>
        <p:spPr>
          <a:xfrm flipV="1">
            <a:off x="5877747" y="4695826"/>
            <a:ext cx="278122" cy="16019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097A5220-59E8-49F5-828B-31D76F37A391}"/>
              </a:ext>
            </a:extLst>
          </p:cNvPr>
          <p:cNvGrpSpPr>
            <a:grpSpLocks noChangeAspect="1"/>
          </p:cNvGrpSpPr>
          <p:nvPr/>
        </p:nvGrpSpPr>
        <p:grpSpPr>
          <a:xfrm>
            <a:off x="599640" y="864696"/>
            <a:ext cx="457200" cy="457200"/>
            <a:chOff x="5867400" y="3200400"/>
            <a:chExt cx="457200" cy="457200"/>
          </a:xfrm>
        </p:grpSpPr>
        <p:sp>
          <p:nvSpPr>
            <p:cNvPr id="66" name="AutoShape 43">
              <a:extLst>
                <a:ext uri="{FF2B5EF4-FFF2-40B4-BE49-F238E27FC236}">
                  <a16:creationId xmlns:a16="http://schemas.microsoft.com/office/drawing/2014/main" id="{DEFAB49A-B1EC-4AAB-A899-B529221B54FA}"/>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7">
              <a:extLst>
                <a:ext uri="{FF2B5EF4-FFF2-40B4-BE49-F238E27FC236}">
                  <a16:creationId xmlns:a16="http://schemas.microsoft.com/office/drawing/2014/main" id="{A61080FC-98CA-4975-9E98-6F417C04702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cxnSp>
        <p:nvCxnSpPr>
          <p:cNvPr id="149" name="Straight Connector 148">
            <a:extLst>
              <a:ext uri="{FF2B5EF4-FFF2-40B4-BE49-F238E27FC236}">
                <a16:creationId xmlns:a16="http://schemas.microsoft.com/office/drawing/2014/main" id="{132535A8-5820-45D9-9E73-9AADD72BDD16}"/>
              </a:ext>
            </a:extLst>
          </p:cNvPr>
          <p:cNvCxnSpPr>
            <a:cxnSpLocks/>
          </p:cNvCxnSpPr>
          <p:nvPr/>
        </p:nvCxnSpPr>
        <p:spPr>
          <a:xfrm>
            <a:off x="7165697" y="2165710"/>
            <a:ext cx="215987" cy="7937"/>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ectangle 146" hidden="1">
            <a:extLst>
              <a:ext uri="{FF2B5EF4-FFF2-40B4-BE49-F238E27FC236}">
                <a16:creationId xmlns:a16="http://schemas.microsoft.com/office/drawing/2014/main" id="{7B3478E6-ACA0-4A4F-AF5A-14FA87ADE40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76" name="Straight Connector 175">
            <a:extLst>
              <a:ext uri="{FF2B5EF4-FFF2-40B4-BE49-F238E27FC236}">
                <a16:creationId xmlns:a16="http://schemas.microsoft.com/office/drawing/2014/main" id="{BE2BCF6E-CBB6-4B66-B9D2-988F0D49E947}"/>
              </a:ext>
            </a:extLst>
          </p:cNvPr>
          <p:cNvCxnSpPr>
            <a:cxnSpLocks/>
          </p:cNvCxnSpPr>
          <p:nvPr/>
        </p:nvCxnSpPr>
        <p:spPr>
          <a:xfrm flipV="1">
            <a:off x="7116735" y="4721224"/>
            <a:ext cx="229756" cy="4005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91A6058-7EEC-4616-B01A-230033CD4AE9}"/>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Year-over-Year – Bar Chart View</a:t>
            </a:r>
          </a:p>
        </p:txBody>
      </p:sp>
      <p:cxnSp>
        <p:nvCxnSpPr>
          <p:cNvPr id="94" name="Straight Connector 93">
            <a:extLst>
              <a:ext uri="{FF2B5EF4-FFF2-40B4-BE49-F238E27FC236}">
                <a16:creationId xmlns:a16="http://schemas.microsoft.com/office/drawing/2014/main" id="{BBA62CC1-11A7-4681-84A3-5AEEECA959A4}"/>
              </a:ext>
            </a:extLst>
          </p:cNvPr>
          <p:cNvCxnSpPr>
            <a:cxnSpLocks/>
          </p:cNvCxnSpPr>
          <p:nvPr/>
        </p:nvCxnSpPr>
        <p:spPr>
          <a:xfrm>
            <a:off x="1425927" y="2333570"/>
            <a:ext cx="284705" cy="21399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3882AFE-B493-4851-AE74-6DE936F8CB0D}"/>
              </a:ext>
            </a:extLst>
          </p:cNvPr>
          <p:cNvCxnSpPr>
            <a:cxnSpLocks/>
          </p:cNvCxnSpPr>
          <p:nvPr/>
        </p:nvCxnSpPr>
        <p:spPr>
          <a:xfrm flipV="1">
            <a:off x="2110482" y="2700562"/>
            <a:ext cx="270769" cy="57235"/>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1003470-2585-4500-A26D-C173CDACE594}"/>
              </a:ext>
            </a:extLst>
          </p:cNvPr>
          <p:cNvCxnSpPr>
            <a:cxnSpLocks/>
          </p:cNvCxnSpPr>
          <p:nvPr/>
        </p:nvCxnSpPr>
        <p:spPr>
          <a:xfrm>
            <a:off x="2402662" y="2694537"/>
            <a:ext cx="237067" cy="144546"/>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1D46DDF4-BE43-47E7-92F8-6551EE88B7A2}"/>
              </a:ext>
            </a:extLst>
          </p:cNvPr>
          <p:cNvCxnSpPr>
            <a:cxnSpLocks/>
          </p:cNvCxnSpPr>
          <p:nvPr/>
        </p:nvCxnSpPr>
        <p:spPr>
          <a:xfrm>
            <a:off x="3346310" y="2704063"/>
            <a:ext cx="229275" cy="26961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84A5DE2-56C8-4FB4-BD91-2D4F2E0EE35F}"/>
              </a:ext>
            </a:extLst>
          </p:cNvPr>
          <p:cNvCxnSpPr>
            <a:cxnSpLocks/>
          </p:cNvCxnSpPr>
          <p:nvPr/>
        </p:nvCxnSpPr>
        <p:spPr>
          <a:xfrm flipV="1">
            <a:off x="4001819" y="2318776"/>
            <a:ext cx="269145" cy="54459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73A8253-3E8C-426F-AE24-26FEE68E4BF6}"/>
              </a:ext>
            </a:extLst>
          </p:cNvPr>
          <p:cNvCxnSpPr>
            <a:cxnSpLocks/>
          </p:cNvCxnSpPr>
          <p:nvPr/>
        </p:nvCxnSpPr>
        <p:spPr>
          <a:xfrm>
            <a:off x="4297893" y="2318849"/>
            <a:ext cx="215124" cy="228711"/>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C393E4A-D53F-4F6E-8DE6-121DBA48CE5C}"/>
              </a:ext>
            </a:extLst>
          </p:cNvPr>
          <p:cNvCxnSpPr>
            <a:cxnSpLocks/>
          </p:cNvCxnSpPr>
          <p:nvPr/>
        </p:nvCxnSpPr>
        <p:spPr>
          <a:xfrm flipV="1">
            <a:off x="5881041" y="2409114"/>
            <a:ext cx="314994" cy="13364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1299F1-018E-4D2D-8437-93988A4B5FFD}"/>
              </a:ext>
            </a:extLst>
          </p:cNvPr>
          <p:cNvCxnSpPr>
            <a:cxnSpLocks/>
          </p:cNvCxnSpPr>
          <p:nvPr/>
        </p:nvCxnSpPr>
        <p:spPr>
          <a:xfrm>
            <a:off x="6196035" y="2411589"/>
            <a:ext cx="226518" cy="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7E4B1FA-A464-4990-B6EB-E17620F56B4E}"/>
              </a:ext>
            </a:extLst>
          </p:cNvPr>
          <p:cNvCxnSpPr>
            <a:cxnSpLocks/>
          </p:cNvCxnSpPr>
          <p:nvPr/>
        </p:nvCxnSpPr>
        <p:spPr>
          <a:xfrm>
            <a:off x="6856932" y="2157772"/>
            <a:ext cx="259803"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F685732-1A25-42F6-8141-D75642F133D3}"/>
              </a:ext>
            </a:extLst>
          </p:cNvPr>
          <p:cNvCxnSpPr>
            <a:cxnSpLocks/>
          </p:cNvCxnSpPr>
          <p:nvPr/>
        </p:nvCxnSpPr>
        <p:spPr>
          <a:xfrm>
            <a:off x="6802453" y="4702692"/>
            <a:ext cx="298435" cy="56494"/>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25DE2C2-56AD-4E94-9622-CCDEABC975D6}"/>
              </a:ext>
            </a:extLst>
          </p:cNvPr>
          <p:cNvCxnSpPr>
            <a:cxnSpLocks/>
          </p:cNvCxnSpPr>
          <p:nvPr/>
        </p:nvCxnSpPr>
        <p:spPr>
          <a:xfrm flipV="1">
            <a:off x="4939150" y="2371189"/>
            <a:ext cx="280807" cy="467684"/>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20AAF37-C4BF-4D6B-9E6B-FE5A96B91F1C}"/>
              </a:ext>
            </a:extLst>
          </p:cNvPr>
          <p:cNvCxnSpPr>
            <a:cxnSpLocks/>
          </p:cNvCxnSpPr>
          <p:nvPr/>
        </p:nvCxnSpPr>
        <p:spPr>
          <a:xfrm>
            <a:off x="5238432" y="2380031"/>
            <a:ext cx="232702" cy="300026"/>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668CBA03-82B0-47CB-95CA-1A02B025CA41}"/>
              </a:ext>
            </a:extLst>
          </p:cNvPr>
          <p:cNvCxnSpPr>
            <a:cxnSpLocks/>
          </p:cNvCxnSpPr>
          <p:nvPr/>
        </p:nvCxnSpPr>
        <p:spPr>
          <a:xfrm>
            <a:off x="1410884" y="4795258"/>
            <a:ext cx="264226" cy="8917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D630EAD-CD1F-472A-A375-446AF966573F}"/>
              </a:ext>
            </a:extLst>
          </p:cNvPr>
          <p:cNvCxnSpPr>
            <a:cxnSpLocks/>
          </p:cNvCxnSpPr>
          <p:nvPr/>
        </p:nvCxnSpPr>
        <p:spPr>
          <a:xfrm>
            <a:off x="2388230" y="4954207"/>
            <a:ext cx="264226" cy="8917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059ABFB6-C110-4791-BA36-25D96CECE5FF}"/>
              </a:ext>
            </a:extLst>
          </p:cNvPr>
          <p:cNvCxnSpPr>
            <a:cxnSpLocks/>
          </p:cNvCxnSpPr>
          <p:nvPr/>
        </p:nvCxnSpPr>
        <p:spPr>
          <a:xfrm>
            <a:off x="3339745" y="4951380"/>
            <a:ext cx="258738" cy="18263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48CE7FB9-6A9D-4286-A3ED-975B9C4D4E12}"/>
              </a:ext>
            </a:extLst>
          </p:cNvPr>
          <p:cNvCxnSpPr>
            <a:cxnSpLocks/>
          </p:cNvCxnSpPr>
          <p:nvPr/>
        </p:nvCxnSpPr>
        <p:spPr>
          <a:xfrm>
            <a:off x="4278411" y="4800321"/>
            <a:ext cx="264226" cy="8917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AC457627-2F24-4C84-AB4D-813325A47179}"/>
              </a:ext>
            </a:extLst>
          </p:cNvPr>
          <p:cNvCxnSpPr>
            <a:cxnSpLocks/>
          </p:cNvCxnSpPr>
          <p:nvPr/>
        </p:nvCxnSpPr>
        <p:spPr>
          <a:xfrm>
            <a:off x="5213350" y="4778630"/>
            <a:ext cx="285519" cy="128997"/>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E5F03998-9E01-42BB-B3B9-0EBC6F817C52}"/>
              </a:ext>
            </a:extLst>
          </p:cNvPr>
          <p:cNvCxnSpPr>
            <a:cxnSpLocks/>
          </p:cNvCxnSpPr>
          <p:nvPr/>
        </p:nvCxnSpPr>
        <p:spPr>
          <a:xfrm flipV="1">
            <a:off x="4924217" y="4794057"/>
            <a:ext cx="282817" cy="248638"/>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47D9B6E3-930A-43DB-82BB-885D72226218}"/>
              </a:ext>
            </a:extLst>
          </p:cNvPr>
          <p:cNvCxnSpPr>
            <a:cxnSpLocks/>
          </p:cNvCxnSpPr>
          <p:nvPr/>
        </p:nvCxnSpPr>
        <p:spPr>
          <a:xfrm>
            <a:off x="6178024" y="4701209"/>
            <a:ext cx="277278" cy="22225"/>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862224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488"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47" name="table_type_name">
            <a:extLst>
              <a:ext uri="{FF2B5EF4-FFF2-40B4-BE49-F238E27FC236}">
                <a16:creationId xmlns:a16="http://schemas.microsoft.com/office/drawing/2014/main" id="{009F78D3-F04D-481B-BD5E-3CB21C9C7EB4}"/>
              </a:ext>
            </a:extLst>
          </p:cNvPr>
          <p:cNvGraphicFramePr>
            <a:graphicFrameLocks noGrp="1"/>
          </p:cNvGraphicFramePr>
          <p:nvPr>
            <p:extLst>
              <p:ext uri="{D42A27DB-BD31-4B8C-83A1-F6EECF244321}">
                <p14:modId xmlns:p14="http://schemas.microsoft.com/office/powerpoint/2010/main" val="4270349161"/>
              </p:ext>
            </p:extLst>
          </p:nvPr>
        </p:nvGraphicFramePr>
        <p:xfrm>
          <a:off x="683910" y="1500540"/>
          <a:ext cx="11076773" cy="3681081"/>
        </p:xfrm>
        <a:graphic>
          <a:graphicData uri="http://schemas.openxmlformats.org/drawingml/2006/table">
            <a:tbl>
              <a:tblPr/>
              <a:tblGrid>
                <a:gridCol w="1534973">
                  <a:extLst>
                    <a:ext uri="{9D8B030D-6E8A-4147-A177-3AD203B41FA5}">
                      <a16:colId xmlns:a16="http://schemas.microsoft.com/office/drawing/2014/main" val="20001"/>
                    </a:ext>
                  </a:extLst>
                </a:gridCol>
                <a:gridCol w="954180">
                  <a:extLst>
                    <a:ext uri="{9D8B030D-6E8A-4147-A177-3AD203B41FA5}">
                      <a16:colId xmlns:a16="http://schemas.microsoft.com/office/drawing/2014/main" val="20002"/>
                    </a:ext>
                  </a:extLst>
                </a:gridCol>
                <a:gridCol w="954180">
                  <a:extLst>
                    <a:ext uri="{9D8B030D-6E8A-4147-A177-3AD203B41FA5}">
                      <a16:colId xmlns:a16="http://schemas.microsoft.com/office/drawing/2014/main" val="251367245"/>
                    </a:ext>
                  </a:extLst>
                </a:gridCol>
                <a:gridCol w="954180">
                  <a:extLst>
                    <a:ext uri="{9D8B030D-6E8A-4147-A177-3AD203B41FA5}">
                      <a16:colId xmlns:a16="http://schemas.microsoft.com/office/drawing/2014/main" val="20010"/>
                    </a:ext>
                  </a:extLst>
                </a:gridCol>
                <a:gridCol w="954180">
                  <a:extLst>
                    <a:ext uri="{9D8B030D-6E8A-4147-A177-3AD203B41FA5}">
                      <a16:colId xmlns:a16="http://schemas.microsoft.com/office/drawing/2014/main" val="3400976198"/>
                    </a:ext>
                  </a:extLst>
                </a:gridCol>
                <a:gridCol w="954180">
                  <a:extLst>
                    <a:ext uri="{9D8B030D-6E8A-4147-A177-3AD203B41FA5}">
                      <a16:colId xmlns:a16="http://schemas.microsoft.com/office/drawing/2014/main" val="3792298919"/>
                    </a:ext>
                  </a:extLst>
                </a:gridCol>
                <a:gridCol w="954180">
                  <a:extLst>
                    <a:ext uri="{9D8B030D-6E8A-4147-A177-3AD203B41FA5}">
                      <a16:colId xmlns:a16="http://schemas.microsoft.com/office/drawing/2014/main" val="1639790915"/>
                    </a:ext>
                  </a:extLst>
                </a:gridCol>
                <a:gridCol w="954180">
                  <a:extLst>
                    <a:ext uri="{9D8B030D-6E8A-4147-A177-3AD203B41FA5}">
                      <a16:colId xmlns:a16="http://schemas.microsoft.com/office/drawing/2014/main" val="2104951294"/>
                    </a:ext>
                  </a:extLst>
                </a:gridCol>
                <a:gridCol w="954180">
                  <a:extLst>
                    <a:ext uri="{9D8B030D-6E8A-4147-A177-3AD203B41FA5}">
                      <a16:colId xmlns:a16="http://schemas.microsoft.com/office/drawing/2014/main" val="3206811366"/>
                    </a:ext>
                  </a:extLst>
                </a:gridCol>
                <a:gridCol w="954180">
                  <a:extLst>
                    <a:ext uri="{9D8B030D-6E8A-4147-A177-3AD203B41FA5}">
                      <a16:colId xmlns:a16="http://schemas.microsoft.com/office/drawing/2014/main" val="828961312"/>
                    </a:ext>
                  </a:extLst>
                </a:gridCol>
                <a:gridCol w="954180">
                  <a:extLst>
                    <a:ext uri="{9D8B030D-6E8A-4147-A177-3AD203B41FA5}">
                      <a16:colId xmlns:a16="http://schemas.microsoft.com/office/drawing/2014/main" val="353826638"/>
                    </a:ext>
                  </a:extLst>
                </a:gridCol>
              </a:tblGrid>
              <a:tr h="542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19 Average</a:t>
                      </a:r>
                    </a:p>
                  </a:txBody>
                  <a:tcPr marL="0" marR="73152" marT="73152" marB="73152"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 in-Class (BIC) Target</a:t>
                      </a:r>
                    </a:p>
                  </a:txBody>
                  <a:tcPr marL="0" marR="73152" marT="73152" marB="73152"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 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48734">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rgbClr val="E71C5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cap="none" normalizeH="0" baseline="0" dirty="0">
                          <a:ln>
                            <a:noFill/>
                          </a:ln>
                          <a:solidFill>
                            <a:srgbClr val="295E7E"/>
                          </a:solidFill>
                          <a:effectLst/>
                          <a:latin typeface="+mn-lt"/>
                          <a:cs typeface="Arial" charset="0"/>
                          <a:sym typeface="Trebuchet MS" panose="020B0603020202020204" pitchFamily="34" charset="0"/>
                        </a:rPr>
                        <a:t>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87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OneNote</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4</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rPr>
                        <a:t>8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dirty="0">
                          <a:solidFill>
                            <a:srgbClr val="29BA74"/>
                          </a:solidFill>
                          <a:latin typeface="Wingdings 3" panose="05040102010807070707" pitchFamily="18" charset="2"/>
                        </a:rPr>
                        <a:t>p</a:t>
                      </a:r>
                      <a:r>
                        <a:rPr lang="en-US" sz="1100" dirty="0">
                          <a:solidFill>
                            <a:srgbClr val="E71C57"/>
                          </a:solidFill>
                          <a:latin typeface="Wingdings 3" panose="05040102010807070707" pitchFamily="18" charset="2"/>
                        </a:rPr>
                        <a:t> </a:t>
                      </a:r>
                      <a:r>
                        <a:rPr lang="en-US" sz="1100" kern="1200" dirty="0">
                          <a:solidFill>
                            <a:srgbClr val="FFFFFF"/>
                          </a:solidFill>
                          <a:latin typeface="+mn-lt"/>
                          <a:ea typeface="+mn-ea"/>
                          <a:cs typeface="+mn-cs"/>
                        </a:rPr>
                        <a:t>1</a:t>
                      </a:r>
                      <a:r>
                        <a:rPr lang="en-US" sz="1100" kern="1200" dirty="0">
                          <a:solidFill>
                            <a:srgbClr val="575757"/>
                          </a:solidFill>
                          <a:latin typeface="+mn-lt"/>
                          <a:ea typeface="+mn-ea"/>
                          <a:cs typeface="+mn-cs"/>
                        </a:rPr>
                        <a:t>1</a:t>
                      </a:r>
                      <a:endPar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rPr>
                        <a:t>83</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rPr>
                        <a:t>8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chemeClr val="bg1"/>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3</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3</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575757"/>
                          </a:solidFill>
                          <a:effectLst/>
                          <a:uLnTx/>
                          <a:uFillTx/>
                          <a:latin typeface="+mn-lt"/>
                          <a:ea typeface="+mn-ea"/>
                          <a:cs typeface="+mn-cs"/>
                        </a:rPr>
                        <a:t>6%</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91280756"/>
                  </a:ext>
                </a:extLst>
              </a:tr>
              <a:tr h="3487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Word</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9</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1</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rgbClr val="575757"/>
                          </a:solidFill>
                          <a:effectLst/>
                          <a:uLnTx/>
                          <a:uFillTx/>
                          <a:latin typeface="+mn-lt"/>
                          <a:ea typeface="+mn-ea"/>
                          <a:cs typeface="+mn-cs"/>
                        </a:rPr>
                        <a:t>11</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2</a:t>
                      </a:r>
                      <a:endParaRPr kumimoji="0" lang="en-US" sz="11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75757"/>
                          </a:solidFill>
                          <a:effectLst/>
                          <a:uLnTx/>
                          <a:uFillTx/>
                          <a:latin typeface="Wingdings 3" panose="05040102010807070707" pitchFamily="18" charset="2"/>
                          <a:ea typeface="+mn-ea"/>
                          <a:cs typeface="+mn-cs"/>
                        </a:rPr>
                        <a:t>w</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575757"/>
                          </a:solidFill>
                          <a:effectLst/>
                          <a:uLnTx/>
                          <a:uFillTx/>
                          <a:latin typeface="+mn-lt"/>
                          <a:ea typeface="+mn-ea"/>
                          <a:cs typeface="+mn-cs"/>
                        </a:rPr>
                        <a:t>0%</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6538857"/>
                  </a:ext>
                </a:extLst>
              </a:tr>
              <a:tr h="3487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Excel</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9</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9</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57</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575757"/>
                          </a:solidFill>
                          <a:effectLst/>
                          <a:uLnTx/>
                          <a:uFillTx/>
                          <a:latin typeface="+mn-lt"/>
                          <a:ea typeface="+mn-ea"/>
                          <a:cs typeface="+mn-cs"/>
                        </a:rPr>
                        <a:t>19</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2</a:t>
                      </a:r>
                      <a:endParaRPr kumimoji="0" lang="en-US" sz="11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mn-lt"/>
                          <a:ea typeface="+mn-ea"/>
                          <a:cs typeface="+mn-cs"/>
                        </a:rPr>
                        <a:t>4%</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95770363"/>
                  </a:ext>
                </a:extLst>
              </a:tr>
              <a:tr h="3487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rPr>
                        <a:t>Laptop Model</a:t>
                      </a:r>
                      <a:endPar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8</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8</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575757"/>
                          </a:solidFill>
                          <a:effectLst/>
                          <a:uLnTx/>
                          <a:uFillTx/>
                          <a:latin typeface="+mn-lt"/>
                          <a:ea typeface="+mn-ea"/>
                          <a:cs typeface="+mn-cs"/>
                        </a:rPr>
                        <a:t>10</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1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4%</a:t>
                      </a:r>
                      <a:endParaRPr kumimoji="0" lang="en-US" sz="11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487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PowerPoint</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8</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mn-lt"/>
                          <a:ea typeface="+mn-ea"/>
                          <a:cs typeface="+mn-cs"/>
                        </a:rPr>
                        <a:t>12</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54</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71</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575757"/>
                          </a:solidFill>
                          <a:effectLst/>
                          <a:uLnTx/>
                          <a:uFillTx/>
                          <a:latin typeface="+mn-lt"/>
                          <a:ea typeface="+mn-ea"/>
                          <a:cs typeface="+mn-cs"/>
                        </a:rPr>
                        <a:t>17</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1</a:t>
                      </a:r>
                      <a:endParaRPr kumimoji="0" lang="en-US" sz="11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Trebuchet MS"/>
                          <a:ea typeface="+mn-ea"/>
                          <a:cs typeface="+mn-cs"/>
                        </a:rPr>
                        <a:t>9%</a:t>
                      </a:r>
                      <a:endParaRPr kumimoji="0" lang="en-US" sz="11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13797169"/>
                  </a:ext>
                </a:extLst>
              </a:tr>
              <a:tr h="3487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Laptop Overall</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4</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mn-lt"/>
                          <a:ea typeface="+mn-ea"/>
                          <a:cs typeface="+mn-cs"/>
                        </a:rPr>
                        <a:t>12</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55</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575757"/>
                          </a:solidFill>
                          <a:effectLst/>
                          <a:uLnTx/>
                          <a:uFillTx/>
                          <a:latin typeface="+mn-lt"/>
                          <a:ea typeface="+mn-ea"/>
                          <a:cs typeface="+mn-cs"/>
                        </a:rPr>
                        <a:t>14</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2</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11%</a:t>
                      </a:r>
                      <a:endParaRPr kumimoji="0" lang="en-US" sz="11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11502392"/>
                  </a:ext>
                </a:extLst>
              </a:tr>
              <a:tr h="3487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Laptop Stability</a:t>
                      </a:r>
                      <a:r>
                        <a:rPr kumimoji="0" lang="en-US" sz="1200" b="0" i="0" u="none" strike="noStrike" kern="1200" cap="none" spc="0" normalizeH="0" baseline="30000" noProof="0" dirty="0">
                          <a:ln>
                            <a:noFill/>
                          </a:ln>
                          <a:solidFill>
                            <a:schemeClr val="tx1"/>
                          </a:solidFill>
                          <a:effectLst/>
                          <a:uLnTx/>
                          <a:uFillTx/>
                          <a:latin typeface="+mn-lt"/>
                          <a:ea typeface="+mn-ea"/>
                          <a:cs typeface="Arial" pitchFamily="34" charset="0"/>
                          <a:sym typeface="Trebuchet MS" panose="020B0603020202020204" pitchFamily="34" charset="0"/>
                        </a:rPr>
                        <a:t>1</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4</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5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6</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56</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5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60</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100" b="0" i="0" u="none" strike="noStrike" kern="1200" cap="none" spc="0" normalizeH="0" baseline="0" noProof="0" dirty="0">
                          <a:ln>
                            <a:noFill/>
                          </a:ln>
                          <a:solidFill>
                            <a:schemeClr val="bg1"/>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4</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rgbClr val="FFFFFF"/>
                          </a:solidFill>
                          <a:effectLst/>
                          <a:uLnTx/>
                          <a:uFillTx/>
                          <a:latin typeface="+mn-lt"/>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1</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20%</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8985644"/>
                  </a:ext>
                </a:extLst>
              </a:tr>
              <a:tr h="3487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Laptop Performance</a:t>
                      </a:r>
                      <a:r>
                        <a:rPr kumimoji="0" lang="en-US" sz="1200" b="0" i="0" u="none" strike="noStrike" kern="1200" cap="none" spc="0" normalizeH="0" baseline="30000" noProof="0" dirty="0">
                          <a:ln>
                            <a:noFill/>
                          </a:ln>
                          <a:solidFill>
                            <a:schemeClr val="tx1"/>
                          </a:solidFill>
                          <a:effectLst/>
                          <a:uLnTx/>
                          <a:uFillTx/>
                          <a:latin typeface="+mn-lt"/>
                          <a:ea typeface="+mn-ea"/>
                          <a:cs typeface="Arial" pitchFamily="34" charset="0"/>
                          <a:sym typeface="Trebuchet MS" panose="020B0603020202020204" pitchFamily="34" charset="0"/>
                        </a:rPr>
                        <a:t>1</a:t>
                      </a:r>
                      <a:endPar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4</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5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575757"/>
                          </a:solidFill>
                          <a:effectLst/>
                          <a:uLnTx/>
                          <a:uFillTx/>
                          <a:latin typeface="+mn-lt"/>
                          <a:ea typeface="+mn-ea"/>
                          <a:cs typeface="+mn-cs"/>
                        </a:rPr>
                        <a:t>14</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rPr>
                        <a:t>49</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5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575757"/>
                          </a:solidFill>
                          <a:effectLst/>
                          <a:latin typeface="+mn-lt"/>
                          <a:ea typeface="+mn-ea"/>
                          <a:cs typeface="Arial" charset="0"/>
                        </a:rPr>
                        <a:t>58</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100" b="0" i="0" u="none" strike="noStrike" kern="1200" cap="none" spc="0" normalizeH="0" baseline="0" noProof="0" dirty="0">
                          <a:ln>
                            <a:noFill/>
                          </a:ln>
                          <a:solidFill>
                            <a:schemeClr val="bg1"/>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9</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1</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1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100" b="0" i="0" u="none" strike="noStrike" kern="1200" cap="none" spc="0" normalizeH="0" baseline="0" noProof="0" dirty="0">
                          <a:ln>
                            <a:noFill/>
                          </a:ln>
                          <a:solidFill>
                            <a:srgbClr val="575757"/>
                          </a:solidFill>
                          <a:effectLst/>
                          <a:uLnTx/>
                          <a:uFillTx/>
                          <a:latin typeface="+mn-lt"/>
                          <a:ea typeface="+mn-ea"/>
                          <a:cs typeface="+mn-cs"/>
                        </a:rPr>
                        <a:t>22%</a:t>
                      </a:r>
                      <a:endParaRPr kumimoji="0" lang="en-US" sz="11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90360164"/>
                  </a:ext>
                </a:extLst>
              </a:tr>
            </a:tbl>
          </a:graphicData>
        </a:graphic>
      </p:graphicFrame>
      <p:sp>
        <p:nvSpPr>
          <p:cNvPr id="42" name="Title 2">
            <a:extLst>
              <a:ext uri="{FF2B5EF4-FFF2-40B4-BE49-F238E27FC236}">
                <a16:creationId xmlns:a16="http://schemas.microsoft.com/office/drawing/2014/main" id="{DC1C4E1B-86BE-4CD2-812B-0B3C96B1DF3E}"/>
              </a:ext>
            </a:extLst>
          </p:cNvPr>
          <p:cNvSpPr>
            <a:spLocks noGrp="1"/>
          </p:cNvSpPr>
          <p:nvPr>
            <p:ph type="title"/>
          </p:nvPr>
        </p:nvSpPr>
        <p:spPr/>
        <p:txBody>
          <a:bodyPr vert="horz"/>
          <a:lstStyle/>
          <a:p>
            <a:r>
              <a:rPr lang="en-US" dirty="0">
                <a:solidFill>
                  <a:srgbClr val="295E7E"/>
                </a:solidFill>
              </a:rPr>
              <a:t>Laptop &amp; MS Office Satisfaction</a:t>
            </a:r>
          </a:p>
        </p:txBody>
      </p:sp>
      <p:sp>
        <p:nvSpPr>
          <p:cNvPr id="43" name="Rectangle 42">
            <a:extLst>
              <a:ext uri="{FF2B5EF4-FFF2-40B4-BE49-F238E27FC236}">
                <a16:creationId xmlns:a16="http://schemas.microsoft.com/office/drawing/2014/main" id="{ADDD79AF-9C2A-4BFE-B77B-E08600C4FC29}"/>
              </a:ext>
            </a:extLst>
          </p:cNvPr>
          <p:cNvSpPr/>
          <p:nvPr/>
        </p:nvSpPr>
        <p:spPr>
          <a:xfrm>
            <a:off x="997488" y="925006"/>
            <a:ext cx="6563897"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sp>
        <p:nvSpPr>
          <p:cNvPr id="32" name="Rectangle 31">
            <a:extLst>
              <a:ext uri="{FF2B5EF4-FFF2-40B4-BE49-F238E27FC236}">
                <a16:creationId xmlns:a16="http://schemas.microsoft.com/office/drawing/2014/main" id="{F6E541D4-5C5D-4553-903F-E34094F7AAD6}"/>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575757"/>
              </a:solidFill>
            </a:endParaRPr>
          </a:p>
        </p:txBody>
      </p:sp>
      <p:sp>
        <p:nvSpPr>
          <p:cNvPr id="33" name="Rectangle 32">
            <a:extLst>
              <a:ext uri="{FF2B5EF4-FFF2-40B4-BE49-F238E27FC236}">
                <a16:creationId xmlns:a16="http://schemas.microsoft.com/office/drawing/2014/main" id="{480521C0-A2DC-4562-B3DA-E7378A026811}"/>
              </a:ext>
            </a:extLst>
          </p:cNvPr>
          <p:cNvSpPr/>
          <p:nvPr/>
        </p:nvSpPr>
        <p:spPr>
          <a:xfrm>
            <a:off x="341646" y="5980209"/>
            <a:ext cx="11470140"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ll products (except Laptop Performance) exceeded their 2020 annual average in 2021. The 3-year journey is even more impressive showing more significant improvements including double digit increases for 5 products.</a:t>
            </a:r>
          </a:p>
        </p:txBody>
      </p:sp>
      <p:grpSp>
        <p:nvGrpSpPr>
          <p:cNvPr id="25" name="Group 24">
            <a:extLst>
              <a:ext uri="{FF2B5EF4-FFF2-40B4-BE49-F238E27FC236}">
                <a16:creationId xmlns:a16="http://schemas.microsoft.com/office/drawing/2014/main" id="{2A8C93C3-E0FE-4921-AE35-6A55BFC73713}"/>
              </a:ext>
            </a:extLst>
          </p:cNvPr>
          <p:cNvGrpSpPr/>
          <p:nvPr/>
        </p:nvGrpSpPr>
        <p:grpSpPr>
          <a:xfrm>
            <a:off x="683910" y="5421143"/>
            <a:ext cx="6155997" cy="444350"/>
            <a:chOff x="753111" y="3331233"/>
            <a:chExt cx="6155997" cy="444350"/>
          </a:xfrm>
        </p:grpSpPr>
        <p:grpSp>
          <p:nvGrpSpPr>
            <p:cNvPr id="26" name="Group 25">
              <a:extLst>
                <a:ext uri="{FF2B5EF4-FFF2-40B4-BE49-F238E27FC236}">
                  <a16:creationId xmlns:a16="http://schemas.microsoft.com/office/drawing/2014/main" id="{34360281-ED42-4D19-A84D-1D4ED4FC0C2A}"/>
                </a:ext>
              </a:extLst>
            </p:cNvPr>
            <p:cNvGrpSpPr/>
            <p:nvPr/>
          </p:nvGrpSpPr>
          <p:grpSpPr>
            <a:xfrm>
              <a:off x="753111" y="3331233"/>
              <a:ext cx="6155997" cy="220957"/>
              <a:chOff x="753111" y="3331233"/>
              <a:chExt cx="6155997" cy="220957"/>
            </a:xfrm>
          </p:grpSpPr>
          <p:sp>
            <p:nvSpPr>
              <p:cNvPr id="39" name="Rectangle 38">
                <a:extLst>
                  <a:ext uri="{FF2B5EF4-FFF2-40B4-BE49-F238E27FC236}">
                    <a16:creationId xmlns:a16="http://schemas.microsoft.com/office/drawing/2014/main" id="{FC585CB4-8A2C-46DD-B81B-FD300CAFD409}"/>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40" name="Rectangle 39">
                <a:extLst>
                  <a:ext uri="{FF2B5EF4-FFF2-40B4-BE49-F238E27FC236}">
                    <a16:creationId xmlns:a16="http://schemas.microsoft.com/office/drawing/2014/main" id="{76780520-439F-4267-9EEF-77C7E693888A}"/>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41" name="Rectangle 40">
                <a:extLst>
                  <a:ext uri="{FF2B5EF4-FFF2-40B4-BE49-F238E27FC236}">
                    <a16:creationId xmlns:a16="http://schemas.microsoft.com/office/drawing/2014/main" id="{50DCB2B5-5AEB-4D56-8E03-A08064BCE6A1}"/>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55" name="Rectangle 54">
                <a:extLst>
                  <a:ext uri="{FF2B5EF4-FFF2-40B4-BE49-F238E27FC236}">
                    <a16:creationId xmlns:a16="http://schemas.microsoft.com/office/drawing/2014/main" id="{91E58997-13AF-4689-AE4C-86DA4BFC3325}"/>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56" name="Rectangle 55">
                <a:extLst>
                  <a:ext uri="{FF2B5EF4-FFF2-40B4-BE49-F238E27FC236}">
                    <a16:creationId xmlns:a16="http://schemas.microsoft.com/office/drawing/2014/main" id="{1B92F3FE-FD18-4DBB-9C3C-B5FB1BB0C076}"/>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57" name="Rectangle 56">
                <a:extLst>
                  <a:ext uri="{FF2B5EF4-FFF2-40B4-BE49-F238E27FC236}">
                    <a16:creationId xmlns:a16="http://schemas.microsoft.com/office/drawing/2014/main" id="{00964896-9F59-4E12-93CF-A2BA3F5C8DB4}"/>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7" name="Rectangle 26">
              <a:extLst>
                <a:ext uri="{FF2B5EF4-FFF2-40B4-BE49-F238E27FC236}">
                  <a16:creationId xmlns:a16="http://schemas.microsoft.com/office/drawing/2014/main" id="{28929C0F-A1D1-4B56-82BA-0879D84CBF96}"/>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8" name="Rectangle 27">
              <a:extLst>
                <a:ext uri="{FF2B5EF4-FFF2-40B4-BE49-F238E27FC236}">
                  <a16:creationId xmlns:a16="http://schemas.microsoft.com/office/drawing/2014/main" id="{B2472564-6F45-4620-9626-0443D044509F}"/>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30" name="Rectangle 29">
              <a:extLst>
                <a:ext uri="{FF2B5EF4-FFF2-40B4-BE49-F238E27FC236}">
                  <a16:creationId xmlns:a16="http://schemas.microsoft.com/office/drawing/2014/main" id="{CA50B929-7FD4-4E9C-BA97-683432A10575}"/>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31" name="Rectangle 30">
              <a:extLst>
                <a:ext uri="{FF2B5EF4-FFF2-40B4-BE49-F238E27FC236}">
                  <a16:creationId xmlns:a16="http://schemas.microsoft.com/office/drawing/2014/main" id="{16053980-B98C-4427-9BB6-BBA756004B5D}"/>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34" name="Rectangle 33">
              <a:extLst>
                <a:ext uri="{FF2B5EF4-FFF2-40B4-BE49-F238E27FC236}">
                  <a16:creationId xmlns:a16="http://schemas.microsoft.com/office/drawing/2014/main" id="{D69AF52F-852F-4DAC-A079-AB4E592C04BE}"/>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38" name="Rectangle 37">
              <a:extLst>
                <a:ext uri="{FF2B5EF4-FFF2-40B4-BE49-F238E27FC236}">
                  <a16:creationId xmlns:a16="http://schemas.microsoft.com/office/drawing/2014/main" id="{173EF4ED-0904-4287-A4BD-D8A790A837E3}"/>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29" name="Group 28">
            <a:extLst>
              <a:ext uri="{FF2B5EF4-FFF2-40B4-BE49-F238E27FC236}">
                <a16:creationId xmlns:a16="http://schemas.microsoft.com/office/drawing/2014/main" id="{1A630DDB-F878-4C0D-9B69-7213000C7CBD}"/>
              </a:ext>
            </a:extLst>
          </p:cNvPr>
          <p:cNvGrpSpPr>
            <a:grpSpLocks noChangeAspect="1"/>
          </p:cNvGrpSpPr>
          <p:nvPr/>
        </p:nvGrpSpPr>
        <p:grpSpPr>
          <a:xfrm>
            <a:off x="599640" y="864696"/>
            <a:ext cx="457200" cy="457200"/>
            <a:chOff x="5867400" y="3200400"/>
            <a:chExt cx="457200" cy="457200"/>
          </a:xfrm>
        </p:grpSpPr>
        <p:sp>
          <p:nvSpPr>
            <p:cNvPr id="35" name="AutoShape 43">
              <a:extLst>
                <a:ext uri="{FF2B5EF4-FFF2-40B4-BE49-F238E27FC236}">
                  <a16:creationId xmlns:a16="http://schemas.microsoft.com/office/drawing/2014/main" id="{3BD39A06-3F7A-49E2-9128-3010B11B0E7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7">
              <a:extLst>
                <a:ext uri="{FF2B5EF4-FFF2-40B4-BE49-F238E27FC236}">
                  <a16:creationId xmlns:a16="http://schemas.microsoft.com/office/drawing/2014/main" id="{483BDBA2-B6BF-49D6-BC85-1F552382352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9" name="Oval 20">
            <a:extLst>
              <a:ext uri="{FF2B5EF4-FFF2-40B4-BE49-F238E27FC236}">
                <a16:creationId xmlns:a16="http://schemas.microsoft.com/office/drawing/2014/main" id="{4E73CF36-7788-42A3-A984-9B8D307C145F}"/>
              </a:ext>
            </a:extLst>
          </p:cNvPr>
          <p:cNvSpPr>
            <a:spLocks noChangeAspect="1" noChangeArrowheads="1"/>
          </p:cNvSpPr>
          <p:nvPr/>
        </p:nvSpPr>
        <p:spPr bwMode="auto">
          <a:xfrm>
            <a:off x="10877989" y="2493330"/>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0" name="Oval 20">
            <a:extLst>
              <a:ext uri="{FF2B5EF4-FFF2-40B4-BE49-F238E27FC236}">
                <a16:creationId xmlns:a16="http://schemas.microsoft.com/office/drawing/2014/main" id="{56395D6F-AED7-41BB-87EF-C5DCDC403E3A}"/>
              </a:ext>
            </a:extLst>
          </p:cNvPr>
          <p:cNvSpPr>
            <a:spLocks noChangeAspect="1" noChangeArrowheads="1"/>
          </p:cNvSpPr>
          <p:nvPr/>
        </p:nvSpPr>
        <p:spPr bwMode="auto">
          <a:xfrm>
            <a:off x="10871592" y="2829901"/>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8" name="Oval 20">
            <a:extLst>
              <a:ext uri="{FF2B5EF4-FFF2-40B4-BE49-F238E27FC236}">
                <a16:creationId xmlns:a16="http://schemas.microsoft.com/office/drawing/2014/main" id="{AF0D9A83-027E-4170-850A-D175B9A0BFA8}"/>
              </a:ext>
            </a:extLst>
          </p:cNvPr>
          <p:cNvSpPr>
            <a:spLocks noChangeAspect="1" noChangeArrowheads="1"/>
          </p:cNvSpPr>
          <p:nvPr/>
        </p:nvSpPr>
        <p:spPr bwMode="auto">
          <a:xfrm>
            <a:off x="10877989" y="4238007"/>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6" name="Rectangle 45">
            <a:extLst>
              <a:ext uri="{FF2B5EF4-FFF2-40B4-BE49-F238E27FC236}">
                <a16:creationId xmlns:a16="http://schemas.microsoft.com/office/drawing/2014/main" id="{A02E5FB3-0F15-4CFE-9951-4A0CACC8A0A5}"/>
              </a:ext>
            </a:extLst>
          </p:cNvPr>
          <p:cNvSpPr/>
          <p:nvPr/>
        </p:nvSpPr>
        <p:spPr>
          <a:xfrm>
            <a:off x="7932180" y="1500540"/>
            <a:ext cx="1927123" cy="3706424"/>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 name="Rectangle 2">
            <a:extLst>
              <a:ext uri="{FF2B5EF4-FFF2-40B4-BE49-F238E27FC236}">
                <a16:creationId xmlns:a16="http://schemas.microsoft.com/office/drawing/2014/main" id="{DBBC2FE0-28F6-4B0F-BB28-8DEF32717933}"/>
              </a:ext>
            </a:extLst>
          </p:cNvPr>
          <p:cNvSpPr/>
          <p:nvPr/>
        </p:nvSpPr>
        <p:spPr>
          <a:xfrm>
            <a:off x="6900226" y="5229949"/>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8" name="Group 7">
            <a:extLst>
              <a:ext uri="{FF2B5EF4-FFF2-40B4-BE49-F238E27FC236}">
                <a16:creationId xmlns:a16="http://schemas.microsoft.com/office/drawing/2014/main" id="{AE436C5D-7162-4038-B970-A5B963D4AD9D}"/>
              </a:ext>
            </a:extLst>
          </p:cNvPr>
          <p:cNvGrpSpPr/>
          <p:nvPr/>
        </p:nvGrpSpPr>
        <p:grpSpPr>
          <a:xfrm>
            <a:off x="9751525" y="5278831"/>
            <a:ext cx="2116895" cy="591304"/>
            <a:chOff x="9751525" y="5356845"/>
            <a:chExt cx="2116895" cy="591304"/>
          </a:xfrm>
        </p:grpSpPr>
        <p:sp>
          <p:nvSpPr>
            <p:cNvPr id="62" name="Oval 20">
              <a:extLst>
                <a:ext uri="{FF2B5EF4-FFF2-40B4-BE49-F238E27FC236}">
                  <a16:creationId xmlns:a16="http://schemas.microsoft.com/office/drawing/2014/main" id="{7E9E2D3D-20ED-458B-B621-A839C77EF399}"/>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0" name="Rectangle 59">
              <a:extLst>
                <a:ext uri="{FF2B5EF4-FFF2-40B4-BE49-F238E27FC236}">
                  <a16:creationId xmlns:a16="http://schemas.microsoft.com/office/drawing/2014/main" id="{F5082C3F-BE5A-4F63-900C-DAD946338F8A}"/>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3" name="Oval 20">
              <a:extLst>
                <a:ext uri="{FF2B5EF4-FFF2-40B4-BE49-F238E27FC236}">
                  <a16:creationId xmlns:a16="http://schemas.microsoft.com/office/drawing/2014/main" id="{48D3F0C7-3C1B-458B-9AEF-4868704AFE4B}"/>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4" name="Oval 20">
              <a:extLst>
                <a:ext uri="{FF2B5EF4-FFF2-40B4-BE49-F238E27FC236}">
                  <a16:creationId xmlns:a16="http://schemas.microsoft.com/office/drawing/2014/main" id="{4E71FC82-8611-49BC-BD60-04B82515F495}"/>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1" name="Rectangle 70">
              <a:extLst>
                <a:ext uri="{FF2B5EF4-FFF2-40B4-BE49-F238E27FC236}">
                  <a16:creationId xmlns:a16="http://schemas.microsoft.com/office/drawing/2014/main" id="{A3A5631F-D2DD-46D9-9047-AC77864FA72F}"/>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72" name="Rectangle 71">
              <a:extLst>
                <a:ext uri="{FF2B5EF4-FFF2-40B4-BE49-F238E27FC236}">
                  <a16:creationId xmlns:a16="http://schemas.microsoft.com/office/drawing/2014/main" id="{0A272401-0E5C-4E58-B105-3E22E16F17DE}"/>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45" name="Oval 20">
            <a:extLst>
              <a:ext uri="{FF2B5EF4-FFF2-40B4-BE49-F238E27FC236}">
                <a16:creationId xmlns:a16="http://schemas.microsoft.com/office/drawing/2014/main" id="{7E88CEB9-7833-4892-8776-BE90EC79782A}"/>
              </a:ext>
            </a:extLst>
          </p:cNvPr>
          <p:cNvSpPr>
            <a:spLocks noChangeAspect="1" noChangeArrowheads="1"/>
          </p:cNvSpPr>
          <p:nvPr/>
        </p:nvSpPr>
        <p:spPr bwMode="auto">
          <a:xfrm>
            <a:off x="10877989" y="3544819"/>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BF8B9E40-AFBC-4405-B0DE-8CECB98C01CE}"/>
              </a:ext>
            </a:extLst>
          </p:cNvPr>
          <p:cNvSpPr>
            <a:spLocks noChangeAspect="1" noChangeArrowheads="1"/>
          </p:cNvSpPr>
          <p:nvPr/>
        </p:nvSpPr>
        <p:spPr bwMode="auto">
          <a:xfrm>
            <a:off x="10877989" y="38860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1" name="Oval 20">
            <a:extLst>
              <a:ext uri="{FF2B5EF4-FFF2-40B4-BE49-F238E27FC236}">
                <a16:creationId xmlns:a16="http://schemas.microsoft.com/office/drawing/2014/main" id="{0CC42910-9A88-4D9E-8847-47F91AF7CAA8}"/>
              </a:ext>
            </a:extLst>
          </p:cNvPr>
          <p:cNvSpPr>
            <a:spLocks noChangeAspect="1" noChangeArrowheads="1"/>
          </p:cNvSpPr>
          <p:nvPr/>
        </p:nvSpPr>
        <p:spPr bwMode="auto">
          <a:xfrm>
            <a:off x="10871592" y="3183735"/>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4" name="Oval 20">
            <a:extLst>
              <a:ext uri="{FF2B5EF4-FFF2-40B4-BE49-F238E27FC236}">
                <a16:creationId xmlns:a16="http://schemas.microsoft.com/office/drawing/2014/main" id="{22E75407-CD98-42BF-A0F7-00B2A0388408}"/>
              </a:ext>
            </a:extLst>
          </p:cNvPr>
          <p:cNvSpPr>
            <a:spLocks noChangeAspect="1" noChangeArrowheads="1"/>
          </p:cNvSpPr>
          <p:nvPr/>
        </p:nvSpPr>
        <p:spPr bwMode="auto">
          <a:xfrm>
            <a:off x="10877989" y="457925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2" name="Oval 20">
            <a:extLst>
              <a:ext uri="{FF2B5EF4-FFF2-40B4-BE49-F238E27FC236}">
                <a16:creationId xmlns:a16="http://schemas.microsoft.com/office/drawing/2014/main" id="{D3D5C765-F07D-48B0-ADB5-123DFBE1C11D}"/>
              </a:ext>
            </a:extLst>
          </p:cNvPr>
          <p:cNvSpPr>
            <a:spLocks noChangeAspect="1" noChangeArrowheads="1"/>
          </p:cNvSpPr>
          <p:nvPr/>
        </p:nvSpPr>
        <p:spPr bwMode="auto">
          <a:xfrm>
            <a:off x="10877989" y="4910982"/>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 name="Left Bracket 5">
            <a:extLst>
              <a:ext uri="{FF2B5EF4-FFF2-40B4-BE49-F238E27FC236}">
                <a16:creationId xmlns:a16="http://schemas.microsoft.com/office/drawing/2014/main" id="{A23D4D62-F505-40F5-AA4F-913F72D001FF}"/>
              </a:ext>
            </a:extLst>
          </p:cNvPr>
          <p:cNvSpPr/>
          <p:nvPr/>
        </p:nvSpPr>
        <p:spPr>
          <a:xfrm rot="5400000">
            <a:off x="8746883" y="-29249"/>
            <a:ext cx="181726" cy="2866188"/>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2347689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066" name="think-cell Slide" r:id="rId16" imgW="327" imgH="327" progId="TCLayout.ActiveDocument.1">
                  <p:embed/>
                </p:oleObj>
              </mc:Choice>
              <mc:Fallback>
                <p:oleObj name="think-cell Slide" r:id="rId16" imgW="327" imgH="327"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4" name="Picture 33">
            <a:extLst>
              <a:ext uri="{FF2B5EF4-FFF2-40B4-BE49-F238E27FC236}">
                <a16:creationId xmlns:a16="http://schemas.microsoft.com/office/drawing/2014/main" id="{074356BC-4AA6-4E48-9908-E5E2E9EB4ED4}"/>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7818435" y="18143"/>
            <a:ext cx="4390700" cy="6841898"/>
          </a:xfrm>
          <a:prstGeom prst="rect">
            <a:avLst/>
          </a:prstGeom>
          <a:solidFill>
            <a:srgbClr val="FFFFFF"/>
          </a:solidFill>
        </p:spPr>
      </p:pic>
      <p:sp>
        <p:nvSpPr>
          <p:cNvPr id="43" name="Rectangular Callout 42"/>
          <p:cNvSpPr/>
          <p:nvPr/>
        </p:nvSpPr>
        <p:spPr>
          <a:xfrm>
            <a:off x="5286540" y="4139542"/>
            <a:ext cx="2286163" cy="1143000"/>
          </a:xfrm>
          <a:prstGeom prst="wedgeRectCallout">
            <a:avLst>
              <a:gd name="adj1" fmla="val -7997"/>
              <a:gd name="adj2" fmla="val 5835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Low overall performance feeling, especially opening files as power, excel and Slack. Significant performance problems when using Teams.</a:t>
            </a:r>
            <a:r>
              <a:rPr lang="en-GB" sz="1200" dirty="0">
                <a:cs typeface="Arial" pitchFamily="34" charset="0"/>
              </a:rPr>
              <a:t>”</a:t>
            </a:r>
          </a:p>
          <a:p>
            <a:pPr algn="r"/>
            <a:r>
              <a:rPr lang="en-GB" sz="1000" i="1" dirty="0">
                <a:cs typeface="Arial" pitchFamily="34" charset="0"/>
              </a:rPr>
              <a:t>Senior ECT</a:t>
            </a:r>
          </a:p>
        </p:txBody>
      </p:sp>
      <p:sp>
        <p:nvSpPr>
          <p:cNvPr id="53" name="Rectangular Callout 52"/>
          <p:cNvSpPr/>
          <p:nvPr/>
        </p:nvSpPr>
        <p:spPr>
          <a:xfrm>
            <a:off x="257716" y="4138006"/>
            <a:ext cx="1825085" cy="1118843"/>
          </a:xfrm>
          <a:prstGeom prst="wedgeRectCallout">
            <a:avLst>
              <a:gd name="adj1" fmla="val -22282"/>
              <a:gd name="adj2" fmla="val 5923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Overall Laptop has been performing well. But the battery doesn't last more than 45 min.</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artner</a:t>
            </a:r>
          </a:p>
        </p:txBody>
      </p:sp>
      <p:sp>
        <p:nvSpPr>
          <p:cNvPr id="54" name="Rectangular Callout 53"/>
          <p:cNvSpPr/>
          <p:nvPr/>
        </p:nvSpPr>
        <p:spPr>
          <a:xfrm>
            <a:off x="4923692" y="5507756"/>
            <a:ext cx="2649012" cy="1067357"/>
          </a:xfrm>
          <a:prstGeom prst="wedgeRectCallout">
            <a:avLst>
              <a:gd name="adj1" fmla="val 14554"/>
              <a:gd name="adj2" fmla="val -6052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aptop is light, easy to use - but battery and performance are not satisfying at all. Laptop gets incredibly hot (affects all X1 6th gen I know of at BCG)</a:t>
            </a:r>
            <a:r>
              <a:rPr lang="en-GB" sz="1200" dirty="0">
                <a:cs typeface="Arial" pitchFamily="34" charset="0"/>
              </a:rPr>
              <a:t>.”</a:t>
            </a:r>
            <a:endParaRPr lang="en-GB" sz="1000" i="1" dirty="0">
              <a:cs typeface="Arial" pitchFamily="34" charset="0"/>
            </a:endParaRPr>
          </a:p>
          <a:p>
            <a:pPr algn="r"/>
            <a:r>
              <a:rPr lang="en-GB" sz="1000" i="1" dirty="0">
                <a:cs typeface="Arial" pitchFamily="34" charset="0"/>
              </a:rPr>
              <a:t>Consultant</a:t>
            </a:r>
          </a:p>
        </p:txBody>
      </p:sp>
      <p:sp>
        <p:nvSpPr>
          <p:cNvPr id="36" name="Rectangle 35">
            <a:extLst>
              <a:ext uri="{FF2B5EF4-FFF2-40B4-BE49-F238E27FC236}">
                <a16:creationId xmlns:a16="http://schemas.microsoft.com/office/drawing/2014/main" id="{BD7135CD-7748-497B-BD71-90F42AA7ACE5}"/>
              </a:ext>
            </a:extLst>
          </p:cNvPr>
          <p:cNvSpPr/>
          <p:nvPr/>
        </p:nvSpPr>
        <p:spPr>
          <a:xfrm>
            <a:off x="7812186" y="3628"/>
            <a:ext cx="4390700" cy="828675"/>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LAPTOPS</a:t>
            </a:r>
          </a:p>
        </p:txBody>
      </p:sp>
      <p:sp>
        <p:nvSpPr>
          <p:cNvPr id="28" name="Rectangle 27">
            <a:extLst>
              <a:ext uri="{FF2B5EF4-FFF2-40B4-BE49-F238E27FC236}">
                <a16:creationId xmlns:a16="http://schemas.microsoft.com/office/drawing/2014/main" id="{AE8BA0A3-A22B-4066-9085-3FC79F11C9A0}"/>
              </a:ext>
            </a:extLst>
          </p:cNvPr>
          <p:cNvSpPr/>
          <p:nvPr/>
        </p:nvSpPr>
        <p:spPr>
          <a:xfrm>
            <a:off x="219945" y="3618100"/>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19945" y="260354"/>
            <a:ext cx="7425217" cy="1550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Many employees are concerned about their laptop model. While they are satisfied with lightweight devices, overall ease-of-use &amp; specifications, battery life continues to be a consistent issue. More notably, in terms of performance, many report their laptops fail to handle multiple applications simultaneously, often crashing. PPT, Excel, MS Teams &amp; Slack are particularly noted for reducing laptop performance. </a:t>
            </a:r>
          </a:p>
        </p:txBody>
      </p:sp>
      <p:graphicFrame>
        <p:nvGraphicFramePr>
          <p:cNvPr id="32" name="Chart 31">
            <a:extLst>
              <a:ext uri="{FF2B5EF4-FFF2-40B4-BE49-F238E27FC236}">
                <a16:creationId xmlns:a16="http://schemas.microsoft.com/office/drawing/2014/main" id="{52842519-1C1D-453C-A15D-31B4898924F1}"/>
              </a:ext>
            </a:extLst>
          </p:cNvPr>
          <p:cNvGraphicFramePr/>
          <p:nvPr>
            <p:custDataLst>
              <p:tags r:id="rId4"/>
            </p:custDataLst>
          </p:nvPr>
        </p:nvGraphicFramePr>
        <p:xfrm>
          <a:off x="1725613" y="2014538"/>
          <a:ext cx="5929312" cy="1389062"/>
        </p:xfrm>
        <a:graphic>
          <a:graphicData uri="http://schemas.openxmlformats.org/drawingml/2006/chart">
            <c:chart xmlns:c="http://schemas.openxmlformats.org/drawingml/2006/chart" xmlns:r="http://schemas.openxmlformats.org/officeDocument/2006/relationships" r:id="rId19"/>
          </a:graphicData>
        </a:graphic>
      </p:graphicFrame>
      <p:sp>
        <p:nvSpPr>
          <p:cNvPr id="85" name="Text Placeholder 3">
            <a:extLst>
              <a:ext uri="{FF2B5EF4-FFF2-40B4-BE49-F238E27FC236}">
                <a16:creationId xmlns:a16="http://schemas.microsoft.com/office/drawing/2014/main" id="{72C528B8-41B3-42BD-9A72-7CFBB1847EB3}"/>
              </a:ext>
            </a:extLst>
          </p:cNvPr>
          <p:cNvSpPr>
            <a:spLocks noGrp="1"/>
          </p:cNvSpPr>
          <p:nvPr>
            <p:custDataLst>
              <p:tags r:id="rId5"/>
            </p:custDataLst>
          </p:nvPr>
        </p:nvSpPr>
        <p:spPr bwMode="gray">
          <a:xfrm>
            <a:off x="2044701" y="2930525"/>
            <a:ext cx="174625" cy="168275"/>
          </a:xfrm>
          <a:prstGeom prst="rect">
            <a:avLst/>
          </a:prstGeom>
          <a:solidFill>
            <a:srgbClr val="C8C8C8"/>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8743672-E794-47E4-8564-0E2B5EA412B4}" type="datetime'''''''''''''''''''''''''''''1''''''''''''''''''''''%'''''''''">
              <a:rPr lang="en-US" altLang="en-US" sz="1000" smtClean="0">
                <a:solidFill>
                  <a:srgbClr val="FFFFFF"/>
                </a:solidFill>
                <a:effectLst/>
                <a:sym typeface="+mn-lt"/>
              </a:rPr>
              <a:pPr algn="ctr">
                <a:spcBef>
                  <a:spcPct val="0"/>
                </a:spcBef>
                <a:spcAft>
                  <a:spcPct val="0"/>
                </a:spcAft>
              </a:pPr>
              <a:t>1%</a:t>
            </a:fld>
            <a:endParaRPr lang="en-US" sz="1000" dirty="0">
              <a:solidFill>
                <a:srgbClr val="FFFFFF"/>
              </a:solidFill>
              <a:sym typeface="+mn-lt"/>
            </a:endParaRPr>
          </a:p>
        </p:txBody>
      </p:sp>
      <p:sp>
        <p:nvSpPr>
          <p:cNvPr id="51" name="Text Placeholder 3">
            <a:extLst>
              <a:ext uri="{FF2B5EF4-FFF2-40B4-BE49-F238E27FC236}">
                <a16:creationId xmlns:a16="http://schemas.microsoft.com/office/drawing/2014/main" id="{B19FCFF7-2BA8-4DD9-A1F6-D7B6C1630F55}"/>
              </a:ext>
            </a:extLst>
          </p:cNvPr>
          <p:cNvSpPr>
            <a:spLocks noGrp="1"/>
          </p:cNvSpPr>
          <p:nvPr>
            <p:custDataLst>
              <p:tags r:id="rId6"/>
            </p:custDataLst>
          </p:nvPr>
        </p:nvSpPr>
        <p:spPr bwMode="gray">
          <a:xfrm>
            <a:off x="327025" y="2303463"/>
            <a:ext cx="13795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C780ED1-53A3-4A43-85A1-C46E57063FED}" type="datetime'''''La''pto''''p ''Perf''''''o''rm''''''a''''nc''e'''''''''">
              <a:rPr lang="en-US" altLang="en-US" smtClean="0">
                <a:solidFill>
                  <a:schemeClr val="bg1"/>
                </a:solidFill>
              </a:rPr>
              <a:pPr/>
              <a:t>Laptop Performance</a:t>
            </a:fld>
            <a:endParaRPr lang="en-US" dirty="0">
              <a:solidFill>
                <a:schemeClr val="bg1"/>
              </a:solidFill>
              <a:sym typeface="+mn-lt"/>
            </a:endParaRPr>
          </a:p>
        </p:txBody>
      </p:sp>
      <p:sp>
        <p:nvSpPr>
          <p:cNvPr id="86" name="Text Placeholder 3">
            <a:extLst>
              <a:ext uri="{FF2B5EF4-FFF2-40B4-BE49-F238E27FC236}">
                <a16:creationId xmlns:a16="http://schemas.microsoft.com/office/drawing/2014/main" id="{B128877B-5ED4-4E5E-8B8D-3ACB5DDB2293}"/>
              </a:ext>
            </a:extLst>
          </p:cNvPr>
          <p:cNvSpPr>
            <a:spLocks noGrp="1"/>
          </p:cNvSpPr>
          <p:nvPr>
            <p:custDataLst>
              <p:tags r:id="rId7"/>
            </p:custDataLst>
          </p:nvPr>
        </p:nvSpPr>
        <p:spPr bwMode="gray">
          <a:xfrm>
            <a:off x="790575" y="2914650"/>
            <a:ext cx="915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B76995D-2B31-452B-9CB9-6A712A437C31}" type="datetime'''Lap''t''''''''op'''''' ''''''Mo''''d''el'''''''''">
              <a:rPr lang="en-US" altLang="en-US" smtClean="0">
                <a:solidFill>
                  <a:schemeClr val="bg1"/>
                </a:solidFill>
              </a:rPr>
              <a:pPr/>
              <a:t>Laptop Model</a:t>
            </a:fld>
            <a:endParaRPr lang="en-US" dirty="0">
              <a:solidFill>
                <a:schemeClr val="bg1"/>
              </a:solidFill>
              <a:sym typeface="+mn-lt"/>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8"/>
            </p:custDataLst>
          </p:nvPr>
        </p:nvSpPr>
        <p:spPr bwMode="gray">
          <a:xfrm>
            <a:off x="2762250" y="34004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9"/>
            </p:custDataLst>
          </p:nvPr>
        </p:nvSpPr>
        <p:spPr bwMode="gray">
          <a:xfrm>
            <a:off x="1868488" y="340042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10"/>
            </p:custDataLst>
          </p:nvPr>
        </p:nvSpPr>
        <p:spPr bwMode="gray">
          <a:xfrm>
            <a:off x="3633788" y="34004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1"/>
            </p:custDataLst>
          </p:nvPr>
        </p:nvSpPr>
        <p:spPr bwMode="gray">
          <a:xfrm>
            <a:off x="2133600" y="338137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2"/>
            </p:custDataLst>
          </p:nvPr>
        </p:nvSpPr>
        <p:spPr bwMode="gray">
          <a:xfrm>
            <a:off x="3027363" y="33813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3"/>
            </p:custDataLst>
          </p:nvPr>
        </p:nvSpPr>
        <p:spPr bwMode="gray">
          <a:xfrm>
            <a:off x="3898900" y="338137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25613" y="1800154"/>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47" name="Oval 46">
            <a:extLst>
              <a:ext uri="{FF2B5EF4-FFF2-40B4-BE49-F238E27FC236}">
                <a16:creationId xmlns:a16="http://schemas.microsoft.com/office/drawing/2014/main" id="{858EF8CA-345D-4949-9772-F206DF5B5904}"/>
              </a:ext>
            </a:extLst>
          </p:cNvPr>
          <p:cNvSpPr>
            <a:spLocks noChangeAspect="1"/>
          </p:cNvSpPr>
          <p:nvPr/>
        </p:nvSpPr>
        <p:spPr>
          <a:xfrm>
            <a:off x="8536282" y="1830099"/>
            <a:ext cx="3127248" cy="3127248"/>
          </a:xfrm>
          <a:prstGeom prst="ellipse">
            <a:avLst/>
          </a:prstGeom>
          <a:solidFill>
            <a:srgbClr val="FFFFFF"/>
          </a:solidFill>
          <a:ln w="38100" cap="flat" cmpd="sng" algn="ctr">
            <a:gradFill flip="none" rotWithShape="1">
              <a:gsLst>
                <a:gs pos="0">
                  <a:srgbClr val="295E7E"/>
                </a:gs>
                <a:gs pos="100000">
                  <a:srgbClr val="30C1D7"/>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5400" kern="0" dirty="0">
                <a:solidFill>
                  <a:srgbClr val="575757"/>
                </a:solidFill>
              </a:rPr>
              <a:t>725</a:t>
            </a:r>
          </a:p>
          <a:p>
            <a:pPr algn="ctr">
              <a:lnSpc>
                <a:spcPct val="95000"/>
              </a:lnSpc>
            </a:pPr>
            <a:r>
              <a:rPr lang="en-US" sz="1400" kern="0" dirty="0">
                <a:solidFill>
                  <a:srgbClr val="575757"/>
                </a:solidFill>
              </a:rPr>
              <a:t>Total </a:t>
            </a:r>
          </a:p>
          <a:p>
            <a:pPr algn="ctr">
              <a:lnSpc>
                <a:spcPct val="95000"/>
              </a:lnSpc>
            </a:pPr>
            <a:r>
              <a:rPr lang="en-US" sz="1400" kern="0" dirty="0">
                <a:solidFill>
                  <a:srgbClr val="575757"/>
                </a:solidFill>
              </a:rPr>
              <a:t># Mentions</a:t>
            </a:r>
          </a:p>
        </p:txBody>
      </p:sp>
      <p:sp>
        <p:nvSpPr>
          <p:cNvPr id="99" name="Rectangular Callout 40">
            <a:extLst>
              <a:ext uri="{FF2B5EF4-FFF2-40B4-BE49-F238E27FC236}">
                <a16:creationId xmlns:a16="http://schemas.microsoft.com/office/drawing/2014/main" id="{968A6BE8-CAE1-47AF-996F-ABA904F88152}"/>
              </a:ext>
            </a:extLst>
          </p:cNvPr>
          <p:cNvSpPr/>
          <p:nvPr/>
        </p:nvSpPr>
        <p:spPr>
          <a:xfrm>
            <a:off x="279164" y="5460657"/>
            <a:ext cx="2165649" cy="1118844"/>
          </a:xfrm>
          <a:prstGeom prst="wedgeRectCallout">
            <a:avLst>
              <a:gd name="adj1" fmla="val 5573"/>
              <a:gd name="adj2" fmla="val -5775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Always broken, system running slow, power point is crashing . Hard to work when you have more than 4 filed open.</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Associate</a:t>
            </a:r>
          </a:p>
        </p:txBody>
      </p:sp>
      <p:sp>
        <p:nvSpPr>
          <p:cNvPr id="27" name="Rectangular Callout 40">
            <a:extLst>
              <a:ext uri="{FF2B5EF4-FFF2-40B4-BE49-F238E27FC236}">
                <a16:creationId xmlns:a16="http://schemas.microsoft.com/office/drawing/2014/main" id="{9B52D20E-D6CB-4FB0-92FF-E424652C0388}"/>
              </a:ext>
            </a:extLst>
          </p:cNvPr>
          <p:cNvSpPr/>
          <p:nvPr/>
        </p:nvSpPr>
        <p:spPr>
          <a:xfrm>
            <a:off x="2543994" y="5483600"/>
            <a:ext cx="2280518" cy="1091513"/>
          </a:xfrm>
          <a:prstGeom prst="wedgeRectCallout">
            <a:avLst>
              <a:gd name="adj1" fmla="val 13623"/>
              <a:gd name="adj2" fmla="val -6067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Despite being a fairly well-equipped machine (i7+16gb RAM) it's pretty easy to lock the computer up in processing with Excel or PPT.</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Consultant</a:t>
            </a:r>
          </a:p>
        </p:txBody>
      </p:sp>
      <p:sp>
        <p:nvSpPr>
          <p:cNvPr id="105" name="Rectangular Callout 52">
            <a:extLst>
              <a:ext uri="{FF2B5EF4-FFF2-40B4-BE49-F238E27FC236}">
                <a16:creationId xmlns:a16="http://schemas.microsoft.com/office/drawing/2014/main" id="{E3E903FE-1325-4F7E-9DFF-9CA9AD9C4501}"/>
              </a:ext>
            </a:extLst>
          </p:cNvPr>
          <p:cNvSpPr/>
          <p:nvPr/>
        </p:nvSpPr>
        <p:spPr>
          <a:xfrm>
            <a:off x="2172197" y="4138006"/>
            <a:ext cx="1675904" cy="1118843"/>
          </a:xfrm>
          <a:prstGeom prst="wedgeRectCallout">
            <a:avLst>
              <a:gd name="adj1" fmla="val -22282"/>
              <a:gd name="adj2" fmla="val 5923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Laptop] </a:t>
            </a:r>
            <a:r>
              <a:rPr lang="en-US" sz="1200" dirty="0">
                <a:cs typeface="Arial" pitchFamily="34" charset="0"/>
              </a:rPr>
              <a:t>Very table for few weeks / months (it was not the case before).</a:t>
            </a:r>
            <a:r>
              <a:rPr lang="en-GB" sz="1200" dirty="0">
                <a:cs typeface="Arial" pitchFamily="34" charset="0"/>
              </a:rPr>
              <a:t>”</a:t>
            </a:r>
          </a:p>
          <a:p>
            <a:pPr algn="r"/>
            <a:r>
              <a:rPr lang="en-GB" sz="1000" i="1" dirty="0">
                <a:cs typeface="Arial" pitchFamily="34" charset="0"/>
              </a:rPr>
              <a:t>Consultant</a:t>
            </a:r>
          </a:p>
        </p:txBody>
      </p:sp>
      <p:sp>
        <p:nvSpPr>
          <p:cNvPr id="30" name="Rectangular Callout 52">
            <a:extLst>
              <a:ext uri="{FF2B5EF4-FFF2-40B4-BE49-F238E27FC236}">
                <a16:creationId xmlns:a16="http://schemas.microsoft.com/office/drawing/2014/main" id="{2549203B-8B2F-4857-9137-D1CE27D8EE58}"/>
              </a:ext>
            </a:extLst>
          </p:cNvPr>
          <p:cNvSpPr/>
          <p:nvPr/>
        </p:nvSpPr>
        <p:spPr>
          <a:xfrm>
            <a:off x="3996034" y="4138006"/>
            <a:ext cx="1189117" cy="1118843"/>
          </a:xfrm>
          <a:prstGeom prst="wedgeRectCallout">
            <a:avLst>
              <a:gd name="adj1" fmla="val -22282"/>
              <a:gd name="adj2" fmla="val 5923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Model is nice compact and light.</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1632870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38736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04"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5" name="Picture 34">
            <a:extLst>
              <a:ext uri="{FF2B5EF4-FFF2-40B4-BE49-F238E27FC236}">
                <a16:creationId xmlns:a16="http://schemas.microsoft.com/office/drawing/2014/main" id="{9DA478AF-0A8C-480A-9286-6A898FCC9A05}"/>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rot="10800000">
            <a:off x="7801300" y="0"/>
            <a:ext cx="4390700" cy="6858000"/>
          </a:xfrm>
          <a:prstGeom prst="rect">
            <a:avLst/>
          </a:prstGeom>
        </p:spPr>
      </p:pic>
      <p:sp>
        <p:nvSpPr>
          <p:cNvPr id="37" name="Rectangle 36">
            <a:extLst>
              <a:ext uri="{FF2B5EF4-FFF2-40B4-BE49-F238E27FC236}">
                <a16:creationId xmlns:a16="http://schemas.microsoft.com/office/drawing/2014/main" id="{46E96A00-EA04-465E-9D79-84178F5942EB}"/>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MS OFFICE</a:t>
            </a:r>
            <a:r>
              <a:rPr lang="en-GB" sz="2400" kern="0" baseline="30000" dirty="0">
                <a:solidFill>
                  <a:srgbClr val="D4DF33"/>
                </a:solidFill>
              </a:rPr>
              <a:t>1</a:t>
            </a:r>
          </a:p>
        </p:txBody>
      </p:sp>
      <p:sp>
        <p:nvSpPr>
          <p:cNvPr id="38" name="Oval 37">
            <a:extLst>
              <a:ext uri="{FF2B5EF4-FFF2-40B4-BE49-F238E27FC236}">
                <a16:creationId xmlns:a16="http://schemas.microsoft.com/office/drawing/2014/main" id="{FF3822AF-7CB9-4D50-B98D-29A09E0E1825}"/>
              </a:ext>
            </a:extLst>
          </p:cNvPr>
          <p:cNvSpPr>
            <a:spLocks noChangeAspect="1"/>
          </p:cNvSpPr>
          <p:nvPr/>
        </p:nvSpPr>
        <p:spPr>
          <a:xfrm>
            <a:off x="8528744" y="1829279"/>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396</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43" name="Rectangular Callout 42"/>
          <p:cNvSpPr/>
          <p:nvPr/>
        </p:nvSpPr>
        <p:spPr>
          <a:xfrm>
            <a:off x="2480984" y="4142947"/>
            <a:ext cx="1337390" cy="1017216"/>
          </a:xfrm>
          <a:prstGeom prst="wedgeRectCallout">
            <a:avLst>
              <a:gd name="adj1" fmla="val 17448"/>
              <a:gd name="adj2" fmla="val 581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xcel] </a:t>
            </a:r>
            <a:r>
              <a:rPr lang="en-US" sz="1200" dirty="0">
                <a:cs typeface="Arial" pitchFamily="34" charset="0"/>
              </a:rPr>
              <a:t>Works fine and stable.</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artner</a:t>
            </a:r>
          </a:p>
        </p:txBody>
      </p:sp>
      <p:sp>
        <p:nvSpPr>
          <p:cNvPr id="53" name="Rectangular Callout 52"/>
          <p:cNvSpPr/>
          <p:nvPr/>
        </p:nvSpPr>
        <p:spPr>
          <a:xfrm>
            <a:off x="257717" y="4142947"/>
            <a:ext cx="2163935" cy="1019149"/>
          </a:xfrm>
          <a:prstGeom prst="wedgeRectCallout">
            <a:avLst>
              <a:gd name="adj1" fmla="val 22264"/>
              <a:gd name="adj2" fmla="val 6552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 plug-ins we have make the PowerPoint performance very slow - especially the latest privacy add in.</a:t>
            </a:r>
            <a:r>
              <a:rPr lang="en-GB" sz="1200" dirty="0">
                <a:cs typeface="Arial" pitchFamily="34" charset="0"/>
              </a:rPr>
              <a:t>”</a:t>
            </a:r>
          </a:p>
          <a:p>
            <a:pPr algn="r"/>
            <a:r>
              <a:rPr lang="en-GB" sz="1000" i="1" dirty="0">
                <a:cs typeface="Arial" pitchFamily="34" charset="0"/>
              </a:rPr>
              <a:t>Principal</a:t>
            </a:r>
          </a:p>
        </p:txBody>
      </p:sp>
      <p:sp>
        <p:nvSpPr>
          <p:cNvPr id="54" name="Rectangular Callout 53"/>
          <p:cNvSpPr/>
          <p:nvPr/>
        </p:nvSpPr>
        <p:spPr>
          <a:xfrm>
            <a:off x="5977262" y="5478464"/>
            <a:ext cx="1752387" cy="1140822"/>
          </a:xfrm>
          <a:prstGeom prst="wedgeRectCallout">
            <a:avLst>
              <a:gd name="adj1" fmla="val -40854"/>
              <a:gd name="adj2" fmla="val -5854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200" dirty="0">
              <a:cs typeface="Arial" pitchFamily="34" charset="0"/>
            </a:endParaRPr>
          </a:p>
          <a:p>
            <a:r>
              <a:rPr lang="en-GB" sz="1200" dirty="0">
                <a:cs typeface="Arial" pitchFamily="34" charset="0"/>
              </a:rPr>
              <a:t>“[PowerPoint] </a:t>
            </a:r>
            <a:r>
              <a:rPr lang="en-US" sz="1200" dirty="0">
                <a:cs typeface="Arial" pitchFamily="34" charset="0"/>
              </a:rPr>
              <a:t>Frequently crashes especially as data files become bigger.</a:t>
            </a:r>
            <a:r>
              <a:rPr lang="en-GB" sz="1200" dirty="0">
                <a:cs typeface="Arial" pitchFamily="34" charset="0"/>
              </a:rPr>
              <a:t>” </a:t>
            </a:r>
          </a:p>
          <a:p>
            <a:pPr algn="r"/>
            <a:r>
              <a:rPr lang="en-GB" sz="1000" i="1" dirty="0">
                <a:cs typeface="Arial" pitchFamily="34" charset="0"/>
              </a:rPr>
              <a:t>Associate</a:t>
            </a:r>
          </a:p>
        </p:txBody>
      </p:sp>
      <p:sp>
        <p:nvSpPr>
          <p:cNvPr id="55" name="Rectangular Callout 54"/>
          <p:cNvSpPr/>
          <p:nvPr/>
        </p:nvSpPr>
        <p:spPr>
          <a:xfrm>
            <a:off x="4031424" y="4144963"/>
            <a:ext cx="3698226" cy="1019150"/>
          </a:xfrm>
          <a:prstGeom prst="wedgeRectCallout">
            <a:avLst>
              <a:gd name="adj1" fmla="val -29814"/>
              <a:gd name="adj2" fmla="val 6358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PowerPoint (or my laptop?) has recently had more frequent issues with speed -- e.g., I'll insert a new slide or icon and have to wait 10+ seconds for it to unfreeze and let me proceed with editing).</a:t>
            </a:r>
            <a:r>
              <a:rPr lang="en-GB" sz="1200" dirty="0">
                <a:cs typeface="Arial" pitchFamily="34" charset="0"/>
              </a:rPr>
              <a:t>”</a:t>
            </a:r>
          </a:p>
          <a:p>
            <a:pPr algn="r"/>
            <a:r>
              <a:rPr lang="en-GB" sz="1050" i="1" dirty="0">
                <a:cs typeface="Arial" pitchFamily="34" charset="0"/>
              </a:rPr>
              <a:t>BST</a:t>
            </a:r>
          </a:p>
        </p:txBody>
      </p:sp>
      <p:sp>
        <p:nvSpPr>
          <p:cNvPr id="41" name="Rectangular Callout 40"/>
          <p:cNvSpPr/>
          <p:nvPr/>
        </p:nvSpPr>
        <p:spPr>
          <a:xfrm>
            <a:off x="257715" y="5478463"/>
            <a:ext cx="2901122" cy="1140546"/>
          </a:xfrm>
          <a:prstGeom prst="wedgeRectCallout">
            <a:avLst>
              <a:gd name="adj1" fmla="val 25973"/>
              <a:gd name="adj2" fmla="val -5898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Shared OneDrive files with multiple team members collaborating will crash and close. Luckily, the file saves at the last point before crash, but it reduces our efficiency.</a:t>
            </a:r>
            <a:r>
              <a:rPr lang="en-GB" sz="1200" dirty="0">
                <a:cs typeface="Arial" pitchFamily="34" charset="0"/>
              </a:rPr>
              <a:t>”</a:t>
            </a:r>
          </a:p>
          <a:p>
            <a:pPr algn="r"/>
            <a:r>
              <a:rPr lang="en-GB" sz="1000" i="1" dirty="0">
                <a:cs typeface="Arial" pitchFamily="34" charset="0"/>
              </a:rPr>
              <a:t>Consultant</a:t>
            </a:r>
          </a:p>
        </p:txBody>
      </p:sp>
      <p:sp>
        <p:nvSpPr>
          <p:cNvPr id="28" name="Rectangle 27">
            <a:extLst>
              <a:ext uri="{FF2B5EF4-FFF2-40B4-BE49-F238E27FC236}">
                <a16:creationId xmlns:a16="http://schemas.microsoft.com/office/drawing/2014/main" id="{AE8BA0A3-A22B-4066-9085-3FC79F11C9A0}"/>
              </a:ext>
            </a:extLst>
          </p:cNvPr>
          <p:cNvSpPr/>
          <p:nvPr/>
        </p:nvSpPr>
        <p:spPr>
          <a:xfrm>
            <a:off x="219151" y="3605213"/>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09278" y="249579"/>
            <a:ext cx="7484020" cy="164665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t>Many employees share concerns with MS Office software freezing &amp; subsequently crashing. While some employees are satisfied, others indicated many MS Office tools were slow to execute simple tasks like saving, adding an icon etc., most specifically in Excel &amp; PowerPoint. Whilst the co-authoring &amp; 'Autosave' functionality in OneDrive can work well, some employees report files crash when shared with multiple team members &amp; when multiple people edit.</a:t>
            </a:r>
          </a:p>
        </p:txBody>
      </p:sp>
      <p:graphicFrame>
        <p:nvGraphicFramePr>
          <p:cNvPr id="33" name="Chart 32">
            <a:extLst>
              <a:ext uri="{FF2B5EF4-FFF2-40B4-BE49-F238E27FC236}">
                <a16:creationId xmlns:a16="http://schemas.microsoft.com/office/drawing/2014/main" id="{538A92B8-708B-484E-AE9D-9D2B8859DFA7}"/>
              </a:ext>
            </a:extLst>
          </p:cNvPr>
          <p:cNvGraphicFramePr/>
          <p:nvPr>
            <p:custDataLst>
              <p:tags r:id="rId4"/>
            </p:custDataLst>
            <p:extLst>
              <p:ext uri="{D42A27DB-BD31-4B8C-83A1-F6EECF244321}">
                <p14:modId xmlns:p14="http://schemas.microsoft.com/office/powerpoint/2010/main" val="3966776851"/>
              </p:ext>
            </p:extLst>
          </p:nvPr>
        </p:nvGraphicFramePr>
        <p:xfrm>
          <a:off x="174625" y="2133600"/>
          <a:ext cx="7413625" cy="971550"/>
        </p:xfrm>
        <a:graphic>
          <a:graphicData uri="http://schemas.openxmlformats.org/drawingml/2006/chart">
            <c:chart xmlns:c="http://schemas.openxmlformats.org/drawingml/2006/chart" xmlns:r="http://schemas.openxmlformats.org/officeDocument/2006/relationships" r:id="rId16"/>
          </a:graphicData>
        </a:graphic>
      </p:graphicFrame>
      <p:sp>
        <p:nvSpPr>
          <p:cNvPr id="132" name="Rectangle 131">
            <a:extLst>
              <a:ext uri="{FF2B5EF4-FFF2-40B4-BE49-F238E27FC236}">
                <a16:creationId xmlns:a16="http://schemas.microsoft.com/office/drawing/2014/main" id="{EB1A4E61-8D9D-4717-82E0-88C113E598A5}"/>
              </a:ext>
            </a:extLst>
          </p:cNvPr>
          <p:cNvSpPr/>
          <p:nvPr>
            <p:custDataLst>
              <p:tags r:id="rId5"/>
            </p:custDataLst>
          </p:nvPr>
        </p:nvSpPr>
        <p:spPr bwMode="gray">
          <a:xfrm>
            <a:off x="317500" y="310991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6"/>
            </p:custDataLst>
          </p:nvPr>
        </p:nvSpPr>
        <p:spPr bwMode="gray">
          <a:xfrm>
            <a:off x="1211263" y="31099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2082800" y="31099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8"/>
            </p:custDataLst>
          </p:nvPr>
        </p:nvSpPr>
        <p:spPr bwMode="gray">
          <a:xfrm>
            <a:off x="1476375" y="30908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9"/>
            </p:custDataLst>
          </p:nvPr>
        </p:nvSpPr>
        <p:spPr bwMode="gray">
          <a:xfrm>
            <a:off x="582613" y="309086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2347913" y="309086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4625" y="2005013"/>
            <a:ext cx="1724428" cy="1984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39" name="Rectangular Callout 40">
            <a:extLst>
              <a:ext uri="{FF2B5EF4-FFF2-40B4-BE49-F238E27FC236}">
                <a16:creationId xmlns:a16="http://schemas.microsoft.com/office/drawing/2014/main" id="{B10BAEFB-B971-4A2A-B5C7-4F6DBD57992F}"/>
              </a:ext>
            </a:extLst>
          </p:cNvPr>
          <p:cNvSpPr/>
          <p:nvPr/>
        </p:nvSpPr>
        <p:spPr>
          <a:xfrm>
            <a:off x="3266839" y="5478463"/>
            <a:ext cx="2602421" cy="1140546"/>
          </a:xfrm>
          <a:prstGeom prst="wedgeRectCallout">
            <a:avLst>
              <a:gd name="adj1" fmla="val -22330"/>
              <a:gd name="adj2" fmla="val -6640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xcel] </a:t>
            </a:r>
            <a:r>
              <a:rPr lang="en-US" sz="1200" dirty="0">
                <a:cs typeface="Arial" pitchFamily="34" charset="0"/>
              </a:rPr>
              <a:t>WAY TOO SLOW. Business critical tool that crashes and takes too long to execute simple tasks. Need to resolve with 64bit ASAP.</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roject Leader</a:t>
            </a:r>
          </a:p>
        </p:txBody>
      </p:sp>
      <p:sp>
        <p:nvSpPr>
          <p:cNvPr id="3" name="TextBox 2">
            <a:extLst>
              <a:ext uri="{FF2B5EF4-FFF2-40B4-BE49-F238E27FC236}">
                <a16:creationId xmlns:a16="http://schemas.microsoft.com/office/drawing/2014/main" id="{69496E5B-1C0D-417E-BD92-28DE34241953}"/>
              </a:ext>
            </a:extLst>
          </p:cNvPr>
          <p:cNvSpPr txBox="1"/>
          <p:nvPr/>
        </p:nvSpPr>
        <p:spPr>
          <a:xfrm>
            <a:off x="7369301" y="2141537"/>
            <a:ext cx="443233" cy="2159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4" name="TextBox 43">
            <a:extLst>
              <a:ext uri="{FF2B5EF4-FFF2-40B4-BE49-F238E27FC236}">
                <a16:creationId xmlns:a16="http://schemas.microsoft.com/office/drawing/2014/main" id="{D4C19730-05C5-41DB-81E5-F16690E1D854}"/>
              </a:ext>
            </a:extLst>
          </p:cNvPr>
          <p:cNvSpPr txBox="1"/>
          <p:nvPr/>
        </p:nvSpPr>
        <p:spPr>
          <a:xfrm>
            <a:off x="7358067" y="2509837"/>
            <a:ext cx="443233" cy="2159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5" name="TextBox 44">
            <a:extLst>
              <a:ext uri="{FF2B5EF4-FFF2-40B4-BE49-F238E27FC236}">
                <a16:creationId xmlns:a16="http://schemas.microsoft.com/office/drawing/2014/main" id="{79602244-EC46-4C85-9D2E-0CD6B5AA1624}"/>
              </a:ext>
            </a:extLst>
          </p:cNvPr>
          <p:cNvSpPr txBox="1"/>
          <p:nvPr/>
        </p:nvSpPr>
        <p:spPr>
          <a:xfrm>
            <a:off x="7369300" y="2816225"/>
            <a:ext cx="443233" cy="2143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115291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E20271-6106-4BD8-9215-9FD6837F53DD}"/>
              </a:ext>
            </a:extLst>
          </p:cNvPr>
          <p:cNvGraphicFramePr>
            <a:graphicFrameLocks noChangeAspect="1"/>
          </p:cNvGraphicFramePr>
          <p:nvPr>
            <p:custDataLst>
              <p:tags r:id="rId2"/>
            </p:custDataLst>
            <p:extLst>
              <p:ext uri="{D42A27DB-BD31-4B8C-83A1-F6EECF244321}">
                <p14:modId xmlns:p14="http://schemas.microsoft.com/office/powerpoint/2010/main" val="199270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74"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descr="A hand holding a coin&#10;&#10;Description automatically generated with medium confidence">
            <a:extLst>
              <a:ext uri="{FF2B5EF4-FFF2-40B4-BE49-F238E27FC236}">
                <a16:creationId xmlns:a16="http://schemas.microsoft.com/office/drawing/2014/main" id="{C2F29336-D4E7-47FD-B0F1-859C385DA9C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10800000">
            <a:off x="8573728" y="1311163"/>
            <a:ext cx="3195484" cy="5286282"/>
          </a:xfrm>
          <a:prstGeom prst="rect">
            <a:avLst/>
          </a:prstGeom>
        </p:spPr>
      </p:pic>
      <p:sp>
        <p:nvSpPr>
          <p:cNvPr id="5" name="Rectangle 4" hidden="1">
            <a:extLst>
              <a:ext uri="{FF2B5EF4-FFF2-40B4-BE49-F238E27FC236}">
                <a16:creationId xmlns:a16="http://schemas.microsoft.com/office/drawing/2014/main" id="{203989C9-E020-4A5D-A3A1-7A57747BF37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Rectangle 9">
            <a:extLst>
              <a:ext uri="{FF2B5EF4-FFF2-40B4-BE49-F238E27FC236}">
                <a16:creationId xmlns:a16="http://schemas.microsoft.com/office/drawing/2014/main" id="{D2A8CA4F-7870-46B7-B933-5619879D07FB}"/>
              </a:ext>
            </a:extLst>
          </p:cNvPr>
          <p:cNvSpPr/>
          <p:nvPr/>
        </p:nvSpPr>
        <p:spPr>
          <a:xfrm>
            <a:off x="491835" y="1311164"/>
            <a:ext cx="8081894" cy="5286282"/>
          </a:xfrm>
          <a:prstGeom prst="rect">
            <a:avLst/>
          </a:prstGeom>
          <a:solidFill>
            <a:schemeClr val="accent6">
              <a:lumMod val="20000"/>
              <a:lumOff val="80000"/>
              <a:alpha val="8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rgbClr val="575757"/>
              </a:solidFill>
            </a:endParaRPr>
          </a:p>
        </p:txBody>
      </p:sp>
      <p:sp>
        <p:nvSpPr>
          <p:cNvPr id="2" name="Rectangle 1">
            <a:extLst>
              <a:ext uri="{FF2B5EF4-FFF2-40B4-BE49-F238E27FC236}">
                <a16:creationId xmlns:a16="http://schemas.microsoft.com/office/drawing/2014/main" id="{7525D880-A07C-48C3-9326-07A7F1D08DEA}"/>
              </a:ext>
            </a:extLst>
          </p:cNvPr>
          <p:cNvSpPr/>
          <p:nvPr/>
        </p:nvSpPr>
        <p:spPr>
          <a:xfrm>
            <a:off x="641916" y="1311161"/>
            <a:ext cx="7754832" cy="52862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rgbClr val="575757"/>
                </a:solidFill>
              </a:rPr>
              <a:t>Pulse is sent to 25% of </a:t>
            </a:r>
            <a:r>
              <a:rPr lang="en-US" sz="2000" i="1" dirty="0">
                <a:solidFill>
                  <a:srgbClr val="575757"/>
                </a:solidFill>
              </a:rPr>
              <a:t>different</a:t>
            </a:r>
            <a:r>
              <a:rPr lang="en-US" sz="2000" dirty="0">
                <a:solidFill>
                  <a:srgbClr val="575757"/>
                </a:solidFill>
              </a:rPr>
              <a:t> employees each quarter (so we don't over survey). </a:t>
            </a:r>
            <a:r>
              <a:rPr lang="en-US" altLang="en-US" sz="2000" dirty="0">
                <a:solidFill>
                  <a:srgbClr val="575757"/>
                </a:solidFill>
              </a:rPr>
              <a:t>As each quarters' results reflect different people, </a:t>
            </a:r>
            <a:r>
              <a:rPr lang="en-US" altLang="en-US" sz="2000" u="sng" dirty="0">
                <a:solidFill>
                  <a:srgbClr val="575757"/>
                </a:solidFill>
              </a:rPr>
              <a:t>quarter-over-quarter trending is least indicative of trends</a:t>
            </a:r>
          </a:p>
          <a:p>
            <a:endParaRPr lang="en-US" sz="2000" dirty="0">
              <a:solidFill>
                <a:srgbClr val="575757"/>
              </a:solidFill>
            </a:endParaRPr>
          </a:p>
          <a:p>
            <a:r>
              <a:rPr lang="en-US" sz="2000" b="1" dirty="0">
                <a:solidFill>
                  <a:srgbClr val="575757"/>
                </a:solidFill>
              </a:rPr>
              <a:t>The most representative trending can be determined by comparing annual averages</a:t>
            </a:r>
            <a:r>
              <a:rPr lang="en-US" sz="2000" b="1" baseline="30000" dirty="0">
                <a:solidFill>
                  <a:srgbClr val="575757"/>
                </a:solidFill>
              </a:rPr>
              <a:t>1</a:t>
            </a:r>
            <a:r>
              <a:rPr lang="en-US" sz="2000" b="1" dirty="0">
                <a:solidFill>
                  <a:srgbClr val="575757"/>
                </a:solidFill>
              </a:rPr>
              <a:t> </a:t>
            </a:r>
          </a:p>
          <a:p>
            <a:endParaRPr lang="en-US" sz="2000" b="1" dirty="0">
              <a:solidFill>
                <a:srgbClr val="575757"/>
              </a:solidFill>
            </a:endParaRPr>
          </a:p>
          <a:p>
            <a:r>
              <a:rPr lang="en-US" sz="2000" dirty="0">
                <a:solidFill>
                  <a:srgbClr val="575757"/>
                </a:solidFill>
              </a:rPr>
              <a:t>An annual average represents trends from the greatest numbers of people, approx. &gt;5,100 respondents each year</a:t>
            </a:r>
          </a:p>
          <a:p>
            <a:endParaRPr lang="en-US" sz="2000" dirty="0">
              <a:solidFill>
                <a:srgbClr val="575757"/>
              </a:solidFill>
            </a:endParaRPr>
          </a:p>
          <a:p>
            <a:r>
              <a:rPr lang="en-US" sz="2000" dirty="0">
                <a:solidFill>
                  <a:srgbClr val="575757"/>
                </a:solidFill>
              </a:rPr>
              <a:t>As the year progresses, compare your average to date with the last year annual average </a:t>
            </a:r>
          </a:p>
          <a:p>
            <a:endParaRPr lang="en-US" sz="2000" dirty="0">
              <a:solidFill>
                <a:srgbClr val="575757"/>
              </a:solidFill>
            </a:endParaRPr>
          </a:p>
          <a:p>
            <a:r>
              <a:rPr lang="en-US" sz="2000" dirty="0">
                <a:solidFill>
                  <a:srgbClr val="575757"/>
                </a:solidFill>
              </a:rPr>
              <a:t>At the end of the year, full annual averages will be available for most products</a:t>
            </a:r>
            <a:r>
              <a:rPr lang="en-US" sz="2000" b="1" baseline="30000" dirty="0">
                <a:solidFill>
                  <a:srgbClr val="575757"/>
                </a:solidFill>
              </a:rPr>
              <a:t>1</a:t>
            </a:r>
            <a:r>
              <a:rPr lang="en-US" sz="2000" dirty="0">
                <a:solidFill>
                  <a:srgbClr val="575757"/>
                </a:solidFill>
              </a:rPr>
              <a:t> in the Q4 report (this report)</a:t>
            </a:r>
          </a:p>
        </p:txBody>
      </p:sp>
      <p:sp>
        <p:nvSpPr>
          <p:cNvPr id="11" name="Title 1">
            <a:extLst>
              <a:ext uri="{FF2B5EF4-FFF2-40B4-BE49-F238E27FC236}">
                <a16:creationId xmlns:a16="http://schemas.microsoft.com/office/drawing/2014/main" id="{B19C6E4C-B5CF-4D8A-A6A2-A901EA634CED}"/>
              </a:ext>
            </a:extLst>
          </p:cNvPr>
          <p:cNvSpPr>
            <a:spLocks noGrp="1"/>
          </p:cNvSpPr>
          <p:nvPr>
            <p:ph type="title"/>
          </p:nvPr>
        </p:nvSpPr>
        <p:spPr>
          <a:xfrm>
            <a:off x="491835" y="698049"/>
            <a:ext cx="10933350" cy="332399"/>
          </a:xfrm>
        </p:spPr>
        <p:txBody>
          <a:bodyPr vert="horz"/>
          <a:lstStyle/>
          <a:p>
            <a:r>
              <a:rPr lang="en-US" dirty="0">
                <a:solidFill>
                  <a:srgbClr val="295E7E"/>
                </a:solidFill>
              </a:rPr>
              <a:t>Considerations for E-SAT Trends</a:t>
            </a:r>
          </a:p>
        </p:txBody>
      </p:sp>
    </p:spTree>
    <p:extLst>
      <p:ext uri="{BB962C8B-B14F-4D97-AF65-F5344CB8AC3E}">
        <p14:creationId xmlns:p14="http://schemas.microsoft.com/office/powerpoint/2010/main" val="2695565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837435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556" name="think-cell Slide" r:id="rId18" imgW="473" imgH="473" progId="TCLayout.ActiveDocument.1">
                  <p:embed/>
                </p:oleObj>
              </mc:Choice>
              <mc:Fallback>
                <p:oleObj name="think-cell Slide" r:id="rId18" imgW="473" imgH="473" progId="TCLayout.ActiveDocument.1">
                  <p:embed/>
                  <p:pic>
                    <p:nvPicPr>
                      <p:cNvPr id="5" name="Object 4"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56" name="Rectangle 155"/>
          <p:cNvSpPr/>
          <p:nvPr/>
        </p:nvSpPr>
        <p:spPr>
          <a:xfrm>
            <a:off x="9155114" y="0"/>
            <a:ext cx="283368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As the use of mobile apps varies, we allow users to say they 'don't use' or 'don't know how to use' instead of providing an E-SAT score</a:t>
            </a:r>
          </a:p>
          <a:p>
            <a:endParaRPr lang="en-GB" dirty="0">
              <a:solidFill>
                <a:srgbClr val="FFFFFF"/>
              </a:solidFill>
              <a:cs typeface="Arial" pitchFamily="34" charset="0"/>
            </a:endParaRPr>
          </a:p>
          <a:p>
            <a:r>
              <a:rPr lang="en-GB" dirty="0">
                <a:solidFill>
                  <a:srgbClr val="FFFFFF"/>
                </a:solidFill>
                <a:cs typeface="Arial" pitchFamily="34" charset="0"/>
              </a:rPr>
              <a:t>The most used app in this list remains PPT, with the others also remaining in identical ordering</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MS Office Mobile Apps – Reported Level of Use</a:t>
            </a:r>
          </a:p>
        </p:txBody>
      </p:sp>
      <p:graphicFrame>
        <p:nvGraphicFramePr>
          <p:cNvPr id="85" name="Chart 84">
            <a:extLst>
              <a:ext uri="{FF2B5EF4-FFF2-40B4-BE49-F238E27FC236}">
                <a16:creationId xmlns:a16="http://schemas.microsoft.com/office/drawing/2014/main" id="{DA486991-FE61-4940-B939-9315C8C131F5}"/>
              </a:ext>
            </a:extLst>
          </p:cNvPr>
          <p:cNvGraphicFramePr/>
          <p:nvPr>
            <p:custDataLst>
              <p:tags r:id="rId5"/>
            </p:custDataLst>
            <p:extLst>
              <p:ext uri="{D42A27DB-BD31-4B8C-83A1-F6EECF244321}">
                <p14:modId xmlns:p14="http://schemas.microsoft.com/office/powerpoint/2010/main" val="2371498186"/>
              </p:ext>
            </p:extLst>
          </p:nvPr>
        </p:nvGraphicFramePr>
        <p:xfrm>
          <a:off x="1898650" y="1974850"/>
          <a:ext cx="6537325" cy="4219575"/>
        </p:xfrm>
        <a:graphic>
          <a:graphicData uri="http://schemas.openxmlformats.org/drawingml/2006/chart">
            <c:chart xmlns:c="http://schemas.openxmlformats.org/drawingml/2006/chart" xmlns:r="http://schemas.openxmlformats.org/officeDocument/2006/relationships" r:id="rId20"/>
          </a:graphicData>
        </a:graphic>
      </p:graphicFrame>
      <p:sp>
        <p:nvSpPr>
          <p:cNvPr id="34" name="Text Placeholder 3">
            <a:extLst>
              <a:ext uri="{FF2B5EF4-FFF2-40B4-BE49-F238E27FC236}">
                <a16:creationId xmlns:a16="http://schemas.microsoft.com/office/drawing/2014/main" id="{1A507D33-BA42-488F-94F9-EA2BBE66FC2B}"/>
              </a:ext>
            </a:extLst>
          </p:cNvPr>
          <p:cNvSpPr>
            <a:spLocks noGrp="1"/>
          </p:cNvSpPr>
          <p:nvPr>
            <p:custDataLst>
              <p:tags r:id="rId6"/>
            </p:custDataLst>
          </p:nvPr>
        </p:nvSpPr>
        <p:spPr bwMode="gray">
          <a:xfrm>
            <a:off x="1301750" y="2432050"/>
            <a:ext cx="7620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684CE9C-16F6-4B99-AE74-3DF066554C0E}" type="datetime'''P''o''w''e''r''''P''''o''''''''''''''''''''''''in''''t'''''">
              <a:rPr lang="en-US" altLang="en-US" smtClean="0"/>
              <a:pPr/>
              <a:t>PowerPoint</a:t>
            </a:fld>
            <a:endParaRPr lang="en-US" dirty="0">
              <a:sym typeface="+mn-lt"/>
            </a:endParaRPr>
          </a:p>
        </p:txBody>
      </p:sp>
      <p:sp>
        <p:nvSpPr>
          <p:cNvPr id="43" name="Text Placeholder 3">
            <a:extLst>
              <a:ext uri="{FF2B5EF4-FFF2-40B4-BE49-F238E27FC236}">
                <a16:creationId xmlns:a16="http://schemas.microsoft.com/office/drawing/2014/main" id="{2EB6996A-0848-4060-88DE-A81C2F31729B}"/>
              </a:ext>
            </a:extLst>
          </p:cNvPr>
          <p:cNvSpPr>
            <a:spLocks noGrp="1"/>
          </p:cNvSpPr>
          <p:nvPr>
            <p:custDataLst>
              <p:tags r:id="rId7"/>
            </p:custDataLst>
          </p:nvPr>
        </p:nvSpPr>
        <p:spPr bwMode="gray">
          <a:xfrm>
            <a:off x="1703388" y="3384550"/>
            <a:ext cx="3603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FE80DF5-CB38-4C07-AEC3-A17E265EF072}" type="datetime'''''E''''''''''x''''''''''''''''ce''''l'''''''''''''''">
              <a:rPr lang="en-US" altLang="en-US" smtClean="0"/>
              <a:pPr/>
              <a:t>Excel</a:t>
            </a:fld>
            <a:endParaRPr lang="en-US" dirty="0">
              <a:sym typeface="+mn-lt"/>
            </a:endParaRPr>
          </a:p>
        </p:txBody>
      </p:sp>
      <p:sp>
        <p:nvSpPr>
          <p:cNvPr id="45" name="Text Placeholder 3">
            <a:extLst>
              <a:ext uri="{FF2B5EF4-FFF2-40B4-BE49-F238E27FC236}">
                <a16:creationId xmlns:a16="http://schemas.microsoft.com/office/drawing/2014/main" id="{4BC451E6-FBE5-455D-A8D1-BBDE931357D2}"/>
              </a:ext>
            </a:extLst>
          </p:cNvPr>
          <p:cNvSpPr>
            <a:spLocks noGrp="1"/>
          </p:cNvSpPr>
          <p:nvPr>
            <p:custDataLst>
              <p:tags r:id="rId8"/>
            </p:custDataLst>
          </p:nvPr>
        </p:nvSpPr>
        <p:spPr bwMode="gray">
          <a:xfrm>
            <a:off x="1714500" y="4337050"/>
            <a:ext cx="349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086F5B7-43E1-4DDD-ACA1-CDDF47AFD6DB}" type="datetime'''W''''''''''''''o''''''''''''''''''r''''''''''d'''">
              <a:rPr lang="en-US" altLang="en-US" smtClean="0"/>
              <a:pPr/>
              <a:t>Word</a:t>
            </a:fld>
            <a:endParaRPr lang="en-US" dirty="0">
              <a:sym typeface="+mn-lt"/>
            </a:endParaRPr>
          </a:p>
        </p:txBody>
      </p:sp>
      <p:sp>
        <p:nvSpPr>
          <p:cNvPr id="27" name="Text Placeholder 3">
            <a:extLst>
              <a:ext uri="{FF2B5EF4-FFF2-40B4-BE49-F238E27FC236}">
                <a16:creationId xmlns:a16="http://schemas.microsoft.com/office/drawing/2014/main" id="{75F7421A-9B18-465A-A9E9-F75129489BD0}"/>
              </a:ext>
            </a:extLst>
          </p:cNvPr>
          <p:cNvSpPr>
            <a:spLocks noGrp="1"/>
          </p:cNvSpPr>
          <p:nvPr>
            <p:custDataLst>
              <p:tags r:id="rId9"/>
            </p:custDataLst>
          </p:nvPr>
        </p:nvSpPr>
        <p:spPr bwMode="gray">
          <a:xfrm>
            <a:off x="1473200" y="5287963"/>
            <a:ext cx="590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F224203-D300-483D-B7AC-49CAE0EFAC56}" type="datetime'O''''''''''''''n''''e''''''''''''N''''''''''ot''''''''''''''e'">
              <a:rPr lang="en-US" altLang="en-US" smtClean="0"/>
              <a:pPr/>
              <a:t>OneNote</a:t>
            </a:fld>
            <a:endParaRPr lang="en-US" dirty="0">
              <a:sym typeface="+mn-lt"/>
            </a:endParaRPr>
          </a:p>
        </p:txBody>
      </p:sp>
      <p:sp>
        <p:nvSpPr>
          <p:cNvPr id="29" name="Rectangle 28"/>
          <p:cNvSpPr/>
          <p:nvPr/>
        </p:nvSpPr>
        <p:spPr>
          <a:xfrm>
            <a:off x="7987630" y="3237688"/>
            <a:ext cx="271216"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61" name="Rectangle 60"/>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54" name="Rectangle 53">
            <a:extLst>
              <a:ext uri="{FF2B5EF4-FFF2-40B4-BE49-F238E27FC236}">
                <a16:creationId xmlns:a16="http://schemas.microsoft.com/office/drawing/2014/main" id="{5F33F6DF-B058-428E-9A1C-CC9D3F4FEE6F}"/>
              </a:ext>
            </a:extLst>
          </p:cNvPr>
          <p:cNvSpPr/>
          <p:nvPr/>
        </p:nvSpPr>
        <p:spPr>
          <a:xfrm>
            <a:off x="512970" y="1437149"/>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who do use / don't use / don't know how to use:</a:t>
            </a:r>
            <a:endParaRPr lang="en-GB" sz="1200" b="1" dirty="0">
              <a:solidFill>
                <a:srgbClr val="295E7E"/>
              </a:solidFill>
            </a:endParaRPr>
          </a:p>
        </p:txBody>
      </p:sp>
      <p:sp>
        <p:nvSpPr>
          <p:cNvPr id="12" name="Rectangle 11">
            <a:extLst>
              <a:ext uri="{FF2B5EF4-FFF2-40B4-BE49-F238E27FC236}">
                <a16:creationId xmlns:a16="http://schemas.microsoft.com/office/drawing/2014/main" id="{5EDD513C-C328-467F-B6FA-953CB68426FD}"/>
              </a:ext>
            </a:extLst>
          </p:cNvPr>
          <p:cNvSpPr/>
          <p:nvPr>
            <p:custDataLst>
              <p:tags r:id="rId10"/>
            </p:custDataLst>
          </p:nvPr>
        </p:nvSpPr>
        <p:spPr bwMode="gray">
          <a:xfrm>
            <a:off x="2225675" y="6349999"/>
            <a:ext cx="214313" cy="160338"/>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0" name="Rectangle 129">
            <a:extLst>
              <a:ext uri="{FF2B5EF4-FFF2-40B4-BE49-F238E27FC236}">
                <a16:creationId xmlns:a16="http://schemas.microsoft.com/office/drawing/2014/main" id="{60DE1734-EDF1-4EAC-A1A6-5EC44147FC85}"/>
              </a:ext>
            </a:extLst>
          </p:cNvPr>
          <p:cNvSpPr/>
          <p:nvPr>
            <p:custDataLst>
              <p:tags r:id="rId11"/>
            </p:custDataLst>
          </p:nvPr>
        </p:nvSpPr>
        <p:spPr bwMode="gray">
          <a:xfrm>
            <a:off x="3057525" y="635000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1" name="Rectangle 140">
            <a:extLst>
              <a:ext uri="{FF2B5EF4-FFF2-40B4-BE49-F238E27FC236}">
                <a16:creationId xmlns:a16="http://schemas.microsoft.com/office/drawing/2014/main" id="{D62E1C8B-1855-49CC-B10E-B4B36DBE4F63}"/>
              </a:ext>
            </a:extLst>
          </p:cNvPr>
          <p:cNvSpPr/>
          <p:nvPr>
            <p:custDataLst>
              <p:tags r:id="rId12"/>
            </p:custDataLst>
          </p:nvPr>
        </p:nvSpPr>
        <p:spPr bwMode="gray">
          <a:xfrm>
            <a:off x="4087813" y="6350000"/>
            <a:ext cx="214313" cy="160338"/>
          </a:xfrm>
          <a:prstGeom prst="rect">
            <a:avLst/>
          </a:prstGeom>
          <a:solidFill>
            <a:srgbClr val="6E6F7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Text Placeholder 3">
            <a:extLst>
              <a:ext uri="{FF2B5EF4-FFF2-40B4-BE49-F238E27FC236}">
                <a16:creationId xmlns:a16="http://schemas.microsoft.com/office/drawing/2014/main" id="{D83A40BE-E301-46DA-AD9D-8CCE16E535F2}"/>
              </a:ext>
            </a:extLst>
          </p:cNvPr>
          <p:cNvSpPr>
            <a:spLocks noGrp="1"/>
          </p:cNvSpPr>
          <p:nvPr>
            <p:custDataLst>
              <p:tags r:id="rId13"/>
            </p:custDataLst>
          </p:nvPr>
        </p:nvSpPr>
        <p:spPr bwMode="gray">
          <a:xfrm>
            <a:off x="2490788" y="6330950"/>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6BD0914-7CEA-474C-A414-130110E4F460}" type="datetime'''D''''''''''''o'''''''''''''''''' U''''''''''s''''e'">
              <a:rPr lang="en-US" altLang="en-US" smtClean="0"/>
              <a:pPr/>
              <a:t>Do Use</a:t>
            </a:fld>
            <a:endParaRPr lang="en-US" dirty="0">
              <a:sym typeface="+mn-lt"/>
            </a:endParaRPr>
          </a:p>
        </p:txBody>
      </p:sp>
      <p:sp>
        <p:nvSpPr>
          <p:cNvPr id="182" name="Text Placeholder 3">
            <a:extLst>
              <a:ext uri="{FF2B5EF4-FFF2-40B4-BE49-F238E27FC236}">
                <a16:creationId xmlns:a16="http://schemas.microsoft.com/office/drawing/2014/main" id="{6F1B97DB-AB2D-40B6-993B-2B63D737A99B}"/>
              </a:ext>
            </a:extLst>
          </p:cNvPr>
          <p:cNvSpPr>
            <a:spLocks noGrp="1"/>
          </p:cNvSpPr>
          <p:nvPr>
            <p:custDataLst>
              <p:tags r:id="rId14"/>
            </p:custDataLst>
          </p:nvPr>
        </p:nvSpPr>
        <p:spPr bwMode="gray">
          <a:xfrm>
            <a:off x="3322638" y="6330950"/>
            <a:ext cx="6635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CCCB3B0-00F1-4693-9799-F894B42D6CAE}" type="datetime'''''''D''''''''''o''''''''''n’t'''''''''''''''''' ''Us''''''e'">
              <a:rPr lang="en-US" altLang="en-US" smtClean="0"/>
              <a:pPr>
                <a:spcBef>
                  <a:spcPct val="0"/>
                </a:spcBef>
                <a:spcAft>
                  <a:spcPct val="0"/>
                </a:spcAft>
              </a:pPr>
              <a:t>Don’t Use</a:t>
            </a:fld>
            <a:endParaRPr lang="en-US" dirty="0">
              <a:sym typeface="+mn-lt"/>
            </a:endParaRPr>
          </a:p>
        </p:txBody>
      </p:sp>
      <p:sp>
        <p:nvSpPr>
          <p:cNvPr id="181" name="Text Placeholder 3">
            <a:extLst>
              <a:ext uri="{FF2B5EF4-FFF2-40B4-BE49-F238E27FC236}">
                <a16:creationId xmlns:a16="http://schemas.microsoft.com/office/drawing/2014/main" id="{D7CE214E-5531-41CA-8A91-56EA8D8BE9E2}"/>
              </a:ext>
            </a:extLst>
          </p:cNvPr>
          <p:cNvSpPr>
            <a:spLocks noGrp="1"/>
          </p:cNvSpPr>
          <p:nvPr>
            <p:custDataLst>
              <p:tags r:id="rId15"/>
            </p:custDataLst>
          </p:nvPr>
        </p:nvSpPr>
        <p:spPr bwMode="gray">
          <a:xfrm>
            <a:off x="4352925" y="6330950"/>
            <a:ext cx="1606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93D9A5F-C1F1-454F-BCF0-EB156F21ADB8}" type="datetime'''D''on’t ''K''n''''''''ow H''o''w ''''''''''T''o'''' ''Use'">
              <a:rPr lang="en-GB" altLang="en-US" smtClean="0"/>
              <a:pPr>
                <a:spcBef>
                  <a:spcPct val="0"/>
                </a:spcBef>
                <a:spcAft>
                  <a:spcPct val="0"/>
                </a:spcAft>
              </a:pPr>
              <a:t>Don’t Know How To Use</a:t>
            </a:fld>
            <a:endParaRPr lang="en-US" dirty="0">
              <a:sym typeface="+mn-lt"/>
            </a:endParaRPr>
          </a:p>
        </p:txBody>
      </p:sp>
      <p:grpSp>
        <p:nvGrpSpPr>
          <p:cNvPr id="40" name="Group 39">
            <a:extLst>
              <a:ext uri="{FF2B5EF4-FFF2-40B4-BE49-F238E27FC236}">
                <a16:creationId xmlns:a16="http://schemas.microsoft.com/office/drawing/2014/main" id="{943ADB39-F989-4E9F-91DE-B41CF38B72F4}"/>
              </a:ext>
            </a:extLst>
          </p:cNvPr>
          <p:cNvGrpSpPr>
            <a:grpSpLocks noChangeAspect="1"/>
          </p:cNvGrpSpPr>
          <p:nvPr/>
        </p:nvGrpSpPr>
        <p:grpSpPr>
          <a:xfrm>
            <a:off x="599640" y="864696"/>
            <a:ext cx="457200" cy="457200"/>
            <a:chOff x="5867400" y="3200400"/>
            <a:chExt cx="457200" cy="457200"/>
          </a:xfrm>
        </p:grpSpPr>
        <p:sp>
          <p:nvSpPr>
            <p:cNvPr id="41" name="AutoShape 43">
              <a:extLst>
                <a:ext uri="{FF2B5EF4-FFF2-40B4-BE49-F238E27FC236}">
                  <a16:creationId xmlns:a16="http://schemas.microsoft.com/office/drawing/2014/main" id="{490E9772-DAF0-4D05-A5C8-132BD2BD695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a:extLst>
                <a:ext uri="{FF2B5EF4-FFF2-40B4-BE49-F238E27FC236}">
                  <a16:creationId xmlns:a16="http://schemas.microsoft.com/office/drawing/2014/main" id="{0D55DDE2-C601-47B3-BAD7-0F640CF4E09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5" name="Rectangle 34">
            <a:extLst>
              <a:ext uri="{FF2B5EF4-FFF2-40B4-BE49-F238E27FC236}">
                <a16:creationId xmlns:a16="http://schemas.microsoft.com/office/drawing/2014/main" id="{F8F57CEA-3687-4733-810C-2A50C54C47C0}"/>
              </a:ext>
            </a:extLst>
          </p:cNvPr>
          <p:cNvSpPr/>
          <p:nvPr/>
        </p:nvSpPr>
        <p:spPr>
          <a:xfrm>
            <a:off x="8300243" y="5863800"/>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Tree>
    <p:custDataLst>
      <p:tags r:id="rId2"/>
    </p:custDataLst>
    <p:extLst>
      <p:ext uri="{BB962C8B-B14F-4D97-AF65-F5344CB8AC3E}">
        <p14:creationId xmlns:p14="http://schemas.microsoft.com/office/powerpoint/2010/main" val="424188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506796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581" name="think-cell Slide" r:id="rId34" imgW="473" imgH="473" progId="TCLayout.ActiveDocument.1">
                  <p:embed/>
                </p:oleObj>
              </mc:Choice>
              <mc:Fallback>
                <p:oleObj name="think-cell Slide" r:id="rId34" imgW="473" imgH="473" progId="TCLayout.ActiveDocument.1">
                  <p:embed/>
                  <p:pic>
                    <p:nvPicPr>
                      <p:cNvPr id="5" name="Object 4" hidden="1"/>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cxnSp>
        <p:nvCxnSpPr>
          <p:cNvPr id="21" name="Straight Connector 20"/>
          <p:cNvCxnSpPr/>
          <p:nvPr>
            <p:custDataLst>
              <p:tags r:id="rId5"/>
            </p:custDataLst>
          </p:nvPr>
        </p:nvCxnSpPr>
        <p:spPr bwMode="gray">
          <a:xfrm flipH="1">
            <a:off x="5572126" y="2362200"/>
            <a:ext cx="34925" cy="0"/>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Text Placeholder 3"/>
          <p:cNvSpPr>
            <a:spLocks noGrp="1"/>
          </p:cNvSpPr>
          <p:nvPr>
            <p:custDataLst>
              <p:tags r:id="rId6"/>
            </p:custDataLst>
          </p:nvPr>
        </p:nvSpPr>
        <p:spPr bwMode="gray">
          <a:xfrm>
            <a:off x="2673350" y="1825626"/>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0" name="Text Placeholder 3"/>
          <p:cNvSpPr>
            <a:spLocks noGrp="1"/>
          </p:cNvSpPr>
          <p:nvPr>
            <p:custDataLst>
              <p:tags r:id="rId7"/>
            </p:custDataLst>
          </p:nvPr>
        </p:nvSpPr>
        <p:spPr bwMode="gray">
          <a:xfrm>
            <a:off x="3648075" y="182562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3" name="Text Placeholder 3"/>
          <p:cNvSpPr>
            <a:spLocks noGrp="1"/>
          </p:cNvSpPr>
          <p:nvPr>
            <p:custDataLst>
              <p:tags r:id="rId8"/>
            </p:custDataLst>
          </p:nvPr>
        </p:nvSpPr>
        <p:spPr bwMode="gray">
          <a:xfrm>
            <a:off x="4281488" y="18256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5" name="Text Placeholder 3"/>
          <p:cNvSpPr>
            <a:spLocks noGrp="1"/>
          </p:cNvSpPr>
          <p:nvPr>
            <p:custDataLst>
              <p:tags r:id="rId9"/>
            </p:custDataLst>
          </p:nvPr>
        </p:nvSpPr>
        <p:spPr bwMode="gray">
          <a:xfrm>
            <a:off x="4837113" y="182562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127" name="Text Placeholder 3"/>
          <p:cNvSpPr>
            <a:spLocks noGrp="1"/>
          </p:cNvSpPr>
          <p:nvPr>
            <p:custDataLst>
              <p:tags r:id="rId10"/>
            </p:custDataLst>
          </p:nvPr>
        </p:nvSpPr>
        <p:spPr bwMode="gray">
          <a:xfrm>
            <a:off x="5657850" y="182562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dirty="0">
              <a:sym typeface="+mn-lt"/>
            </a:endParaRPr>
          </a:p>
        </p:txBody>
      </p:sp>
      <p:sp>
        <p:nvSpPr>
          <p:cNvPr id="3" name="Title 2"/>
          <p:cNvSpPr>
            <a:spLocks noGrp="1"/>
          </p:cNvSpPr>
          <p:nvPr>
            <p:ph type="title"/>
          </p:nvPr>
        </p:nvSpPr>
        <p:spPr/>
        <p:txBody>
          <a:bodyPr vert="horz"/>
          <a:lstStyle/>
          <a:p>
            <a:r>
              <a:rPr lang="en-US" dirty="0">
                <a:solidFill>
                  <a:srgbClr val="295E7E"/>
                </a:solidFill>
              </a:rPr>
              <a:t>MS Office Mobile Apps</a:t>
            </a:r>
            <a:r>
              <a:rPr lang="en-US" baseline="30000" dirty="0">
                <a:solidFill>
                  <a:srgbClr val="E71C57"/>
                </a:solidFill>
              </a:rPr>
              <a:t>1</a:t>
            </a:r>
            <a:r>
              <a:rPr lang="en-US" dirty="0">
                <a:solidFill>
                  <a:srgbClr val="295E7E"/>
                </a:solidFill>
              </a:rPr>
              <a:t> –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8" name="Rectangle 37"/>
          <p:cNvSpPr/>
          <p:nvPr/>
        </p:nvSpPr>
        <p:spPr>
          <a:xfrm>
            <a:off x="6989358" y="1914472"/>
            <a:ext cx="611980" cy="20422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E-SAT</a:t>
            </a:r>
          </a:p>
        </p:txBody>
      </p:sp>
      <p:sp>
        <p:nvSpPr>
          <p:cNvPr id="39" name="Rectangle 38"/>
          <p:cNvSpPr/>
          <p:nvPr/>
        </p:nvSpPr>
        <p:spPr>
          <a:xfrm>
            <a:off x="7796109" y="1871265"/>
            <a:ext cx="657958" cy="2613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Grade</a:t>
            </a:r>
          </a:p>
        </p:txBody>
      </p:sp>
      <p:sp>
        <p:nvSpPr>
          <p:cNvPr id="42" name="Rectangle 41"/>
          <p:cNvSpPr/>
          <p:nvPr/>
        </p:nvSpPr>
        <p:spPr>
          <a:xfrm>
            <a:off x="7601338" y="2502420"/>
            <a:ext cx="1158633" cy="236422"/>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
        <p:nvSpPr>
          <p:cNvPr id="43" name="Rectangle 42"/>
          <p:cNvSpPr/>
          <p:nvPr/>
        </p:nvSpPr>
        <p:spPr>
          <a:xfrm>
            <a:off x="7029068" y="2484432"/>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2%</a:t>
            </a:r>
          </a:p>
        </p:txBody>
      </p:sp>
      <p:sp>
        <p:nvSpPr>
          <p:cNvPr id="49" name="Rectangle 48"/>
          <p:cNvSpPr/>
          <p:nvPr/>
        </p:nvSpPr>
        <p:spPr>
          <a:xfrm>
            <a:off x="7040452" y="4794514"/>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6%</a:t>
            </a:r>
          </a:p>
        </p:txBody>
      </p:sp>
      <p:sp>
        <p:nvSpPr>
          <p:cNvPr id="53" name="Rectangle 52"/>
          <p:cNvSpPr/>
          <p:nvPr/>
        </p:nvSpPr>
        <p:spPr>
          <a:xfrm>
            <a:off x="7021511" y="3274863"/>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1%</a:t>
            </a:r>
          </a:p>
        </p:txBody>
      </p:sp>
      <p:sp>
        <p:nvSpPr>
          <p:cNvPr id="54" name="Rectangle 53"/>
          <p:cNvSpPr/>
          <p:nvPr/>
        </p:nvSpPr>
        <p:spPr>
          <a:xfrm>
            <a:off x="7584004" y="3994973"/>
            <a:ext cx="1158633" cy="236422"/>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9" name="Rectangle 5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aphicFrame>
        <p:nvGraphicFramePr>
          <p:cNvPr id="104" name="Chart 103">
            <a:extLst>
              <a:ext uri="{FF2B5EF4-FFF2-40B4-BE49-F238E27FC236}">
                <a16:creationId xmlns:a16="http://schemas.microsoft.com/office/drawing/2014/main" id="{981D668C-6B4A-4353-98C6-3D6CE9B480DA}"/>
              </a:ext>
            </a:extLst>
          </p:cNvPr>
          <p:cNvGraphicFramePr/>
          <p:nvPr>
            <p:custDataLst>
              <p:tags r:id="rId11"/>
            </p:custDataLst>
            <p:extLst>
              <p:ext uri="{D42A27DB-BD31-4B8C-83A1-F6EECF244321}">
                <p14:modId xmlns:p14="http://schemas.microsoft.com/office/powerpoint/2010/main" val="206289205"/>
              </p:ext>
            </p:extLst>
          </p:nvPr>
        </p:nvGraphicFramePr>
        <p:xfrm>
          <a:off x="2339975" y="2111375"/>
          <a:ext cx="4897438" cy="3500438"/>
        </p:xfrm>
        <a:graphic>
          <a:graphicData uri="http://schemas.openxmlformats.org/drawingml/2006/chart">
            <c:chart xmlns:c="http://schemas.openxmlformats.org/drawingml/2006/chart" xmlns:r="http://schemas.openxmlformats.org/officeDocument/2006/relationships" r:id="rId36"/>
          </a:graphicData>
        </a:graphic>
      </p:graphicFrame>
      <p:sp>
        <p:nvSpPr>
          <p:cNvPr id="108" name="Text Placeholder 3">
            <a:extLst>
              <a:ext uri="{FF2B5EF4-FFF2-40B4-BE49-F238E27FC236}">
                <a16:creationId xmlns:a16="http://schemas.microsoft.com/office/drawing/2014/main" id="{6C984034-6DFC-4475-A154-73DCB2A8B3A8}"/>
              </a:ext>
            </a:extLst>
          </p:cNvPr>
          <p:cNvSpPr>
            <a:spLocks noGrp="1"/>
          </p:cNvSpPr>
          <p:nvPr>
            <p:custDataLst>
              <p:tags r:id="rId12"/>
            </p:custDataLst>
          </p:nvPr>
        </p:nvSpPr>
        <p:spPr bwMode="gray">
          <a:xfrm>
            <a:off x="6748463" y="2601913"/>
            <a:ext cx="209550"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3655335-074C-4CD6-99C4-E2938C02341B}" type="datetime'''''''2''''''''''%'''''''''''''''''''">
              <a:rPr lang="en-US" altLang="en-US" smtClean="0">
                <a:solidFill>
                  <a:schemeClr val="bg1"/>
                </a:solidFill>
                <a:effectLst/>
              </a:rPr>
              <a:pPr/>
              <a:t>2%</a:t>
            </a:fld>
            <a:endParaRPr lang="en-US" dirty="0">
              <a:solidFill>
                <a:schemeClr val="bg1"/>
              </a:solidFill>
              <a:sym typeface="+mn-lt"/>
            </a:endParaRPr>
          </a:p>
        </p:txBody>
      </p:sp>
      <p:sp>
        <p:nvSpPr>
          <p:cNvPr id="100" name="Text Placeholder 3">
            <a:extLst>
              <a:ext uri="{FF2B5EF4-FFF2-40B4-BE49-F238E27FC236}">
                <a16:creationId xmlns:a16="http://schemas.microsoft.com/office/drawing/2014/main" id="{996E1700-162E-493C-BB25-8422416F36F3}"/>
              </a:ext>
            </a:extLst>
          </p:cNvPr>
          <p:cNvSpPr>
            <a:spLocks noGrp="1"/>
          </p:cNvSpPr>
          <p:nvPr>
            <p:custDataLst>
              <p:tags r:id="rId13"/>
            </p:custDataLst>
          </p:nvPr>
        </p:nvSpPr>
        <p:spPr bwMode="gray">
          <a:xfrm>
            <a:off x="6746875" y="3373438"/>
            <a:ext cx="209550"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41E5AE6-9B0D-4DE4-9FF4-6BE27FB80645}" type="datetime'''2''''''''''%'''''''''''''''''''''''">
              <a:rPr lang="en-US" altLang="en-US" smtClean="0">
                <a:solidFill>
                  <a:schemeClr val="bg1"/>
                </a:solidFill>
                <a:effectLst/>
              </a:rPr>
              <a:pPr/>
              <a:t>2%</a:t>
            </a:fld>
            <a:endParaRPr lang="en-US" dirty="0">
              <a:solidFill>
                <a:schemeClr val="bg1"/>
              </a:solidFill>
              <a:sym typeface="+mn-lt"/>
            </a:endParaRPr>
          </a:p>
        </p:txBody>
      </p:sp>
      <p:sp>
        <p:nvSpPr>
          <p:cNvPr id="69" name="Text Placeholder 3">
            <a:extLst>
              <a:ext uri="{FF2B5EF4-FFF2-40B4-BE49-F238E27FC236}">
                <a16:creationId xmlns:a16="http://schemas.microsoft.com/office/drawing/2014/main" id="{D66D0602-AC89-4982-B970-362B825BABFE}"/>
              </a:ext>
            </a:extLst>
          </p:cNvPr>
          <p:cNvSpPr>
            <a:spLocks noGrp="1"/>
          </p:cNvSpPr>
          <p:nvPr>
            <p:custDataLst>
              <p:tags r:id="rId14"/>
            </p:custDataLst>
          </p:nvPr>
        </p:nvSpPr>
        <p:spPr bwMode="gray">
          <a:xfrm>
            <a:off x="1411288" y="4024313"/>
            <a:ext cx="10937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DBCEC9F-8164-4932-B4D3-269752C83512}" type="datetime'E''''''''xce''''''''l ''for'' ''M''ob''''i''''l''''e'''">
              <a:rPr lang="en-US" altLang="en-US" smtClean="0"/>
              <a:pPr/>
              <a:t>Excel for Mobile</a:t>
            </a:fld>
            <a:endParaRPr lang="en-US" dirty="0">
              <a:sym typeface="+mn-lt"/>
            </a:endParaRPr>
          </a:p>
        </p:txBody>
      </p:sp>
      <p:sp>
        <p:nvSpPr>
          <p:cNvPr id="58" name="Text Placeholder 3">
            <a:extLst>
              <a:ext uri="{FF2B5EF4-FFF2-40B4-BE49-F238E27FC236}">
                <a16:creationId xmlns:a16="http://schemas.microsoft.com/office/drawing/2014/main" id="{392E6A20-61C8-4CF9-96C1-30ACCA99A3E8}"/>
              </a:ext>
            </a:extLst>
          </p:cNvPr>
          <p:cNvSpPr>
            <a:spLocks noGrp="1"/>
          </p:cNvSpPr>
          <p:nvPr>
            <p:custDataLst>
              <p:tags r:id="rId15"/>
            </p:custDataLst>
          </p:nvPr>
        </p:nvSpPr>
        <p:spPr bwMode="gray">
          <a:xfrm>
            <a:off x="6831013" y="2359025"/>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4251BBE-6C42-4D2B-81AF-08C572763226}" type="datetime'''''''''''''''''2''''''''''''''''''''''%'''''''''">
              <a:rPr lang="en-US" altLang="en-US" smtClean="0">
                <a:solidFill>
                  <a:srgbClr val="FFFFFF"/>
                </a:solidFill>
                <a:effectLst/>
              </a:rPr>
              <a:pPr/>
              <a:t>2%</a:t>
            </a:fld>
            <a:endParaRPr lang="en-US" dirty="0">
              <a:solidFill>
                <a:srgbClr val="FFFFFF"/>
              </a:solidFill>
              <a:sym typeface="+mn-lt"/>
            </a:endParaRPr>
          </a:p>
        </p:txBody>
      </p:sp>
      <p:sp>
        <p:nvSpPr>
          <p:cNvPr id="155" name="Text Placeholder 3">
            <a:extLst>
              <a:ext uri="{FF2B5EF4-FFF2-40B4-BE49-F238E27FC236}">
                <a16:creationId xmlns:a16="http://schemas.microsoft.com/office/drawing/2014/main" id="{51ABF9B1-A82E-4C7A-881D-B4AEDBBF922A}"/>
              </a:ext>
            </a:extLst>
          </p:cNvPr>
          <p:cNvSpPr>
            <a:spLocks noGrp="1"/>
          </p:cNvSpPr>
          <p:nvPr>
            <p:custDataLst>
              <p:tags r:id="rId16"/>
            </p:custDataLst>
          </p:nvPr>
        </p:nvSpPr>
        <p:spPr bwMode="gray">
          <a:xfrm>
            <a:off x="1422401" y="2479675"/>
            <a:ext cx="10826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5BA66E3-090B-4037-A941-D08885702F96}" type="datetime'W''''or''d ''''''''''f''''''or'''' ''''Mob''''''''i''l''''e'''">
              <a:rPr lang="en-US" altLang="en-US" smtClean="0"/>
              <a:pPr/>
              <a:t>Word for Mobile</a:t>
            </a:fld>
            <a:endParaRPr lang="en-US" dirty="0">
              <a:sym typeface="+mn-lt"/>
            </a:endParaRPr>
          </a:p>
        </p:txBody>
      </p:sp>
      <p:sp>
        <p:nvSpPr>
          <p:cNvPr id="63" name="Text Placeholder 3">
            <a:extLst>
              <a:ext uri="{FF2B5EF4-FFF2-40B4-BE49-F238E27FC236}">
                <a16:creationId xmlns:a16="http://schemas.microsoft.com/office/drawing/2014/main" id="{0E886C21-C88E-42D2-81C3-768E13E2B945}"/>
              </a:ext>
            </a:extLst>
          </p:cNvPr>
          <p:cNvSpPr>
            <a:spLocks noGrp="1"/>
          </p:cNvSpPr>
          <p:nvPr>
            <p:custDataLst>
              <p:tags r:id="rId17"/>
            </p:custDataLst>
          </p:nvPr>
        </p:nvSpPr>
        <p:spPr bwMode="gray">
          <a:xfrm>
            <a:off x="6829425" y="3132138"/>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4906BD2-681C-4FCD-B71D-1111576105BF}" type="datetime'''''''''''''2''''''''''%'''''''''">
              <a:rPr lang="en-US" altLang="en-US" smtClean="0">
                <a:solidFill>
                  <a:srgbClr val="FFFFFF"/>
                </a:solidFill>
                <a:effectLst/>
              </a:rPr>
              <a:pPr/>
              <a:t>2%</a:t>
            </a:fld>
            <a:endParaRPr lang="en-US" dirty="0">
              <a:solidFill>
                <a:srgbClr val="FFFFFF"/>
              </a:solidFill>
              <a:sym typeface="+mn-lt"/>
            </a:endParaRPr>
          </a:p>
        </p:txBody>
      </p:sp>
      <p:sp>
        <p:nvSpPr>
          <p:cNvPr id="150" name="Text Placeholder 3">
            <a:extLst>
              <a:ext uri="{FF2B5EF4-FFF2-40B4-BE49-F238E27FC236}">
                <a16:creationId xmlns:a16="http://schemas.microsoft.com/office/drawing/2014/main" id="{E039FEE9-26D9-4710-8731-B0E4E3E2D3C8}"/>
              </a:ext>
            </a:extLst>
          </p:cNvPr>
          <p:cNvSpPr>
            <a:spLocks noGrp="1"/>
          </p:cNvSpPr>
          <p:nvPr>
            <p:custDataLst>
              <p:tags r:id="rId18"/>
            </p:custDataLst>
          </p:nvPr>
        </p:nvSpPr>
        <p:spPr bwMode="gray">
          <a:xfrm>
            <a:off x="1181100" y="3252788"/>
            <a:ext cx="1323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9D3B88A2-7C94-492C-B4FF-F8EA9C0F01EE}" type="datetime'''''''O''''n''''''eN''''ot''e ''fo''r M''ob''''''''ile'''''''">
              <a:rPr lang="en-US" altLang="en-US" smtClean="0"/>
              <a:pPr/>
              <a:t>OneNote for Mobile</a:t>
            </a:fld>
            <a:endParaRPr lang="en-US" dirty="0">
              <a:sym typeface="+mn-lt"/>
            </a:endParaRPr>
          </a:p>
        </p:txBody>
      </p:sp>
      <p:sp>
        <p:nvSpPr>
          <p:cNvPr id="77" name="Text Placeholder 3">
            <a:extLst>
              <a:ext uri="{FF2B5EF4-FFF2-40B4-BE49-F238E27FC236}">
                <a16:creationId xmlns:a16="http://schemas.microsoft.com/office/drawing/2014/main" id="{8B159791-A822-48D3-A033-E1BEC3E2BA98}"/>
              </a:ext>
            </a:extLst>
          </p:cNvPr>
          <p:cNvSpPr>
            <a:spLocks noGrp="1"/>
          </p:cNvSpPr>
          <p:nvPr>
            <p:custDataLst>
              <p:tags r:id="rId19"/>
            </p:custDataLst>
          </p:nvPr>
        </p:nvSpPr>
        <p:spPr bwMode="gray">
          <a:xfrm>
            <a:off x="6829425" y="3903663"/>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8959569-594B-4843-B17D-597BD15E2544}" type="datetime'''''''''2''''%'''''''''">
              <a:rPr lang="en-US" altLang="en-US" smtClean="0">
                <a:solidFill>
                  <a:srgbClr val="FFFFFF"/>
                </a:solidFill>
                <a:effectLst/>
              </a:rPr>
              <a:pPr/>
              <a:t>2%</a:t>
            </a:fld>
            <a:endParaRPr lang="en-US" dirty="0">
              <a:solidFill>
                <a:srgbClr val="FFFFFF"/>
              </a:solidFill>
              <a:sym typeface="+mn-lt"/>
            </a:endParaRPr>
          </a:p>
        </p:txBody>
      </p:sp>
      <p:sp>
        <p:nvSpPr>
          <p:cNvPr id="75" name="Text Placeholder 3">
            <a:extLst>
              <a:ext uri="{FF2B5EF4-FFF2-40B4-BE49-F238E27FC236}">
                <a16:creationId xmlns:a16="http://schemas.microsoft.com/office/drawing/2014/main" id="{7255C875-A7F8-4579-B414-0BAB4164919A}"/>
              </a:ext>
            </a:extLst>
          </p:cNvPr>
          <p:cNvSpPr>
            <a:spLocks noGrp="1"/>
          </p:cNvSpPr>
          <p:nvPr>
            <p:custDataLst>
              <p:tags r:id="rId20"/>
            </p:custDataLst>
          </p:nvPr>
        </p:nvSpPr>
        <p:spPr bwMode="gray">
          <a:xfrm>
            <a:off x="6823075" y="4797425"/>
            <a:ext cx="209550"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4030209-7388-4963-BFA6-BA7FBEE7738E}" type="datetime'''''''''''''''''''''''''''2''''''%'''''''''''''">
              <a:rPr lang="en-US" altLang="en-US" smtClean="0">
                <a:solidFill>
                  <a:srgbClr val="FFFFFF"/>
                </a:solidFill>
                <a:effectLst/>
              </a:rPr>
              <a:pPr/>
              <a:t>2%</a:t>
            </a:fld>
            <a:endParaRPr lang="en-US" dirty="0">
              <a:solidFill>
                <a:srgbClr val="FFFFFF"/>
              </a:solidFill>
              <a:sym typeface="+mn-lt"/>
            </a:endParaRPr>
          </a:p>
        </p:txBody>
      </p:sp>
      <p:sp>
        <p:nvSpPr>
          <p:cNvPr id="156" name="Text Placeholder 3">
            <a:extLst>
              <a:ext uri="{FF2B5EF4-FFF2-40B4-BE49-F238E27FC236}">
                <a16:creationId xmlns:a16="http://schemas.microsoft.com/office/drawing/2014/main" id="{DA60F2F4-5535-4327-B578-AECC87BD528F}"/>
              </a:ext>
            </a:extLst>
          </p:cNvPr>
          <p:cNvSpPr>
            <a:spLocks noGrp="1"/>
          </p:cNvSpPr>
          <p:nvPr>
            <p:custDataLst>
              <p:tags r:id="rId21"/>
            </p:custDataLst>
          </p:nvPr>
        </p:nvSpPr>
        <p:spPr bwMode="gray">
          <a:xfrm>
            <a:off x="1009650" y="4797425"/>
            <a:ext cx="14954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10FC7CF-6FC5-4398-87DB-02E524AE5F65}" type="datetime'Powe''rPo''i''nt'''' for ''M''''ob''''''i''''''l''''''e'''''''">
              <a:rPr lang="en-US" altLang="en-US" smtClean="0"/>
              <a:pPr/>
              <a:t>PowerPoint for Mobile</a:t>
            </a:fld>
            <a:endParaRPr lang="en-US" dirty="0">
              <a:sym typeface="+mn-lt"/>
            </a:endParaRPr>
          </a:p>
        </p:txBody>
      </p:sp>
      <p:sp>
        <p:nvSpPr>
          <p:cNvPr id="226" name="Rectangle 225"/>
          <p:cNvSpPr/>
          <p:nvPr>
            <p:custDataLst>
              <p:tags r:id="rId22"/>
            </p:custDataLst>
          </p:nvPr>
        </p:nvSpPr>
        <p:spPr bwMode="gray">
          <a:xfrm>
            <a:off x="4811713" y="56911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8" name="Rectangle 227"/>
          <p:cNvSpPr/>
          <p:nvPr>
            <p:custDataLst>
              <p:tags r:id="rId23"/>
            </p:custDataLst>
          </p:nvPr>
        </p:nvSpPr>
        <p:spPr bwMode="gray">
          <a:xfrm>
            <a:off x="6819900" y="56911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p:cNvSpPr/>
          <p:nvPr>
            <p:custDataLst>
              <p:tags r:id="rId24"/>
            </p:custDataLst>
          </p:nvPr>
        </p:nvSpPr>
        <p:spPr bwMode="gray">
          <a:xfrm>
            <a:off x="3862388" y="5691188"/>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8" name="Rectangle 27"/>
          <p:cNvSpPr/>
          <p:nvPr>
            <p:custDataLst>
              <p:tags r:id="rId25"/>
            </p:custDataLst>
          </p:nvPr>
        </p:nvSpPr>
        <p:spPr bwMode="gray">
          <a:xfrm>
            <a:off x="2571750" y="5691188"/>
            <a:ext cx="214313" cy="160338"/>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7" name="Rectangle 226"/>
          <p:cNvSpPr/>
          <p:nvPr>
            <p:custDataLst>
              <p:tags r:id="rId26"/>
            </p:custDataLst>
          </p:nvPr>
        </p:nvSpPr>
        <p:spPr bwMode="gray">
          <a:xfrm>
            <a:off x="5683250" y="5691188"/>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7" name="Text Placeholder 3"/>
          <p:cNvSpPr>
            <a:spLocks noGrp="1"/>
          </p:cNvSpPr>
          <p:nvPr>
            <p:custDataLst>
              <p:tags r:id="rId27"/>
            </p:custDataLst>
          </p:nvPr>
        </p:nvSpPr>
        <p:spPr bwMode="gray">
          <a:xfrm>
            <a:off x="2836863" y="5672138"/>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4E7DD6D-59D4-44AC-8478-8922BA395A31}" type="datetime'''V''e''r''y'''''' Sa''ti''''''''''''''''sfie''''''''''d'''''">
              <a:rPr lang="en-US" altLang="en-US" smtClean="0">
                <a:sym typeface="+mn-lt"/>
              </a:rPr>
              <a:pPr>
                <a:spcBef>
                  <a:spcPct val="0"/>
                </a:spcBef>
                <a:spcAft>
                  <a:spcPct val="0"/>
                </a:spcAft>
              </a:pPr>
              <a:t>Very Satisfied</a:t>
            </a:fld>
            <a:endParaRPr lang="en-US" dirty="0">
              <a:sym typeface="+mn-lt"/>
            </a:endParaRPr>
          </a:p>
        </p:txBody>
      </p:sp>
      <p:sp>
        <p:nvSpPr>
          <p:cNvPr id="189" name="Text Placeholder 3"/>
          <p:cNvSpPr>
            <a:spLocks noGrp="1"/>
          </p:cNvSpPr>
          <p:nvPr>
            <p:custDataLst>
              <p:tags r:id="rId28"/>
            </p:custDataLst>
          </p:nvPr>
        </p:nvSpPr>
        <p:spPr bwMode="gray">
          <a:xfrm>
            <a:off x="5948363" y="5672138"/>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1B07022-26B5-46BA-8BEE-4CEBD1EB3F51}" type="datetime'''D''i''ss''''''''a''''''''''t''i''sfi''e''''''''d'''''''''">
              <a:rPr lang="en-US" altLang="en-US" smtClean="0">
                <a:sym typeface="+mn-lt"/>
              </a:rPr>
              <a:pPr>
                <a:spcBef>
                  <a:spcPct val="0"/>
                </a:spcBef>
                <a:spcAft>
                  <a:spcPct val="0"/>
                </a:spcAft>
              </a:pPr>
              <a:t>Dissatisfied</a:t>
            </a:fld>
            <a:endParaRPr lang="en-US" dirty="0">
              <a:sym typeface="+mn-lt"/>
            </a:endParaRPr>
          </a:p>
        </p:txBody>
      </p:sp>
      <p:sp>
        <p:nvSpPr>
          <p:cNvPr id="190" name="Text Placeholder 3"/>
          <p:cNvSpPr>
            <a:spLocks noGrp="1"/>
          </p:cNvSpPr>
          <p:nvPr>
            <p:custDataLst>
              <p:tags r:id="rId29"/>
            </p:custDataLst>
          </p:nvPr>
        </p:nvSpPr>
        <p:spPr bwMode="gray">
          <a:xfrm>
            <a:off x="4127500" y="5672138"/>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419474E-73FA-43FC-A311-E4FD2708EE60}" type="datetime'S''''''''''''''''''a''''''''''tis''''''f''''i''''''ed'''">
              <a:rPr lang="en-US" altLang="en-US" smtClean="0">
                <a:sym typeface="+mn-lt"/>
              </a:rPr>
              <a:pPr>
                <a:spcBef>
                  <a:spcPct val="0"/>
                </a:spcBef>
                <a:spcAft>
                  <a:spcPct val="0"/>
                </a:spcAft>
              </a:pPr>
              <a:t>Satisfied</a:t>
            </a:fld>
            <a:endParaRPr lang="en-US" dirty="0">
              <a:sym typeface="+mn-lt"/>
            </a:endParaRPr>
          </a:p>
        </p:txBody>
      </p:sp>
      <p:sp>
        <p:nvSpPr>
          <p:cNvPr id="191" name="Text Placeholder 3"/>
          <p:cNvSpPr>
            <a:spLocks noGrp="1"/>
          </p:cNvSpPr>
          <p:nvPr>
            <p:custDataLst>
              <p:tags r:id="rId30"/>
            </p:custDataLst>
          </p:nvPr>
        </p:nvSpPr>
        <p:spPr bwMode="gray">
          <a:xfrm>
            <a:off x="5076825" y="56721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AF77FA4-C2FB-47DC-8794-97B2CCDD4925}" type="datetime'''N''''''''e''''''''''''''''''''''u''tr''''''al'''''''">
              <a:rPr lang="en-US" altLang="en-US" smtClean="0">
                <a:sym typeface="+mn-lt"/>
              </a:rPr>
              <a:pPr>
                <a:spcBef>
                  <a:spcPct val="0"/>
                </a:spcBef>
                <a:spcAft>
                  <a:spcPct val="0"/>
                </a:spcAft>
              </a:pPr>
              <a:t>Neutral</a:t>
            </a:fld>
            <a:endParaRPr lang="en-US" dirty="0">
              <a:sym typeface="+mn-lt"/>
            </a:endParaRPr>
          </a:p>
        </p:txBody>
      </p:sp>
      <p:sp>
        <p:nvSpPr>
          <p:cNvPr id="188" name="Text Placeholder 3"/>
          <p:cNvSpPr>
            <a:spLocks noGrp="1"/>
          </p:cNvSpPr>
          <p:nvPr>
            <p:custDataLst>
              <p:tags r:id="rId31"/>
            </p:custDataLst>
          </p:nvPr>
        </p:nvSpPr>
        <p:spPr bwMode="gray">
          <a:xfrm>
            <a:off x="7085013" y="5672138"/>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ED6D6B1-E08C-46EE-B017-F9C465FB2394}" type="datetime'''V''e''ry D''i''''''''''''''s''s''at''i''''si''''''fed'''''">
              <a:rPr lang="en-US" altLang="en-US" smtClean="0">
                <a:sym typeface="+mn-lt"/>
              </a:rPr>
              <a:pPr>
                <a:spcBef>
                  <a:spcPct val="0"/>
                </a:spcBef>
                <a:spcAft>
                  <a:spcPct val="0"/>
                </a:spcAft>
              </a:pPr>
              <a:t>Very Dissatisifed</a:t>
            </a:fld>
            <a:endParaRPr lang="en-US" dirty="0">
              <a:sym typeface="+mn-lt"/>
            </a:endParaRPr>
          </a:p>
        </p:txBody>
      </p:sp>
      <p:sp>
        <p:nvSpPr>
          <p:cNvPr id="55" name="Rectangle 54">
            <a:extLst>
              <a:ext uri="{FF2B5EF4-FFF2-40B4-BE49-F238E27FC236}">
                <a16:creationId xmlns:a16="http://schemas.microsoft.com/office/drawing/2014/main" id="{24DA3087-B320-43F0-9331-B9D0ACAA18B7}"/>
              </a:ext>
            </a:extLst>
          </p:cNvPr>
          <p:cNvSpPr/>
          <p:nvPr/>
        </p:nvSpPr>
        <p:spPr>
          <a:xfrm>
            <a:off x="9246798" y="0"/>
            <a:ext cx="2764981"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onversely, despite being the most used app, PowerPoint scores the lowest E-SAT, although at 76% this is still a 'Good' grade </a:t>
            </a:r>
          </a:p>
        </p:txBody>
      </p:sp>
      <p:grpSp>
        <p:nvGrpSpPr>
          <p:cNvPr id="65" name="Group 64">
            <a:extLst>
              <a:ext uri="{FF2B5EF4-FFF2-40B4-BE49-F238E27FC236}">
                <a16:creationId xmlns:a16="http://schemas.microsoft.com/office/drawing/2014/main" id="{E6B18560-E03A-4A78-A392-31763D3B195F}"/>
              </a:ext>
            </a:extLst>
          </p:cNvPr>
          <p:cNvGrpSpPr>
            <a:grpSpLocks noChangeAspect="1"/>
          </p:cNvGrpSpPr>
          <p:nvPr/>
        </p:nvGrpSpPr>
        <p:grpSpPr>
          <a:xfrm>
            <a:off x="599640" y="864696"/>
            <a:ext cx="457200" cy="457200"/>
            <a:chOff x="5867400" y="3200400"/>
            <a:chExt cx="457200" cy="457200"/>
          </a:xfrm>
        </p:grpSpPr>
        <p:sp>
          <p:nvSpPr>
            <p:cNvPr id="66" name="AutoShape 43">
              <a:extLst>
                <a:ext uri="{FF2B5EF4-FFF2-40B4-BE49-F238E27FC236}">
                  <a16:creationId xmlns:a16="http://schemas.microsoft.com/office/drawing/2014/main" id="{BA8A964B-5598-4EFA-9C02-A9FFDA269C0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7">
              <a:extLst>
                <a:ext uri="{FF2B5EF4-FFF2-40B4-BE49-F238E27FC236}">
                  <a16:creationId xmlns:a16="http://schemas.microsoft.com/office/drawing/2014/main" id="{79764498-36DA-4313-BE18-0E08DA20776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56" name="Rectangle 55">
            <a:extLst>
              <a:ext uri="{FF2B5EF4-FFF2-40B4-BE49-F238E27FC236}">
                <a16:creationId xmlns:a16="http://schemas.microsoft.com/office/drawing/2014/main" id="{89B9AFBE-C627-4193-B601-8D340AD216A1}"/>
              </a:ext>
            </a:extLst>
          </p:cNvPr>
          <p:cNvSpPr/>
          <p:nvPr/>
        </p:nvSpPr>
        <p:spPr>
          <a:xfrm>
            <a:off x="7054655" y="5345888"/>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84" name="Rectangle 83">
            <a:extLst>
              <a:ext uri="{FF2B5EF4-FFF2-40B4-BE49-F238E27FC236}">
                <a16:creationId xmlns:a16="http://schemas.microsoft.com/office/drawing/2014/main" id="{A8E359C4-E133-4186-B5AE-278985C62BF1}"/>
              </a:ext>
            </a:extLst>
          </p:cNvPr>
          <p:cNvSpPr/>
          <p:nvPr/>
        </p:nvSpPr>
        <p:spPr>
          <a:xfrm>
            <a:off x="7029068" y="4022821"/>
            <a:ext cx="543551" cy="244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7%</a:t>
            </a:r>
          </a:p>
        </p:txBody>
      </p:sp>
      <p:sp>
        <p:nvSpPr>
          <p:cNvPr id="85" name="Rectangle 84">
            <a:extLst>
              <a:ext uri="{FF2B5EF4-FFF2-40B4-BE49-F238E27FC236}">
                <a16:creationId xmlns:a16="http://schemas.microsoft.com/office/drawing/2014/main" id="{7BA942E4-BCBB-4ABF-86F2-19719163B7A5}"/>
              </a:ext>
            </a:extLst>
          </p:cNvPr>
          <p:cNvSpPr/>
          <p:nvPr/>
        </p:nvSpPr>
        <p:spPr>
          <a:xfrm>
            <a:off x="7604273" y="4762616"/>
            <a:ext cx="1158633" cy="236422"/>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105" name="Rectangle 104">
            <a:extLst>
              <a:ext uri="{FF2B5EF4-FFF2-40B4-BE49-F238E27FC236}">
                <a16:creationId xmlns:a16="http://schemas.microsoft.com/office/drawing/2014/main" id="{3E8C4AEF-DBCC-4A7D-AB71-5E9B967B789F}"/>
              </a:ext>
            </a:extLst>
          </p:cNvPr>
          <p:cNvSpPr/>
          <p:nvPr/>
        </p:nvSpPr>
        <p:spPr>
          <a:xfrm>
            <a:off x="7601337" y="3266805"/>
            <a:ext cx="1158633" cy="236422"/>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spTree>
    <p:custDataLst>
      <p:tags r:id="rId2"/>
    </p:custDataLst>
    <p:extLst>
      <p:ext uri="{BB962C8B-B14F-4D97-AF65-F5344CB8AC3E}">
        <p14:creationId xmlns:p14="http://schemas.microsoft.com/office/powerpoint/2010/main" val="3842980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303004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605"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7738107A-FF5B-4835-970A-BC36405BC160}"/>
              </a:ext>
            </a:extLst>
          </p:cNvPr>
          <p:cNvSpPr/>
          <p:nvPr/>
        </p:nvSpPr>
        <p:spPr>
          <a:xfrm>
            <a:off x="0" y="6130904"/>
            <a:ext cx="12192000" cy="75468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534006012"/>
              </p:ext>
            </p:extLst>
          </p:nvPr>
        </p:nvGraphicFramePr>
        <p:xfrm>
          <a:off x="630000" y="1579671"/>
          <a:ext cx="11016044" cy="3594779"/>
        </p:xfrm>
        <a:graphic>
          <a:graphicData uri="http://schemas.openxmlformats.org/drawingml/2006/table">
            <a:tbl>
              <a:tblPr/>
              <a:tblGrid>
                <a:gridCol w="1824965">
                  <a:extLst>
                    <a:ext uri="{9D8B030D-6E8A-4147-A177-3AD203B41FA5}">
                      <a16:colId xmlns:a16="http://schemas.microsoft.com/office/drawing/2014/main" val="20001"/>
                    </a:ext>
                  </a:extLst>
                </a:gridCol>
                <a:gridCol w="1021231">
                  <a:extLst>
                    <a:ext uri="{9D8B030D-6E8A-4147-A177-3AD203B41FA5}">
                      <a16:colId xmlns:a16="http://schemas.microsoft.com/office/drawing/2014/main" val="2396226846"/>
                    </a:ext>
                  </a:extLst>
                </a:gridCol>
                <a:gridCol w="1021231">
                  <a:extLst>
                    <a:ext uri="{9D8B030D-6E8A-4147-A177-3AD203B41FA5}">
                      <a16:colId xmlns:a16="http://schemas.microsoft.com/office/drawing/2014/main" val="2258913149"/>
                    </a:ext>
                  </a:extLst>
                </a:gridCol>
                <a:gridCol w="1021231">
                  <a:extLst>
                    <a:ext uri="{9D8B030D-6E8A-4147-A177-3AD203B41FA5}">
                      <a16:colId xmlns:a16="http://schemas.microsoft.com/office/drawing/2014/main" val="2765821458"/>
                    </a:ext>
                  </a:extLst>
                </a:gridCol>
                <a:gridCol w="1021231">
                  <a:extLst>
                    <a:ext uri="{9D8B030D-6E8A-4147-A177-3AD203B41FA5}">
                      <a16:colId xmlns:a16="http://schemas.microsoft.com/office/drawing/2014/main" val="188870230"/>
                    </a:ext>
                  </a:extLst>
                </a:gridCol>
                <a:gridCol w="1021231">
                  <a:extLst>
                    <a:ext uri="{9D8B030D-6E8A-4147-A177-3AD203B41FA5}">
                      <a16:colId xmlns:a16="http://schemas.microsoft.com/office/drawing/2014/main" val="20011"/>
                    </a:ext>
                  </a:extLst>
                </a:gridCol>
                <a:gridCol w="1021231">
                  <a:extLst>
                    <a:ext uri="{9D8B030D-6E8A-4147-A177-3AD203B41FA5}">
                      <a16:colId xmlns:a16="http://schemas.microsoft.com/office/drawing/2014/main" val="3759941066"/>
                    </a:ext>
                  </a:extLst>
                </a:gridCol>
                <a:gridCol w="1021231">
                  <a:extLst>
                    <a:ext uri="{9D8B030D-6E8A-4147-A177-3AD203B41FA5}">
                      <a16:colId xmlns:a16="http://schemas.microsoft.com/office/drawing/2014/main" val="36694732"/>
                    </a:ext>
                  </a:extLst>
                </a:gridCol>
                <a:gridCol w="1021231">
                  <a:extLst>
                    <a:ext uri="{9D8B030D-6E8A-4147-A177-3AD203B41FA5}">
                      <a16:colId xmlns:a16="http://schemas.microsoft.com/office/drawing/2014/main" val="1214083482"/>
                    </a:ext>
                  </a:extLst>
                </a:gridCol>
                <a:gridCol w="1021231">
                  <a:extLst>
                    <a:ext uri="{9D8B030D-6E8A-4147-A177-3AD203B41FA5}">
                      <a16:colId xmlns:a16="http://schemas.microsoft.com/office/drawing/2014/main" val="4135400428"/>
                    </a:ext>
                  </a:extLst>
                </a:gridCol>
              </a:tblGrid>
              <a:tr h="835879">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Trebuchet MS (Body)"/>
                          <a:cs typeface="Arial" charset="0"/>
                          <a:sym typeface="Trebuchet MS" panose="020B0603020202020204" pitchFamily="34" charset="0"/>
                        </a:rPr>
                        <a:t>Q4 '20</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Trebuchet MS (Body)"/>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chemeClr val="tx1"/>
                          </a:solidFill>
                          <a:effectLst/>
                          <a:latin typeface="Trebuchet MS (Body)"/>
                          <a:ea typeface="+mn-ea"/>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chemeClr val="tx1"/>
                          </a:solidFill>
                          <a:effectLst/>
                          <a:latin typeface="Trebuchet MS (Body)"/>
                          <a:ea typeface="+mn-ea"/>
                          <a:cs typeface="Arial" charset="0"/>
                          <a:sym typeface="Trebuchet MS" panose="020B0603020202020204" pitchFamily="34" charset="0"/>
                        </a:rPr>
                        <a:t>2019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chemeClr val="tx1"/>
                          </a:solidFill>
                          <a:effectLst/>
                          <a:latin typeface="Trebuchet MS (Body)"/>
                          <a:ea typeface="+mn-ea"/>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Trebuchet MS (Body)"/>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Trebuchet MS (Body)"/>
                          <a:cs typeface="Arial" charset="0"/>
                          <a:sym typeface="Trebuchet MS" panose="020B0603020202020204" pitchFamily="34" charset="0"/>
                        </a:rPr>
                        <a:t>Average</a:t>
                      </a:r>
                      <a:r>
                        <a:rPr kumimoji="0" lang="en-US" sz="1200" b="0" i="0" u="none" strike="noStrike" cap="none" normalizeH="0" baseline="30000" dirty="0">
                          <a:ln>
                            <a:noFill/>
                          </a:ln>
                          <a:solidFill>
                            <a:schemeClr val="tx1"/>
                          </a:solidFill>
                          <a:effectLst/>
                          <a:latin typeface="Trebuchet MS (Body)"/>
                          <a:cs typeface="Arial" charset="0"/>
                          <a:sym typeface="Trebuchet MS" panose="020B0603020202020204" pitchFamily="34" charset="0"/>
                        </a:rPr>
                        <a:t>2</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Trebuchet MS (Body)"/>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Trebuchet MS (Body)"/>
                          <a:ea typeface="+mn-ea"/>
                          <a:cs typeface="Arial" charset="0"/>
                          <a:sym typeface="Trebuchet MS" panose="020B0603020202020204" pitchFamily="34" charset="0"/>
                        </a:rPr>
                        <a:t>Average</a:t>
                      </a:r>
                      <a:endParaRPr kumimoji="0" lang="en-US" sz="1200" b="0" i="0" u="none" strike="noStrike" kern="1200" cap="none" normalizeH="0" baseline="30000" dirty="0">
                        <a:ln>
                          <a:noFill/>
                        </a:ln>
                        <a:solidFill>
                          <a:schemeClr val="tx1"/>
                        </a:solidFill>
                        <a:effectLst/>
                        <a:latin typeface="Trebuchet MS (Body)"/>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Trebuchet MS (Body)"/>
                          <a:cs typeface="Arial" charset="0"/>
                          <a:sym typeface="Trebuchet MS" panose="020B0603020202020204" pitchFamily="34" charset="0"/>
                        </a:rPr>
                        <a:t>2021 vs 2020 Average</a:t>
                      </a:r>
                      <a:r>
                        <a:rPr kumimoji="0" lang="en-US" sz="1200" b="0" i="0" u="none" strike="noStrike" cap="none" normalizeH="0" baseline="30000" dirty="0">
                          <a:ln>
                            <a:noFill/>
                          </a:ln>
                          <a:solidFill>
                            <a:schemeClr val="tx1"/>
                          </a:solidFill>
                          <a:effectLst/>
                          <a:latin typeface="Trebuchet MS (Body)"/>
                          <a:cs typeface="Arial" charset="0"/>
                          <a:sym typeface="Trebuchet MS" panose="020B0603020202020204" pitchFamily="34" charset="0"/>
                        </a:rPr>
                        <a:t>2</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Trebuchet MS (Body)"/>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Trebuchet MS (Body)"/>
                          <a:cs typeface="Arial" charset="0"/>
                          <a:sym typeface="Trebuchet MS" panose="020B0603020202020204" pitchFamily="34" charset="0"/>
                        </a:rPr>
                        <a:t>BIC Target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Trebuchet MS (Body)"/>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37351">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Trebuchet MS (Body)"/>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37351">
                <a:tc>
                  <a:txBody>
                    <a:bodyPr/>
                    <a:lstStyle/>
                    <a:p>
                      <a:pPr algn="l" fontAlgn="b"/>
                      <a:r>
                        <a:rPr lang="en-GB" sz="1200" b="0" i="0" u="none" strike="noStrike" dirty="0">
                          <a:solidFill>
                            <a:srgbClr val="575757"/>
                          </a:solidFill>
                          <a:effectLst/>
                          <a:latin typeface="+mj-lt"/>
                        </a:rPr>
                        <a:t>Word for Mobile</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FFFFFF"/>
                          </a:solidFill>
                          <a:effectLst/>
                          <a:latin typeface="+mj-lt"/>
                        </a:rPr>
                        <a:t>8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7620" marR="7620" marT="7620" marB="0"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rowSpan="4">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New in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Q3 202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FFFFFF"/>
                          </a:solidFill>
                          <a:effectLst/>
                          <a:latin typeface="+mj-lt"/>
                        </a:rPr>
                        <a:t>81</a:t>
                      </a:r>
                    </a:p>
                  </a:txBody>
                  <a:tcPr marL="0" marR="73152"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1362249"/>
                  </a:ext>
                </a:extLst>
              </a:tr>
              <a:tr h="609496">
                <a:tc>
                  <a:txBody>
                    <a:bodyPr/>
                    <a:lstStyle/>
                    <a:p>
                      <a:pPr algn="l" fontAlgn="b"/>
                      <a:r>
                        <a:rPr lang="en-GB" sz="1200" b="0" i="0" u="none" strike="noStrike" dirty="0">
                          <a:solidFill>
                            <a:srgbClr val="575757"/>
                          </a:solidFill>
                          <a:effectLst/>
                          <a:latin typeface="+mj-lt"/>
                        </a:rPr>
                        <a:t>OneNote for Mobile</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FFFFFF"/>
                          </a:solidFill>
                          <a:effectLst/>
                          <a:latin typeface="+mj-lt"/>
                        </a:rPr>
                        <a:t>8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6%</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7620" marR="7620" marT="7620" marB="0"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rgbClr val="575757"/>
                        </a:solidFill>
                        <a:effectLst/>
                        <a:latin typeface="+mj-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FFFFFF"/>
                          </a:solidFill>
                          <a:effectLst/>
                          <a:latin typeface="+mj-lt"/>
                        </a:rPr>
                        <a:t>80</a:t>
                      </a:r>
                    </a:p>
                  </a:txBody>
                  <a:tcPr marL="0" marR="73152"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59988566"/>
                  </a:ext>
                </a:extLst>
              </a:tr>
              <a:tr h="537351">
                <a:tc>
                  <a:txBody>
                    <a:bodyPr/>
                    <a:lstStyle/>
                    <a:p>
                      <a:pPr algn="l" fontAlgn="b"/>
                      <a:r>
                        <a:rPr lang="en-GB" sz="1200" b="0" i="0" u="none" strike="noStrike" dirty="0">
                          <a:solidFill>
                            <a:srgbClr val="575757"/>
                          </a:solidFill>
                          <a:effectLst/>
                          <a:latin typeface="+mj-lt"/>
                        </a:rPr>
                        <a:t>Excel for Mobile</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7620" marR="7620" marT="7620" marB="0"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rgbClr val="575757"/>
                        </a:solidFill>
                        <a:effectLst/>
                        <a:latin typeface="+mj-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9</a:t>
                      </a:r>
                    </a:p>
                  </a:txBody>
                  <a:tcPr marL="0" marR="73152"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FFFFFF"/>
                          </a:solidFill>
                          <a:effectLst/>
                          <a:uLnTx/>
                          <a:uFillTx/>
                          <a:latin typeface="Wingdings 3" panose="05040102010807070707" pitchFamily="18" charset="2"/>
                          <a:ea typeface="+mn-ea"/>
                          <a:cs typeface="+mn-cs"/>
                        </a:rPr>
                        <a:t>1</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9%</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23784984"/>
                  </a:ext>
                </a:extLst>
              </a:tr>
              <a:tr h="537351">
                <a:tc>
                  <a:txBody>
                    <a:bodyPr/>
                    <a:lstStyle/>
                    <a:p>
                      <a:pPr algn="l" fontAlgn="b"/>
                      <a:r>
                        <a:rPr lang="en-GB" sz="1200" b="0" i="0" u="none" strike="noStrike" dirty="0">
                          <a:solidFill>
                            <a:srgbClr val="575757"/>
                          </a:solidFill>
                          <a:effectLst/>
                          <a:latin typeface="+mj-lt"/>
                        </a:rPr>
                        <a:t>PPT for Mobile</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7620" marR="7620" marT="7620" marB="0"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rgbClr val="575757"/>
                        </a:solidFill>
                        <a:effectLst/>
                        <a:latin typeface="+mj-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7</a:t>
                      </a:r>
                    </a:p>
                  </a:txBody>
                  <a:tcPr marL="0" marR="73152"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7%</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63750483"/>
                  </a:ext>
                </a:extLst>
              </a:tr>
            </a:tbl>
          </a:graphicData>
        </a:graphic>
      </p:graphicFrame>
      <p:sp>
        <p:nvSpPr>
          <p:cNvPr id="29" name="Title 2">
            <a:extLst>
              <a:ext uri="{FF2B5EF4-FFF2-40B4-BE49-F238E27FC236}">
                <a16:creationId xmlns:a16="http://schemas.microsoft.com/office/drawing/2014/main" id="{7005E8DE-C3BD-4C99-8A8B-A43FC745724D}"/>
              </a:ext>
            </a:extLst>
          </p:cNvPr>
          <p:cNvSpPr>
            <a:spLocks noGrp="1"/>
          </p:cNvSpPr>
          <p:nvPr>
            <p:ph type="title"/>
          </p:nvPr>
        </p:nvSpPr>
        <p:spPr/>
        <p:txBody>
          <a:bodyPr vert="horz"/>
          <a:lstStyle/>
          <a:p>
            <a:r>
              <a:rPr lang="en-US" dirty="0">
                <a:solidFill>
                  <a:srgbClr val="295E7E"/>
                </a:solidFill>
              </a:rPr>
              <a:t>MS Office Mobile Apps</a:t>
            </a:r>
            <a:r>
              <a:rPr lang="en-US" baseline="30000" dirty="0">
                <a:solidFill>
                  <a:srgbClr val="E71C57"/>
                </a:solidFill>
              </a:rPr>
              <a:t>1</a:t>
            </a:r>
            <a:r>
              <a:rPr lang="en-US" dirty="0">
                <a:solidFill>
                  <a:srgbClr val="295E7E"/>
                </a:solidFill>
              </a:rPr>
              <a:t> – Satisfaction</a:t>
            </a:r>
          </a:p>
        </p:txBody>
      </p:sp>
      <p:sp>
        <p:nvSpPr>
          <p:cNvPr id="35" name="Rectangle 34">
            <a:extLst>
              <a:ext uri="{FF2B5EF4-FFF2-40B4-BE49-F238E27FC236}">
                <a16:creationId xmlns:a16="http://schemas.microsoft.com/office/drawing/2014/main" id="{DBC34E2B-3CB9-48FD-9A23-BF89C591BECE}"/>
              </a:ext>
            </a:extLst>
          </p:cNvPr>
          <p:cNvSpPr/>
          <p:nvPr/>
        </p:nvSpPr>
        <p:spPr>
          <a:xfrm>
            <a:off x="892535" y="911037"/>
            <a:ext cx="6391725"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grpSp>
        <p:nvGrpSpPr>
          <p:cNvPr id="21" name="Group 20">
            <a:extLst>
              <a:ext uri="{FF2B5EF4-FFF2-40B4-BE49-F238E27FC236}">
                <a16:creationId xmlns:a16="http://schemas.microsoft.com/office/drawing/2014/main" id="{1C87996A-1801-472D-9AA2-E47610FA9A45}"/>
              </a:ext>
            </a:extLst>
          </p:cNvPr>
          <p:cNvGrpSpPr/>
          <p:nvPr/>
        </p:nvGrpSpPr>
        <p:grpSpPr>
          <a:xfrm>
            <a:off x="637814" y="5274015"/>
            <a:ext cx="6155997" cy="444350"/>
            <a:chOff x="753111" y="3331233"/>
            <a:chExt cx="6155997" cy="444350"/>
          </a:xfrm>
        </p:grpSpPr>
        <p:grpSp>
          <p:nvGrpSpPr>
            <p:cNvPr id="23" name="Group 22">
              <a:extLst>
                <a:ext uri="{FF2B5EF4-FFF2-40B4-BE49-F238E27FC236}">
                  <a16:creationId xmlns:a16="http://schemas.microsoft.com/office/drawing/2014/main" id="{2C3CA803-EB3E-4749-938B-8036DFB29BF3}"/>
                </a:ext>
              </a:extLst>
            </p:cNvPr>
            <p:cNvGrpSpPr/>
            <p:nvPr/>
          </p:nvGrpSpPr>
          <p:grpSpPr>
            <a:xfrm>
              <a:off x="753111" y="3331233"/>
              <a:ext cx="6155997" cy="220957"/>
              <a:chOff x="753111" y="3331233"/>
              <a:chExt cx="6155997" cy="220957"/>
            </a:xfrm>
          </p:grpSpPr>
          <p:sp>
            <p:nvSpPr>
              <p:cNvPr id="33" name="Rectangle 32">
                <a:extLst>
                  <a:ext uri="{FF2B5EF4-FFF2-40B4-BE49-F238E27FC236}">
                    <a16:creationId xmlns:a16="http://schemas.microsoft.com/office/drawing/2014/main" id="{34D581F3-AF55-4B5B-B29E-FC945D49A9C3}"/>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4" name="Rectangle 33">
                <a:extLst>
                  <a:ext uri="{FF2B5EF4-FFF2-40B4-BE49-F238E27FC236}">
                    <a16:creationId xmlns:a16="http://schemas.microsoft.com/office/drawing/2014/main" id="{238B0AC7-1DD6-4D1C-890D-9298A230FACA}"/>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8" name="Rectangle 37">
                <a:extLst>
                  <a:ext uri="{FF2B5EF4-FFF2-40B4-BE49-F238E27FC236}">
                    <a16:creationId xmlns:a16="http://schemas.microsoft.com/office/drawing/2014/main" id="{F57DFD14-D92F-4AC9-B6AB-74E40D5BD74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9" name="Rectangle 38">
                <a:extLst>
                  <a:ext uri="{FF2B5EF4-FFF2-40B4-BE49-F238E27FC236}">
                    <a16:creationId xmlns:a16="http://schemas.microsoft.com/office/drawing/2014/main" id="{BB7D9565-4C2E-408B-95B3-6343599C9808}"/>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40" name="Rectangle 39">
                <a:extLst>
                  <a:ext uri="{FF2B5EF4-FFF2-40B4-BE49-F238E27FC236}">
                    <a16:creationId xmlns:a16="http://schemas.microsoft.com/office/drawing/2014/main" id="{1BB7BE41-101D-46DC-BBE1-038F929F421A}"/>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1" name="Rectangle 40">
                <a:extLst>
                  <a:ext uri="{FF2B5EF4-FFF2-40B4-BE49-F238E27FC236}">
                    <a16:creationId xmlns:a16="http://schemas.microsoft.com/office/drawing/2014/main" id="{66B2D3DE-392A-460F-8D29-07DBE82A1C39}"/>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4" name="Rectangle 23">
              <a:extLst>
                <a:ext uri="{FF2B5EF4-FFF2-40B4-BE49-F238E27FC236}">
                  <a16:creationId xmlns:a16="http://schemas.microsoft.com/office/drawing/2014/main" id="{CE8FEB8B-469A-4E99-858D-EA62CB2B7DEE}"/>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5" name="Rectangle 24">
              <a:extLst>
                <a:ext uri="{FF2B5EF4-FFF2-40B4-BE49-F238E27FC236}">
                  <a16:creationId xmlns:a16="http://schemas.microsoft.com/office/drawing/2014/main" id="{E4DDB02A-B669-4332-8D34-CC3573E02485}"/>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6" name="Rectangle 25">
              <a:extLst>
                <a:ext uri="{FF2B5EF4-FFF2-40B4-BE49-F238E27FC236}">
                  <a16:creationId xmlns:a16="http://schemas.microsoft.com/office/drawing/2014/main" id="{163F6CD2-541D-4FD6-9F7E-CB91C4CFCE8D}"/>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7" name="Rectangle 26">
              <a:extLst>
                <a:ext uri="{FF2B5EF4-FFF2-40B4-BE49-F238E27FC236}">
                  <a16:creationId xmlns:a16="http://schemas.microsoft.com/office/drawing/2014/main" id="{BF06F20D-2675-4B91-8708-71088F17A90E}"/>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30" name="Rectangle 29">
              <a:extLst>
                <a:ext uri="{FF2B5EF4-FFF2-40B4-BE49-F238E27FC236}">
                  <a16:creationId xmlns:a16="http://schemas.microsoft.com/office/drawing/2014/main" id="{D4D38770-7C11-414F-95C1-273E3E4C4466}"/>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32" name="Rectangle 31">
              <a:extLst>
                <a:ext uri="{FF2B5EF4-FFF2-40B4-BE49-F238E27FC236}">
                  <a16:creationId xmlns:a16="http://schemas.microsoft.com/office/drawing/2014/main" id="{736CB8E3-24C5-46AE-B4EA-903BA929E046}"/>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43" name="Rectangle 42">
            <a:extLst>
              <a:ext uri="{FF2B5EF4-FFF2-40B4-BE49-F238E27FC236}">
                <a16:creationId xmlns:a16="http://schemas.microsoft.com/office/drawing/2014/main" id="{00148E9D-D9C2-44DC-A7FC-828A8D0E96FA}"/>
              </a:ext>
            </a:extLst>
          </p:cNvPr>
          <p:cNvSpPr/>
          <p:nvPr/>
        </p:nvSpPr>
        <p:spPr>
          <a:xfrm>
            <a:off x="262891" y="6145006"/>
            <a:ext cx="11732466" cy="70794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575757"/>
                </a:solidFill>
                <a:cs typeface="Arial" pitchFamily="34" charset="0"/>
              </a:rPr>
              <a:t>As we started asking about mobile apps from Q3 2020, trending is more limited. </a:t>
            </a:r>
          </a:p>
          <a:p>
            <a:pPr algn="ctr"/>
            <a:r>
              <a:rPr lang="en-GB" dirty="0">
                <a:solidFill>
                  <a:srgbClr val="575757"/>
                </a:solidFill>
                <a:cs typeface="Arial" pitchFamily="34" charset="0"/>
              </a:rPr>
              <a:t>All products continue to exceed their BIC targets.</a:t>
            </a:r>
          </a:p>
        </p:txBody>
      </p:sp>
      <p:grpSp>
        <p:nvGrpSpPr>
          <p:cNvPr id="28" name="Group 27">
            <a:extLst>
              <a:ext uri="{FF2B5EF4-FFF2-40B4-BE49-F238E27FC236}">
                <a16:creationId xmlns:a16="http://schemas.microsoft.com/office/drawing/2014/main" id="{63BF6EBC-66EE-47EC-A350-BFA14136C3A6}"/>
              </a:ext>
            </a:extLst>
          </p:cNvPr>
          <p:cNvGrpSpPr>
            <a:grpSpLocks noChangeAspect="1"/>
          </p:cNvGrpSpPr>
          <p:nvPr/>
        </p:nvGrpSpPr>
        <p:grpSpPr>
          <a:xfrm>
            <a:off x="516359" y="863684"/>
            <a:ext cx="457200" cy="457200"/>
            <a:chOff x="5867400" y="3200400"/>
            <a:chExt cx="457200" cy="457200"/>
          </a:xfrm>
        </p:grpSpPr>
        <p:sp>
          <p:nvSpPr>
            <p:cNvPr id="31" name="AutoShape 43">
              <a:extLst>
                <a:ext uri="{FF2B5EF4-FFF2-40B4-BE49-F238E27FC236}">
                  <a16:creationId xmlns:a16="http://schemas.microsoft.com/office/drawing/2014/main" id="{663FE573-A08A-4C9D-A28A-65F5E691B27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68B2E9CB-70C7-429E-ABD7-14BA607A7945}"/>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5" name="Oval 20">
            <a:extLst>
              <a:ext uri="{FF2B5EF4-FFF2-40B4-BE49-F238E27FC236}">
                <a16:creationId xmlns:a16="http://schemas.microsoft.com/office/drawing/2014/main" id="{073C5650-3C2F-41CD-8965-9C549644F145}"/>
              </a:ext>
            </a:extLst>
          </p:cNvPr>
          <p:cNvSpPr>
            <a:spLocks noChangeAspect="1" noChangeArrowheads="1"/>
          </p:cNvSpPr>
          <p:nvPr/>
        </p:nvSpPr>
        <p:spPr bwMode="auto">
          <a:xfrm>
            <a:off x="10701585" y="3159858"/>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2" name="Rectangle 41">
            <a:extLst>
              <a:ext uri="{FF2B5EF4-FFF2-40B4-BE49-F238E27FC236}">
                <a16:creationId xmlns:a16="http://schemas.microsoft.com/office/drawing/2014/main" id="{D3DC703B-D83E-4578-9F71-F157EC4635C7}"/>
              </a:ext>
            </a:extLst>
          </p:cNvPr>
          <p:cNvSpPr/>
          <p:nvPr/>
        </p:nvSpPr>
        <p:spPr>
          <a:xfrm flipH="1">
            <a:off x="8567905" y="1579673"/>
            <a:ext cx="1043233" cy="3580678"/>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a:extLst>
              <a:ext uri="{FF2B5EF4-FFF2-40B4-BE49-F238E27FC236}">
                <a16:creationId xmlns:a16="http://schemas.microsoft.com/office/drawing/2014/main" id="{DEE06B59-96AF-43A8-AF59-E69BF121BE3A}"/>
              </a:ext>
            </a:extLst>
          </p:cNvPr>
          <p:cNvSpPr/>
          <p:nvPr/>
        </p:nvSpPr>
        <p:spPr>
          <a:xfrm>
            <a:off x="7527595" y="5253578"/>
            <a:ext cx="1036653" cy="27694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sp>
        <p:nvSpPr>
          <p:cNvPr id="48" name="Oval 20">
            <a:extLst>
              <a:ext uri="{FF2B5EF4-FFF2-40B4-BE49-F238E27FC236}">
                <a16:creationId xmlns:a16="http://schemas.microsoft.com/office/drawing/2014/main" id="{43E90AD5-AF9E-439F-A466-C341EABCF7F3}"/>
              </a:ext>
            </a:extLst>
          </p:cNvPr>
          <p:cNvSpPr>
            <a:spLocks noChangeAspect="1" noChangeArrowheads="1"/>
          </p:cNvSpPr>
          <p:nvPr/>
        </p:nvSpPr>
        <p:spPr bwMode="auto">
          <a:xfrm>
            <a:off x="10701585" y="369762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0" name="Oval 20">
            <a:extLst>
              <a:ext uri="{FF2B5EF4-FFF2-40B4-BE49-F238E27FC236}">
                <a16:creationId xmlns:a16="http://schemas.microsoft.com/office/drawing/2014/main" id="{B0AE8CBA-8AA5-472E-B8C3-70712D7D990E}"/>
              </a:ext>
            </a:extLst>
          </p:cNvPr>
          <p:cNvSpPr>
            <a:spLocks noChangeAspect="1" noChangeArrowheads="1"/>
          </p:cNvSpPr>
          <p:nvPr/>
        </p:nvSpPr>
        <p:spPr bwMode="auto">
          <a:xfrm>
            <a:off x="10701585" y="4787002"/>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grpSp>
        <p:nvGrpSpPr>
          <p:cNvPr id="46" name="Group 45">
            <a:extLst>
              <a:ext uri="{FF2B5EF4-FFF2-40B4-BE49-F238E27FC236}">
                <a16:creationId xmlns:a16="http://schemas.microsoft.com/office/drawing/2014/main" id="{A4A64421-798B-4DFE-8F46-E088492028CA}"/>
              </a:ext>
            </a:extLst>
          </p:cNvPr>
          <p:cNvGrpSpPr/>
          <p:nvPr/>
        </p:nvGrpSpPr>
        <p:grpSpPr>
          <a:xfrm>
            <a:off x="9750336" y="5196489"/>
            <a:ext cx="2116895" cy="591304"/>
            <a:chOff x="9751525" y="5356845"/>
            <a:chExt cx="2116895" cy="591304"/>
          </a:xfrm>
        </p:grpSpPr>
        <p:sp>
          <p:nvSpPr>
            <p:cNvPr id="52" name="Oval 20">
              <a:extLst>
                <a:ext uri="{FF2B5EF4-FFF2-40B4-BE49-F238E27FC236}">
                  <a16:creationId xmlns:a16="http://schemas.microsoft.com/office/drawing/2014/main" id="{6C4115ED-8C9F-4665-AE35-3B02F3B492EF}"/>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3" name="Rectangle 52">
              <a:extLst>
                <a:ext uri="{FF2B5EF4-FFF2-40B4-BE49-F238E27FC236}">
                  <a16:creationId xmlns:a16="http://schemas.microsoft.com/office/drawing/2014/main" id="{B51CCD2C-BCC0-4172-8E89-819F9DA8B46C}"/>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54" name="Oval 20">
              <a:extLst>
                <a:ext uri="{FF2B5EF4-FFF2-40B4-BE49-F238E27FC236}">
                  <a16:creationId xmlns:a16="http://schemas.microsoft.com/office/drawing/2014/main" id="{BF61F0E8-880A-4B3F-86EF-9BFEE78FC112}"/>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5" name="Oval 20">
              <a:extLst>
                <a:ext uri="{FF2B5EF4-FFF2-40B4-BE49-F238E27FC236}">
                  <a16:creationId xmlns:a16="http://schemas.microsoft.com/office/drawing/2014/main" id="{020D5790-E8FC-4539-81E7-8538DA2D4A3B}"/>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Rectangle 55">
              <a:extLst>
                <a:ext uri="{FF2B5EF4-FFF2-40B4-BE49-F238E27FC236}">
                  <a16:creationId xmlns:a16="http://schemas.microsoft.com/office/drawing/2014/main" id="{B8F15C07-C132-452A-9E92-606154FC0039}"/>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57" name="Rectangle 56">
              <a:extLst>
                <a:ext uri="{FF2B5EF4-FFF2-40B4-BE49-F238E27FC236}">
                  <a16:creationId xmlns:a16="http://schemas.microsoft.com/office/drawing/2014/main" id="{1E7EFE48-285C-4F98-94AD-311D4905F26B}"/>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8" name="Oval 20">
            <a:extLst>
              <a:ext uri="{FF2B5EF4-FFF2-40B4-BE49-F238E27FC236}">
                <a16:creationId xmlns:a16="http://schemas.microsoft.com/office/drawing/2014/main" id="{8969003E-8664-4C0C-B228-E19FF6350D56}"/>
              </a:ext>
            </a:extLst>
          </p:cNvPr>
          <p:cNvSpPr>
            <a:spLocks noChangeAspect="1" noChangeArrowheads="1"/>
          </p:cNvSpPr>
          <p:nvPr/>
        </p:nvSpPr>
        <p:spPr bwMode="auto">
          <a:xfrm>
            <a:off x="10701585" y="4235396"/>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9" name="Left Bracket 58">
            <a:extLst>
              <a:ext uri="{FF2B5EF4-FFF2-40B4-BE49-F238E27FC236}">
                <a16:creationId xmlns:a16="http://schemas.microsoft.com/office/drawing/2014/main" id="{8BEE0370-32B1-49CF-888C-A049BAE4FF94}"/>
              </a:ext>
            </a:extLst>
          </p:cNvPr>
          <p:cNvSpPr/>
          <p:nvPr/>
        </p:nvSpPr>
        <p:spPr>
          <a:xfrm rot="5400000">
            <a:off x="8928642" y="534639"/>
            <a:ext cx="185231" cy="2018066"/>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987641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81120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27" name="think-cell Slide" r:id="rId14" imgW="327" imgH="327" progId="TCLayout.ActiveDocument.1">
                  <p:embed/>
                </p:oleObj>
              </mc:Choice>
              <mc:Fallback>
                <p:oleObj name="think-cell Slide" r:id="rId14" imgW="327" imgH="327" progId="TCLayout.ActiveDocument.1">
                  <p:embed/>
                  <p:pic>
                    <p:nvPicPr>
                      <p:cNvPr id="5" name="Object 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63" name="Picture 62">
            <a:extLst>
              <a:ext uri="{FF2B5EF4-FFF2-40B4-BE49-F238E27FC236}">
                <a16:creationId xmlns:a16="http://schemas.microsoft.com/office/drawing/2014/main" id="{4F3BD1F0-4A9D-406C-9AFE-61D2E7EEB7E2}"/>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7801300" y="0"/>
            <a:ext cx="4390700" cy="6858000"/>
          </a:xfrm>
          <a:prstGeom prst="rect">
            <a:avLst/>
          </a:prstGeom>
        </p:spPr>
      </p:pic>
      <p:sp>
        <p:nvSpPr>
          <p:cNvPr id="37" name="Rectangle 36">
            <a:extLst>
              <a:ext uri="{FF2B5EF4-FFF2-40B4-BE49-F238E27FC236}">
                <a16:creationId xmlns:a16="http://schemas.microsoft.com/office/drawing/2014/main" id="{46E96A00-EA04-465E-9D79-84178F5942EB}"/>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MS OFFICE MOBILE APPS</a:t>
            </a:r>
            <a:r>
              <a:rPr lang="en-GB" sz="2400" kern="0" baseline="30000" dirty="0">
                <a:solidFill>
                  <a:srgbClr val="D4DF33"/>
                </a:solidFill>
              </a:rPr>
              <a:t>1</a:t>
            </a:r>
          </a:p>
        </p:txBody>
      </p:sp>
      <p:sp>
        <p:nvSpPr>
          <p:cNvPr id="38" name="Oval 37">
            <a:extLst>
              <a:ext uri="{FF2B5EF4-FFF2-40B4-BE49-F238E27FC236}">
                <a16:creationId xmlns:a16="http://schemas.microsoft.com/office/drawing/2014/main" id="{FF3822AF-7CB9-4D50-B98D-29A09E0E1825}"/>
              </a:ext>
            </a:extLst>
          </p:cNvPr>
          <p:cNvSpPr>
            <a:spLocks noChangeAspect="1"/>
          </p:cNvSpPr>
          <p:nvPr/>
        </p:nvSpPr>
        <p:spPr>
          <a:xfrm>
            <a:off x="8478266" y="1833743"/>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kern="0" dirty="0">
                <a:solidFill>
                  <a:schemeClr val="bg1">
                    <a:lumMod val="50000"/>
                  </a:schemeClr>
                </a:solidFill>
              </a:rPr>
              <a:t>57</a:t>
            </a: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57717" y="4142947"/>
            <a:ext cx="1210866" cy="1046214"/>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PPT] </a:t>
            </a:r>
            <a:r>
              <a:rPr lang="en-US" sz="1200" dirty="0">
                <a:cs typeface="Arial" pitchFamily="34" charset="0"/>
              </a:rPr>
              <a:t>Loading efficient elements is too slow!</a:t>
            </a:r>
            <a:r>
              <a:rPr lang="en-GB" sz="1200" dirty="0">
                <a:cs typeface="Arial" pitchFamily="34" charset="0"/>
              </a:rPr>
              <a:t>”</a:t>
            </a:r>
          </a:p>
          <a:p>
            <a:pPr algn="r"/>
            <a:r>
              <a:rPr lang="en-GB" sz="1000" i="1" dirty="0">
                <a:cs typeface="Arial" pitchFamily="34" charset="0"/>
              </a:rPr>
              <a:t>Consultant</a:t>
            </a:r>
          </a:p>
        </p:txBody>
      </p:sp>
      <p:sp>
        <p:nvSpPr>
          <p:cNvPr id="55" name="Rectangular Callout 54"/>
          <p:cNvSpPr/>
          <p:nvPr/>
        </p:nvSpPr>
        <p:spPr>
          <a:xfrm>
            <a:off x="257715" y="5475288"/>
            <a:ext cx="2494721" cy="1049338"/>
          </a:xfrm>
          <a:prstGeom prst="wedgeRectCallout">
            <a:avLst>
              <a:gd name="adj1" fmla="val 14807"/>
              <a:gd name="adj2" fmla="val -6889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PPT] </a:t>
            </a:r>
            <a:r>
              <a:rPr lang="en-US" sz="1200" dirty="0">
                <a:cs typeface="Arial" pitchFamily="34" charset="0"/>
              </a:rPr>
              <a:t>this is THE tool I use, therefore I have a higher expectation. Too slow at many times. I LOVE the recent addition of </a:t>
            </a:r>
            <a:r>
              <a:rPr lang="en-US" sz="1200" dirty="0" err="1">
                <a:cs typeface="Arial" pitchFamily="34" charset="0"/>
              </a:rPr>
              <a:t>TeamSlide</a:t>
            </a:r>
            <a:r>
              <a:rPr lang="en-US" sz="1200" dirty="0">
                <a:cs typeface="Arial" pitchFamily="34" charset="0"/>
              </a:rPr>
              <a:t> btw, pls keep it!.</a:t>
            </a:r>
            <a:r>
              <a:rPr lang="en-GB" sz="1200" dirty="0">
                <a:cs typeface="Arial" pitchFamily="34" charset="0"/>
              </a:rPr>
              <a:t>”</a:t>
            </a:r>
          </a:p>
          <a:p>
            <a:pPr algn="r"/>
            <a:r>
              <a:rPr lang="en-GB" sz="1050" i="1" dirty="0">
                <a:cs typeface="Arial" pitchFamily="34" charset="0"/>
              </a:rPr>
              <a:t>Partner</a:t>
            </a:r>
          </a:p>
        </p:txBody>
      </p:sp>
      <p:sp>
        <p:nvSpPr>
          <p:cNvPr id="41" name="Rectangular Callout 40"/>
          <p:cNvSpPr/>
          <p:nvPr/>
        </p:nvSpPr>
        <p:spPr>
          <a:xfrm>
            <a:off x="5013132" y="4147294"/>
            <a:ext cx="1319729" cy="1049338"/>
          </a:xfrm>
          <a:prstGeom prst="wedgeRectCallout">
            <a:avLst>
              <a:gd name="adj1" fmla="val 32184"/>
              <a:gd name="adj2" fmla="val 6079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xcel] </a:t>
            </a:r>
            <a:r>
              <a:rPr lang="en-US" sz="1200" dirty="0">
                <a:cs typeface="Arial" pitchFamily="34" charset="0"/>
              </a:rPr>
              <a:t>Tends to get stuck often which only gets resolved if you reboot.</a:t>
            </a:r>
            <a:r>
              <a:rPr lang="en-GB" sz="1200" dirty="0">
                <a:cs typeface="Arial" pitchFamily="34" charset="0"/>
              </a:rPr>
              <a:t>”</a:t>
            </a:r>
            <a:endParaRPr lang="en-US" sz="1200" dirty="0">
              <a:cs typeface="Arial" pitchFamily="34" charset="0"/>
            </a:endParaRPr>
          </a:p>
          <a:p>
            <a:pPr algn="r"/>
            <a:r>
              <a:rPr lang="en-GB" sz="1000" i="1" dirty="0">
                <a:cs typeface="Arial" pitchFamily="34" charset="0"/>
              </a:rPr>
              <a:t>BST</a:t>
            </a:r>
          </a:p>
        </p:txBody>
      </p:sp>
      <p:sp>
        <p:nvSpPr>
          <p:cNvPr id="28" name="Rectangle 27">
            <a:extLst>
              <a:ext uri="{FF2B5EF4-FFF2-40B4-BE49-F238E27FC236}">
                <a16:creationId xmlns:a16="http://schemas.microsoft.com/office/drawing/2014/main" id="{AE8BA0A3-A22B-4066-9085-3FC79F11C9A0}"/>
              </a:ext>
            </a:extLst>
          </p:cNvPr>
          <p:cNvSpPr/>
          <p:nvPr/>
        </p:nvSpPr>
        <p:spPr>
          <a:xfrm>
            <a:off x="219151" y="3609976"/>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19151" y="262360"/>
            <a:ext cx="7394498" cy="17748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GB" sz="1600" dirty="0"/>
              <a:t>Whilst comments were relatively few, many employees are satisfied with the features of their mobile apps, particularly to conduct 'quick reviews' on Excel documents or PowerPoint slides. However, in terms of performance, many say these apps are slow, glitchy &amp; often crash. Employees also mentioned that PowerPoint formatting can be poor, particularly with think-cell graphs appearing misaligned. Some also say the Macros in Excel do not work. Mobile synchronization issues are occasionally mentioned for OneNote.</a:t>
            </a:r>
          </a:p>
        </p:txBody>
      </p:sp>
      <p:graphicFrame>
        <p:nvGraphicFramePr>
          <p:cNvPr id="47" name="Chart 46">
            <a:extLst>
              <a:ext uri="{FF2B5EF4-FFF2-40B4-BE49-F238E27FC236}">
                <a16:creationId xmlns:a16="http://schemas.microsoft.com/office/drawing/2014/main" id="{6CCF402D-BF0A-4EE3-BFA5-0F6D88BC431F}"/>
              </a:ext>
            </a:extLst>
          </p:cNvPr>
          <p:cNvGraphicFramePr/>
          <p:nvPr>
            <p:custDataLst>
              <p:tags r:id="rId4"/>
            </p:custDataLst>
            <p:extLst>
              <p:ext uri="{D42A27DB-BD31-4B8C-83A1-F6EECF244321}">
                <p14:modId xmlns:p14="http://schemas.microsoft.com/office/powerpoint/2010/main" val="2163974256"/>
              </p:ext>
            </p:extLst>
          </p:nvPr>
        </p:nvGraphicFramePr>
        <p:xfrm>
          <a:off x="1581150" y="2179638"/>
          <a:ext cx="6032500" cy="1184275"/>
        </p:xfrm>
        <a:graphic>
          <a:graphicData uri="http://schemas.openxmlformats.org/drawingml/2006/chart">
            <c:chart xmlns:c="http://schemas.openxmlformats.org/drawingml/2006/chart" xmlns:r="http://schemas.openxmlformats.org/officeDocument/2006/relationships" r:id="rId17"/>
          </a:graphicData>
        </a:graphic>
      </p:graphicFrame>
      <p:sp>
        <p:nvSpPr>
          <p:cNvPr id="125" name="Text Placeholder 3">
            <a:extLst>
              <a:ext uri="{FF2B5EF4-FFF2-40B4-BE49-F238E27FC236}">
                <a16:creationId xmlns:a16="http://schemas.microsoft.com/office/drawing/2014/main" id="{33B4779A-B14B-48B8-A118-FF9E6FCC8BEC}"/>
              </a:ext>
            </a:extLst>
          </p:cNvPr>
          <p:cNvSpPr>
            <a:spLocks noGrp="1"/>
          </p:cNvSpPr>
          <p:nvPr>
            <p:custDataLst>
              <p:tags r:id="rId5"/>
            </p:custDataLst>
          </p:nvPr>
        </p:nvSpPr>
        <p:spPr bwMode="gray">
          <a:xfrm>
            <a:off x="77788" y="2570163"/>
            <a:ext cx="1484313"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76CBE05-C0DF-4B55-8C02-4B40031F365B}" type="datetime'MS'' Office &#10;''''Mobil''e'' ''Apps'' -'' ''''''Gene''''ral'">
              <a:rPr lang="en-US" altLang="en-US" smtClean="0">
                <a:solidFill>
                  <a:schemeClr val="bg1"/>
                </a:solidFill>
              </a:rPr>
              <a:pPr/>
              <a:t>MS Office 
Mobile Apps - General</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6"/>
            </p:custDataLst>
          </p:nvPr>
        </p:nvSpPr>
        <p:spPr bwMode="gray">
          <a:xfrm>
            <a:off x="1724025" y="3449638"/>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3489325" y="344963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8"/>
            </p:custDataLst>
          </p:nvPr>
        </p:nvSpPr>
        <p:spPr bwMode="gray">
          <a:xfrm>
            <a:off x="2617788" y="344963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9"/>
            </p:custDataLst>
          </p:nvPr>
        </p:nvSpPr>
        <p:spPr bwMode="gray">
          <a:xfrm>
            <a:off x="1989138" y="34305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3754438" y="34305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1"/>
            </p:custDataLst>
          </p:nvPr>
        </p:nvSpPr>
        <p:spPr bwMode="gray">
          <a:xfrm>
            <a:off x="2882900" y="34305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593390" y="2063751"/>
            <a:ext cx="1724428" cy="1984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39" name="Rectangular Callout 40">
            <a:extLst>
              <a:ext uri="{FF2B5EF4-FFF2-40B4-BE49-F238E27FC236}">
                <a16:creationId xmlns:a16="http://schemas.microsoft.com/office/drawing/2014/main" id="{B10BAEFB-B971-4A2A-B5C7-4F6DBD57992F}"/>
              </a:ext>
            </a:extLst>
          </p:cNvPr>
          <p:cNvSpPr/>
          <p:nvPr/>
        </p:nvSpPr>
        <p:spPr>
          <a:xfrm>
            <a:off x="3297973" y="4147294"/>
            <a:ext cx="1592826" cy="1049338"/>
          </a:xfrm>
          <a:prstGeom prst="wedgeRectCallout">
            <a:avLst>
              <a:gd name="adj1" fmla="val -42528"/>
              <a:gd name="adj2" fmla="val 6372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PPT] </a:t>
            </a:r>
            <a:r>
              <a:rPr lang="en-US" sz="1200" dirty="0">
                <a:cs typeface="Arial" pitchFamily="34" charset="0"/>
              </a:rPr>
              <a:t>PowerPoint format often differs when opening from mobile.</a:t>
            </a:r>
            <a:r>
              <a:rPr lang="en-GB" sz="1200" dirty="0">
                <a:cs typeface="Arial" pitchFamily="34" charset="0"/>
              </a:rPr>
              <a:t>”</a:t>
            </a:r>
          </a:p>
          <a:p>
            <a:pPr algn="r"/>
            <a:r>
              <a:rPr lang="en-GB" sz="1000" i="1" dirty="0">
                <a:cs typeface="Arial" pitchFamily="34" charset="0"/>
              </a:rPr>
              <a:t>Associate</a:t>
            </a:r>
          </a:p>
        </p:txBody>
      </p:sp>
      <p:sp>
        <p:nvSpPr>
          <p:cNvPr id="56" name="Rectangular Callout 54">
            <a:extLst>
              <a:ext uri="{FF2B5EF4-FFF2-40B4-BE49-F238E27FC236}">
                <a16:creationId xmlns:a16="http://schemas.microsoft.com/office/drawing/2014/main" id="{8C99F31A-65D1-4E81-9212-0B4FA77F7925}"/>
              </a:ext>
            </a:extLst>
          </p:cNvPr>
          <p:cNvSpPr/>
          <p:nvPr/>
        </p:nvSpPr>
        <p:spPr>
          <a:xfrm>
            <a:off x="1562100" y="4144962"/>
            <a:ext cx="1592826" cy="1044199"/>
          </a:xfrm>
          <a:prstGeom prst="wedgeRectCallout">
            <a:avLst>
              <a:gd name="adj1" fmla="val -26106"/>
              <a:gd name="adj2" fmla="val 554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PPT] </a:t>
            </a:r>
            <a:r>
              <a:rPr lang="en-US" sz="1200" dirty="0">
                <a:cs typeface="Arial" pitchFamily="34" charset="0"/>
              </a:rPr>
              <a:t>Good for viewing slides without any formatting issues.</a:t>
            </a:r>
            <a:r>
              <a:rPr lang="en-GB" sz="1200" dirty="0">
                <a:cs typeface="Arial" pitchFamily="34" charset="0"/>
              </a:rPr>
              <a:t>”</a:t>
            </a:r>
            <a:endParaRPr lang="en-GB" sz="1200" i="1" dirty="0">
              <a:cs typeface="Arial" pitchFamily="34" charset="0"/>
            </a:endParaRPr>
          </a:p>
          <a:p>
            <a:pPr algn="r"/>
            <a:r>
              <a:rPr lang="en-GB" sz="1050" i="1" dirty="0">
                <a:cs typeface="Arial" pitchFamily="34" charset="0"/>
              </a:rPr>
              <a:t>Principal</a:t>
            </a:r>
          </a:p>
        </p:txBody>
      </p:sp>
      <p:sp>
        <p:nvSpPr>
          <p:cNvPr id="12" name="Rectangle 11" hidden="1">
            <a:extLst>
              <a:ext uri="{FF2B5EF4-FFF2-40B4-BE49-F238E27FC236}">
                <a16:creationId xmlns:a16="http://schemas.microsoft.com/office/drawing/2014/main" id="{EBF5A063-C1B9-41A9-9258-617F3D8AF157}"/>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endParaRPr>
          </a:p>
        </p:txBody>
      </p:sp>
      <p:sp>
        <p:nvSpPr>
          <p:cNvPr id="58" name="Rectangular Callout 40">
            <a:extLst>
              <a:ext uri="{FF2B5EF4-FFF2-40B4-BE49-F238E27FC236}">
                <a16:creationId xmlns:a16="http://schemas.microsoft.com/office/drawing/2014/main" id="{655A5203-7BCA-4090-BAD4-D42123B0FD06}"/>
              </a:ext>
            </a:extLst>
          </p:cNvPr>
          <p:cNvSpPr/>
          <p:nvPr/>
        </p:nvSpPr>
        <p:spPr>
          <a:xfrm>
            <a:off x="5452883" y="5475288"/>
            <a:ext cx="2196539" cy="1049338"/>
          </a:xfrm>
          <a:prstGeom prst="wedgeRectCallout">
            <a:avLst>
              <a:gd name="adj1" fmla="val 1434"/>
              <a:gd name="adj2" fmla="val -6126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Excel] </a:t>
            </a:r>
            <a:r>
              <a:rPr lang="en-US" sz="1200" dirty="0">
                <a:cs typeface="Arial" pitchFamily="34" charset="0"/>
              </a:rPr>
              <a:t>breaks a lot. Block of macros and add-ins from client (what increase a lot time to manage this issues).</a:t>
            </a:r>
            <a:r>
              <a:rPr lang="en-GB" sz="1200" dirty="0">
                <a:cs typeface="Arial" pitchFamily="34" charset="0"/>
              </a:rPr>
              <a:t>”</a:t>
            </a:r>
          </a:p>
          <a:p>
            <a:pPr algn="r"/>
            <a:r>
              <a:rPr lang="en-GB" sz="1000" i="1" dirty="0">
                <a:cs typeface="Arial" pitchFamily="34" charset="0"/>
              </a:rPr>
              <a:t>Associate</a:t>
            </a:r>
          </a:p>
        </p:txBody>
      </p:sp>
      <p:sp>
        <p:nvSpPr>
          <p:cNvPr id="64" name="Rectangular Callout 40">
            <a:extLst>
              <a:ext uri="{FF2B5EF4-FFF2-40B4-BE49-F238E27FC236}">
                <a16:creationId xmlns:a16="http://schemas.microsoft.com/office/drawing/2014/main" id="{7C00158F-720A-4CE9-88EF-CC40FB90F5FA}"/>
              </a:ext>
            </a:extLst>
          </p:cNvPr>
          <p:cNvSpPr/>
          <p:nvPr/>
        </p:nvSpPr>
        <p:spPr>
          <a:xfrm>
            <a:off x="6447387" y="4147294"/>
            <a:ext cx="1210866" cy="1049338"/>
          </a:xfrm>
          <a:prstGeom prst="wedgeRectCallout">
            <a:avLst>
              <a:gd name="adj1" fmla="val 3685"/>
              <a:gd name="adj2" fmla="val 6292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xcel] </a:t>
            </a:r>
            <a:r>
              <a:rPr lang="en-US" sz="1200" dirty="0">
                <a:cs typeface="Arial" pitchFamily="34" charset="0"/>
              </a:rPr>
              <a:t>Very good features but poor performance.</a:t>
            </a:r>
            <a:r>
              <a:rPr lang="en-GB" sz="1200" dirty="0">
                <a:cs typeface="Arial" pitchFamily="34" charset="0"/>
              </a:rPr>
              <a:t>”</a:t>
            </a:r>
            <a:endParaRPr lang="en-US" sz="1200" dirty="0">
              <a:cs typeface="Arial" pitchFamily="34" charset="0"/>
            </a:endParaRPr>
          </a:p>
          <a:p>
            <a:pPr algn="r"/>
            <a:r>
              <a:rPr lang="en-GB" sz="1000" i="1" dirty="0">
                <a:cs typeface="Arial" pitchFamily="34" charset="0"/>
              </a:rPr>
              <a:t>Principal</a:t>
            </a:r>
          </a:p>
        </p:txBody>
      </p:sp>
      <p:sp>
        <p:nvSpPr>
          <p:cNvPr id="66" name="Rectangular Callout 40">
            <a:extLst>
              <a:ext uri="{FF2B5EF4-FFF2-40B4-BE49-F238E27FC236}">
                <a16:creationId xmlns:a16="http://schemas.microsoft.com/office/drawing/2014/main" id="{71C0391B-CF96-416E-9918-9F653B570394}"/>
              </a:ext>
            </a:extLst>
          </p:cNvPr>
          <p:cNvSpPr/>
          <p:nvPr/>
        </p:nvSpPr>
        <p:spPr>
          <a:xfrm>
            <a:off x="4175114" y="5475288"/>
            <a:ext cx="1191561" cy="1049338"/>
          </a:xfrm>
          <a:prstGeom prst="wedgeRectCallout">
            <a:avLst>
              <a:gd name="adj1" fmla="val -45732"/>
              <a:gd name="adj2" fmla="val -5928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PPT] </a:t>
            </a:r>
            <a:r>
              <a:rPr lang="en-US" sz="1200" dirty="0">
                <a:cs typeface="Arial" pitchFamily="34" charset="0"/>
              </a:rPr>
              <a:t>Cannot visualize ThinkCell graphs properly.</a:t>
            </a:r>
            <a:r>
              <a:rPr lang="en-GB" sz="1200" dirty="0">
                <a:cs typeface="Arial" pitchFamily="34" charset="0"/>
              </a:rPr>
              <a:t>”</a:t>
            </a:r>
            <a:endParaRPr lang="en-US" sz="1200" dirty="0">
              <a:cs typeface="Arial" pitchFamily="34" charset="0"/>
            </a:endParaRPr>
          </a:p>
          <a:p>
            <a:pPr algn="r"/>
            <a:r>
              <a:rPr lang="en-GB" sz="1000" i="1" dirty="0">
                <a:cs typeface="Arial" pitchFamily="34" charset="0"/>
              </a:rPr>
              <a:t>Consultant</a:t>
            </a:r>
          </a:p>
        </p:txBody>
      </p:sp>
      <p:sp>
        <p:nvSpPr>
          <p:cNvPr id="32" name="Rectangular Callout 40">
            <a:extLst>
              <a:ext uri="{FF2B5EF4-FFF2-40B4-BE49-F238E27FC236}">
                <a16:creationId xmlns:a16="http://schemas.microsoft.com/office/drawing/2014/main" id="{8CD7CD0A-DEA7-4AFD-BFE2-422D45989612}"/>
              </a:ext>
            </a:extLst>
          </p:cNvPr>
          <p:cNvSpPr/>
          <p:nvPr/>
        </p:nvSpPr>
        <p:spPr>
          <a:xfrm>
            <a:off x="2858618" y="5475288"/>
            <a:ext cx="1230287" cy="1049338"/>
          </a:xfrm>
          <a:prstGeom prst="wedgeRectCallout">
            <a:avLst>
              <a:gd name="adj1" fmla="val -45732"/>
              <a:gd name="adj2" fmla="val -5928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OneNote] </a:t>
            </a:r>
            <a:r>
              <a:rPr lang="en-US" sz="1200" dirty="0">
                <a:cs typeface="Arial" pitchFamily="34" charset="0"/>
              </a:rPr>
              <a:t>Synch. to OneNote account not working.</a:t>
            </a:r>
            <a:r>
              <a:rPr lang="en-GB" sz="1200" dirty="0">
                <a:cs typeface="Arial" pitchFamily="34" charset="0"/>
              </a:rPr>
              <a:t>”</a:t>
            </a:r>
            <a:endParaRPr lang="en-US" sz="1200"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550223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9050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37"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Browsers</a:t>
            </a:r>
          </a:p>
        </p:txBody>
      </p:sp>
      <p:sp>
        <p:nvSpPr>
          <p:cNvPr id="9" name="AutoShape 3"/>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 name="Group 9">
            <a:extLst>
              <a:ext uri="{FF2B5EF4-FFF2-40B4-BE49-F238E27FC236}">
                <a16:creationId xmlns:a16="http://schemas.microsoft.com/office/drawing/2014/main" id="{35E736B3-9D3E-4E80-8BA6-F47226497774}"/>
              </a:ext>
            </a:extLst>
          </p:cNvPr>
          <p:cNvGrpSpPr>
            <a:grpSpLocks noChangeAspect="1"/>
          </p:cNvGrpSpPr>
          <p:nvPr/>
        </p:nvGrpSpPr>
        <p:grpSpPr>
          <a:xfrm>
            <a:off x="9279617" y="1871889"/>
            <a:ext cx="1644650" cy="1644650"/>
            <a:chOff x="5273675" y="2606675"/>
            <a:chExt cx="1644650" cy="1644650"/>
          </a:xfrm>
        </p:grpSpPr>
        <p:sp>
          <p:nvSpPr>
            <p:cNvPr id="14" name="AutoShape 3">
              <a:extLst>
                <a:ext uri="{FF2B5EF4-FFF2-40B4-BE49-F238E27FC236}">
                  <a16:creationId xmlns:a16="http://schemas.microsoft.com/office/drawing/2014/main" id="{EC3B55E9-C276-4507-9CE8-45EA3D72D43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8">
              <a:extLst>
                <a:ext uri="{FF2B5EF4-FFF2-40B4-BE49-F238E27FC236}">
                  <a16:creationId xmlns:a16="http://schemas.microsoft.com/office/drawing/2014/main" id="{0EA7D264-A8A5-4905-9B8A-F68C0651E990}"/>
                </a:ext>
              </a:extLst>
            </p:cNvPr>
            <p:cNvSpPr>
              <a:spLocks/>
            </p:cNvSpPr>
            <p:nvPr/>
          </p:nvSpPr>
          <p:spPr bwMode="auto">
            <a:xfrm>
              <a:off x="5441950" y="2776538"/>
              <a:ext cx="1304925" cy="1304925"/>
            </a:xfrm>
            <a:custGeom>
              <a:avLst/>
              <a:gdLst>
                <a:gd name="connsiteX0" fmla="*/ 973069 w 1304925"/>
                <a:gd name="connsiteY0" fmla="*/ 1028700 h 1304925"/>
                <a:gd name="connsiteX1" fmla="*/ 1068388 w 1304925"/>
                <a:gd name="connsiteY1" fmla="*/ 1070711 h 1304925"/>
                <a:gd name="connsiteX2" fmla="*/ 808038 w 1304925"/>
                <a:gd name="connsiteY2" fmla="*/ 1222375 h 1304925"/>
                <a:gd name="connsiteX3" fmla="*/ 912605 w 1304925"/>
                <a:gd name="connsiteY3" fmla="*/ 1093496 h 1304925"/>
                <a:gd name="connsiteX4" fmla="*/ 938213 w 1304925"/>
                <a:gd name="connsiteY4" fmla="*/ 1044365 h 1304925"/>
                <a:gd name="connsiteX5" fmla="*/ 939636 w 1304925"/>
                <a:gd name="connsiteY5" fmla="*/ 1044365 h 1304925"/>
                <a:gd name="connsiteX6" fmla="*/ 973069 w 1304925"/>
                <a:gd name="connsiteY6" fmla="*/ 1028700 h 1304925"/>
                <a:gd name="connsiteX7" fmla="*/ 332439 w 1304925"/>
                <a:gd name="connsiteY7" fmla="*/ 1028700 h 1304925"/>
                <a:gd name="connsiteX8" fmla="*/ 366792 w 1304925"/>
                <a:gd name="connsiteY8" fmla="*/ 1044365 h 1304925"/>
                <a:gd name="connsiteX9" fmla="*/ 367507 w 1304925"/>
                <a:gd name="connsiteY9" fmla="*/ 1044365 h 1304925"/>
                <a:gd name="connsiteX10" fmla="*/ 393272 w 1304925"/>
                <a:gd name="connsiteY10" fmla="*/ 1093496 h 1304925"/>
                <a:gd name="connsiteX11" fmla="*/ 498476 w 1304925"/>
                <a:gd name="connsiteY11" fmla="*/ 1222375 h 1304925"/>
                <a:gd name="connsiteX12" fmla="*/ 236538 w 1304925"/>
                <a:gd name="connsiteY12" fmla="*/ 1070711 h 1304925"/>
                <a:gd name="connsiteX13" fmla="*/ 332439 w 1304925"/>
                <a:gd name="connsiteY13" fmla="*/ 1028700 h 1304925"/>
                <a:gd name="connsiteX14" fmla="*/ 692756 w 1304925"/>
                <a:gd name="connsiteY14" fmla="*/ 976312 h 1304925"/>
                <a:gd name="connsiteX15" fmla="*/ 896711 w 1304925"/>
                <a:gd name="connsiteY15" fmla="*/ 1004198 h 1304925"/>
                <a:gd name="connsiteX16" fmla="*/ 909638 w 1304925"/>
                <a:gd name="connsiteY16" fmla="*/ 1031368 h 1304925"/>
                <a:gd name="connsiteX17" fmla="*/ 885939 w 1304925"/>
                <a:gd name="connsiteY17" fmla="*/ 1077129 h 1304925"/>
                <a:gd name="connsiteX18" fmla="*/ 712146 w 1304925"/>
                <a:gd name="connsiteY18" fmla="*/ 1240152 h 1304925"/>
                <a:gd name="connsiteX19" fmla="*/ 668338 w 1304925"/>
                <a:gd name="connsiteY19" fmla="*/ 1243012 h 1304925"/>
                <a:gd name="connsiteX20" fmla="*/ 668338 w 1304925"/>
                <a:gd name="connsiteY20" fmla="*/ 1000623 h 1304925"/>
                <a:gd name="connsiteX21" fmla="*/ 692756 w 1304925"/>
                <a:gd name="connsiteY21" fmla="*/ 976312 h 1304925"/>
                <a:gd name="connsiteX22" fmla="*/ 612332 w 1304925"/>
                <a:gd name="connsiteY22" fmla="*/ 976312 h 1304925"/>
                <a:gd name="connsiteX23" fmla="*/ 636588 w 1304925"/>
                <a:gd name="connsiteY23" fmla="*/ 1000623 h 1304925"/>
                <a:gd name="connsiteX24" fmla="*/ 636588 w 1304925"/>
                <a:gd name="connsiteY24" fmla="*/ 1243012 h 1304925"/>
                <a:gd name="connsiteX25" fmla="*/ 593069 w 1304925"/>
                <a:gd name="connsiteY25" fmla="*/ 1240152 h 1304925"/>
                <a:gd name="connsiteX26" fmla="*/ 420418 w 1304925"/>
                <a:gd name="connsiteY26" fmla="*/ 1077129 h 1304925"/>
                <a:gd name="connsiteX27" fmla="*/ 396875 w 1304925"/>
                <a:gd name="connsiteY27" fmla="*/ 1031368 h 1304925"/>
                <a:gd name="connsiteX28" fmla="*/ 409717 w 1304925"/>
                <a:gd name="connsiteY28" fmla="*/ 1004198 h 1304925"/>
                <a:gd name="connsiteX29" fmla="*/ 612332 w 1304925"/>
                <a:gd name="connsiteY29" fmla="*/ 976312 h 1304925"/>
                <a:gd name="connsiteX30" fmla="*/ 1041850 w 1304925"/>
                <a:gd name="connsiteY30" fmla="*/ 668337 h 1304925"/>
                <a:gd name="connsiteX31" fmla="*/ 1243013 w 1304925"/>
                <a:gd name="connsiteY31" fmla="*/ 668337 h 1304925"/>
                <a:gd name="connsiteX32" fmla="*/ 1091784 w 1304925"/>
                <a:gd name="connsiteY32" fmla="*/ 1046162 h 1304925"/>
                <a:gd name="connsiteX33" fmla="*/ 982642 w 1304925"/>
                <a:gd name="connsiteY33" fmla="*/ 997686 h 1304925"/>
                <a:gd name="connsiteX34" fmla="*/ 968375 w 1304925"/>
                <a:gd name="connsiteY34" fmla="*/ 967033 h 1304925"/>
                <a:gd name="connsiteX35" fmla="*/ 1016169 w 1304925"/>
                <a:gd name="connsiteY35" fmla="*/ 693288 h 1304925"/>
                <a:gd name="connsiteX36" fmla="*/ 1041850 w 1304925"/>
                <a:gd name="connsiteY36" fmla="*/ 668337 h 1304925"/>
                <a:gd name="connsiteX37" fmla="*/ 693354 w 1304925"/>
                <a:gd name="connsiteY37" fmla="*/ 668337 h 1304925"/>
                <a:gd name="connsiteX38" fmla="*/ 959950 w 1304925"/>
                <a:gd name="connsiteY38" fmla="*/ 668337 h 1304925"/>
                <a:gd name="connsiteX39" fmla="*/ 984251 w 1304925"/>
                <a:gd name="connsiteY39" fmla="*/ 692620 h 1304925"/>
                <a:gd name="connsiteX40" fmla="*/ 937793 w 1304925"/>
                <a:gd name="connsiteY40" fmla="*/ 956870 h 1304925"/>
                <a:gd name="connsiteX41" fmla="*/ 903486 w 1304925"/>
                <a:gd name="connsiteY41" fmla="*/ 974725 h 1304925"/>
                <a:gd name="connsiteX42" fmla="*/ 693354 w 1304925"/>
                <a:gd name="connsiteY42" fmla="*/ 945443 h 1304925"/>
                <a:gd name="connsiteX43" fmla="*/ 668338 w 1304925"/>
                <a:gd name="connsiteY43" fmla="*/ 919732 h 1304925"/>
                <a:gd name="connsiteX44" fmla="*/ 668338 w 1304925"/>
                <a:gd name="connsiteY44" fmla="*/ 693334 h 1304925"/>
                <a:gd name="connsiteX45" fmla="*/ 693354 w 1304925"/>
                <a:gd name="connsiteY45" fmla="*/ 668337 h 1304925"/>
                <a:gd name="connsiteX46" fmla="*/ 344976 w 1304925"/>
                <a:gd name="connsiteY46" fmla="*/ 668337 h 1304925"/>
                <a:gd name="connsiteX47" fmla="*/ 611572 w 1304925"/>
                <a:gd name="connsiteY47" fmla="*/ 668337 h 1304925"/>
                <a:gd name="connsiteX48" fmla="*/ 636588 w 1304925"/>
                <a:gd name="connsiteY48" fmla="*/ 693334 h 1304925"/>
                <a:gd name="connsiteX49" fmla="*/ 636588 w 1304925"/>
                <a:gd name="connsiteY49" fmla="*/ 919732 h 1304925"/>
                <a:gd name="connsiteX50" fmla="*/ 611572 w 1304925"/>
                <a:gd name="connsiteY50" fmla="*/ 945443 h 1304925"/>
                <a:gd name="connsiteX51" fmla="*/ 401440 w 1304925"/>
                <a:gd name="connsiteY51" fmla="*/ 974725 h 1304925"/>
                <a:gd name="connsiteX52" fmla="*/ 367133 w 1304925"/>
                <a:gd name="connsiteY52" fmla="*/ 956870 h 1304925"/>
                <a:gd name="connsiteX53" fmla="*/ 320675 w 1304925"/>
                <a:gd name="connsiteY53" fmla="*/ 692620 h 1304925"/>
                <a:gd name="connsiteX54" fmla="*/ 344976 w 1304925"/>
                <a:gd name="connsiteY54" fmla="*/ 668337 h 1304925"/>
                <a:gd name="connsiteX55" fmla="*/ 61913 w 1304925"/>
                <a:gd name="connsiteY55" fmla="*/ 668337 h 1304925"/>
                <a:gd name="connsiteX56" fmla="*/ 264239 w 1304925"/>
                <a:gd name="connsiteY56" fmla="*/ 668337 h 1304925"/>
                <a:gd name="connsiteX57" fmla="*/ 290068 w 1304925"/>
                <a:gd name="connsiteY57" fmla="*/ 693288 h 1304925"/>
                <a:gd name="connsiteX58" fmla="*/ 338138 w 1304925"/>
                <a:gd name="connsiteY58" fmla="*/ 967033 h 1304925"/>
                <a:gd name="connsiteX59" fmla="*/ 323789 w 1304925"/>
                <a:gd name="connsiteY59" fmla="*/ 997686 h 1304925"/>
                <a:gd name="connsiteX60" fmla="*/ 214016 w 1304925"/>
                <a:gd name="connsiteY60" fmla="*/ 1046162 h 1304925"/>
                <a:gd name="connsiteX61" fmla="*/ 61913 w 1304925"/>
                <a:gd name="connsiteY61" fmla="*/ 668337 h 1304925"/>
                <a:gd name="connsiteX62" fmla="*/ 903486 w 1304925"/>
                <a:gd name="connsiteY62" fmla="*/ 330200 h 1304925"/>
                <a:gd name="connsiteX63" fmla="*/ 937793 w 1304925"/>
                <a:gd name="connsiteY63" fmla="*/ 348055 h 1304925"/>
                <a:gd name="connsiteX64" fmla="*/ 984251 w 1304925"/>
                <a:gd name="connsiteY64" fmla="*/ 612305 h 1304925"/>
                <a:gd name="connsiteX65" fmla="*/ 959950 w 1304925"/>
                <a:gd name="connsiteY65" fmla="*/ 636588 h 1304925"/>
                <a:gd name="connsiteX66" fmla="*/ 693354 w 1304925"/>
                <a:gd name="connsiteY66" fmla="*/ 636588 h 1304925"/>
                <a:gd name="connsiteX67" fmla="*/ 668338 w 1304925"/>
                <a:gd name="connsiteY67" fmla="*/ 611591 h 1304925"/>
                <a:gd name="connsiteX68" fmla="*/ 668338 w 1304925"/>
                <a:gd name="connsiteY68" fmla="*/ 385193 h 1304925"/>
                <a:gd name="connsiteX69" fmla="*/ 693354 w 1304925"/>
                <a:gd name="connsiteY69" fmla="*/ 359482 h 1304925"/>
                <a:gd name="connsiteX70" fmla="*/ 903486 w 1304925"/>
                <a:gd name="connsiteY70" fmla="*/ 330200 h 1304925"/>
                <a:gd name="connsiteX71" fmla="*/ 401440 w 1304925"/>
                <a:gd name="connsiteY71" fmla="*/ 330200 h 1304925"/>
                <a:gd name="connsiteX72" fmla="*/ 611572 w 1304925"/>
                <a:gd name="connsiteY72" fmla="*/ 359482 h 1304925"/>
                <a:gd name="connsiteX73" fmla="*/ 636588 w 1304925"/>
                <a:gd name="connsiteY73" fmla="*/ 385193 h 1304925"/>
                <a:gd name="connsiteX74" fmla="*/ 636588 w 1304925"/>
                <a:gd name="connsiteY74" fmla="*/ 611591 h 1304925"/>
                <a:gd name="connsiteX75" fmla="*/ 611572 w 1304925"/>
                <a:gd name="connsiteY75" fmla="*/ 636588 h 1304925"/>
                <a:gd name="connsiteX76" fmla="*/ 344976 w 1304925"/>
                <a:gd name="connsiteY76" fmla="*/ 636588 h 1304925"/>
                <a:gd name="connsiteX77" fmla="*/ 320675 w 1304925"/>
                <a:gd name="connsiteY77" fmla="*/ 612305 h 1304925"/>
                <a:gd name="connsiteX78" fmla="*/ 367133 w 1304925"/>
                <a:gd name="connsiteY78" fmla="*/ 348055 h 1304925"/>
                <a:gd name="connsiteX79" fmla="*/ 401440 w 1304925"/>
                <a:gd name="connsiteY79" fmla="*/ 330200 h 1304925"/>
                <a:gd name="connsiteX80" fmla="*/ 1091784 w 1304925"/>
                <a:gd name="connsiteY80" fmla="*/ 257175 h 1304925"/>
                <a:gd name="connsiteX81" fmla="*/ 1243013 w 1304925"/>
                <a:gd name="connsiteY81" fmla="*/ 636588 h 1304925"/>
                <a:gd name="connsiteX82" fmla="*/ 1041850 w 1304925"/>
                <a:gd name="connsiteY82" fmla="*/ 636588 h 1304925"/>
                <a:gd name="connsiteX83" fmla="*/ 1016169 w 1304925"/>
                <a:gd name="connsiteY83" fmla="*/ 611579 h 1304925"/>
                <a:gd name="connsiteX84" fmla="*/ 968375 w 1304925"/>
                <a:gd name="connsiteY84" fmla="*/ 337202 h 1304925"/>
                <a:gd name="connsiteX85" fmla="*/ 982642 w 1304925"/>
                <a:gd name="connsiteY85" fmla="*/ 306477 h 1304925"/>
                <a:gd name="connsiteX86" fmla="*/ 1091784 w 1304925"/>
                <a:gd name="connsiteY86" fmla="*/ 257175 h 1304925"/>
                <a:gd name="connsiteX87" fmla="*/ 214016 w 1304925"/>
                <a:gd name="connsiteY87" fmla="*/ 257175 h 1304925"/>
                <a:gd name="connsiteX88" fmla="*/ 323789 w 1304925"/>
                <a:gd name="connsiteY88" fmla="*/ 306477 h 1304925"/>
                <a:gd name="connsiteX89" fmla="*/ 338138 w 1304925"/>
                <a:gd name="connsiteY89" fmla="*/ 337202 h 1304925"/>
                <a:gd name="connsiteX90" fmla="*/ 290068 w 1304925"/>
                <a:gd name="connsiteY90" fmla="*/ 611579 h 1304925"/>
                <a:gd name="connsiteX91" fmla="*/ 264239 w 1304925"/>
                <a:gd name="connsiteY91" fmla="*/ 636588 h 1304925"/>
                <a:gd name="connsiteX92" fmla="*/ 61913 w 1304925"/>
                <a:gd name="connsiteY92" fmla="*/ 636588 h 1304925"/>
                <a:gd name="connsiteX93" fmla="*/ 214016 w 1304925"/>
                <a:gd name="connsiteY93" fmla="*/ 257175 h 1304925"/>
                <a:gd name="connsiteX94" fmla="*/ 808038 w 1304925"/>
                <a:gd name="connsiteY94" fmla="*/ 82550 h 1304925"/>
                <a:gd name="connsiteX95" fmla="*/ 1068388 w 1304925"/>
                <a:gd name="connsiteY95" fmla="*/ 234740 h 1304925"/>
                <a:gd name="connsiteX96" fmla="*/ 973069 w 1304925"/>
                <a:gd name="connsiteY96" fmla="*/ 277813 h 1304925"/>
                <a:gd name="connsiteX97" fmla="*/ 939636 w 1304925"/>
                <a:gd name="connsiteY97" fmla="*/ 261302 h 1304925"/>
                <a:gd name="connsiteX98" fmla="*/ 938213 w 1304925"/>
                <a:gd name="connsiteY98" fmla="*/ 261302 h 1304925"/>
                <a:gd name="connsiteX99" fmla="*/ 912605 w 1304925"/>
                <a:gd name="connsiteY99" fmla="*/ 211768 h 1304925"/>
                <a:gd name="connsiteX100" fmla="*/ 808038 w 1304925"/>
                <a:gd name="connsiteY100" fmla="*/ 82550 h 1304925"/>
                <a:gd name="connsiteX101" fmla="*/ 498476 w 1304925"/>
                <a:gd name="connsiteY101" fmla="*/ 82550 h 1304925"/>
                <a:gd name="connsiteX102" fmla="*/ 393272 w 1304925"/>
                <a:gd name="connsiteY102" fmla="*/ 211768 h 1304925"/>
                <a:gd name="connsiteX103" fmla="*/ 367507 w 1304925"/>
                <a:gd name="connsiteY103" fmla="*/ 261302 h 1304925"/>
                <a:gd name="connsiteX104" fmla="*/ 366792 w 1304925"/>
                <a:gd name="connsiteY104" fmla="*/ 261302 h 1304925"/>
                <a:gd name="connsiteX105" fmla="*/ 332439 w 1304925"/>
                <a:gd name="connsiteY105" fmla="*/ 277813 h 1304925"/>
                <a:gd name="connsiteX106" fmla="*/ 236538 w 1304925"/>
                <a:gd name="connsiteY106" fmla="*/ 234740 h 1304925"/>
                <a:gd name="connsiteX107" fmla="*/ 498476 w 1304925"/>
                <a:gd name="connsiteY107" fmla="*/ 82550 h 1304925"/>
                <a:gd name="connsiteX108" fmla="*/ 668338 w 1304925"/>
                <a:gd name="connsiteY108" fmla="*/ 61912 h 1304925"/>
                <a:gd name="connsiteX109" fmla="*/ 712146 w 1304925"/>
                <a:gd name="connsiteY109" fmla="*/ 64772 h 1304925"/>
                <a:gd name="connsiteX110" fmla="*/ 885939 w 1304925"/>
                <a:gd name="connsiteY110" fmla="*/ 227080 h 1304925"/>
                <a:gd name="connsiteX111" fmla="*/ 909638 w 1304925"/>
                <a:gd name="connsiteY111" fmla="*/ 273556 h 1304925"/>
                <a:gd name="connsiteX112" fmla="*/ 896711 w 1304925"/>
                <a:gd name="connsiteY112" fmla="*/ 300726 h 1304925"/>
                <a:gd name="connsiteX113" fmla="*/ 692756 w 1304925"/>
                <a:gd name="connsiteY113" fmla="*/ 328612 h 1304925"/>
                <a:gd name="connsiteX114" fmla="*/ 668338 w 1304925"/>
                <a:gd name="connsiteY114" fmla="*/ 304301 h 1304925"/>
                <a:gd name="connsiteX115" fmla="*/ 668338 w 1304925"/>
                <a:gd name="connsiteY115" fmla="*/ 61912 h 1304925"/>
                <a:gd name="connsiteX116" fmla="*/ 636588 w 1304925"/>
                <a:gd name="connsiteY116" fmla="*/ 61912 h 1304925"/>
                <a:gd name="connsiteX117" fmla="*/ 636588 w 1304925"/>
                <a:gd name="connsiteY117" fmla="*/ 304301 h 1304925"/>
                <a:gd name="connsiteX118" fmla="*/ 612332 w 1304925"/>
                <a:gd name="connsiteY118" fmla="*/ 328612 h 1304925"/>
                <a:gd name="connsiteX119" fmla="*/ 409717 w 1304925"/>
                <a:gd name="connsiteY119" fmla="*/ 300726 h 1304925"/>
                <a:gd name="connsiteX120" fmla="*/ 396875 w 1304925"/>
                <a:gd name="connsiteY120" fmla="*/ 273556 h 1304925"/>
                <a:gd name="connsiteX121" fmla="*/ 420418 w 1304925"/>
                <a:gd name="connsiteY121" fmla="*/ 227080 h 1304925"/>
                <a:gd name="connsiteX122" fmla="*/ 593069 w 1304925"/>
                <a:gd name="connsiteY122" fmla="*/ 64772 h 1304925"/>
                <a:gd name="connsiteX123" fmla="*/ 636588 w 1304925"/>
                <a:gd name="connsiteY123" fmla="*/ 61912 h 1304925"/>
                <a:gd name="connsiteX124" fmla="*/ 653257 w 1304925"/>
                <a:gd name="connsiteY124" fmla="*/ 31750 h 1304925"/>
                <a:gd name="connsiteX125" fmla="*/ 31750 w 1304925"/>
                <a:gd name="connsiteY125" fmla="*/ 652463 h 1304925"/>
                <a:gd name="connsiteX126" fmla="*/ 653257 w 1304925"/>
                <a:gd name="connsiteY126" fmla="*/ 1273176 h 1304925"/>
                <a:gd name="connsiteX127" fmla="*/ 1274764 w 1304925"/>
                <a:gd name="connsiteY127" fmla="*/ 652463 h 1304925"/>
                <a:gd name="connsiteX128" fmla="*/ 653257 w 1304925"/>
                <a:gd name="connsiteY128" fmla="*/ 31750 h 1304925"/>
                <a:gd name="connsiteX129" fmla="*/ 652463 w 1304925"/>
                <a:gd name="connsiteY129" fmla="*/ 0 h 1304925"/>
                <a:gd name="connsiteX130" fmla="*/ 1113403 w 1304925"/>
                <a:gd name="connsiteY130" fmla="*/ 191313 h 1304925"/>
                <a:gd name="connsiteX131" fmla="*/ 1304925 w 1304925"/>
                <a:gd name="connsiteY131" fmla="*/ 652463 h 1304925"/>
                <a:gd name="connsiteX132" fmla="*/ 1113403 w 1304925"/>
                <a:gd name="connsiteY132" fmla="*/ 1113612 h 1304925"/>
                <a:gd name="connsiteX133" fmla="*/ 652463 w 1304925"/>
                <a:gd name="connsiteY133" fmla="*/ 1304925 h 1304925"/>
                <a:gd name="connsiteX134" fmla="*/ 191523 w 1304925"/>
                <a:gd name="connsiteY134" fmla="*/ 1113612 h 1304925"/>
                <a:gd name="connsiteX135" fmla="*/ 0 w 1304925"/>
                <a:gd name="connsiteY135" fmla="*/ 652463 h 1304925"/>
                <a:gd name="connsiteX136" fmla="*/ 191523 w 1304925"/>
                <a:gd name="connsiteY136" fmla="*/ 191313 h 1304925"/>
                <a:gd name="connsiteX137" fmla="*/ 652463 w 1304925"/>
                <a:gd name="connsiteY137"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04925" h="1304925">
                  <a:moveTo>
                    <a:pt x="973069" y="1028700"/>
                  </a:moveTo>
                  <a:cubicBezTo>
                    <a:pt x="1006502" y="1040805"/>
                    <a:pt x="1039223" y="1055046"/>
                    <a:pt x="1068388" y="1070711"/>
                  </a:cubicBezTo>
                  <a:cubicBezTo>
                    <a:pt x="997254" y="1141915"/>
                    <a:pt x="907626" y="1195318"/>
                    <a:pt x="808038" y="1222375"/>
                  </a:cubicBezTo>
                  <a:cubicBezTo>
                    <a:pt x="846451" y="1191045"/>
                    <a:pt x="882017" y="1147611"/>
                    <a:pt x="912605" y="1093496"/>
                  </a:cubicBezTo>
                  <a:cubicBezTo>
                    <a:pt x="921852" y="1077831"/>
                    <a:pt x="930389" y="1061454"/>
                    <a:pt x="938213" y="1044365"/>
                  </a:cubicBezTo>
                  <a:cubicBezTo>
                    <a:pt x="938213" y="1044365"/>
                    <a:pt x="938925" y="1044365"/>
                    <a:pt x="939636" y="1044365"/>
                  </a:cubicBezTo>
                  <a:cubicBezTo>
                    <a:pt x="952440" y="1044365"/>
                    <a:pt x="964533" y="1037957"/>
                    <a:pt x="973069" y="1028700"/>
                  </a:cubicBezTo>
                  <a:close/>
                  <a:moveTo>
                    <a:pt x="332439" y="1028700"/>
                  </a:moveTo>
                  <a:cubicBezTo>
                    <a:pt x="341027" y="1037957"/>
                    <a:pt x="353194" y="1044365"/>
                    <a:pt x="366792" y="1044365"/>
                  </a:cubicBezTo>
                  <a:cubicBezTo>
                    <a:pt x="366792" y="1044365"/>
                    <a:pt x="366792" y="1044365"/>
                    <a:pt x="367507" y="1044365"/>
                  </a:cubicBezTo>
                  <a:cubicBezTo>
                    <a:pt x="375380" y="1061454"/>
                    <a:pt x="383968" y="1077831"/>
                    <a:pt x="393272" y="1093496"/>
                  </a:cubicBezTo>
                  <a:cubicBezTo>
                    <a:pt x="424046" y="1147611"/>
                    <a:pt x="459830" y="1191045"/>
                    <a:pt x="498476" y="1222375"/>
                  </a:cubicBezTo>
                  <a:cubicBezTo>
                    <a:pt x="398281" y="1195318"/>
                    <a:pt x="308106" y="1141915"/>
                    <a:pt x="236538" y="1070711"/>
                  </a:cubicBezTo>
                  <a:cubicBezTo>
                    <a:pt x="265881" y="1055046"/>
                    <a:pt x="298802" y="1040805"/>
                    <a:pt x="332439" y="1028700"/>
                  </a:cubicBezTo>
                  <a:close/>
                  <a:moveTo>
                    <a:pt x="692756" y="976312"/>
                  </a:moveTo>
                  <a:cubicBezTo>
                    <a:pt x="763853" y="979172"/>
                    <a:pt x="832796" y="988467"/>
                    <a:pt x="896711" y="1004198"/>
                  </a:cubicBezTo>
                  <a:cubicBezTo>
                    <a:pt x="897430" y="1014923"/>
                    <a:pt x="902457" y="1024218"/>
                    <a:pt x="909638" y="1031368"/>
                  </a:cubicBezTo>
                  <a:cubicBezTo>
                    <a:pt x="902457" y="1047098"/>
                    <a:pt x="894557" y="1062829"/>
                    <a:pt x="885939" y="1077129"/>
                  </a:cubicBezTo>
                  <a:cubicBezTo>
                    <a:pt x="837105" y="1162931"/>
                    <a:pt x="777498" y="1218702"/>
                    <a:pt x="712146" y="1240152"/>
                  </a:cubicBezTo>
                  <a:cubicBezTo>
                    <a:pt x="697783" y="1241582"/>
                    <a:pt x="683419" y="1242297"/>
                    <a:pt x="668338" y="1243012"/>
                  </a:cubicBezTo>
                  <a:cubicBezTo>
                    <a:pt x="668338" y="1243012"/>
                    <a:pt x="668338" y="1243012"/>
                    <a:pt x="668338" y="1000623"/>
                  </a:cubicBezTo>
                  <a:cubicBezTo>
                    <a:pt x="679829" y="996333"/>
                    <a:pt x="688447" y="987752"/>
                    <a:pt x="692756" y="976312"/>
                  </a:cubicBezTo>
                  <a:close/>
                  <a:moveTo>
                    <a:pt x="612332" y="976312"/>
                  </a:moveTo>
                  <a:cubicBezTo>
                    <a:pt x="616612" y="987752"/>
                    <a:pt x="625173" y="996333"/>
                    <a:pt x="636588" y="1000623"/>
                  </a:cubicBezTo>
                  <a:cubicBezTo>
                    <a:pt x="636588" y="1000623"/>
                    <a:pt x="636588" y="1000623"/>
                    <a:pt x="636588" y="1243012"/>
                  </a:cubicBezTo>
                  <a:cubicBezTo>
                    <a:pt x="621606" y="1242297"/>
                    <a:pt x="607338" y="1241582"/>
                    <a:pt x="593069" y="1240152"/>
                  </a:cubicBezTo>
                  <a:cubicBezTo>
                    <a:pt x="528147" y="1218702"/>
                    <a:pt x="468932" y="1162931"/>
                    <a:pt x="420418" y="1077129"/>
                  </a:cubicBezTo>
                  <a:cubicBezTo>
                    <a:pt x="411857" y="1062829"/>
                    <a:pt x="404010" y="1047098"/>
                    <a:pt x="396875" y="1031368"/>
                  </a:cubicBezTo>
                  <a:cubicBezTo>
                    <a:pt x="404010" y="1024218"/>
                    <a:pt x="409004" y="1014923"/>
                    <a:pt x="409717" y="1004198"/>
                  </a:cubicBezTo>
                  <a:cubicBezTo>
                    <a:pt x="473212" y="988467"/>
                    <a:pt x="541702" y="979172"/>
                    <a:pt x="612332" y="976312"/>
                  </a:cubicBezTo>
                  <a:close/>
                  <a:moveTo>
                    <a:pt x="1041850" y="668337"/>
                  </a:moveTo>
                  <a:cubicBezTo>
                    <a:pt x="1041850" y="668337"/>
                    <a:pt x="1041850" y="668337"/>
                    <a:pt x="1243013" y="668337"/>
                  </a:cubicBezTo>
                  <a:cubicBezTo>
                    <a:pt x="1238733" y="813764"/>
                    <a:pt x="1182379" y="945646"/>
                    <a:pt x="1091784" y="1046162"/>
                  </a:cubicBezTo>
                  <a:cubicBezTo>
                    <a:pt x="1058257" y="1027627"/>
                    <a:pt x="1021876" y="1011231"/>
                    <a:pt x="982642" y="997686"/>
                  </a:cubicBezTo>
                  <a:cubicBezTo>
                    <a:pt x="981929" y="985568"/>
                    <a:pt x="976935" y="974874"/>
                    <a:pt x="968375" y="967033"/>
                  </a:cubicBezTo>
                  <a:cubicBezTo>
                    <a:pt x="996196" y="884339"/>
                    <a:pt x="1012603" y="790952"/>
                    <a:pt x="1016169" y="693288"/>
                  </a:cubicBezTo>
                  <a:cubicBezTo>
                    <a:pt x="1027583" y="689011"/>
                    <a:pt x="1036856" y="679743"/>
                    <a:pt x="1041850" y="668337"/>
                  </a:cubicBezTo>
                  <a:close/>
                  <a:moveTo>
                    <a:pt x="693354" y="668337"/>
                  </a:moveTo>
                  <a:cubicBezTo>
                    <a:pt x="693354" y="668337"/>
                    <a:pt x="693354" y="668337"/>
                    <a:pt x="959950" y="668337"/>
                  </a:cubicBezTo>
                  <a:cubicBezTo>
                    <a:pt x="964239" y="679764"/>
                    <a:pt x="972815" y="688334"/>
                    <a:pt x="984251" y="692620"/>
                  </a:cubicBezTo>
                  <a:cubicBezTo>
                    <a:pt x="980678" y="786893"/>
                    <a:pt x="964953" y="876881"/>
                    <a:pt x="937793" y="956870"/>
                  </a:cubicBezTo>
                  <a:cubicBezTo>
                    <a:pt x="924213" y="956870"/>
                    <a:pt x="911348" y="964012"/>
                    <a:pt x="903486" y="974725"/>
                  </a:cubicBezTo>
                  <a:cubicBezTo>
                    <a:pt x="837731" y="958299"/>
                    <a:pt x="766972" y="948300"/>
                    <a:pt x="693354" y="945443"/>
                  </a:cubicBezTo>
                  <a:cubicBezTo>
                    <a:pt x="689066" y="934016"/>
                    <a:pt x="679774" y="924018"/>
                    <a:pt x="668338" y="919732"/>
                  </a:cubicBezTo>
                  <a:cubicBezTo>
                    <a:pt x="668338" y="919732"/>
                    <a:pt x="668338" y="919732"/>
                    <a:pt x="668338" y="693334"/>
                  </a:cubicBezTo>
                  <a:cubicBezTo>
                    <a:pt x="679774" y="689049"/>
                    <a:pt x="689066" y="679764"/>
                    <a:pt x="693354" y="668337"/>
                  </a:cubicBezTo>
                  <a:close/>
                  <a:moveTo>
                    <a:pt x="344976" y="668337"/>
                  </a:moveTo>
                  <a:cubicBezTo>
                    <a:pt x="344976" y="668337"/>
                    <a:pt x="344976" y="668337"/>
                    <a:pt x="611572" y="668337"/>
                  </a:cubicBezTo>
                  <a:cubicBezTo>
                    <a:pt x="615861" y="679764"/>
                    <a:pt x="625152" y="689049"/>
                    <a:pt x="636588" y="693334"/>
                  </a:cubicBezTo>
                  <a:cubicBezTo>
                    <a:pt x="636588" y="693334"/>
                    <a:pt x="636588" y="693334"/>
                    <a:pt x="636588" y="919732"/>
                  </a:cubicBezTo>
                  <a:cubicBezTo>
                    <a:pt x="625152" y="924018"/>
                    <a:pt x="615861" y="934016"/>
                    <a:pt x="611572" y="945443"/>
                  </a:cubicBezTo>
                  <a:cubicBezTo>
                    <a:pt x="537955" y="948300"/>
                    <a:pt x="467196" y="958299"/>
                    <a:pt x="401440" y="974725"/>
                  </a:cubicBezTo>
                  <a:cubicBezTo>
                    <a:pt x="393578" y="964012"/>
                    <a:pt x="380713" y="956870"/>
                    <a:pt x="367133" y="956870"/>
                  </a:cubicBezTo>
                  <a:cubicBezTo>
                    <a:pt x="339973" y="876881"/>
                    <a:pt x="324249" y="786893"/>
                    <a:pt x="320675" y="692620"/>
                  </a:cubicBezTo>
                  <a:cubicBezTo>
                    <a:pt x="332111" y="688334"/>
                    <a:pt x="340688" y="679764"/>
                    <a:pt x="344976" y="668337"/>
                  </a:cubicBezTo>
                  <a:close/>
                  <a:moveTo>
                    <a:pt x="61913" y="668337"/>
                  </a:moveTo>
                  <a:cubicBezTo>
                    <a:pt x="61913" y="668337"/>
                    <a:pt x="61913" y="668337"/>
                    <a:pt x="264239" y="668337"/>
                  </a:cubicBezTo>
                  <a:cubicBezTo>
                    <a:pt x="269261" y="679743"/>
                    <a:pt x="278588" y="689011"/>
                    <a:pt x="290068" y="693288"/>
                  </a:cubicBezTo>
                  <a:cubicBezTo>
                    <a:pt x="293655" y="790952"/>
                    <a:pt x="310157" y="884339"/>
                    <a:pt x="338138" y="967033"/>
                  </a:cubicBezTo>
                  <a:cubicBezTo>
                    <a:pt x="329529" y="974874"/>
                    <a:pt x="324506" y="985568"/>
                    <a:pt x="323789" y="997686"/>
                  </a:cubicBezTo>
                  <a:cubicBezTo>
                    <a:pt x="284328" y="1011231"/>
                    <a:pt x="247737" y="1027627"/>
                    <a:pt x="214016" y="1046162"/>
                  </a:cubicBezTo>
                  <a:cubicBezTo>
                    <a:pt x="122898" y="945646"/>
                    <a:pt x="66218" y="813764"/>
                    <a:pt x="61913" y="668337"/>
                  </a:cubicBezTo>
                  <a:close/>
                  <a:moveTo>
                    <a:pt x="903486" y="330200"/>
                  </a:moveTo>
                  <a:cubicBezTo>
                    <a:pt x="911348" y="340913"/>
                    <a:pt x="924213" y="348055"/>
                    <a:pt x="937793" y="348055"/>
                  </a:cubicBezTo>
                  <a:cubicBezTo>
                    <a:pt x="964953" y="428044"/>
                    <a:pt x="980678" y="518032"/>
                    <a:pt x="984251" y="612305"/>
                  </a:cubicBezTo>
                  <a:cubicBezTo>
                    <a:pt x="972815" y="616591"/>
                    <a:pt x="964239" y="625161"/>
                    <a:pt x="959950" y="636588"/>
                  </a:cubicBezTo>
                  <a:cubicBezTo>
                    <a:pt x="959950" y="636588"/>
                    <a:pt x="959950" y="636588"/>
                    <a:pt x="693354" y="636588"/>
                  </a:cubicBezTo>
                  <a:cubicBezTo>
                    <a:pt x="689066" y="625161"/>
                    <a:pt x="679774" y="615876"/>
                    <a:pt x="668338" y="611591"/>
                  </a:cubicBezTo>
                  <a:cubicBezTo>
                    <a:pt x="668338" y="611591"/>
                    <a:pt x="668338" y="611591"/>
                    <a:pt x="668338" y="385193"/>
                  </a:cubicBezTo>
                  <a:cubicBezTo>
                    <a:pt x="679774" y="380907"/>
                    <a:pt x="689066" y="370909"/>
                    <a:pt x="693354" y="359482"/>
                  </a:cubicBezTo>
                  <a:cubicBezTo>
                    <a:pt x="766972" y="356625"/>
                    <a:pt x="837731" y="346626"/>
                    <a:pt x="903486" y="330200"/>
                  </a:cubicBezTo>
                  <a:close/>
                  <a:moveTo>
                    <a:pt x="401440" y="330200"/>
                  </a:moveTo>
                  <a:cubicBezTo>
                    <a:pt x="467196" y="346626"/>
                    <a:pt x="537955" y="356625"/>
                    <a:pt x="611572" y="359482"/>
                  </a:cubicBezTo>
                  <a:cubicBezTo>
                    <a:pt x="615861" y="370909"/>
                    <a:pt x="625152" y="380907"/>
                    <a:pt x="636588" y="385193"/>
                  </a:cubicBezTo>
                  <a:cubicBezTo>
                    <a:pt x="636588" y="385193"/>
                    <a:pt x="636588" y="385193"/>
                    <a:pt x="636588" y="611591"/>
                  </a:cubicBezTo>
                  <a:cubicBezTo>
                    <a:pt x="625152" y="615876"/>
                    <a:pt x="615861" y="625161"/>
                    <a:pt x="611572" y="636588"/>
                  </a:cubicBezTo>
                  <a:cubicBezTo>
                    <a:pt x="611572" y="636588"/>
                    <a:pt x="611572" y="636588"/>
                    <a:pt x="344976" y="636588"/>
                  </a:cubicBezTo>
                  <a:cubicBezTo>
                    <a:pt x="340688" y="625161"/>
                    <a:pt x="332111" y="616591"/>
                    <a:pt x="320675" y="612305"/>
                  </a:cubicBezTo>
                  <a:cubicBezTo>
                    <a:pt x="324249" y="518032"/>
                    <a:pt x="339973" y="428044"/>
                    <a:pt x="367133" y="348055"/>
                  </a:cubicBezTo>
                  <a:cubicBezTo>
                    <a:pt x="380713" y="348055"/>
                    <a:pt x="393578" y="340913"/>
                    <a:pt x="401440" y="330200"/>
                  </a:cubicBezTo>
                  <a:close/>
                  <a:moveTo>
                    <a:pt x="1091784" y="257175"/>
                  </a:moveTo>
                  <a:cubicBezTo>
                    <a:pt x="1182379" y="358637"/>
                    <a:pt x="1238733" y="490825"/>
                    <a:pt x="1243013" y="636588"/>
                  </a:cubicBezTo>
                  <a:cubicBezTo>
                    <a:pt x="1243013" y="636588"/>
                    <a:pt x="1243013" y="636588"/>
                    <a:pt x="1041850" y="636588"/>
                  </a:cubicBezTo>
                  <a:cubicBezTo>
                    <a:pt x="1036856" y="625155"/>
                    <a:pt x="1027583" y="615867"/>
                    <a:pt x="1016169" y="611579"/>
                  </a:cubicBezTo>
                  <a:cubicBezTo>
                    <a:pt x="1012603" y="513689"/>
                    <a:pt x="996196" y="420087"/>
                    <a:pt x="968375" y="337202"/>
                  </a:cubicBezTo>
                  <a:cubicBezTo>
                    <a:pt x="976935" y="329342"/>
                    <a:pt x="981929" y="318624"/>
                    <a:pt x="982642" y="306477"/>
                  </a:cubicBezTo>
                  <a:cubicBezTo>
                    <a:pt x="1021876" y="292901"/>
                    <a:pt x="1058257" y="276467"/>
                    <a:pt x="1091784" y="257175"/>
                  </a:cubicBezTo>
                  <a:close/>
                  <a:moveTo>
                    <a:pt x="214016" y="257175"/>
                  </a:moveTo>
                  <a:cubicBezTo>
                    <a:pt x="247737" y="276467"/>
                    <a:pt x="284328" y="292901"/>
                    <a:pt x="323789" y="306477"/>
                  </a:cubicBezTo>
                  <a:cubicBezTo>
                    <a:pt x="324506" y="318624"/>
                    <a:pt x="329529" y="329342"/>
                    <a:pt x="338138" y="337202"/>
                  </a:cubicBezTo>
                  <a:cubicBezTo>
                    <a:pt x="310157" y="420087"/>
                    <a:pt x="293655" y="513689"/>
                    <a:pt x="290068" y="611579"/>
                  </a:cubicBezTo>
                  <a:cubicBezTo>
                    <a:pt x="278588" y="615867"/>
                    <a:pt x="269261" y="625155"/>
                    <a:pt x="264239" y="636588"/>
                  </a:cubicBezTo>
                  <a:cubicBezTo>
                    <a:pt x="264239" y="636588"/>
                    <a:pt x="264239" y="636588"/>
                    <a:pt x="61913" y="636588"/>
                  </a:cubicBezTo>
                  <a:cubicBezTo>
                    <a:pt x="66218" y="490825"/>
                    <a:pt x="122898" y="358637"/>
                    <a:pt x="214016" y="257175"/>
                  </a:cubicBezTo>
                  <a:close/>
                  <a:moveTo>
                    <a:pt x="808038" y="82550"/>
                  </a:moveTo>
                  <a:cubicBezTo>
                    <a:pt x="907626" y="109829"/>
                    <a:pt x="997254" y="162952"/>
                    <a:pt x="1068388" y="234740"/>
                  </a:cubicBezTo>
                  <a:cubicBezTo>
                    <a:pt x="1039223" y="250533"/>
                    <a:pt x="1006502" y="264891"/>
                    <a:pt x="973069" y="277813"/>
                  </a:cubicBezTo>
                  <a:cubicBezTo>
                    <a:pt x="964533" y="267763"/>
                    <a:pt x="952440" y="261302"/>
                    <a:pt x="939636" y="261302"/>
                  </a:cubicBezTo>
                  <a:cubicBezTo>
                    <a:pt x="938925" y="261302"/>
                    <a:pt x="938213" y="261302"/>
                    <a:pt x="938213" y="261302"/>
                  </a:cubicBezTo>
                  <a:cubicBezTo>
                    <a:pt x="930389" y="244073"/>
                    <a:pt x="921852" y="227561"/>
                    <a:pt x="912605" y="211768"/>
                  </a:cubicBezTo>
                  <a:cubicBezTo>
                    <a:pt x="882017" y="157209"/>
                    <a:pt x="846451" y="114137"/>
                    <a:pt x="808038" y="82550"/>
                  </a:cubicBezTo>
                  <a:close/>
                  <a:moveTo>
                    <a:pt x="498476" y="82550"/>
                  </a:moveTo>
                  <a:cubicBezTo>
                    <a:pt x="459830" y="114137"/>
                    <a:pt x="424046" y="157209"/>
                    <a:pt x="393272" y="211768"/>
                  </a:cubicBezTo>
                  <a:cubicBezTo>
                    <a:pt x="383968" y="227561"/>
                    <a:pt x="375380" y="244073"/>
                    <a:pt x="367507" y="261302"/>
                  </a:cubicBezTo>
                  <a:cubicBezTo>
                    <a:pt x="367507" y="261302"/>
                    <a:pt x="367507" y="261302"/>
                    <a:pt x="366792" y="261302"/>
                  </a:cubicBezTo>
                  <a:cubicBezTo>
                    <a:pt x="353194" y="261302"/>
                    <a:pt x="341027" y="267763"/>
                    <a:pt x="332439" y="277813"/>
                  </a:cubicBezTo>
                  <a:cubicBezTo>
                    <a:pt x="298802" y="264891"/>
                    <a:pt x="265881" y="250533"/>
                    <a:pt x="236538" y="234740"/>
                  </a:cubicBezTo>
                  <a:cubicBezTo>
                    <a:pt x="308106" y="162952"/>
                    <a:pt x="398281" y="109829"/>
                    <a:pt x="498476" y="82550"/>
                  </a:cubicBezTo>
                  <a:close/>
                  <a:moveTo>
                    <a:pt x="668338" y="61912"/>
                  </a:moveTo>
                  <a:cubicBezTo>
                    <a:pt x="683419" y="62627"/>
                    <a:pt x="697783" y="63342"/>
                    <a:pt x="712146" y="64772"/>
                  </a:cubicBezTo>
                  <a:cubicBezTo>
                    <a:pt x="777498" y="86222"/>
                    <a:pt x="837105" y="141993"/>
                    <a:pt x="885939" y="227080"/>
                  </a:cubicBezTo>
                  <a:cubicBezTo>
                    <a:pt x="894557" y="241380"/>
                    <a:pt x="902457" y="257111"/>
                    <a:pt x="909638" y="273556"/>
                  </a:cubicBezTo>
                  <a:cubicBezTo>
                    <a:pt x="902457" y="280706"/>
                    <a:pt x="897430" y="290001"/>
                    <a:pt x="896711" y="300726"/>
                  </a:cubicBezTo>
                  <a:cubicBezTo>
                    <a:pt x="832796" y="316457"/>
                    <a:pt x="763853" y="325752"/>
                    <a:pt x="692756" y="328612"/>
                  </a:cubicBezTo>
                  <a:cubicBezTo>
                    <a:pt x="688447" y="317172"/>
                    <a:pt x="679829" y="308591"/>
                    <a:pt x="668338" y="304301"/>
                  </a:cubicBezTo>
                  <a:cubicBezTo>
                    <a:pt x="668338" y="304301"/>
                    <a:pt x="668338" y="304301"/>
                    <a:pt x="668338" y="61912"/>
                  </a:cubicBezTo>
                  <a:close/>
                  <a:moveTo>
                    <a:pt x="636588" y="61912"/>
                  </a:moveTo>
                  <a:cubicBezTo>
                    <a:pt x="636588" y="61912"/>
                    <a:pt x="636588" y="61912"/>
                    <a:pt x="636588" y="304301"/>
                  </a:cubicBezTo>
                  <a:cubicBezTo>
                    <a:pt x="625173" y="308591"/>
                    <a:pt x="616612" y="317172"/>
                    <a:pt x="612332" y="328612"/>
                  </a:cubicBezTo>
                  <a:cubicBezTo>
                    <a:pt x="541702" y="325752"/>
                    <a:pt x="473212" y="316457"/>
                    <a:pt x="409717" y="300726"/>
                  </a:cubicBezTo>
                  <a:cubicBezTo>
                    <a:pt x="409004" y="290001"/>
                    <a:pt x="404010" y="280706"/>
                    <a:pt x="396875" y="273556"/>
                  </a:cubicBezTo>
                  <a:cubicBezTo>
                    <a:pt x="404010" y="257111"/>
                    <a:pt x="411857" y="241380"/>
                    <a:pt x="420418" y="227080"/>
                  </a:cubicBezTo>
                  <a:cubicBezTo>
                    <a:pt x="468932" y="141993"/>
                    <a:pt x="528147" y="86222"/>
                    <a:pt x="593069" y="64772"/>
                  </a:cubicBezTo>
                  <a:cubicBezTo>
                    <a:pt x="607338" y="63342"/>
                    <a:pt x="621606" y="62627"/>
                    <a:pt x="636588" y="61912"/>
                  </a:cubicBezTo>
                  <a:close/>
                  <a:moveTo>
                    <a:pt x="653257" y="31750"/>
                  </a:moveTo>
                  <a:cubicBezTo>
                    <a:pt x="310008" y="31750"/>
                    <a:pt x="31750" y="309653"/>
                    <a:pt x="31750" y="652463"/>
                  </a:cubicBezTo>
                  <a:cubicBezTo>
                    <a:pt x="31750" y="995273"/>
                    <a:pt x="310008" y="1273176"/>
                    <a:pt x="653257" y="1273176"/>
                  </a:cubicBezTo>
                  <a:cubicBezTo>
                    <a:pt x="996506" y="1273176"/>
                    <a:pt x="1274764" y="995273"/>
                    <a:pt x="1274764" y="652463"/>
                  </a:cubicBezTo>
                  <a:cubicBezTo>
                    <a:pt x="1274764" y="309653"/>
                    <a:pt x="996506" y="31750"/>
                    <a:pt x="653257" y="31750"/>
                  </a:cubicBezTo>
                  <a:close/>
                  <a:moveTo>
                    <a:pt x="652463" y="0"/>
                  </a:moveTo>
                  <a:cubicBezTo>
                    <a:pt x="826834" y="0"/>
                    <a:pt x="990485" y="67816"/>
                    <a:pt x="1113403" y="191313"/>
                  </a:cubicBezTo>
                  <a:cubicBezTo>
                    <a:pt x="1237035" y="314096"/>
                    <a:pt x="1304925" y="478282"/>
                    <a:pt x="1304925" y="652463"/>
                  </a:cubicBezTo>
                  <a:cubicBezTo>
                    <a:pt x="1304925" y="826643"/>
                    <a:pt x="1237035" y="990829"/>
                    <a:pt x="1113403" y="1113612"/>
                  </a:cubicBezTo>
                  <a:cubicBezTo>
                    <a:pt x="990485" y="1237109"/>
                    <a:pt x="826834" y="1304925"/>
                    <a:pt x="652463" y="1304925"/>
                  </a:cubicBezTo>
                  <a:cubicBezTo>
                    <a:pt x="478092" y="1304925"/>
                    <a:pt x="313725" y="1237109"/>
                    <a:pt x="191523" y="1113612"/>
                  </a:cubicBezTo>
                  <a:cubicBezTo>
                    <a:pt x="67891" y="990829"/>
                    <a:pt x="0" y="826643"/>
                    <a:pt x="0" y="652463"/>
                  </a:cubicBezTo>
                  <a:cubicBezTo>
                    <a:pt x="0" y="478282"/>
                    <a:pt x="67891" y="314096"/>
                    <a:pt x="191523" y="191313"/>
                  </a:cubicBezTo>
                  <a:cubicBezTo>
                    <a:pt x="313725" y="67816"/>
                    <a:pt x="478092" y="0"/>
                    <a:pt x="65246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222787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577945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77" name="think-cell Slide" r:id="rId20" imgW="473" imgH="473" progId="TCLayout.ActiveDocument.1">
                  <p:embed/>
                </p:oleObj>
              </mc:Choice>
              <mc:Fallback>
                <p:oleObj name="think-cell Slide" r:id="rId20" imgW="473" imgH="473" progId="TCLayout.ActiveDocument.1">
                  <p:embed/>
                  <p:pic>
                    <p:nvPicPr>
                      <p:cNvPr id="5" name="Object 4"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3297393744"/>
              </p:ext>
            </p:extLst>
          </p:nvPr>
        </p:nvGraphicFramePr>
        <p:xfrm>
          <a:off x="630000" y="3806885"/>
          <a:ext cx="11104796" cy="1430337"/>
        </p:xfrm>
        <a:graphic>
          <a:graphicData uri="http://schemas.openxmlformats.org/drawingml/2006/table">
            <a:tbl>
              <a:tblPr/>
              <a:tblGrid>
                <a:gridCol w="1195751">
                  <a:extLst>
                    <a:ext uri="{9D8B030D-6E8A-4147-A177-3AD203B41FA5}">
                      <a16:colId xmlns:a16="http://schemas.microsoft.com/office/drawing/2014/main" val="20001"/>
                    </a:ext>
                  </a:extLst>
                </a:gridCol>
                <a:gridCol w="1101005">
                  <a:extLst>
                    <a:ext uri="{9D8B030D-6E8A-4147-A177-3AD203B41FA5}">
                      <a16:colId xmlns:a16="http://schemas.microsoft.com/office/drawing/2014/main" val="20002"/>
                    </a:ext>
                  </a:extLst>
                </a:gridCol>
                <a:gridCol w="1101005">
                  <a:extLst>
                    <a:ext uri="{9D8B030D-6E8A-4147-A177-3AD203B41FA5}">
                      <a16:colId xmlns:a16="http://schemas.microsoft.com/office/drawing/2014/main" val="3319684832"/>
                    </a:ext>
                  </a:extLst>
                </a:gridCol>
                <a:gridCol w="1101005">
                  <a:extLst>
                    <a:ext uri="{9D8B030D-6E8A-4147-A177-3AD203B41FA5}">
                      <a16:colId xmlns:a16="http://schemas.microsoft.com/office/drawing/2014/main" val="20010"/>
                    </a:ext>
                  </a:extLst>
                </a:gridCol>
                <a:gridCol w="1101005">
                  <a:extLst>
                    <a:ext uri="{9D8B030D-6E8A-4147-A177-3AD203B41FA5}">
                      <a16:colId xmlns:a16="http://schemas.microsoft.com/office/drawing/2014/main" val="2085009729"/>
                    </a:ext>
                  </a:extLst>
                </a:gridCol>
                <a:gridCol w="1101005">
                  <a:extLst>
                    <a:ext uri="{9D8B030D-6E8A-4147-A177-3AD203B41FA5}">
                      <a16:colId xmlns:a16="http://schemas.microsoft.com/office/drawing/2014/main" val="333694880"/>
                    </a:ext>
                  </a:extLst>
                </a:gridCol>
                <a:gridCol w="1101005">
                  <a:extLst>
                    <a:ext uri="{9D8B030D-6E8A-4147-A177-3AD203B41FA5}">
                      <a16:colId xmlns:a16="http://schemas.microsoft.com/office/drawing/2014/main" val="20011"/>
                    </a:ext>
                  </a:extLst>
                </a:gridCol>
                <a:gridCol w="1101005">
                  <a:extLst>
                    <a:ext uri="{9D8B030D-6E8A-4147-A177-3AD203B41FA5}">
                      <a16:colId xmlns:a16="http://schemas.microsoft.com/office/drawing/2014/main" val="3971245875"/>
                    </a:ext>
                  </a:extLst>
                </a:gridCol>
                <a:gridCol w="1101005">
                  <a:extLst>
                    <a:ext uri="{9D8B030D-6E8A-4147-A177-3AD203B41FA5}">
                      <a16:colId xmlns:a16="http://schemas.microsoft.com/office/drawing/2014/main" val="2039183088"/>
                    </a:ext>
                  </a:extLst>
                </a:gridCol>
                <a:gridCol w="1101005">
                  <a:extLst>
                    <a:ext uri="{9D8B030D-6E8A-4147-A177-3AD203B41FA5}">
                      <a16:colId xmlns:a16="http://schemas.microsoft.com/office/drawing/2014/main" val="1093385398"/>
                    </a:ext>
                  </a:extLst>
                </a:gridCol>
              </a:tblGrid>
              <a:tr h="656292">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1185">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2860">
                <a:tc>
                  <a:txBody>
                    <a:bodyPr/>
                    <a:lstStyle/>
                    <a:p>
                      <a:pPr algn="l" fontAlgn="b"/>
                      <a:r>
                        <a:rPr lang="en-GB" sz="1200" b="0" i="0" u="none" strike="noStrike" dirty="0">
                          <a:effectLst/>
                          <a:latin typeface="+mj-lt"/>
                        </a:rPr>
                        <a:t>Browsers</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1</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ew in 202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8%</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9%</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9" name="Title 2">
            <a:extLst>
              <a:ext uri="{FF2B5EF4-FFF2-40B4-BE49-F238E27FC236}">
                <a16:creationId xmlns:a16="http://schemas.microsoft.com/office/drawing/2014/main" id="{7005E8DE-C3BD-4C99-8A8B-A43FC745724D}"/>
              </a:ext>
            </a:extLst>
          </p:cNvPr>
          <p:cNvSpPr>
            <a:spLocks noGrp="1"/>
          </p:cNvSpPr>
          <p:nvPr>
            <p:ph type="title"/>
          </p:nvPr>
        </p:nvSpPr>
        <p:spPr>
          <a:xfrm>
            <a:off x="630000" y="622800"/>
            <a:ext cx="10933350" cy="332399"/>
          </a:xfrm>
        </p:spPr>
        <p:txBody>
          <a:bodyPr vert="horz"/>
          <a:lstStyle/>
          <a:p>
            <a:r>
              <a:rPr lang="en-US" dirty="0">
                <a:solidFill>
                  <a:srgbClr val="295E7E"/>
                </a:solidFill>
              </a:rPr>
              <a:t>Browsers Satisfaction - Overall</a:t>
            </a:r>
          </a:p>
        </p:txBody>
      </p:sp>
      <p:sp>
        <p:nvSpPr>
          <p:cNvPr id="35" name="Rectangle 34">
            <a:extLst>
              <a:ext uri="{FF2B5EF4-FFF2-40B4-BE49-F238E27FC236}">
                <a16:creationId xmlns:a16="http://schemas.microsoft.com/office/drawing/2014/main" id="{DBC34E2B-3CB9-48FD-9A23-BF89C591BECE}"/>
              </a:ext>
            </a:extLst>
          </p:cNvPr>
          <p:cNvSpPr/>
          <p:nvPr/>
        </p:nvSpPr>
        <p:spPr>
          <a:xfrm>
            <a:off x="997488" y="925006"/>
            <a:ext cx="6570296"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a:t>
            </a:r>
            <a:endParaRPr lang="en-US" sz="1600" i="1" baseline="30000" dirty="0">
              <a:solidFill>
                <a:srgbClr val="575757"/>
              </a:solidFill>
            </a:endParaRPr>
          </a:p>
        </p:txBody>
      </p:sp>
      <p:sp>
        <p:nvSpPr>
          <p:cNvPr id="31" name="Rectangle 30">
            <a:extLst>
              <a:ext uri="{FF2B5EF4-FFF2-40B4-BE49-F238E27FC236}">
                <a16:creationId xmlns:a16="http://schemas.microsoft.com/office/drawing/2014/main" id="{2E665849-2E53-4A92-BB43-AD9B8CA89B1A}"/>
              </a:ext>
            </a:extLst>
          </p:cNvPr>
          <p:cNvSpPr/>
          <p:nvPr/>
        </p:nvSpPr>
        <p:spPr>
          <a:xfrm>
            <a:off x="0" y="5970470"/>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Rectangle 33">
            <a:extLst>
              <a:ext uri="{FF2B5EF4-FFF2-40B4-BE49-F238E27FC236}">
                <a16:creationId xmlns:a16="http://schemas.microsoft.com/office/drawing/2014/main" id="{F84E6C4B-13E7-410A-8C08-28A2AE955CA1}"/>
              </a:ext>
            </a:extLst>
          </p:cNvPr>
          <p:cNvSpPr/>
          <p:nvPr/>
        </p:nvSpPr>
        <p:spPr>
          <a:xfrm>
            <a:off x="219075" y="5980209"/>
            <a:ext cx="11725275"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mparing Q4 year-over-year &amp; against the annual averages, Browsers are trending up, </a:t>
            </a:r>
          </a:p>
          <a:p>
            <a:pPr algn="ctr"/>
            <a:r>
              <a:rPr lang="en-US" dirty="0">
                <a:solidFill>
                  <a:srgbClr val="575757"/>
                </a:solidFill>
              </a:rPr>
              <a:t>with a more significant improvement of +8% for the 2021 annual average vs 2020 </a:t>
            </a:r>
          </a:p>
        </p:txBody>
      </p:sp>
      <p:graphicFrame>
        <p:nvGraphicFramePr>
          <p:cNvPr id="84" name="Chart 83">
            <a:extLst>
              <a:ext uri="{FF2B5EF4-FFF2-40B4-BE49-F238E27FC236}">
                <a16:creationId xmlns:a16="http://schemas.microsoft.com/office/drawing/2014/main" id="{4F52B0DC-5D58-4C20-9896-C71117BEE60C}"/>
              </a:ext>
            </a:extLst>
          </p:cNvPr>
          <p:cNvGraphicFramePr/>
          <p:nvPr>
            <p:custDataLst>
              <p:tags r:id="rId5"/>
            </p:custDataLst>
            <p:extLst>
              <p:ext uri="{D42A27DB-BD31-4B8C-83A1-F6EECF244321}">
                <p14:modId xmlns:p14="http://schemas.microsoft.com/office/powerpoint/2010/main" val="3724441325"/>
              </p:ext>
            </p:extLst>
          </p:nvPr>
        </p:nvGraphicFramePr>
        <p:xfrm>
          <a:off x="741363" y="1820863"/>
          <a:ext cx="9648825" cy="1268412"/>
        </p:xfrm>
        <a:graphic>
          <a:graphicData uri="http://schemas.openxmlformats.org/drawingml/2006/chart">
            <c:chart xmlns:c="http://schemas.openxmlformats.org/drawingml/2006/chart" xmlns:r="http://schemas.openxmlformats.org/officeDocument/2006/relationships" r:id="rId22"/>
          </a:graphicData>
        </a:graphic>
      </p:graphicFrame>
      <p:sp>
        <p:nvSpPr>
          <p:cNvPr id="20" name="Text Placeholder 3">
            <a:extLst>
              <a:ext uri="{FF2B5EF4-FFF2-40B4-BE49-F238E27FC236}">
                <a16:creationId xmlns:a16="http://schemas.microsoft.com/office/drawing/2014/main" id="{A34036DC-59CE-442C-A536-E5FCA59A7978}"/>
              </a:ext>
            </a:extLst>
          </p:cNvPr>
          <p:cNvSpPr>
            <a:spLocks noGrp="1"/>
          </p:cNvSpPr>
          <p:nvPr>
            <p:custDataLst>
              <p:tags r:id="rId6"/>
            </p:custDataLst>
          </p:nvPr>
        </p:nvSpPr>
        <p:spPr bwMode="gray">
          <a:xfrm>
            <a:off x="301624" y="2232025"/>
            <a:ext cx="604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E6CCB2F-1079-4E68-851F-CE920C625A6D}" type="datetime'''B''''''''''''''rows''''''''''e''r''''''''''s'''''''''''">
              <a:rPr lang="en-US" altLang="en-US" smtClean="0"/>
              <a:pPr/>
              <a:t>Browsers</a:t>
            </a:fld>
            <a:endParaRPr lang="en-US" dirty="0">
              <a:sym typeface="+mn-lt"/>
            </a:endParaRPr>
          </a:p>
        </p:txBody>
      </p:sp>
      <p:sp>
        <p:nvSpPr>
          <p:cNvPr id="81" name="Text Placeholder 3">
            <a:extLst>
              <a:ext uri="{FF2B5EF4-FFF2-40B4-BE49-F238E27FC236}">
                <a16:creationId xmlns:a16="http://schemas.microsoft.com/office/drawing/2014/main" id="{7D9F4494-AC72-4349-B358-2A3E93C74876}"/>
              </a:ext>
            </a:extLst>
          </p:cNvPr>
          <p:cNvSpPr>
            <a:spLocks noGrp="1"/>
          </p:cNvSpPr>
          <p:nvPr>
            <p:custDataLst>
              <p:tags r:id="rId7"/>
            </p:custDataLst>
          </p:nvPr>
        </p:nvSpPr>
        <p:spPr bwMode="gray">
          <a:xfrm>
            <a:off x="10039350" y="2232026"/>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B3A2C4E-FF6A-4F49-8D80-DFCA3A2F35A1}" type="datetime'''''''''''''''''''1'''''''''''''">
              <a:rPr lang="en-US" altLang="en-US" smtClean="0">
                <a:solidFill>
                  <a:schemeClr val="bg1"/>
                </a:solidFill>
                <a:effectLst/>
                <a:sym typeface="+mn-lt"/>
              </a:rPr>
              <a:pPr algn="ctr">
                <a:spcBef>
                  <a:spcPct val="0"/>
                </a:spcBef>
                <a:spcAft>
                  <a:spcPct val="0"/>
                </a:spcAft>
              </a:pPr>
              <a:t>1</a:t>
            </a:fld>
            <a:endParaRPr lang="en-US" dirty="0">
              <a:solidFill>
                <a:schemeClr val="bg1"/>
              </a:solidFill>
              <a:sym typeface="+mn-lt"/>
            </a:endParaRPr>
          </a:p>
        </p:txBody>
      </p:sp>
      <p:sp>
        <p:nvSpPr>
          <p:cNvPr id="24" name="Rectangle 23">
            <a:extLst>
              <a:ext uri="{FF2B5EF4-FFF2-40B4-BE49-F238E27FC236}">
                <a16:creationId xmlns:a16="http://schemas.microsoft.com/office/drawing/2014/main" id="{04149C84-6FC2-4566-AC67-A725EB892DE6}"/>
              </a:ext>
            </a:extLst>
          </p:cNvPr>
          <p:cNvSpPr/>
          <p:nvPr>
            <p:custDataLst>
              <p:tags r:id="rId8"/>
            </p:custDataLst>
          </p:nvPr>
        </p:nvSpPr>
        <p:spPr bwMode="gray">
          <a:xfrm>
            <a:off x="4625975" y="31305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a:extLst>
              <a:ext uri="{FF2B5EF4-FFF2-40B4-BE49-F238E27FC236}">
                <a16:creationId xmlns:a16="http://schemas.microsoft.com/office/drawing/2014/main" id="{70AF550B-1C11-491A-8F86-98D6AD8876BF}"/>
              </a:ext>
            </a:extLst>
          </p:cNvPr>
          <p:cNvSpPr/>
          <p:nvPr>
            <p:custDataLst>
              <p:tags r:id="rId9"/>
            </p:custDataLst>
          </p:nvPr>
        </p:nvSpPr>
        <p:spPr bwMode="gray">
          <a:xfrm>
            <a:off x="3335338" y="31305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Rectangle 20">
            <a:extLst>
              <a:ext uri="{FF2B5EF4-FFF2-40B4-BE49-F238E27FC236}">
                <a16:creationId xmlns:a16="http://schemas.microsoft.com/office/drawing/2014/main" id="{F8BAFBB1-6C51-4A37-AAB5-D8E0C45C787D}"/>
              </a:ext>
            </a:extLst>
          </p:cNvPr>
          <p:cNvSpPr/>
          <p:nvPr>
            <p:custDataLst>
              <p:tags r:id="rId10"/>
            </p:custDataLst>
          </p:nvPr>
        </p:nvSpPr>
        <p:spPr bwMode="gray">
          <a:xfrm>
            <a:off x="6446838" y="31305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Rectangle 24">
            <a:extLst>
              <a:ext uri="{FF2B5EF4-FFF2-40B4-BE49-F238E27FC236}">
                <a16:creationId xmlns:a16="http://schemas.microsoft.com/office/drawing/2014/main" id="{256BAAFB-0841-4A2F-9FEC-024767D1DBEA}"/>
              </a:ext>
            </a:extLst>
          </p:cNvPr>
          <p:cNvSpPr/>
          <p:nvPr>
            <p:custDataLst>
              <p:tags r:id="rId11"/>
            </p:custDataLst>
          </p:nvPr>
        </p:nvSpPr>
        <p:spPr bwMode="gray">
          <a:xfrm>
            <a:off x="5575300" y="3130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Rectangle 25">
            <a:extLst>
              <a:ext uri="{FF2B5EF4-FFF2-40B4-BE49-F238E27FC236}">
                <a16:creationId xmlns:a16="http://schemas.microsoft.com/office/drawing/2014/main" id="{CA809193-400B-4C2B-A726-84D183340577}"/>
              </a:ext>
            </a:extLst>
          </p:cNvPr>
          <p:cNvSpPr/>
          <p:nvPr>
            <p:custDataLst>
              <p:tags r:id="rId12"/>
            </p:custDataLst>
          </p:nvPr>
        </p:nvSpPr>
        <p:spPr bwMode="gray">
          <a:xfrm>
            <a:off x="7583488" y="3130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Text Placeholder 3">
            <a:extLst>
              <a:ext uri="{FF2B5EF4-FFF2-40B4-BE49-F238E27FC236}">
                <a16:creationId xmlns:a16="http://schemas.microsoft.com/office/drawing/2014/main" id="{8FE2E647-4750-4171-A69A-E8E71B9E3E46}"/>
              </a:ext>
            </a:extLst>
          </p:cNvPr>
          <p:cNvSpPr>
            <a:spLocks noGrp="1"/>
          </p:cNvSpPr>
          <p:nvPr>
            <p:custDataLst>
              <p:tags r:id="rId13"/>
            </p:custDataLst>
          </p:nvPr>
        </p:nvSpPr>
        <p:spPr bwMode="gray">
          <a:xfrm>
            <a:off x="4891088" y="31115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CAA6A4F-8282-4688-B218-4934821D5DEC}" type="datetime'S''ati''s''''''''''fi''''e''''''''''''''''''''''d'''''''">
              <a:rPr lang="en-US" altLang="en-US" smtClean="0"/>
              <a:pPr/>
              <a:t>Satisfied</a:t>
            </a:fld>
            <a:endParaRPr lang="en-US" dirty="0">
              <a:sym typeface="+mn-lt"/>
            </a:endParaRPr>
          </a:p>
        </p:txBody>
      </p:sp>
      <p:sp>
        <p:nvSpPr>
          <p:cNvPr id="27" name="Text Placeholder 3">
            <a:extLst>
              <a:ext uri="{FF2B5EF4-FFF2-40B4-BE49-F238E27FC236}">
                <a16:creationId xmlns:a16="http://schemas.microsoft.com/office/drawing/2014/main" id="{13642F34-BF41-4ACD-8C18-7B7332779E86}"/>
              </a:ext>
            </a:extLst>
          </p:cNvPr>
          <p:cNvSpPr>
            <a:spLocks noGrp="1"/>
          </p:cNvSpPr>
          <p:nvPr>
            <p:custDataLst>
              <p:tags r:id="rId14"/>
            </p:custDataLst>
          </p:nvPr>
        </p:nvSpPr>
        <p:spPr bwMode="gray">
          <a:xfrm>
            <a:off x="3600450" y="31115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C355382-FC67-4C5A-A512-903F2D44EC67}" type="datetime'''''''V''er''y'' ''''Sa''t''''''i''''sf''''''''i''e''d'''''">
              <a:rPr lang="en-US" altLang="en-US" smtClean="0"/>
              <a:pPr/>
              <a:t>Very Satisfied</a:t>
            </a:fld>
            <a:endParaRPr lang="en-US" dirty="0">
              <a:sym typeface="+mn-lt"/>
            </a:endParaRPr>
          </a:p>
        </p:txBody>
      </p:sp>
      <p:sp>
        <p:nvSpPr>
          <p:cNvPr id="28" name="Text Placeholder 3">
            <a:extLst>
              <a:ext uri="{FF2B5EF4-FFF2-40B4-BE49-F238E27FC236}">
                <a16:creationId xmlns:a16="http://schemas.microsoft.com/office/drawing/2014/main" id="{983BE108-3D5A-430B-AB89-529D54145CBD}"/>
              </a:ext>
            </a:extLst>
          </p:cNvPr>
          <p:cNvSpPr>
            <a:spLocks noGrp="1"/>
          </p:cNvSpPr>
          <p:nvPr>
            <p:custDataLst>
              <p:tags r:id="rId15"/>
            </p:custDataLst>
          </p:nvPr>
        </p:nvSpPr>
        <p:spPr bwMode="gray">
          <a:xfrm>
            <a:off x="5840413" y="31115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1C9BA30-1106-4C25-B5FB-5F19DC057F84}" type="datetime'N''''''''''''''''''''''''''''e''u''''''tr''''''''a''''l'''''''">
              <a:rPr lang="en-US" altLang="en-US" smtClean="0"/>
              <a:pPr/>
              <a:t>Neutral</a:t>
            </a:fld>
            <a:endParaRPr lang="en-US" dirty="0">
              <a:sym typeface="+mn-lt"/>
            </a:endParaRPr>
          </a:p>
        </p:txBody>
      </p:sp>
      <p:sp>
        <p:nvSpPr>
          <p:cNvPr id="33" name="Text Placeholder 3">
            <a:extLst>
              <a:ext uri="{FF2B5EF4-FFF2-40B4-BE49-F238E27FC236}">
                <a16:creationId xmlns:a16="http://schemas.microsoft.com/office/drawing/2014/main" id="{93979979-CEB4-4205-8AA1-90CD26CB4323}"/>
              </a:ext>
            </a:extLst>
          </p:cNvPr>
          <p:cNvSpPr>
            <a:spLocks noGrp="1"/>
          </p:cNvSpPr>
          <p:nvPr>
            <p:custDataLst>
              <p:tags r:id="rId16"/>
            </p:custDataLst>
          </p:nvPr>
        </p:nvSpPr>
        <p:spPr bwMode="gray">
          <a:xfrm>
            <a:off x="6711950" y="31115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4F66E08-E709-41FD-8638-5176352E741D}" type="datetime'''''''D''''i''s''''''''''''sa''ti''''s''''f''''''i''''''ed'">
              <a:rPr lang="en-US" altLang="en-US" smtClean="0"/>
              <a:pPr/>
              <a:t>Dissatisfied</a:t>
            </a:fld>
            <a:endParaRPr lang="en-US" dirty="0">
              <a:sym typeface="+mn-lt"/>
            </a:endParaRPr>
          </a:p>
        </p:txBody>
      </p:sp>
      <p:sp>
        <p:nvSpPr>
          <p:cNvPr id="32" name="Text Placeholder 3">
            <a:extLst>
              <a:ext uri="{FF2B5EF4-FFF2-40B4-BE49-F238E27FC236}">
                <a16:creationId xmlns:a16="http://schemas.microsoft.com/office/drawing/2014/main" id="{FC0C51E4-E12A-4B16-B02E-B45D787846DE}"/>
              </a:ext>
            </a:extLst>
          </p:cNvPr>
          <p:cNvSpPr>
            <a:spLocks noGrp="1"/>
          </p:cNvSpPr>
          <p:nvPr>
            <p:custDataLst>
              <p:tags r:id="rId17"/>
            </p:custDataLst>
          </p:nvPr>
        </p:nvSpPr>
        <p:spPr bwMode="gray">
          <a:xfrm>
            <a:off x="7848600" y="31115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EA28152-FAAB-40B4-BAC7-B7FB85C845D4}" type="datetime'''V''er''y'' ''''''Di''''''s''sa''''''''''''tis''i''''''f''ed'">
              <a:rPr lang="en-US" altLang="en-US" smtClean="0"/>
              <a:pPr/>
              <a:t>Very Dissatisifed</a:t>
            </a:fld>
            <a:endParaRPr lang="en-US" dirty="0">
              <a:sym typeface="+mn-lt"/>
            </a:endParaRPr>
          </a:p>
        </p:txBody>
      </p:sp>
      <p:sp>
        <p:nvSpPr>
          <p:cNvPr id="38" name="Rectangle 37">
            <a:extLst>
              <a:ext uri="{FF2B5EF4-FFF2-40B4-BE49-F238E27FC236}">
                <a16:creationId xmlns:a16="http://schemas.microsoft.com/office/drawing/2014/main" id="{FA4F8291-6AA4-44B3-AE1A-D84094DD95B8}"/>
              </a:ext>
            </a:extLst>
          </p:cNvPr>
          <p:cNvSpPr/>
          <p:nvPr/>
        </p:nvSpPr>
        <p:spPr>
          <a:xfrm>
            <a:off x="568325" y="1527175"/>
            <a:ext cx="6719888" cy="3587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39" name="Rectangle 38">
            <a:extLst>
              <a:ext uri="{FF2B5EF4-FFF2-40B4-BE49-F238E27FC236}">
                <a16:creationId xmlns:a16="http://schemas.microsoft.com/office/drawing/2014/main" id="{90962E36-18CD-43F7-B746-BBFBCA606A35}"/>
              </a:ext>
            </a:extLst>
          </p:cNvPr>
          <p:cNvSpPr/>
          <p:nvPr/>
        </p:nvSpPr>
        <p:spPr>
          <a:xfrm>
            <a:off x="10213975" y="2210021"/>
            <a:ext cx="542925" cy="2762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3%</a:t>
            </a:r>
          </a:p>
        </p:txBody>
      </p:sp>
      <p:sp>
        <p:nvSpPr>
          <p:cNvPr id="40" name="Rectangle 39">
            <a:extLst>
              <a:ext uri="{FF2B5EF4-FFF2-40B4-BE49-F238E27FC236}">
                <a16:creationId xmlns:a16="http://schemas.microsoft.com/office/drawing/2014/main" id="{43C3DF8C-8FA1-4310-8CCE-8C380DA4D068}"/>
              </a:ext>
            </a:extLst>
          </p:cNvPr>
          <p:cNvSpPr/>
          <p:nvPr/>
        </p:nvSpPr>
        <p:spPr>
          <a:xfrm>
            <a:off x="10123842" y="1821729"/>
            <a:ext cx="603250" cy="2571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41" name="Rectangle 40">
            <a:extLst>
              <a:ext uri="{FF2B5EF4-FFF2-40B4-BE49-F238E27FC236}">
                <a16:creationId xmlns:a16="http://schemas.microsoft.com/office/drawing/2014/main" id="{66963A22-D082-424A-8449-F9655622D017}"/>
              </a:ext>
            </a:extLst>
          </p:cNvPr>
          <p:cNvSpPr/>
          <p:nvPr/>
        </p:nvSpPr>
        <p:spPr>
          <a:xfrm>
            <a:off x="10792618" y="1802769"/>
            <a:ext cx="966788" cy="2619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50" name="Rectangle 49">
            <a:extLst>
              <a:ext uri="{FF2B5EF4-FFF2-40B4-BE49-F238E27FC236}">
                <a16:creationId xmlns:a16="http://schemas.microsoft.com/office/drawing/2014/main" id="{C8AE9843-961B-4CD9-B4EC-24BD33C039A0}"/>
              </a:ext>
            </a:extLst>
          </p:cNvPr>
          <p:cNvSpPr/>
          <p:nvPr/>
        </p:nvSpPr>
        <p:spPr>
          <a:xfrm>
            <a:off x="10817219" y="2114776"/>
            <a:ext cx="917575" cy="379635"/>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nvGrpSpPr>
          <p:cNvPr id="51" name="Group 50">
            <a:extLst>
              <a:ext uri="{FF2B5EF4-FFF2-40B4-BE49-F238E27FC236}">
                <a16:creationId xmlns:a16="http://schemas.microsoft.com/office/drawing/2014/main" id="{9272EA5E-8977-449D-90A8-A855EA66D504}"/>
              </a:ext>
            </a:extLst>
          </p:cNvPr>
          <p:cNvGrpSpPr/>
          <p:nvPr/>
        </p:nvGrpSpPr>
        <p:grpSpPr>
          <a:xfrm>
            <a:off x="649218" y="5465347"/>
            <a:ext cx="6155997" cy="444350"/>
            <a:chOff x="753111" y="3331233"/>
            <a:chExt cx="6155997" cy="444350"/>
          </a:xfrm>
        </p:grpSpPr>
        <p:grpSp>
          <p:nvGrpSpPr>
            <p:cNvPr id="52" name="Group 51">
              <a:extLst>
                <a:ext uri="{FF2B5EF4-FFF2-40B4-BE49-F238E27FC236}">
                  <a16:creationId xmlns:a16="http://schemas.microsoft.com/office/drawing/2014/main" id="{68CB2F8F-AD3B-40B9-BF94-9FE3B44C200B}"/>
                </a:ext>
              </a:extLst>
            </p:cNvPr>
            <p:cNvGrpSpPr/>
            <p:nvPr/>
          </p:nvGrpSpPr>
          <p:grpSpPr>
            <a:xfrm>
              <a:off x="753111" y="3331233"/>
              <a:ext cx="6155997" cy="220957"/>
              <a:chOff x="753111" y="3331233"/>
              <a:chExt cx="6155997" cy="220957"/>
            </a:xfrm>
          </p:grpSpPr>
          <p:sp>
            <p:nvSpPr>
              <p:cNvPr id="59" name="Rectangle 58">
                <a:extLst>
                  <a:ext uri="{FF2B5EF4-FFF2-40B4-BE49-F238E27FC236}">
                    <a16:creationId xmlns:a16="http://schemas.microsoft.com/office/drawing/2014/main" id="{2F2E3CBC-95B9-4706-B67C-CEF3BE9D1757}"/>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61" name="Rectangle 60">
                <a:extLst>
                  <a:ext uri="{FF2B5EF4-FFF2-40B4-BE49-F238E27FC236}">
                    <a16:creationId xmlns:a16="http://schemas.microsoft.com/office/drawing/2014/main" id="{02BC721B-31BC-4F3B-8550-B1B2678A5C1E}"/>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62" name="Rectangle 61">
                <a:extLst>
                  <a:ext uri="{FF2B5EF4-FFF2-40B4-BE49-F238E27FC236}">
                    <a16:creationId xmlns:a16="http://schemas.microsoft.com/office/drawing/2014/main" id="{48E109CC-5643-4F05-8B98-296308787E1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63" name="Rectangle 62">
                <a:extLst>
                  <a:ext uri="{FF2B5EF4-FFF2-40B4-BE49-F238E27FC236}">
                    <a16:creationId xmlns:a16="http://schemas.microsoft.com/office/drawing/2014/main" id="{D6232709-4192-48FE-B045-61D13457D4C7}"/>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64" name="Rectangle 63">
                <a:extLst>
                  <a:ext uri="{FF2B5EF4-FFF2-40B4-BE49-F238E27FC236}">
                    <a16:creationId xmlns:a16="http://schemas.microsoft.com/office/drawing/2014/main" id="{71BEF14B-6502-4888-97E8-6D2F3CF5CA33}"/>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65" name="Rectangle 64">
                <a:extLst>
                  <a:ext uri="{FF2B5EF4-FFF2-40B4-BE49-F238E27FC236}">
                    <a16:creationId xmlns:a16="http://schemas.microsoft.com/office/drawing/2014/main" id="{587A2140-8FAD-4B55-99E2-5AC0F5E6A907}"/>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53" name="Rectangle 52">
              <a:extLst>
                <a:ext uri="{FF2B5EF4-FFF2-40B4-BE49-F238E27FC236}">
                  <a16:creationId xmlns:a16="http://schemas.microsoft.com/office/drawing/2014/main" id="{A948E227-BB7C-4B86-81BC-87244AAE4458}"/>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54" name="Rectangle 53">
              <a:extLst>
                <a:ext uri="{FF2B5EF4-FFF2-40B4-BE49-F238E27FC236}">
                  <a16:creationId xmlns:a16="http://schemas.microsoft.com/office/drawing/2014/main" id="{CE8FBDC1-C786-487F-88D4-AF71F6A744CB}"/>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55" name="Rectangle 54">
              <a:extLst>
                <a:ext uri="{FF2B5EF4-FFF2-40B4-BE49-F238E27FC236}">
                  <a16:creationId xmlns:a16="http://schemas.microsoft.com/office/drawing/2014/main" id="{0AC18AD0-448C-47FF-8111-65AB39700145}"/>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56" name="Rectangle 55">
              <a:extLst>
                <a:ext uri="{FF2B5EF4-FFF2-40B4-BE49-F238E27FC236}">
                  <a16:creationId xmlns:a16="http://schemas.microsoft.com/office/drawing/2014/main" id="{57A5AE6A-4636-4C4E-819B-52EADC0DEDC0}"/>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57" name="Rectangle 56">
              <a:extLst>
                <a:ext uri="{FF2B5EF4-FFF2-40B4-BE49-F238E27FC236}">
                  <a16:creationId xmlns:a16="http://schemas.microsoft.com/office/drawing/2014/main" id="{923B4D3F-0A3F-499A-99BB-7DCFABC73B3A}"/>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58" name="Rectangle 57">
              <a:extLst>
                <a:ext uri="{FF2B5EF4-FFF2-40B4-BE49-F238E27FC236}">
                  <a16:creationId xmlns:a16="http://schemas.microsoft.com/office/drawing/2014/main" id="{C04F98B6-6D06-4177-B372-7DFCD9355BC1}"/>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sp>
        <p:nvSpPr>
          <p:cNvPr id="70" name="Oval 20">
            <a:extLst>
              <a:ext uri="{FF2B5EF4-FFF2-40B4-BE49-F238E27FC236}">
                <a16:creationId xmlns:a16="http://schemas.microsoft.com/office/drawing/2014/main" id="{C2F17A6E-4070-4E3E-8269-1372782C2118}"/>
              </a:ext>
            </a:extLst>
          </p:cNvPr>
          <p:cNvSpPr>
            <a:spLocks noChangeAspect="1" noChangeArrowheads="1"/>
          </p:cNvSpPr>
          <p:nvPr/>
        </p:nvSpPr>
        <p:spPr bwMode="auto">
          <a:xfrm>
            <a:off x="10756900" y="4963882"/>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grpSp>
        <p:nvGrpSpPr>
          <p:cNvPr id="73" name="Group 72">
            <a:extLst>
              <a:ext uri="{FF2B5EF4-FFF2-40B4-BE49-F238E27FC236}">
                <a16:creationId xmlns:a16="http://schemas.microsoft.com/office/drawing/2014/main" id="{A45741E6-51A4-409B-9D2F-6B484972F657}"/>
              </a:ext>
            </a:extLst>
          </p:cNvPr>
          <p:cNvGrpSpPr>
            <a:grpSpLocks noChangeAspect="1"/>
          </p:cNvGrpSpPr>
          <p:nvPr/>
        </p:nvGrpSpPr>
        <p:grpSpPr>
          <a:xfrm>
            <a:off x="514429" y="864696"/>
            <a:ext cx="457200" cy="457200"/>
            <a:chOff x="5867400" y="3200400"/>
            <a:chExt cx="457200" cy="457200"/>
          </a:xfrm>
        </p:grpSpPr>
        <p:sp>
          <p:nvSpPr>
            <p:cNvPr id="74" name="AutoShape 43">
              <a:extLst>
                <a:ext uri="{FF2B5EF4-FFF2-40B4-BE49-F238E27FC236}">
                  <a16:creationId xmlns:a16="http://schemas.microsoft.com/office/drawing/2014/main" id="{15171CEA-96A4-4C2C-8AC9-D96F313378F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7">
              <a:extLst>
                <a:ext uri="{FF2B5EF4-FFF2-40B4-BE49-F238E27FC236}">
                  <a16:creationId xmlns:a16="http://schemas.microsoft.com/office/drawing/2014/main" id="{86ABD49C-ABDD-4931-9BDB-9CFE4D17042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9" name="Rectangle 48">
            <a:extLst>
              <a:ext uri="{FF2B5EF4-FFF2-40B4-BE49-F238E27FC236}">
                <a16:creationId xmlns:a16="http://schemas.microsoft.com/office/drawing/2014/main" id="{0AC4F468-D9A3-4BFF-96BF-A35D1D6E21EB}"/>
              </a:ext>
            </a:extLst>
          </p:cNvPr>
          <p:cNvSpPr/>
          <p:nvPr/>
        </p:nvSpPr>
        <p:spPr>
          <a:xfrm>
            <a:off x="10254456" y="2778826"/>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72" name="Rectangle 71">
            <a:extLst>
              <a:ext uri="{FF2B5EF4-FFF2-40B4-BE49-F238E27FC236}">
                <a16:creationId xmlns:a16="http://schemas.microsoft.com/office/drawing/2014/main" id="{C02665F9-27A1-4962-9DD8-EBED6F24BC39}"/>
              </a:ext>
            </a:extLst>
          </p:cNvPr>
          <p:cNvSpPr/>
          <p:nvPr/>
        </p:nvSpPr>
        <p:spPr>
          <a:xfrm>
            <a:off x="8403791" y="3818911"/>
            <a:ext cx="1128715" cy="1430337"/>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0" name="Group 59">
            <a:extLst>
              <a:ext uri="{FF2B5EF4-FFF2-40B4-BE49-F238E27FC236}">
                <a16:creationId xmlns:a16="http://schemas.microsoft.com/office/drawing/2014/main" id="{891E6815-165A-4139-9B7A-53CB759F2D30}"/>
              </a:ext>
            </a:extLst>
          </p:cNvPr>
          <p:cNvGrpSpPr/>
          <p:nvPr/>
        </p:nvGrpSpPr>
        <p:grpSpPr>
          <a:xfrm>
            <a:off x="9751525" y="5356845"/>
            <a:ext cx="2116895" cy="591304"/>
            <a:chOff x="9751525" y="5356845"/>
            <a:chExt cx="2116895" cy="591304"/>
          </a:xfrm>
        </p:grpSpPr>
        <p:sp>
          <p:nvSpPr>
            <p:cNvPr id="66" name="Oval 20">
              <a:extLst>
                <a:ext uri="{FF2B5EF4-FFF2-40B4-BE49-F238E27FC236}">
                  <a16:creationId xmlns:a16="http://schemas.microsoft.com/office/drawing/2014/main" id="{53859328-5DD8-4A1B-9A91-9A30CBCC790E}"/>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7" name="Rectangle 66">
              <a:extLst>
                <a:ext uri="{FF2B5EF4-FFF2-40B4-BE49-F238E27FC236}">
                  <a16:creationId xmlns:a16="http://schemas.microsoft.com/office/drawing/2014/main" id="{BE2BFE03-A75C-443A-83B7-183FB29E6099}"/>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8" name="Oval 20">
              <a:extLst>
                <a:ext uri="{FF2B5EF4-FFF2-40B4-BE49-F238E27FC236}">
                  <a16:creationId xmlns:a16="http://schemas.microsoft.com/office/drawing/2014/main" id="{3E8BE97D-9B7F-409D-8141-25CE81DB0802}"/>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9" name="Oval 20">
              <a:extLst>
                <a:ext uri="{FF2B5EF4-FFF2-40B4-BE49-F238E27FC236}">
                  <a16:creationId xmlns:a16="http://schemas.microsoft.com/office/drawing/2014/main" id="{8CD4257D-535C-4E6E-8A36-7F2E882324FB}"/>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1" name="Rectangle 70">
              <a:extLst>
                <a:ext uri="{FF2B5EF4-FFF2-40B4-BE49-F238E27FC236}">
                  <a16:creationId xmlns:a16="http://schemas.microsoft.com/office/drawing/2014/main" id="{5A7F6B43-ADD2-4F12-82BB-B3B071B72E0B}"/>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85" name="Rectangle 84">
              <a:extLst>
                <a:ext uri="{FF2B5EF4-FFF2-40B4-BE49-F238E27FC236}">
                  <a16:creationId xmlns:a16="http://schemas.microsoft.com/office/drawing/2014/main" id="{9EC86923-1CDF-4B60-AA0D-7F01D28A7561}"/>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78" name="Rectangle 77">
            <a:extLst>
              <a:ext uri="{FF2B5EF4-FFF2-40B4-BE49-F238E27FC236}">
                <a16:creationId xmlns:a16="http://schemas.microsoft.com/office/drawing/2014/main" id="{740A2182-3687-4F78-9F41-B96754893428}"/>
              </a:ext>
            </a:extLst>
          </p:cNvPr>
          <p:cNvSpPr/>
          <p:nvPr/>
        </p:nvSpPr>
        <p:spPr>
          <a:xfrm>
            <a:off x="7288213" y="-5147"/>
            <a:ext cx="4898585" cy="5430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E71C57"/>
                </a:solidFill>
              </a:rPr>
              <a:t>NOTE – in 2022 we will explore whether it makes sense to allow employees to specify which browser(s) they would like to provide E-SAT for. (E-SAT can still be browser-matched on the back-end for this &amp; previous results.)</a:t>
            </a:r>
          </a:p>
        </p:txBody>
      </p:sp>
      <p:sp>
        <p:nvSpPr>
          <p:cNvPr id="80" name="Left Bracket 79">
            <a:extLst>
              <a:ext uri="{FF2B5EF4-FFF2-40B4-BE49-F238E27FC236}">
                <a16:creationId xmlns:a16="http://schemas.microsoft.com/office/drawing/2014/main" id="{7C4D4514-426B-4C1D-B14D-24CAA3E3B110}"/>
              </a:ext>
            </a:extLst>
          </p:cNvPr>
          <p:cNvSpPr/>
          <p:nvPr/>
        </p:nvSpPr>
        <p:spPr>
          <a:xfrm rot="5400000">
            <a:off x="8808567" y="2569869"/>
            <a:ext cx="212148" cy="2233679"/>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365636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20402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95"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defRPr/>
            </a:pPr>
            <a:endParaRPr kumimoji="0" lang="en-US" sz="1200" u="none" strike="noStrike" kern="1200" cap="none" spc="0" normalizeH="0" noProof="0" dirty="0">
              <a:ln>
                <a:noFill/>
              </a:ln>
              <a:solidFill>
                <a:srgbClr val="FFFFFF"/>
              </a:solidFill>
              <a:effectLst/>
              <a:uLnTx/>
              <a:uFillTx/>
              <a:latin typeface="Trebuchet MS" panose="020B0603020202020204" pitchFamily="34" charset="0"/>
              <a:sym typeface="Trebuchet MS" panose="020B0603020202020204" pitchFamily="34" charset="0"/>
            </a:endParaRPr>
          </a:p>
        </p:txBody>
      </p:sp>
      <p:sp>
        <p:nvSpPr>
          <p:cNvPr id="156" name="Rectangle 155"/>
          <p:cNvSpPr/>
          <p:nvPr/>
        </p:nvSpPr>
        <p:spPr>
          <a:xfrm>
            <a:off x="9161454" y="8287"/>
            <a:ext cx="2816181" cy="68497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Trebuchet MS"/>
                <a:cs typeface="Arial" pitchFamily="34" charset="0"/>
              </a:rPr>
              <a:t>Whilst CT are -7% less satisfied with their browsers than BST, &amp; despite a small decrease Q4 year-over-year of -1%, they are still +9% above BIC target</a:t>
            </a:r>
          </a:p>
        </p:txBody>
      </p:sp>
      <p:sp>
        <p:nvSpPr>
          <p:cNvPr id="3" name="Title 2"/>
          <p:cNvSpPr>
            <a:spLocks noGrp="1"/>
          </p:cNvSpPr>
          <p:nvPr>
            <p:ph type="title"/>
          </p:nvPr>
        </p:nvSpPr>
        <p:spPr/>
        <p:txBody>
          <a:bodyPr vert="horz"/>
          <a:lstStyle/>
          <a:p>
            <a:r>
              <a:rPr lang="en-US" dirty="0">
                <a:solidFill>
                  <a:srgbClr val="295E7E"/>
                </a:solidFill>
              </a:rPr>
              <a:t>Browsers Satisfaction - Overall</a:t>
            </a:r>
          </a:p>
        </p:txBody>
      </p:sp>
      <p:graphicFrame>
        <p:nvGraphicFramePr>
          <p:cNvPr id="59" name="Chart 58">
            <a:extLst>
              <a:ext uri="{FF2B5EF4-FFF2-40B4-BE49-F238E27FC236}">
                <a16:creationId xmlns:a16="http://schemas.microsoft.com/office/drawing/2014/main" id="{735799C6-DCB3-4EE4-AFCD-25166B58E4FA}"/>
              </a:ext>
            </a:extLst>
          </p:cNvPr>
          <p:cNvGraphicFramePr/>
          <p:nvPr>
            <p:custDataLst>
              <p:tags r:id="rId5"/>
            </p:custDataLst>
            <p:extLst>
              <p:ext uri="{D42A27DB-BD31-4B8C-83A1-F6EECF244321}">
                <p14:modId xmlns:p14="http://schemas.microsoft.com/office/powerpoint/2010/main" val="3765594869"/>
              </p:ext>
            </p:extLst>
          </p:nvPr>
        </p:nvGraphicFramePr>
        <p:xfrm>
          <a:off x="5454650" y="3308350"/>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53" name="Text Placeholder 3"/>
          <p:cNvSpPr>
            <a:spLocks noGrp="1"/>
          </p:cNvSpPr>
          <p:nvPr>
            <p:custDataLst>
              <p:tags r:id="rId6"/>
            </p:custDataLst>
          </p:nvPr>
        </p:nvSpPr>
        <p:spPr bwMode="gray">
          <a:xfrm>
            <a:off x="6065838" y="359886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3702F1DD-229F-4B5E-9EB3-8D5D1CD87CF2}" type="datetime'''''''''''''1''''''''''''''''''''''1'''''''">
              <a:rPr lang="en-US" altLang="en-US" smtClean="0">
                <a:solidFill>
                  <a:srgbClr val="575757"/>
                </a:solidFill>
              </a:rPr>
              <a:pPr/>
              <a:t>11</a:t>
            </a:fld>
            <a:r>
              <a:rPr kumimoji="0" lang="en-US" altLang="en-US" sz="1200" b="0" i="0" u="none" strike="noStrike" kern="1200" cap="none" spc="0" normalizeH="0" baseline="0" noProof="0">
                <a:ln>
                  <a:noFill/>
                </a:ln>
                <a:solidFill>
                  <a:srgbClr val="575757"/>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73" name="Text Placeholder 3"/>
          <p:cNvSpPr>
            <a:spLocks noGrp="1"/>
          </p:cNvSpPr>
          <p:nvPr>
            <p:custDataLst>
              <p:tags r:id="rId7"/>
            </p:custDataLst>
          </p:nvPr>
        </p:nvSpPr>
        <p:spPr bwMode="gray">
          <a:xfrm>
            <a:off x="7488238" y="398780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1D46474B-6C10-4FC4-88C1-4B2729B65306}" type="datetime'''''''''''''''''''''3''''''''''''''4'''''''''''''">
              <a:rPr lang="en-US" altLang="en-US" smtClean="0">
                <a:solidFill>
                  <a:srgbClr val="FFFFFF"/>
                </a:solidFill>
              </a:rPr>
              <a:pPr/>
              <a:t>34</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55" name="Text Placeholder 3"/>
          <p:cNvSpPr>
            <a:spLocks noGrp="1"/>
          </p:cNvSpPr>
          <p:nvPr>
            <p:custDataLst>
              <p:tags r:id="rId8"/>
            </p:custDataLst>
          </p:nvPr>
        </p:nvSpPr>
        <p:spPr bwMode="gray">
          <a:xfrm>
            <a:off x="5988050" y="5324475"/>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A4F3BB1B-D857-469F-853B-D7A98C7F31E2}" type="datetime'''''''''''''''5''''''2'''''">
              <a:rPr lang="en-US" altLang="en-US" smtClean="0">
                <a:solidFill>
                  <a:srgbClr val="FFFFFF"/>
                </a:solidFill>
              </a:rPr>
              <a:pPr/>
              <a:t>52</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50" name="Text Placeholder 3"/>
          <p:cNvSpPr>
            <a:spLocks noGrp="1"/>
          </p:cNvSpPr>
          <p:nvPr>
            <p:custDataLst>
              <p:tags r:id="rId9"/>
            </p:custDataLst>
          </p:nvPr>
        </p:nvSpPr>
        <p:spPr bwMode="gray">
          <a:xfrm>
            <a:off x="6521450" y="3419475"/>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E593C5F2-8DAA-422E-8F80-7FF3AADE0902}" type="datetime'''''''''''''''''''''''''''''3'''''">
              <a:rPr lang="en-US" altLang="en-US" smtClean="0">
                <a:solidFill>
                  <a:srgbClr val="FFFFFF"/>
                </a:solidFill>
                <a:effectLst/>
              </a:rPr>
              <a:pPr/>
              <a:t>3</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41" name="Text Placeholder 3"/>
          <p:cNvSpPr>
            <a:spLocks noGrp="1"/>
          </p:cNvSpPr>
          <p:nvPr>
            <p:custDataLst>
              <p:tags r:id="rId10"/>
            </p:custDataLst>
          </p:nvPr>
        </p:nvSpPr>
        <p:spPr bwMode="gray">
          <a:xfrm>
            <a:off x="6626225" y="362108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FFA523A6-F716-4BCF-9BD0-5CEDA84EA711}" type="datetime'''''''''0'''''''''">
              <a:rPr lang="en-US" altLang="en-US" smtClean="0">
                <a:solidFill>
                  <a:srgbClr val="FFFFFF"/>
                </a:solidFill>
                <a:effectLst/>
              </a:rPr>
              <a:pPr/>
              <a:t>0</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58" name="Rectangle 57"/>
          <p:cNvSpPr/>
          <p:nvPr>
            <p:custDataLst>
              <p:tags r:id="rId11"/>
            </p:custDataLst>
          </p:nvPr>
        </p:nvSpPr>
        <p:spPr bwMode="gray">
          <a:xfrm>
            <a:off x="6219825" y="611028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1" name="Rectangle 50"/>
          <p:cNvSpPr/>
          <p:nvPr>
            <p:custDataLst>
              <p:tags r:id="rId12"/>
            </p:custDataLst>
          </p:nvPr>
        </p:nvSpPr>
        <p:spPr bwMode="gray">
          <a:xfrm>
            <a:off x="5083175" y="6110288"/>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5" name="Rectangle 44"/>
          <p:cNvSpPr/>
          <p:nvPr>
            <p:custDataLst>
              <p:tags r:id="rId13"/>
            </p:custDataLst>
          </p:nvPr>
        </p:nvSpPr>
        <p:spPr bwMode="gray">
          <a:xfrm>
            <a:off x="1971675" y="6110288"/>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6" name="Rectangle 45"/>
          <p:cNvSpPr/>
          <p:nvPr>
            <p:custDataLst>
              <p:tags r:id="rId14"/>
            </p:custDataLst>
          </p:nvPr>
        </p:nvSpPr>
        <p:spPr bwMode="gray">
          <a:xfrm>
            <a:off x="3262313" y="6110288"/>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7" name="Rectangle 46"/>
          <p:cNvSpPr/>
          <p:nvPr>
            <p:custDataLst>
              <p:tags r:id="rId15"/>
            </p:custDataLst>
          </p:nvPr>
        </p:nvSpPr>
        <p:spPr bwMode="gray">
          <a:xfrm>
            <a:off x="4211638" y="611028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0" name="Text Placeholder 3"/>
          <p:cNvSpPr>
            <a:spLocks noGrp="1"/>
          </p:cNvSpPr>
          <p:nvPr>
            <p:custDataLst>
              <p:tags r:id="rId16"/>
            </p:custDataLst>
          </p:nvPr>
        </p:nvSpPr>
        <p:spPr bwMode="gray">
          <a:xfrm>
            <a:off x="5348288" y="6091238"/>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807089C-9D0F-4F9C-8A1C-016D5EF33B1E}" type="datetime'''''''''''''''''''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4" name="Text Placeholder 3"/>
          <p:cNvSpPr>
            <a:spLocks noGrp="1"/>
          </p:cNvSpPr>
          <p:nvPr>
            <p:custDataLst>
              <p:tags r:id="rId17"/>
            </p:custDataLst>
          </p:nvPr>
        </p:nvSpPr>
        <p:spPr bwMode="gray">
          <a:xfrm>
            <a:off x="2236788" y="6091238"/>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6D18C423-3936-4678-8D69-EB50FEEB4EBF}" type="datetime'''''Ve''''r''''y'''' ''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42" name="Text Placeholder 3"/>
          <p:cNvSpPr>
            <a:spLocks noGrp="1"/>
          </p:cNvSpPr>
          <p:nvPr>
            <p:custDataLst>
              <p:tags r:id="rId18"/>
            </p:custDataLst>
          </p:nvPr>
        </p:nvSpPr>
        <p:spPr bwMode="gray">
          <a:xfrm>
            <a:off x="6484938" y="6091238"/>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3C170BB-CAEB-4536-B17F-0CAD75E509AD}" type="datetime'Ve''''''''r''''y'''''''' 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8" name="Text Placeholder 3"/>
          <p:cNvSpPr>
            <a:spLocks noGrp="1"/>
          </p:cNvSpPr>
          <p:nvPr>
            <p:custDataLst>
              <p:tags r:id="rId19"/>
            </p:custDataLst>
          </p:nvPr>
        </p:nvSpPr>
        <p:spPr bwMode="gray">
          <a:xfrm>
            <a:off x="3527425" y="6091238"/>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6F89EE3-8ED3-4DC4-A448-130CC42FCABF}" type="datetime'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9" name="Text Placeholder 3"/>
          <p:cNvSpPr>
            <a:spLocks noGrp="1"/>
          </p:cNvSpPr>
          <p:nvPr>
            <p:custDataLst>
              <p:tags r:id="rId20"/>
            </p:custDataLst>
          </p:nvPr>
        </p:nvSpPr>
        <p:spPr bwMode="gray">
          <a:xfrm>
            <a:off x="4476750" y="609123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2172AEC-7BE0-4805-BE4C-EBCC3FBF3CB0}" type="datetime'''''''''''''''''''''''''''''''''''''''''''N''e''ut''ra''''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eutra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graphicFrame>
        <p:nvGraphicFramePr>
          <p:cNvPr id="69" name="Chart 68">
            <a:extLst>
              <a:ext uri="{FF2B5EF4-FFF2-40B4-BE49-F238E27FC236}">
                <a16:creationId xmlns:a16="http://schemas.microsoft.com/office/drawing/2014/main" id="{CCEE8C91-5531-4CB3-ABF5-779A680A9B88}"/>
              </a:ext>
            </a:extLst>
          </p:cNvPr>
          <p:cNvGraphicFramePr/>
          <p:nvPr>
            <p:custDataLst>
              <p:tags r:id="rId21"/>
            </p:custDataLst>
            <p:extLst>
              <p:ext uri="{D42A27DB-BD31-4B8C-83A1-F6EECF244321}">
                <p14:modId xmlns:p14="http://schemas.microsoft.com/office/powerpoint/2010/main" val="3699806371"/>
              </p:ext>
            </p:extLst>
          </p:nvPr>
        </p:nvGraphicFramePr>
        <p:xfrm>
          <a:off x="1301750" y="3308350"/>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32" name="Text Placeholder 3"/>
          <p:cNvSpPr>
            <a:spLocks noGrp="1"/>
          </p:cNvSpPr>
          <p:nvPr>
            <p:custDataLst>
              <p:tags r:id="rId22"/>
            </p:custDataLst>
          </p:nvPr>
        </p:nvSpPr>
        <p:spPr bwMode="gray">
          <a:xfrm>
            <a:off x="1720850" y="375602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22B0F6B1-508F-419D-8BFE-B8438BB9D004}" type="datetime'''1''''''''''''''''''''''''''''''''''''''''''''''''''7'''''">
              <a:rPr lang="en-US" altLang="en-US" smtClean="0">
                <a:solidFill>
                  <a:srgbClr val="575757"/>
                </a:solidFill>
              </a:rPr>
              <a:pPr/>
              <a:t>17</a:t>
            </a:fld>
            <a:r>
              <a:rPr kumimoji="0" lang="en-US" altLang="en-US" sz="1200" b="0" i="0" u="none" strike="noStrike" kern="1200" cap="none" spc="0" normalizeH="0" baseline="0" noProof="0">
                <a:ln>
                  <a:noFill/>
                </a:ln>
                <a:solidFill>
                  <a:srgbClr val="575757"/>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9" name="Text Placeholder 3"/>
          <p:cNvSpPr>
            <a:spLocks noGrp="1"/>
          </p:cNvSpPr>
          <p:nvPr>
            <p:custDataLst>
              <p:tags r:id="rId23"/>
            </p:custDataLst>
          </p:nvPr>
        </p:nvSpPr>
        <p:spPr bwMode="gray">
          <a:xfrm>
            <a:off x="3287713" y="3914775"/>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9A787B92-273D-4903-B116-E7073341F8AF}" type="datetime'''''''''''''''''''''''''3''''''''''1'''''''''''">
              <a:rPr lang="en-US" altLang="en-US" smtClean="0">
                <a:solidFill>
                  <a:srgbClr val="FFFFFF"/>
                </a:solidFill>
              </a:rPr>
              <a:pPr/>
              <a:t>31</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3" name="Text Placeholder 3"/>
          <p:cNvSpPr>
            <a:spLocks noGrp="1"/>
          </p:cNvSpPr>
          <p:nvPr>
            <p:custDataLst>
              <p:tags r:id="rId24"/>
            </p:custDataLst>
          </p:nvPr>
        </p:nvSpPr>
        <p:spPr bwMode="gray">
          <a:xfrm>
            <a:off x="2314575" y="3430588"/>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9EC24BA0-E87A-4396-BA62-75E245FBEA91}" type="datetime'''''''''''''''''''''''''''''''''''''''''''''''''3'''''''">
              <a:rPr lang="en-US" altLang="en-US" smtClean="0">
                <a:solidFill>
                  <a:srgbClr val="FFFFFF"/>
                </a:solidFill>
              </a:rPr>
              <a:pPr/>
              <a:t>3</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1" name="Text Placeholder 3"/>
          <p:cNvSpPr>
            <a:spLocks noGrp="1"/>
          </p:cNvSpPr>
          <p:nvPr>
            <p:custDataLst>
              <p:tags r:id="rId25"/>
            </p:custDataLst>
          </p:nvPr>
        </p:nvSpPr>
        <p:spPr bwMode="gray">
          <a:xfrm>
            <a:off x="2106613" y="548163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B00D0AD3-58B4-4E35-B775-7C21634981E5}" type="datetime'''''''''''''''''''''''4''''''''''8'''''''''''''''''''''">
              <a:rPr lang="en-US" altLang="en-US" smtClean="0">
                <a:solidFill>
                  <a:srgbClr val="FFFFFF"/>
                </a:solidFill>
              </a:rPr>
              <a:pPr/>
              <a:t>48</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30" name="Text Placeholder 3"/>
          <p:cNvSpPr>
            <a:spLocks noGrp="1"/>
          </p:cNvSpPr>
          <p:nvPr>
            <p:custDataLst>
              <p:tags r:id="rId26"/>
            </p:custDataLst>
          </p:nvPr>
        </p:nvSpPr>
        <p:spPr bwMode="gray">
          <a:xfrm>
            <a:off x="2449513" y="363220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defRPr/>
            </a:pPr>
            <a:fld id="{D87B2480-4C9F-42C4-8922-7C9C34FEB37B}" type="datetime'''''''''''''''''1'''''''''''''''''''''''''''''''''''">
              <a:rPr lang="en-US" altLang="en-US" smtClean="0">
                <a:solidFill>
                  <a:srgbClr val="FFFFFF"/>
                </a:solidFill>
                <a:effectLst/>
              </a:rPr>
              <a:pPr/>
              <a:t>1</a:t>
            </a:fld>
            <a:r>
              <a:rPr kumimoji="0" lang="en-US" altLang="en-US" sz="1200" b="0" i="0" u="none" strike="noStrike" kern="1200" cap="none" spc="0" normalizeH="0" baseline="0" noProof="0">
                <a:ln>
                  <a:noFill/>
                </a:ln>
                <a:solidFill>
                  <a:prstClr val="white"/>
                </a:solidFill>
                <a:effectLst/>
                <a:uLnTx/>
                <a:uFillTx/>
                <a:latin typeface="Trebuchet MS"/>
                <a:ea typeface="+mn-ea"/>
                <a:cs typeface="+mn-cs"/>
                <a:sym typeface="+mn-lt"/>
              </a:rPr>
              <a:t>%</a:t>
            </a:r>
            <a:endParaRPr kumimoji="0" lang="en-US" sz="1200" b="0" i="0" u="none" strike="noStrike" kern="1200" cap="none" spc="0" normalizeH="0" baseline="0" noProof="0" dirty="0">
              <a:ln>
                <a:noFill/>
              </a:ln>
              <a:solidFill>
                <a:prstClr val="white"/>
              </a:solidFill>
              <a:effectLst/>
              <a:uLnTx/>
              <a:uFillTx/>
              <a:latin typeface="Trebuchet MS"/>
              <a:ea typeface="+mn-ea"/>
              <a:cs typeface="+mn-cs"/>
              <a:sym typeface="+mn-lt"/>
            </a:endParaRPr>
          </a:p>
        </p:txBody>
      </p:sp>
      <p:sp>
        <p:nvSpPr>
          <p:cNvPr id="7" name="Rectangle 6"/>
          <p:cNvSpPr/>
          <p:nvPr/>
        </p:nvSpPr>
        <p:spPr>
          <a:xfrm>
            <a:off x="1824038" y="4207596"/>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CT</a:t>
            </a:r>
          </a:p>
        </p:txBody>
      </p:sp>
      <p:sp>
        <p:nvSpPr>
          <p:cNvPr id="77" name="Rectangle 76"/>
          <p:cNvSpPr/>
          <p:nvPr/>
        </p:nvSpPr>
        <p:spPr>
          <a:xfrm>
            <a:off x="6031659" y="4199732"/>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BST</a:t>
            </a:r>
          </a:p>
        </p:txBody>
      </p:sp>
      <p:sp>
        <p:nvSpPr>
          <p:cNvPr id="62" name="Rectangle 61"/>
          <p:cNvSpPr/>
          <p:nvPr/>
        </p:nvSpPr>
        <p:spPr>
          <a:xfrm>
            <a:off x="420687" y="1472237"/>
            <a:ext cx="4305300" cy="8994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75757"/>
                </a:solidFill>
                <a:effectLst/>
                <a:uLnTx/>
                <a:uFillTx/>
                <a:latin typeface="Trebuchet MS"/>
                <a:ea typeface="+mn-ea"/>
                <a:cs typeface="+mn-cs"/>
              </a:rPr>
              <a:t>79% </a:t>
            </a:r>
            <a:r>
              <a:rPr kumimoji="0" lang="en-US" b="0" i="0" u="none" strike="noStrike" kern="1200" cap="none" spc="0" normalizeH="0" baseline="0" noProof="0" dirty="0">
                <a:ln>
                  <a:noFill/>
                </a:ln>
                <a:solidFill>
                  <a:srgbClr val="575757"/>
                </a:solidFill>
                <a:effectLst/>
                <a:uLnTx/>
                <a:uFillTx/>
                <a:latin typeface="Trebuchet MS"/>
                <a:ea typeface="+mn-ea"/>
                <a:cs typeface="+mn-cs"/>
              </a:rPr>
              <a:t>CT satisfi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lvl="0" algn="ctr">
              <a:defRPr/>
            </a:pPr>
            <a:r>
              <a:rPr kumimoji="0" lang="en-US" sz="14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7%</a:t>
            </a:r>
            <a:r>
              <a:rPr kumimoji="0" lang="en-US" sz="1400" b="0" i="0" u="none" strike="noStrike" kern="1200" cap="none" spc="0" normalizeH="0" baseline="0" noProof="0" dirty="0">
                <a:ln>
                  <a:noFill/>
                </a:ln>
                <a:solidFill>
                  <a:srgbClr val="29BA74"/>
                </a:solidFill>
                <a:effectLst/>
                <a:uLnTx/>
                <a:uFillTx/>
                <a:latin typeface="Trebuchet MS"/>
                <a:ea typeface="+mn-ea"/>
                <a:cs typeface="+mn-cs"/>
              </a:rPr>
              <a:t> </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vs Q3 '21 | </a:t>
            </a:r>
            <a:r>
              <a:rPr lang="en-US" sz="1400" dirty="0">
                <a:solidFill>
                  <a:srgbClr val="E71C57"/>
                </a:solidFill>
                <a:latin typeface="Wingdings 3" panose="05040102010807070707" pitchFamily="18" charset="2"/>
              </a:rPr>
              <a:t>q</a:t>
            </a:r>
            <a:r>
              <a:rPr lang="en-US" sz="1400" dirty="0">
                <a:solidFill>
                  <a:srgbClr val="575757"/>
                </a:solidFill>
              </a:rPr>
              <a:t>1% </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vs Q4 '20 </a:t>
            </a:r>
          </a:p>
          <a:p>
            <a:pPr lvl="0" algn="ctr">
              <a:defRPr/>
            </a:pPr>
            <a:r>
              <a:rPr kumimoji="0" lang="en-US" sz="14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9%</a:t>
            </a:r>
            <a:r>
              <a:rPr kumimoji="0" lang="en-US" sz="1400" b="0" i="0" u="none" strike="noStrike" kern="1200" cap="none" spc="0" normalizeH="0" baseline="0" noProof="0" dirty="0">
                <a:ln>
                  <a:noFill/>
                </a:ln>
                <a:solidFill>
                  <a:srgbClr val="29BA74"/>
                </a:solidFill>
                <a:effectLst/>
                <a:uLnTx/>
                <a:uFillTx/>
                <a:latin typeface="Trebuchet MS"/>
                <a:ea typeface="+mn-ea"/>
                <a:cs typeface="+mn-cs"/>
              </a:rPr>
              <a:t> </a:t>
            </a:r>
            <a:r>
              <a:rPr lang="en-US" sz="1400" dirty="0">
                <a:solidFill>
                  <a:srgbClr val="575757"/>
                </a:solidFill>
              </a:rPr>
              <a:t>vs BIC target</a:t>
            </a:r>
            <a:endParaRPr kumimoji="0" lang="en-US" sz="14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3" name="Rectangle 62"/>
          <p:cNvSpPr/>
          <p:nvPr/>
        </p:nvSpPr>
        <p:spPr>
          <a:xfrm>
            <a:off x="4678215" y="1467645"/>
            <a:ext cx="4089695" cy="8747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75757"/>
                </a:solidFill>
                <a:effectLst/>
                <a:uLnTx/>
                <a:uFillTx/>
                <a:latin typeface="Trebuchet MS"/>
                <a:ea typeface="+mn-ea"/>
                <a:cs typeface="+mn-cs"/>
              </a:rPr>
              <a:t>86% </a:t>
            </a:r>
            <a:r>
              <a:rPr kumimoji="0" lang="en-US" b="0" i="0" u="none" strike="noStrike" kern="1200" cap="none" spc="0" normalizeH="0" baseline="0" noProof="0" dirty="0">
                <a:ln>
                  <a:noFill/>
                </a:ln>
                <a:solidFill>
                  <a:srgbClr val="575757"/>
                </a:solidFill>
                <a:effectLst/>
                <a:uLnTx/>
                <a:uFillTx/>
                <a:latin typeface="Trebuchet MS"/>
                <a:ea typeface="+mn-ea"/>
                <a:cs typeface="+mn-cs"/>
              </a:rPr>
              <a:t>BST satisfi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75757"/>
              </a:solidFill>
              <a:effectLst/>
              <a:uLnTx/>
              <a:uFillTx/>
              <a:latin typeface="Trebuchet MS"/>
              <a:ea typeface="+mn-ea"/>
              <a:cs typeface="+mn-cs"/>
            </a:endParaRPr>
          </a:p>
          <a:p>
            <a:pPr lvl="0" algn="ctr">
              <a:defRPr/>
            </a:pPr>
            <a:r>
              <a:rPr kumimoji="0" lang="en-US" sz="14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6%</a:t>
            </a:r>
            <a:r>
              <a:rPr kumimoji="0" lang="en-US" sz="1400" b="0" i="0" u="none" strike="noStrike" kern="1200" cap="none" spc="0" normalizeH="0" baseline="0" noProof="0" dirty="0">
                <a:ln>
                  <a:noFill/>
                </a:ln>
                <a:solidFill>
                  <a:srgbClr val="29BA74"/>
                </a:solidFill>
                <a:effectLst/>
                <a:uLnTx/>
                <a:uFillTx/>
                <a:latin typeface="Trebuchet MS"/>
                <a:ea typeface="+mn-ea"/>
                <a:cs typeface="+mn-cs"/>
              </a:rPr>
              <a:t> </a:t>
            </a:r>
            <a:r>
              <a:rPr kumimoji="0" lang="en-US" sz="1400" b="0" i="0" u="none" strike="noStrike" kern="1200" cap="none" spc="0" normalizeH="0" baseline="0" noProof="0" dirty="0">
                <a:ln>
                  <a:noFill/>
                </a:ln>
                <a:solidFill>
                  <a:srgbClr val="575757"/>
                </a:solidFill>
                <a:effectLst/>
                <a:uLnTx/>
                <a:uFillTx/>
                <a:latin typeface="Trebuchet MS"/>
                <a:ea typeface="+mn-ea"/>
                <a:cs typeface="+mn-cs"/>
              </a:rPr>
              <a:t>vs Q3 '21 | </a:t>
            </a:r>
            <a:r>
              <a:rPr lang="en-US" sz="1400" dirty="0">
                <a:solidFill>
                  <a:srgbClr val="29BA74"/>
                </a:solidFill>
                <a:latin typeface="Wingdings 3" panose="05040102010807070707" pitchFamily="18" charset="2"/>
              </a:rPr>
              <a:t>p</a:t>
            </a:r>
            <a:r>
              <a:rPr lang="en-US" sz="1400" dirty="0">
                <a:solidFill>
                  <a:srgbClr val="575757"/>
                </a:solidFill>
              </a:rPr>
              <a:t>5% vs Q4 '20 </a:t>
            </a:r>
          </a:p>
          <a:p>
            <a:pPr lvl="0" algn="ctr">
              <a:defRPr/>
            </a:pPr>
            <a:r>
              <a:rPr lang="en-US" sz="1400" dirty="0">
                <a:solidFill>
                  <a:srgbClr val="29BA74"/>
                </a:solidFill>
                <a:latin typeface="Wingdings 3" panose="05040102010807070707" pitchFamily="18" charset="2"/>
              </a:rPr>
              <a:t>p</a:t>
            </a:r>
            <a:r>
              <a:rPr lang="en-US" sz="1400" dirty="0">
                <a:solidFill>
                  <a:srgbClr val="575757"/>
                </a:solidFill>
              </a:rPr>
              <a:t>16% vs BIC target</a:t>
            </a:r>
          </a:p>
        </p:txBody>
      </p:sp>
      <p:cxnSp>
        <p:nvCxnSpPr>
          <p:cNvPr id="36" name="Straight Connector 35"/>
          <p:cNvCxnSpPr/>
          <p:nvPr/>
        </p:nvCxnSpPr>
        <p:spPr>
          <a:xfrm flipH="1" flipV="1">
            <a:off x="681605" y="2382838"/>
            <a:ext cx="7707176" cy="0"/>
          </a:xfrm>
          <a:prstGeom prst="line">
            <a:avLst/>
          </a:prstGeom>
          <a:ln w="19050" cap="rnd">
            <a:solidFill>
              <a:schemeClr val="tx1">
                <a:lumMod val="60000"/>
                <a:lumOff val="40000"/>
              </a:schemeClr>
            </a:solidFill>
            <a:prstDash val="sysDot"/>
          </a:ln>
        </p:spPr>
      </p:cxnSp>
      <p:sp>
        <p:nvSpPr>
          <p:cNvPr id="35" name="Rectangle 34"/>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By Cohort</a:t>
            </a:r>
          </a:p>
        </p:txBody>
      </p:sp>
      <p:sp>
        <p:nvSpPr>
          <p:cNvPr id="60" name="Rectangle 59">
            <a:extLst>
              <a:ext uri="{FF2B5EF4-FFF2-40B4-BE49-F238E27FC236}">
                <a16:creationId xmlns:a16="http://schemas.microsoft.com/office/drawing/2014/main" id="{A6CEAAAE-8D15-4330-B7BC-65D4FEBB0A5B}"/>
              </a:ext>
            </a:extLst>
          </p:cNvPr>
          <p:cNvSpPr/>
          <p:nvPr/>
        </p:nvSpPr>
        <p:spPr>
          <a:xfrm>
            <a:off x="1814513" y="2386013"/>
            <a:ext cx="1517650"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64" name="Rectangle 63">
            <a:extLst>
              <a:ext uri="{FF2B5EF4-FFF2-40B4-BE49-F238E27FC236}">
                <a16:creationId xmlns:a16="http://schemas.microsoft.com/office/drawing/2014/main" id="{EA8328C0-2E78-4ECE-8880-5FB510827CFB}"/>
              </a:ext>
            </a:extLst>
          </p:cNvPr>
          <p:cNvSpPr/>
          <p:nvPr/>
        </p:nvSpPr>
        <p:spPr>
          <a:xfrm>
            <a:off x="5976253" y="2393950"/>
            <a:ext cx="1519017"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54" name="Group 53">
            <a:extLst>
              <a:ext uri="{FF2B5EF4-FFF2-40B4-BE49-F238E27FC236}">
                <a16:creationId xmlns:a16="http://schemas.microsoft.com/office/drawing/2014/main" id="{13EE0871-EF15-4DA7-949F-4504A1ECCE86}"/>
              </a:ext>
            </a:extLst>
          </p:cNvPr>
          <p:cNvGrpSpPr>
            <a:grpSpLocks noChangeAspect="1"/>
          </p:cNvGrpSpPr>
          <p:nvPr/>
        </p:nvGrpSpPr>
        <p:grpSpPr>
          <a:xfrm>
            <a:off x="599640" y="864696"/>
            <a:ext cx="457200" cy="457200"/>
            <a:chOff x="5867400" y="3200400"/>
            <a:chExt cx="457200" cy="457200"/>
          </a:xfrm>
        </p:grpSpPr>
        <p:sp>
          <p:nvSpPr>
            <p:cNvPr id="56" name="AutoShape 43">
              <a:extLst>
                <a:ext uri="{FF2B5EF4-FFF2-40B4-BE49-F238E27FC236}">
                  <a16:creationId xmlns:a16="http://schemas.microsoft.com/office/drawing/2014/main" id="{84A3F498-8F02-4373-A421-BF6D13DB91E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7">
              <a:extLst>
                <a:ext uri="{FF2B5EF4-FFF2-40B4-BE49-F238E27FC236}">
                  <a16:creationId xmlns:a16="http://schemas.microsoft.com/office/drawing/2014/main" id="{D0F09755-EA97-4108-BA3B-0D4972F34F0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3737764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640620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052" name="think-cell Slide" r:id="rId13" imgW="327" imgH="327" progId="TCLayout.ActiveDocument.1">
                  <p:embed/>
                </p:oleObj>
              </mc:Choice>
              <mc:Fallback>
                <p:oleObj name="think-cell Slide" r:id="rId13" imgW="327" imgH="327"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35" name="Picture 34">
            <a:extLst>
              <a:ext uri="{FF2B5EF4-FFF2-40B4-BE49-F238E27FC236}">
                <a16:creationId xmlns:a16="http://schemas.microsoft.com/office/drawing/2014/main" id="{9DA478AF-0A8C-480A-9286-6A898FCC9A05}"/>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rot="10800000">
            <a:off x="7801300" y="0"/>
            <a:ext cx="4390700" cy="6858000"/>
          </a:xfrm>
          <a:prstGeom prst="rect">
            <a:avLst/>
          </a:prstGeom>
        </p:spPr>
      </p:pic>
      <p:sp>
        <p:nvSpPr>
          <p:cNvPr id="37" name="Rectangle 36">
            <a:extLst>
              <a:ext uri="{FF2B5EF4-FFF2-40B4-BE49-F238E27FC236}">
                <a16:creationId xmlns:a16="http://schemas.microsoft.com/office/drawing/2014/main" id="{46E96A00-EA04-465E-9D79-84178F5942EB}"/>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BROWSERS</a:t>
            </a:r>
          </a:p>
        </p:txBody>
      </p:sp>
      <p:sp>
        <p:nvSpPr>
          <p:cNvPr id="38" name="Oval 37">
            <a:extLst>
              <a:ext uri="{FF2B5EF4-FFF2-40B4-BE49-F238E27FC236}">
                <a16:creationId xmlns:a16="http://schemas.microsoft.com/office/drawing/2014/main" id="{FF3822AF-7CB9-4D50-B98D-29A09E0E1825}"/>
              </a:ext>
            </a:extLst>
          </p:cNvPr>
          <p:cNvSpPr>
            <a:spLocks noChangeAspect="1"/>
          </p:cNvSpPr>
          <p:nvPr/>
        </p:nvSpPr>
        <p:spPr>
          <a:xfrm>
            <a:off x="8500544" y="1822626"/>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61</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57716" y="4142947"/>
            <a:ext cx="2023521" cy="1046214"/>
          </a:xfrm>
          <a:prstGeom prst="wedgeRectCallout">
            <a:avLst>
              <a:gd name="adj1" fmla="val 3297"/>
              <a:gd name="adj2" fmla="val 6450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We should make one browser the default with no options for others/ the system to pick for us.</a:t>
            </a:r>
            <a:r>
              <a:rPr lang="en-GB" sz="1200" dirty="0">
                <a:cs typeface="Arial" pitchFamily="34" charset="0"/>
              </a:rPr>
              <a:t>”</a:t>
            </a:r>
          </a:p>
          <a:p>
            <a:pPr algn="r"/>
            <a:r>
              <a:rPr lang="en-GB" sz="1050" i="1" dirty="0" err="1">
                <a:cs typeface="Arial" pitchFamily="34" charset="0"/>
              </a:rPr>
              <a:t>MDP</a:t>
            </a:r>
            <a:endParaRPr lang="en-GB" sz="1050" i="1" dirty="0">
              <a:cs typeface="Arial" pitchFamily="34" charset="0"/>
            </a:endParaRPr>
          </a:p>
        </p:txBody>
      </p:sp>
      <p:sp>
        <p:nvSpPr>
          <p:cNvPr id="55" name="Rectangular Callout 54"/>
          <p:cNvSpPr/>
          <p:nvPr/>
        </p:nvSpPr>
        <p:spPr>
          <a:xfrm>
            <a:off x="2423901" y="4137025"/>
            <a:ext cx="2441600" cy="1023882"/>
          </a:xfrm>
          <a:prstGeom prst="wedgeRectCallout">
            <a:avLst>
              <a:gd name="adj1" fmla="val -26106"/>
              <a:gd name="adj2" fmla="val 5543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Satisfied </a:t>
            </a:r>
            <a:r>
              <a:rPr lang="en-US" sz="1200" dirty="0">
                <a:cs typeface="Arial" pitchFamily="34" charset="0"/>
              </a:rPr>
              <a:t>other than Chrome taking up some of the very limited system resources that aren't going to bloatware.</a:t>
            </a:r>
            <a:endParaRPr lang="en-GB" sz="1000" i="1" dirty="0">
              <a:cs typeface="Arial" pitchFamily="34" charset="0"/>
            </a:endParaRPr>
          </a:p>
          <a:p>
            <a:pPr algn="r"/>
            <a:r>
              <a:rPr lang="en-GB" sz="1050" i="1" dirty="0">
                <a:cs typeface="Arial" pitchFamily="34" charset="0"/>
              </a:rPr>
              <a:t> Consultant</a:t>
            </a:r>
          </a:p>
        </p:txBody>
      </p:sp>
      <p:sp>
        <p:nvSpPr>
          <p:cNvPr id="28" name="Rectangle 27">
            <a:extLst>
              <a:ext uri="{FF2B5EF4-FFF2-40B4-BE49-F238E27FC236}">
                <a16:creationId xmlns:a16="http://schemas.microsoft.com/office/drawing/2014/main" id="{AE8BA0A3-A22B-4066-9085-3FC79F11C9A0}"/>
              </a:ext>
            </a:extLst>
          </p:cNvPr>
          <p:cNvSpPr/>
          <p:nvPr/>
        </p:nvSpPr>
        <p:spPr>
          <a:xfrm>
            <a:off x="219151" y="3605213"/>
            <a:ext cx="5405286" cy="4841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257716" y="402643"/>
            <a:ext cx="7362284" cy="12859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GB" sz="1600" dirty="0"/>
              <a:t>Relatively fewer comments were provided for browsers. Most employees say they prefer to use Edge &amp;/or Chrome for their daily work, however some complain that the RAM consumption by their browsers impacts performance of the browser &amp; sometimes wider laptop processes. Some report that there are still some BCG tools requiring Internet Explorer, which is less preferred. </a:t>
            </a:r>
          </a:p>
        </p:txBody>
      </p:sp>
      <p:graphicFrame>
        <p:nvGraphicFramePr>
          <p:cNvPr id="46" name="Chart 45">
            <a:extLst>
              <a:ext uri="{FF2B5EF4-FFF2-40B4-BE49-F238E27FC236}">
                <a16:creationId xmlns:a16="http://schemas.microsoft.com/office/drawing/2014/main" id="{0E926697-15E4-4C99-8EAE-CA739E7FB6AA}"/>
              </a:ext>
            </a:extLst>
          </p:cNvPr>
          <p:cNvGraphicFramePr/>
          <p:nvPr>
            <p:custDataLst>
              <p:tags r:id="rId4"/>
            </p:custDataLst>
            <p:extLst>
              <p:ext uri="{D42A27DB-BD31-4B8C-83A1-F6EECF244321}">
                <p14:modId xmlns:p14="http://schemas.microsoft.com/office/powerpoint/2010/main" val="2631505036"/>
              </p:ext>
            </p:extLst>
          </p:nvPr>
        </p:nvGraphicFramePr>
        <p:xfrm>
          <a:off x="174625" y="2081213"/>
          <a:ext cx="7473950" cy="1038225"/>
        </p:xfrm>
        <a:graphic>
          <a:graphicData uri="http://schemas.openxmlformats.org/drawingml/2006/chart">
            <c:chart xmlns:c="http://schemas.openxmlformats.org/drawingml/2006/chart" xmlns:r="http://schemas.openxmlformats.org/officeDocument/2006/relationships" r:id="rId16"/>
          </a:graphicData>
        </a:graphic>
      </p:graphicFrame>
      <p:sp>
        <p:nvSpPr>
          <p:cNvPr id="132" name="Rectangle 131">
            <a:extLst>
              <a:ext uri="{FF2B5EF4-FFF2-40B4-BE49-F238E27FC236}">
                <a16:creationId xmlns:a16="http://schemas.microsoft.com/office/drawing/2014/main" id="{EB1A4E61-8D9D-4717-82E0-88C113E598A5}"/>
              </a:ext>
            </a:extLst>
          </p:cNvPr>
          <p:cNvSpPr/>
          <p:nvPr>
            <p:custDataLst>
              <p:tags r:id="rId5"/>
            </p:custDataLst>
          </p:nvPr>
        </p:nvSpPr>
        <p:spPr bwMode="gray">
          <a:xfrm>
            <a:off x="317500" y="311626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6"/>
            </p:custDataLst>
          </p:nvPr>
        </p:nvSpPr>
        <p:spPr bwMode="gray">
          <a:xfrm>
            <a:off x="1211263" y="31162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7"/>
            </p:custDataLst>
          </p:nvPr>
        </p:nvSpPr>
        <p:spPr bwMode="gray">
          <a:xfrm>
            <a:off x="2082800" y="31162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8"/>
            </p:custDataLst>
          </p:nvPr>
        </p:nvSpPr>
        <p:spPr bwMode="gray">
          <a:xfrm>
            <a:off x="582613" y="309721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9"/>
            </p:custDataLst>
          </p:nvPr>
        </p:nvSpPr>
        <p:spPr bwMode="gray">
          <a:xfrm>
            <a:off x="1476375" y="30972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0"/>
            </p:custDataLst>
          </p:nvPr>
        </p:nvSpPr>
        <p:spPr bwMode="gray">
          <a:xfrm>
            <a:off x="2347913" y="309721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4625" y="1963738"/>
            <a:ext cx="1724428" cy="1984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39" name="Rectangular Callout 40">
            <a:extLst>
              <a:ext uri="{FF2B5EF4-FFF2-40B4-BE49-F238E27FC236}">
                <a16:creationId xmlns:a16="http://schemas.microsoft.com/office/drawing/2014/main" id="{B10BAEFB-B971-4A2A-B5C7-4F6DBD57992F}"/>
              </a:ext>
            </a:extLst>
          </p:cNvPr>
          <p:cNvSpPr/>
          <p:nvPr/>
        </p:nvSpPr>
        <p:spPr>
          <a:xfrm>
            <a:off x="5035792" y="4142946"/>
            <a:ext cx="2510520" cy="1026481"/>
          </a:xfrm>
          <a:prstGeom prst="wedgeRectCallout">
            <a:avLst>
              <a:gd name="adj1" fmla="val -50501"/>
              <a:gd name="adj2" fmla="val 6939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Chrome and Edge use a lot of RAM which my machine does not have in sufficient capacity.</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Other CT</a:t>
            </a:r>
          </a:p>
        </p:txBody>
      </p:sp>
      <p:sp>
        <p:nvSpPr>
          <p:cNvPr id="59" name="Rectangular Callout 40">
            <a:extLst>
              <a:ext uri="{FF2B5EF4-FFF2-40B4-BE49-F238E27FC236}">
                <a16:creationId xmlns:a16="http://schemas.microsoft.com/office/drawing/2014/main" id="{2E85AA6B-B8D4-40E9-8B0F-7748A35FA1A9}"/>
              </a:ext>
            </a:extLst>
          </p:cNvPr>
          <p:cNvSpPr/>
          <p:nvPr/>
        </p:nvSpPr>
        <p:spPr>
          <a:xfrm>
            <a:off x="5732563" y="5506057"/>
            <a:ext cx="1813749" cy="1023882"/>
          </a:xfrm>
          <a:prstGeom prst="wedgeRectCallout">
            <a:avLst>
              <a:gd name="adj1" fmla="val -28676"/>
              <a:gd name="adj2" fmla="val -6959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Browsers are] </a:t>
            </a:r>
            <a:r>
              <a:rPr lang="en-US" sz="1200" dirty="0">
                <a:cs typeface="Arial" pitchFamily="34" charset="0"/>
              </a:rPr>
              <a:t>Functional the majority of the time.</a:t>
            </a:r>
            <a:r>
              <a:rPr lang="en-GB" sz="1200" dirty="0">
                <a:cs typeface="Arial" pitchFamily="34" charset="0"/>
              </a:rPr>
              <a:t>”</a:t>
            </a:r>
          </a:p>
          <a:p>
            <a:endParaRPr lang="en-US" sz="1200" i="1" dirty="0">
              <a:cs typeface="Arial" pitchFamily="34" charset="0"/>
            </a:endParaRPr>
          </a:p>
          <a:p>
            <a:pPr algn="r"/>
            <a:r>
              <a:rPr lang="en-GB" sz="1000" i="1" dirty="0">
                <a:cs typeface="Arial" pitchFamily="34" charset="0"/>
              </a:rPr>
              <a:t>BST</a:t>
            </a:r>
          </a:p>
        </p:txBody>
      </p:sp>
      <p:sp>
        <p:nvSpPr>
          <p:cNvPr id="12" name="Rectangle 11" hidden="1">
            <a:extLst>
              <a:ext uri="{FF2B5EF4-FFF2-40B4-BE49-F238E27FC236}">
                <a16:creationId xmlns:a16="http://schemas.microsoft.com/office/drawing/2014/main" id="{EBF5A063-C1B9-41A9-9258-617F3D8AF157}"/>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endParaRPr>
          </a:p>
        </p:txBody>
      </p:sp>
      <p:sp>
        <p:nvSpPr>
          <p:cNvPr id="58" name="Rectangular Callout 40">
            <a:extLst>
              <a:ext uri="{FF2B5EF4-FFF2-40B4-BE49-F238E27FC236}">
                <a16:creationId xmlns:a16="http://schemas.microsoft.com/office/drawing/2014/main" id="{655A5203-7BCA-4090-BAD4-D42123B0FD06}"/>
              </a:ext>
            </a:extLst>
          </p:cNvPr>
          <p:cNvSpPr/>
          <p:nvPr/>
        </p:nvSpPr>
        <p:spPr>
          <a:xfrm>
            <a:off x="3245167" y="5475288"/>
            <a:ext cx="1064189" cy="1049338"/>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Edge is very good</a:t>
            </a:r>
            <a:r>
              <a:rPr lang="en-US" sz="1200" dirty="0">
                <a:cs typeface="Arial" pitchFamily="34" charset="0"/>
              </a:rPr>
              <a:t>.</a:t>
            </a:r>
            <a:r>
              <a:rPr lang="en-GB" sz="1200" dirty="0">
                <a:cs typeface="Arial" pitchFamily="34" charset="0"/>
              </a:rPr>
              <a:t>”</a:t>
            </a:r>
          </a:p>
          <a:p>
            <a:endParaRPr lang="en-GB" sz="1200" dirty="0">
              <a:cs typeface="Arial" pitchFamily="34" charset="0"/>
            </a:endParaRPr>
          </a:p>
          <a:p>
            <a:endParaRPr lang="en-US" sz="1200" dirty="0">
              <a:cs typeface="Arial" pitchFamily="34" charset="0"/>
            </a:endParaRPr>
          </a:p>
          <a:p>
            <a:pPr algn="r"/>
            <a:r>
              <a:rPr lang="en-GB" sz="1000" i="1" dirty="0">
                <a:cs typeface="Arial" pitchFamily="34" charset="0"/>
              </a:rPr>
              <a:t>Project Leader</a:t>
            </a:r>
          </a:p>
        </p:txBody>
      </p:sp>
      <p:sp>
        <p:nvSpPr>
          <p:cNvPr id="56" name="Rectangular Callout 54">
            <a:extLst>
              <a:ext uri="{FF2B5EF4-FFF2-40B4-BE49-F238E27FC236}">
                <a16:creationId xmlns:a16="http://schemas.microsoft.com/office/drawing/2014/main" id="{8C99F31A-65D1-4E81-9212-0B4FA77F7925}"/>
              </a:ext>
            </a:extLst>
          </p:cNvPr>
          <p:cNvSpPr/>
          <p:nvPr/>
        </p:nvSpPr>
        <p:spPr>
          <a:xfrm>
            <a:off x="257716" y="5475288"/>
            <a:ext cx="2857273" cy="1054651"/>
          </a:xfrm>
          <a:prstGeom prst="wedgeRectCallout">
            <a:avLst>
              <a:gd name="adj1" fmla="val 17565"/>
              <a:gd name="adj2" fmla="val -654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Chrome works great. Unhappy that a few legacy BCG systems (e.g. performance reviews) require use of internet explorer instead.</a:t>
            </a:r>
            <a:r>
              <a:rPr lang="en-GB" sz="1200" dirty="0">
                <a:cs typeface="Arial" pitchFamily="34" charset="0"/>
              </a:rPr>
              <a:t>”</a:t>
            </a:r>
            <a:endParaRPr lang="en-US" sz="1200" dirty="0">
              <a:cs typeface="Arial" pitchFamily="34" charset="0"/>
            </a:endParaRPr>
          </a:p>
          <a:p>
            <a:pPr algn="r"/>
            <a:r>
              <a:rPr lang="en-GB" sz="1050" i="1" dirty="0">
                <a:cs typeface="Arial" pitchFamily="34" charset="0"/>
              </a:rPr>
              <a:t>Project Leader</a:t>
            </a:r>
          </a:p>
        </p:txBody>
      </p:sp>
      <p:sp>
        <p:nvSpPr>
          <p:cNvPr id="3" name="Rectangle 2" hidden="1">
            <a:extLst>
              <a:ext uri="{FF2B5EF4-FFF2-40B4-BE49-F238E27FC236}">
                <a16:creationId xmlns:a16="http://schemas.microsoft.com/office/drawing/2014/main" id="{D58EE69A-95E7-4A17-B128-D7C2A78B5269}"/>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latin typeface="Trebuchet MS" panose="020B0603020202020204" pitchFamily="34" charset="0"/>
              <a:sym typeface="+mn-lt"/>
            </a:endParaRPr>
          </a:p>
        </p:txBody>
      </p:sp>
      <p:sp>
        <p:nvSpPr>
          <p:cNvPr id="51" name="Rectangular Callout 40">
            <a:extLst>
              <a:ext uri="{FF2B5EF4-FFF2-40B4-BE49-F238E27FC236}">
                <a16:creationId xmlns:a16="http://schemas.microsoft.com/office/drawing/2014/main" id="{AC392112-0FCA-4D9D-9A73-3AD68A77DAC9}"/>
              </a:ext>
            </a:extLst>
          </p:cNvPr>
          <p:cNvSpPr/>
          <p:nvPr/>
        </p:nvSpPr>
        <p:spPr>
          <a:xfrm>
            <a:off x="4434771" y="5498145"/>
            <a:ext cx="1172377" cy="1023882"/>
          </a:xfrm>
          <a:prstGeom prst="wedgeRectCallout">
            <a:avLst>
              <a:gd name="adj1" fmla="val 36335"/>
              <a:gd name="adj2" fmla="val -6566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a:t>
            </a:r>
            <a:r>
              <a:rPr lang="en-US" sz="1200" dirty="0">
                <a:cs typeface="Arial" pitchFamily="34" charset="0"/>
              </a:rPr>
              <a:t>MS Edge works great for all uses!</a:t>
            </a:r>
            <a:r>
              <a:rPr lang="en-GB" sz="1200" dirty="0">
                <a:cs typeface="Arial" pitchFamily="34" charset="0"/>
              </a:rPr>
              <a:t>”</a:t>
            </a:r>
          </a:p>
          <a:p>
            <a:endParaRPr lang="en-US" sz="1200" i="1" dirty="0">
              <a:cs typeface="Arial" pitchFamily="34" charset="0"/>
            </a:endParaRPr>
          </a:p>
          <a:p>
            <a:pPr algn="r"/>
            <a:r>
              <a:rPr lang="en-GB" sz="1000" i="1" dirty="0">
                <a:cs typeface="Arial" pitchFamily="34" charset="0"/>
              </a:rPr>
              <a:t>Associate</a:t>
            </a:r>
          </a:p>
        </p:txBody>
      </p:sp>
    </p:spTree>
    <p:extLst>
      <p:ext uri="{BB962C8B-B14F-4D97-AF65-F5344CB8AC3E}">
        <p14:creationId xmlns:p14="http://schemas.microsoft.com/office/powerpoint/2010/main" val="2223912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733" name="think-cell Slide" r:id="rId6" imgW="473" imgH="473" progId="TCLayout.ActiveDocument.1">
                  <p:embed/>
                </p:oleObj>
              </mc:Choice>
              <mc:Fallback>
                <p:oleObj name="think-cell Slide" r:id="rId6"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descr="A group of people climbing a rock&#10;&#10;Description automatically generated with medium confidence">
            <a:extLst>
              <a:ext uri="{FF2B5EF4-FFF2-40B4-BE49-F238E27FC236}">
                <a16:creationId xmlns:a16="http://schemas.microsoft.com/office/drawing/2014/main" id="{EA645FAC-A5F4-40AA-A0BD-8C50863D8BF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0"/>
            <a:ext cx="12192000" cy="3688080"/>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8" name="Rectangle 17">
            <a:extLst>
              <a:ext uri="{FF2B5EF4-FFF2-40B4-BE49-F238E27FC236}">
                <a16:creationId xmlns:a16="http://schemas.microsoft.com/office/drawing/2014/main" id="{08AED315-BE17-4F0F-A0DD-794BF1EC7005}"/>
              </a:ext>
            </a:extLst>
          </p:cNvPr>
          <p:cNvSpPr/>
          <p:nvPr/>
        </p:nvSpPr>
        <p:spPr>
          <a:xfrm>
            <a:off x="0" y="0"/>
            <a:ext cx="12192000" cy="3688081"/>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altLang="ko-KR" sz="4400" dirty="0">
                <a:solidFill>
                  <a:srgbClr val="FFFFFF"/>
                </a:solidFill>
              </a:rPr>
              <a:t>Digital Collaboration</a:t>
            </a:r>
            <a:endParaRPr lang="en-US" sz="4400" dirty="0">
              <a:solidFill>
                <a:srgbClr val="FFFFFF"/>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589988"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r>
              <a:rPr lang="en-US" altLang="ko-KR" sz="2000" baseline="30000" dirty="0">
                <a:solidFill>
                  <a:srgbClr val="E71C57"/>
                </a:solidFill>
                <a:latin typeface="+mn-ea"/>
                <a:cs typeface="Arial" pitchFamily="34" charset="0"/>
                <a:sym typeface="Trebuchet MS" panose="020B0603020202020204" pitchFamily="34" charset="0"/>
              </a:rPr>
              <a:t>1</a:t>
            </a:r>
            <a:endParaRPr lang="en-US" sz="1600" baseline="30000" dirty="0">
              <a:solidFill>
                <a:srgbClr val="E71C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839013"/>
            <a:ext cx="1713412"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Zoom</a:t>
            </a:r>
          </a:p>
          <a:p>
            <a:pPr>
              <a:defRPr/>
            </a:pPr>
            <a:r>
              <a:rPr lang="en-US" sz="1400" dirty="0">
                <a:solidFill>
                  <a:srgbClr val="575757"/>
                </a:solidFill>
                <a:latin typeface="+mn-ea"/>
                <a:cs typeface="Arial" pitchFamily="34" charset="0"/>
                <a:sym typeface="Trebuchet MS" panose="020B0603020202020204" pitchFamily="34" charset="0"/>
              </a:rPr>
              <a:t>Slack</a:t>
            </a:r>
          </a:p>
          <a:p>
            <a:pPr>
              <a:defRPr/>
            </a:pPr>
            <a:r>
              <a:rPr lang="en-US" sz="1400" dirty="0">
                <a:solidFill>
                  <a:srgbClr val="575757"/>
                </a:solidFill>
                <a:latin typeface="+mn-ea"/>
                <a:cs typeface="Arial" pitchFamily="34" charset="0"/>
                <a:sym typeface="Trebuchet MS" panose="020B0603020202020204" pitchFamily="34" charset="0"/>
              </a:rPr>
              <a:t>Trello</a:t>
            </a:r>
          </a:p>
          <a:p>
            <a:pPr>
              <a:defRPr/>
            </a:pPr>
            <a:r>
              <a:rPr lang="en-US" sz="1400" dirty="0">
                <a:solidFill>
                  <a:srgbClr val="575757"/>
                </a:solidFill>
                <a:latin typeface="+mn-ea"/>
                <a:cs typeface="Arial" pitchFamily="34" charset="0"/>
                <a:sym typeface="Trebuchet MS" panose="020B0603020202020204" pitchFamily="34" charset="0"/>
              </a:rPr>
              <a:t>Egnyte</a:t>
            </a:r>
          </a:p>
          <a:p>
            <a:pPr>
              <a:defRPr/>
            </a:pPr>
            <a:r>
              <a:rPr lang="en-US" sz="1400" dirty="0">
                <a:solidFill>
                  <a:srgbClr val="575757"/>
                </a:solidFill>
                <a:latin typeface="+mn-ea"/>
                <a:cs typeface="Arial" pitchFamily="34" charset="0"/>
                <a:sym typeface="Trebuchet MS" panose="020B0603020202020204" pitchFamily="34" charset="0"/>
              </a:rPr>
              <a:t>Whiteboarding</a:t>
            </a:r>
          </a:p>
          <a:p>
            <a:pPr>
              <a:defRPr/>
            </a:pPr>
            <a:r>
              <a:rPr lang="en-US" sz="1400" dirty="0">
                <a:solidFill>
                  <a:srgbClr val="575757"/>
                </a:solidFill>
                <a:latin typeface="+mn-ea"/>
                <a:cs typeface="Arial" pitchFamily="34" charset="0"/>
                <a:sym typeface="Trebuchet MS" panose="020B0603020202020204" pitchFamily="34" charset="0"/>
              </a:rPr>
              <a:t>Outlook (Email)</a:t>
            </a:r>
          </a:p>
          <a:p>
            <a:pPr>
              <a:defRPr/>
            </a:pPr>
            <a:r>
              <a:rPr lang="en-US" sz="1400" dirty="0">
                <a:solidFill>
                  <a:srgbClr val="575757"/>
                </a:solidFill>
                <a:latin typeface="+mn-ea"/>
                <a:cs typeface="Arial" pitchFamily="34" charset="0"/>
                <a:sym typeface="Trebuchet MS" panose="020B0603020202020204" pitchFamily="34" charset="0"/>
              </a:rPr>
              <a:t>Outlook for Mobile</a:t>
            </a:r>
          </a:p>
          <a:p>
            <a:pPr>
              <a:defRPr/>
            </a:pPr>
            <a:endParaRPr lang="en-US" sz="1400" dirty="0">
              <a:solidFill>
                <a:srgbClr val="575757"/>
              </a:solidFill>
              <a:latin typeface="+mn-ea"/>
              <a:cs typeface="Arial" pitchFamily="34" charset="0"/>
              <a:sym typeface="Trebuchet MS" panose="020B0603020202020204" pitchFamily="34" charset="0"/>
            </a:endParaRP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44898" y="4839013"/>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Meeting Experience</a:t>
            </a:r>
          </a:p>
          <a:p>
            <a:pPr>
              <a:defRPr/>
            </a:pPr>
            <a:r>
              <a:rPr lang="en-US" sz="1400" dirty="0">
                <a:solidFill>
                  <a:srgbClr val="575757"/>
                </a:solidFill>
                <a:latin typeface="+mn-ea"/>
                <a:cs typeface="Arial" pitchFamily="34" charset="0"/>
                <a:sym typeface="Trebuchet MS" panose="020B0603020202020204" pitchFamily="34" charset="0"/>
              </a:rPr>
              <a:t>Messaging &amp; Communities</a:t>
            </a:r>
          </a:p>
          <a:p>
            <a:pPr>
              <a:defRPr/>
            </a:pPr>
            <a:r>
              <a:rPr lang="en-US" sz="1400" dirty="0">
                <a:solidFill>
                  <a:srgbClr val="575757"/>
                </a:solidFill>
                <a:latin typeface="+mn-ea"/>
                <a:cs typeface="Arial" pitchFamily="34" charset="0"/>
                <a:sym typeface="Trebuchet MS" panose="020B0603020202020204" pitchFamily="34" charset="0"/>
              </a:rPr>
              <a:t>Email &amp; Team Productivity</a:t>
            </a:r>
          </a:p>
          <a:p>
            <a:pPr>
              <a:defRPr/>
            </a:pPr>
            <a:r>
              <a:rPr lang="en-US" sz="1400" dirty="0">
                <a:solidFill>
                  <a:srgbClr val="575757"/>
                </a:solidFill>
                <a:latin typeface="+mn-ea"/>
                <a:cs typeface="Arial" pitchFamily="34" charset="0"/>
                <a:sym typeface="Trebuchet MS" panose="020B0603020202020204" pitchFamily="34" charset="0"/>
              </a:rPr>
              <a:t>Content Collaboration</a:t>
            </a:r>
          </a:p>
        </p:txBody>
      </p:sp>
      <p:sp>
        <p:nvSpPr>
          <p:cNvPr id="6" name="TextBox 5">
            <a:extLst>
              <a:ext uri="{FF2B5EF4-FFF2-40B4-BE49-F238E27FC236}">
                <a16:creationId xmlns:a16="http://schemas.microsoft.com/office/drawing/2014/main" id="{4A3A8630-AC38-4A71-8311-493B240A67EC}"/>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
        <p:nvSpPr>
          <p:cNvPr id="16" name="Rectangle 15">
            <a:extLst>
              <a:ext uri="{FF2B5EF4-FFF2-40B4-BE49-F238E27FC236}">
                <a16:creationId xmlns:a16="http://schemas.microsoft.com/office/drawing/2014/main" id="{0282929F-C367-4088-8020-015C25305314}"/>
              </a:ext>
            </a:extLst>
          </p:cNvPr>
          <p:cNvSpPr/>
          <p:nvPr/>
        </p:nvSpPr>
        <p:spPr>
          <a:xfrm>
            <a:off x="7028162" y="4839013"/>
            <a:ext cx="1713412"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Calendaring (Not Outlook for mobile)</a:t>
            </a:r>
          </a:p>
          <a:p>
            <a:pPr>
              <a:defRPr/>
            </a:pPr>
            <a:r>
              <a:rPr lang="en-US" sz="1400" dirty="0">
                <a:solidFill>
                  <a:srgbClr val="575757"/>
                </a:solidFill>
                <a:latin typeface="+mn-ea"/>
                <a:cs typeface="Arial" pitchFamily="34" charset="0"/>
                <a:sym typeface="Trebuchet MS" panose="020B0603020202020204" pitchFamily="34" charset="0"/>
              </a:rPr>
              <a:t>Zoom for Mobile </a:t>
            </a:r>
          </a:p>
          <a:p>
            <a:pPr>
              <a:defRPr/>
            </a:pPr>
            <a:r>
              <a:rPr lang="en-US" sz="1400" dirty="0">
                <a:solidFill>
                  <a:srgbClr val="575757"/>
                </a:solidFill>
                <a:latin typeface="+mn-ea"/>
                <a:cs typeface="Arial" pitchFamily="34" charset="0"/>
                <a:sym typeface="Trebuchet MS" panose="020B0603020202020204" pitchFamily="34" charset="0"/>
              </a:rPr>
              <a:t>Slack for Mobile</a:t>
            </a:r>
          </a:p>
          <a:p>
            <a:pPr>
              <a:defRPr/>
            </a:pPr>
            <a:r>
              <a:rPr lang="en-US" sz="1400" dirty="0">
                <a:solidFill>
                  <a:srgbClr val="575757"/>
                </a:solidFill>
                <a:latin typeface="+mn-ea"/>
                <a:cs typeface="Arial" pitchFamily="34" charset="0"/>
                <a:sym typeface="Trebuchet MS" panose="020B0603020202020204" pitchFamily="34" charset="0"/>
              </a:rPr>
              <a:t>Egnyte for Mobile</a:t>
            </a:r>
          </a:p>
          <a:p>
            <a:pPr>
              <a:defRPr/>
            </a:pPr>
            <a:endParaRPr lang="en-US" sz="1400" dirty="0">
              <a:solidFill>
                <a:srgbClr val="575757"/>
              </a:solidFill>
              <a:latin typeface="+mn-ea"/>
              <a:cs typeface="Arial" pitchFamily="34" charset="0"/>
              <a:sym typeface="Trebuchet MS" panose="020B0603020202020204" pitchFamily="34" charset="0"/>
            </a:endParaRPr>
          </a:p>
          <a:p>
            <a:pPr>
              <a:defRPr/>
            </a:pPr>
            <a:endParaRPr lang="en-US" sz="1400" dirty="0">
              <a:solidFill>
                <a:srgbClr val="575757"/>
              </a:solidFill>
              <a:latin typeface="+mn-ea"/>
              <a:cs typeface="Arial" pitchFamily="34" charset="0"/>
              <a:sym typeface="Trebuchet MS" panose="020B0603020202020204" pitchFamily="34" charset="0"/>
            </a:endParaRPr>
          </a:p>
        </p:txBody>
      </p:sp>
    </p:spTree>
    <p:extLst>
      <p:ext uri="{BB962C8B-B14F-4D97-AF65-F5344CB8AC3E}">
        <p14:creationId xmlns:p14="http://schemas.microsoft.com/office/powerpoint/2010/main" val="1992429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97038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770"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4122" y="0"/>
            <a:ext cx="2811444"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Satisfaction with Digital Collaboration decreased -4% Q4 year-over-year</a:t>
            </a:r>
          </a:p>
          <a:p>
            <a:endParaRPr lang="en-GB" dirty="0">
              <a:solidFill>
                <a:srgbClr val="FFFFFF"/>
              </a:solidFill>
              <a:cs typeface="Arial" pitchFamily="34" charset="0"/>
            </a:endParaRPr>
          </a:p>
          <a:p>
            <a:r>
              <a:rPr lang="en-GB" dirty="0">
                <a:solidFill>
                  <a:srgbClr val="FFFFFF"/>
                </a:solidFill>
                <a:cs typeface="Arial" pitchFamily="34" charset="0"/>
              </a:rPr>
              <a:t>Once again, it is likely that E-SAT for Egnyte is one of the main drivers for this </a:t>
            </a:r>
          </a:p>
          <a:p>
            <a:endParaRPr lang="en-GB" dirty="0">
              <a:solidFill>
                <a:srgbClr val="FFFFFF"/>
              </a:solidFill>
              <a:cs typeface="Arial" pitchFamily="34" charset="0"/>
            </a:endParaRPr>
          </a:p>
          <a:p>
            <a:r>
              <a:rPr lang="en-GB" dirty="0">
                <a:solidFill>
                  <a:srgbClr val="FFFFFF"/>
                </a:solidFill>
                <a:cs typeface="Arial" pitchFamily="34" charset="0"/>
              </a:rPr>
              <a:t>The annual average in both 2020 &amp; 2021 was also 79% (64% in 2019)</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Satisfaction – Overall</a:t>
            </a:r>
          </a:p>
        </p:txBody>
      </p:sp>
      <p:graphicFrame>
        <p:nvGraphicFramePr>
          <p:cNvPr id="48" name="Chart 47">
            <a:extLst>
              <a:ext uri="{FF2B5EF4-FFF2-40B4-BE49-F238E27FC236}">
                <a16:creationId xmlns:a16="http://schemas.microsoft.com/office/drawing/2014/main" id="{23F631E5-E673-4BB0-99C6-67BD7A5E559F}"/>
              </a:ext>
            </a:extLst>
          </p:cNvPr>
          <p:cNvGraphicFramePr/>
          <p:nvPr>
            <p:custDataLst>
              <p:tags r:id="rId5"/>
            </p:custDataLst>
            <p:extLst>
              <p:ext uri="{D42A27DB-BD31-4B8C-83A1-F6EECF244321}">
                <p14:modId xmlns:p14="http://schemas.microsoft.com/office/powerpoint/2010/main" val="3520914048"/>
              </p:ext>
            </p:extLst>
          </p:nvPr>
        </p:nvGraphicFramePr>
        <p:xfrm>
          <a:off x="2744788" y="2481263"/>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73" name="Text Placeholder 3"/>
          <p:cNvSpPr>
            <a:spLocks noGrp="1"/>
          </p:cNvSpPr>
          <p:nvPr>
            <p:custDataLst>
              <p:tags r:id="rId6"/>
            </p:custDataLst>
          </p:nvPr>
        </p:nvSpPr>
        <p:spPr bwMode="gray">
          <a:xfrm>
            <a:off x="5286375" y="302260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47B8CE4-7693-4B1A-8144-F0CB56695461}" type="datetime'''''''''''''24'''''''''">
              <a:rPr lang="en-US" altLang="en-US" smtClean="0">
                <a:solidFill>
                  <a:schemeClr val="bg1"/>
                </a:solidFill>
              </a:rPr>
              <a:pPr/>
              <a:t>24</a:t>
            </a:fld>
            <a:r>
              <a:rPr lang="en-US" altLang="en-US">
                <a:solidFill>
                  <a:schemeClr val="bg1"/>
                </a:solidFill>
                <a:sym typeface="+mn-lt"/>
              </a:rPr>
              <a:t>%</a:t>
            </a:r>
            <a:endParaRPr lang="en-US" dirty="0">
              <a:solidFill>
                <a:schemeClr val="bg1"/>
              </a:solidFill>
              <a:sym typeface="+mn-lt"/>
            </a:endParaRPr>
          </a:p>
        </p:txBody>
      </p:sp>
      <p:sp>
        <p:nvSpPr>
          <p:cNvPr id="50" name="Text Placeholder 3"/>
          <p:cNvSpPr>
            <a:spLocks noGrp="1"/>
          </p:cNvSpPr>
          <p:nvPr>
            <p:custDataLst>
              <p:tags r:id="rId7"/>
            </p:custDataLst>
          </p:nvPr>
        </p:nvSpPr>
        <p:spPr bwMode="gray">
          <a:xfrm>
            <a:off x="4105275" y="2608263"/>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20D1550-142E-49E5-A56F-1C3CC9D01F42}" type="datetime'''''''''3'''''''''''''''''''">
              <a:rPr lang="en-US" altLang="en-US" smtClean="0">
                <a:solidFill>
                  <a:schemeClr val="bg1"/>
                </a:solidFill>
              </a:rPr>
              <a:pPr/>
              <a:t>3</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8"/>
            </p:custDataLst>
          </p:nvPr>
        </p:nvSpPr>
        <p:spPr bwMode="gray">
          <a:xfrm>
            <a:off x="4181475" y="556577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F7CF428-ABAF-4BF0-8658-F80D7F5785AC}" type="datetime'''''''''''''''''''''''''''5''''''5'''''''''''''''''''''''''">
              <a:rPr lang="en-US" altLang="en-US" smtClean="0">
                <a:solidFill>
                  <a:schemeClr val="bg1"/>
                </a:solidFill>
              </a:rPr>
              <a:pPr/>
              <a:t>55</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9"/>
            </p:custDataLst>
          </p:nvPr>
        </p:nvSpPr>
        <p:spPr bwMode="gray">
          <a:xfrm>
            <a:off x="3263900" y="307340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4D8E65B-A7F1-46F5-9027-B7C25A67FC19}" type="datetime'''''''''''''''''''1''''''''''''''''''''''''''''7'''">
              <a:rPr lang="en-US" altLang="en-US" smtClean="0"/>
              <a:pPr/>
              <a:t>17</a:t>
            </a:fld>
            <a:r>
              <a:rPr lang="en-US" altLang="en-US">
                <a:sym typeface="+mn-lt"/>
              </a:rPr>
              <a:t>%</a:t>
            </a:r>
            <a:endParaRPr lang="en-US" dirty="0">
              <a:sym typeface="+mn-lt"/>
            </a:endParaRPr>
          </a:p>
        </p:txBody>
      </p:sp>
      <p:sp>
        <p:nvSpPr>
          <p:cNvPr id="41" name="Text Placeholder 3"/>
          <p:cNvSpPr>
            <a:spLocks noGrp="1"/>
          </p:cNvSpPr>
          <p:nvPr>
            <p:custDataLst>
              <p:tags r:id="rId10"/>
            </p:custDataLst>
          </p:nvPr>
        </p:nvSpPr>
        <p:spPr bwMode="gray">
          <a:xfrm>
            <a:off x="4297363" y="258127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C3EED2F-CA2C-4089-8CC0-4DBED958208A}" type="datetime'''''''''''''1'''''''''''">
              <a:rPr lang="en-US" altLang="en-US" smtClean="0">
                <a:solidFill>
                  <a:schemeClr val="bg1"/>
                </a:solidFill>
                <a:sym typeface="+mn-lt"/>
              </a:rPr>
              <a:pPr algn="ctr">
                <a:spcBef>
                  <a:spcPct val="0"/>
                </a:spcBef>
                <a:spcAft>
                  <a:spcPct val="0"/>
                </a:spcAft>
              </a:pPr>
              <a:t>1</a:t>
            </a:fld>
            <a:r>
              <a:rPr lang="en-US" altLang="en-US" dirty="0">
                <a:solidFill>
                  <a:schemeClr val="bg1"/>
                </a:solidFill>
                <a:sym typeface="+mn-lt"/>
              </a:rPr>
              <a:t>%</a:t>
            </a:r>
            <a:endParaRPr lang="en-US" dirty="0">
              <a:solidFill>
                <a:schemeClr val="bg1"/>
              </a:solidFill>
              <a:sym typeface="+mn-lt"/>
            </a:endParaRPr>
          </a:p>
        </p:txBody>
      </p:sp>
      <p:sp>
        <p:nvSpPr>
          <p:cNvPr id="47" name="Rectangle 46"/>
          <p:cNvSpPr/>
          <p:nvPr>
            <p:custDataLst>
              <p:tags r:id="rId11"/>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4"/>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 Placeholder 3"/>
          <p:cNvSpPr>
            <a:spLocks noGrp="1"/>
          </p:cNvSpPr>
          <p:nvPr>
            <p:custDataLst>
              <p:tags r:id="rId16"/>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4" name="Text Placeholder 3"/>
          <p:cNvSpPr>
            <a:spLocks noGrp="1"/>
          </p:cNvSpPr>
          <p:nvPr>
            <p:custDataLst>
              <p:tags r:id="rId17"/>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8"/>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9"/>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20"/>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96" name="Rectangle 95"/>
          <p:cNvSpPr/>
          <p:nvPr/>
        </p:nvSpPr>
        <p:spPr>
          <a:xfrm>
            <a:off x="2971801" y="1446038"/>
            <a:ext cx="5365375" cy="5220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9% </a:t>
            </a:r>
            <a:r>
              <a:rPr lang="en-US" dirty="0">
                <a:solidFill>
                  <a:srgbClr val="575757"/>
                </a:solidFill>
              </a:rPr>
              <a:t>satisfied</a:t>
            </a:r>
          </a:p>
          <a:p>
            <a:pPr algn="ctr"/>
            <a:r>
              <a:rPr lang="en-US" sz="1400" dirty="0">
                <a:solidFill>
                  <a:srgbClr val="29BA74"/>
                </a:solidFill>
                <a:latin typeface="Wingdings 3" panose="05040102010807070707" pitchFamily="18" charset="2"/>
              </a:rPr>
              <a:t>p</a:t>
            </a:r>
            <a:r>
              <a:rPr lang="en-US" sz="1400" dirty="0">
                <a:solidFill>
                  <a:srgbClr val="575757"/>
                </a:solidFill>
              </a:rPr>
              <a:t>4% vs Q3 '21  | </a:t>
            </a:r>
            <a:r>
              <a:rPr lang="en-US" sz="1400" dirty="0">
                <a:solidFill>
                  <a:srgbClr val="E71C57"/>
                </a:solidFill>
                <a:latin typeface="Wingdings 3" panose="05040102010807070707" pitchFamily="18" charset="2"/>
              </a:rPr>
              <a:t>q</a:t>
            </a:r>
            <a:r>
              <a:rPr lang="en-US" sz="1400" dirty="0">
                <a:solidFill>
                  <a:srgbClr val="575757"/>
                </a:solidFill>
                <a:latin typeface="+mj-lt"/>
              </a:rPr>
              <a:t>4</a:t>
            </a:r>
            <a:r>
              <a:rPr lang="en-US" sz="1400" dirty="0">
                <a:solidFill>
                  <a:srgbClr val="575757"/>
                </a:solidFill>
              </a:rPr>
              <a:t>% vs Q4 '20 | </a:t>
            </a:r>
            <a:r>
              <a:rPr lang="en-US" sz="1400" dirty="0">
                <a:solidFill>
                  <a:srgbClr val="E71C57"/>
                </a:solidFill>
                <a:latin typeface="Wingdings 3" panose="05040102010807070707" pitchFamily="18" charset="2"/>
              </a:rPr>
              <a:t>q</a:t>
            </a:r>
            <a:r>
              <a:rPr lang="en-US" sz="1400" dirty="0">
                <a:solidFill>
                  <a:srgbClr val="575757"/>
                </a:solidFill>
                <a:latin typeface="+mj-lt"/>
              </a:rPr>
              <a:t>1</a:t>
            </a:r>
            <a:r>
              <a:rPr lang="en-US" sz="1400" dirty="0">
                <a:solidFill>
                  <a:srgbClr val="575757"/>
                </a:solidFill>
              </a:rPr>
              <a:t>% vs BIC target </a:t>
            </a:r>
          </a:p>
        </p:txBody>
      </p:sp>
      <p:sp>
        <p:nvSpPr>
          <p:cNvPr id="29" name="Rectangle 28"/>
          <p:cNvSpPr/>
          <p:nvPr/>
        </p:nvSpPr>
        <p:spPr>
          <a:xfrm>
            <a:off x="552256" y="1422769"/>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61" name="Straight Connector 60"/>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3" name="Rectangle 32"/>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6EC73BEC-ED3C-4AC5-8F23-A0A7E1AC9595}"/>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32" name="Group 31">
            <a:extLst>
              <a:ext uri="{FF2B5EF4-FFF2-40B4-BE49-F238E27FC236}">
                <a16:creationId xmlns:a16="http://schemas.microsoft.com/office/drawing/2014/main" id="{D36D5C0B-48AE-403F-B7B9-390D1FCC88D5}"/>
              </a:ext>
            </a:extLst>
          </p:cNvPr>
          <p:cNvGrpSpPr>
            <a:grpSpLocks noChangeAspect="1"/>
          </p:cNvGrpSpPr>
          <p:nvPr/>
        </p:nvGrpSpPr>
        <p:grpSpPr>
          <a:xfrm>
            <a:off x="576981" y="864696"/>
            <a:ext cx="457200" cy="457200"/>
            <a:chOff x="5867400" y="3200400"/>
            <a:chExt cx="457200" cy="457200"/>
          </a:xfrm>
        </p:grpSpPr>
        <p:sp>
          <p:nvSpPr>
            <p:cNvPr id="35" name="AutoShape 43">
              <a:extLst>
                <a:ext uri="{FF2B5EF4-FFF2-40B4-BE49-F238E27FC236}">
                  <a16:creationId xmlns:a16="http://schemas.microsoft.com/office/drawing/2014/main" id="{0B15DED3-245A-4F11-80BC-A83ED1EF7C77}"/>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0A697004-FB09-43CA-8396-ECCEBF648EE5}"/>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361997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E20271-6106-4BD8-9215-9FD6837F53DD}"/>
              </a:ext>
            </a:extLst>
          </p:cNvPr>
          <p:cNvGraphicFramePr>
            <a:graphicFrameLocks noChangeAspect="1"/>
          </p:cNvGraphicFramePr>
          <p:nvPr>
            <p:custDataLst>
              <p:tags r:id="rId2"/>
            </p:custDataLst>
            <p:extLst>
              <p:ext uri="{D42A27DB-BD31-4B8C-83A1-F6EECF244321}">
                <p14:modId xmlns:p14="http://schemas.microsoft.com/office/powerpoint/2010/main" val="333628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01" name="think-cell Slide" r:id="rId6" imgW="473" imgH="473" progId="TCLayout.ActiveDocument.1">
                  <p:embed/>
                </p:oleObj>
              </mc:Choice>
              <mc:Fallback>
                <p:oleObj name="think-cell Slide" r:id="rId6" imgW="473" imgH="473" progId="TCLayout.ActiveDocument.1">
                  <p:embed/>
                  <p:pic>
                    <p:nvPicPr>
                      <p:cNvPr id="6" name="Object 5" hidden="1">
                        <a:extLst>
                          <a:ext uri="{FF2B5EF4-FFF2-40B4-BE49-F238E27FC236}">
                            <a16:creationId xmlns:a16="http://schemas.microsoft.com/office/drawing/2014/main" id="{22E20271-6106-4BD8-9215-9FD6837F53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3989C9-E020-4A5D-A3A1-7A57747BF37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7" name="Picture 6">
            <a:extLst>
              <a:ext uri="{FF2B5EF4-FFF2-40B4-BE49-F238E27FC236}">
                <a16:creationId xmlns:a16="http://schemas.microsoft.com/office/drawing/2014/main" id="{DA7D6E75-09E9-4C10-91E5-D0897741667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D2A8CA4F-7870-46B7-B933-5619879D07FB}"/>
              </a:ext>
            </a:extLst>
          </p:cNvPr>
          <p:cNvSpPr/>
          <p:nvPr/>
        </p:nvSpPr>
        <p:spPr>
          <a:xfrm>
            <a:off x="491833" y="891395"/>
            <a:ext cx="9299865" cy="5587924"/>
          </a:xfrm>
          <a:prstGeom prst="rect">
            <a:avLst/>
          </a:prstGeom>
          <a:solidFill>
            <a:schemeClr val="accent6">
              <a:lumMod val="20000"/>
              <a:lumOff val="80000"/>
              <a:alpha val="85000"/>
            </a:schemeClr>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rgbClr val="575757"/>
              </a:solidFill>
            </a:endParaRPr>
          </a:p>
        </p:txBody>
      </p:sp>
      <p:sp>
        <p:nvSpPr>
          <p:cNvPr id="12" name="Rectangle 11">
            <a:extLst>
              <a:ext uri="{FF2B5EF4-FFF2-40B4-BE49-F238E27FC236}">
                <a16:creationId xmlns:a16="http://schemas.microsoft.com/office/drawing/2014/main" id="{2CD5EED6-7587-4C25-8BEE-AA975ABEFE0D}"/>
              </a:ext>
            </a:extLst>
          </p:cNvPr>
          <p:cNvSpPr/>
          <p:nvPr/>
        </p:nvSpPr>
        <p:spPr>
          <a:xfrm>
            <a:off x="491833" y="376388"/>
            <a:ext cx="9299865" cy="515007"/>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575757"/>
                </a:solidFill>
              </a:rPr>
              <a:t>Aside from key takeaways (slides 20 - 23) , the 2 priority slides to review are -  </a:t>
            </a:r>
          </a:p>
        </p:txBody>
      </p:sp>
      <p:sp>
        <p:nvSpPr>
          <p:cNvPr id="16" name="Rectangle 15">
            <a:extLst>
              <a:ext uri="{FF2B5EF4-FFF2-40B4-BE49-F238E27FC236}">
                <a16:creationId xmlns:a16="http://schemas.microsoft.com/office/drawing/2014/main" id="{043720DE-688A-4CD0-9669-95B5996C72ED}"/>
              </a:ext>
            </a:extLst>
          </p:cNvPr>
          <p:cNvSpPr/>
          <p:nvPr/>
        </p:nvSpPr>
        <p:spPr>
          <a:xfrm>
            <a:off x="5020230" y="3858626"/>
            <a:ext cx="4600565" cy="2406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575757"/>
                </a:solidFill>
              </a:rPr>
              <a:t>E-SAT Trends Vs Best-in-Class Target </a:t>
            </a:r>
            <a:r>
              <a:rPr lang="en-US" sz="2400" b="1" dirty="0">
                <a:solidFill>
                  <a:srgbClr val="575757"/>
                </a:solidFill>
              </a:rPr>
              <a:t>(Slide 33)</a:t>
            </a:r>
          </a:p>
        </p:txBody>
      </p:sp>
      <p:sp>
        <p:nvSpPr>
          <p:cNvPr id="19" name="Rectangle 18">
            <a:extLst>
              <a:ext uri="{FF2B5EF4-FFF2-40B4-BE49-F238E27FC236}">
                <a16:creationId xmlns:a16="http://schemas.microsoft.com/office/drawing/2014/main" id="{9F7677BB-094D-49C1-BAE6-0342EE49E590}"/>
              </a:ext>
            </a:extLst>
          </p:cNvPr>
          <p:cNvSpPr/>
          <p:nvPr/>
        </p:nvSpPr>
        <p:spPr>
          <a:xfrm>
            <a:off x="5050330" y="1105302"/>
            <a:ext cx="4600565" cy="247936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575757"/>
                </a:solidFill>
              </a:rPr>
              <a:t>2021 vs 2020 Average E-SAT Trending </a:t>
            </a:r>
            <a:r>
              <a:rPr lang="en-US" sz="2400" b="1" dirty="0">
                <a:solidFill>
                  <a:srgbClr val="575757"/>
                </a:solidFill>
              </a:rPr>
              <a:t>(Slides 29 - 30)  </a:t>
            </a:r>
          </a:p>
        </p:txBody>
      </p:sp>
      <p:pic>
        <p:nvPicPr>
          <p:cNvPr id="3" name="Picture 2">
            <a:extLst>
              <a:ext uri="{FF2B5EF4-FFF2-40B4-BE49-F238E27FC236}">
                <a16:creationId xmlns:a16="http://schemas.microsoft.com/office/drawing/2014/main" id="{D869DA57-00F0-40BA-898F-7C6ADF002893}"/>
              </a:ext>
            </a:extLst>
          </p:cNvPr>
          <p:cNvPicPr>
            <a:picLocks noChangeAspect="1"/>
          </p:cNvPicPr>
          <p:nvPr/>
        </p:nvPicPr>
        <p:blipFill rotWithShape="1">
          <a:blip r:embed="rId9"/>
          <a:srcRect l="20842" t="26469" r="16469" b="7500"/>
          <a:stretch/>
        </p:blipFill>
        <p:spPr>
          <a:xfrm>
            <a:off x="841413" y="3768613"/>
            <a:ext cx="4239020" cy="2444112"/>
          </a:xfrm>
          <a:prstGeom prst="rect">
            <a:avLst/>
          </a:prstGeom>
        </p:spPr>
      </p:pic>
      <p:pic>
        <p:nvPicPr>
          <p:cNvPr id="4" name="Picture 3">
            <a:extLst>
              <a:ext uri="{FF2B5EF4-FFF2-40B4-BE49-F238E27FC236}">
                <a16:creationId xmlns:a16="http://schemas.microsoft.com/office/drawing/2014/main" id="{073C88C5-4851-433E-8B72-6844262272F3}"/>
              </a:ext>
            </a:extLst>
          </p:cNvPr>
          <p:cNvPicPr>
            <a:picLocks noChangeAspect="1"/>
          </p:cNvPicPr>
          <p:nvPr/>
        </p:nvPicPr>
        <p:blipFill>
          <a:blip r:embed="rId10"/>
          <a:stretch>
            <a:fillRect/>
          </a:stretch>
        </p:blipFill>
        <p:spPr>
          <a:xfrm>
            <a:off x="905615" y="1105302"/>
            <a:ext cx="4237326" cy="2389352"/>
          </a:xfrm>
          <a:prstGeom prst="rect">
            <a:avLst/>
          </a:prstGeom>
        </p:spPr>
      </p:pic>
    </p:spTree>
    <p:extLst>
      <p:ext uri="{BB962C8B-B14F-4D97-AF65-F5344CB8AC3E}">
        <p14:creationId xmlns:p14="http://schemas.microsoft.com/office/powerpoint/2010/main" val="3897496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857848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795"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Satisfaction – Overall</a:t>
            </a:r>
          </a:p>
        </p:txBody>
      </p:sp>
      <p:graphicFrame>
        <p:nvGraphicFramePr>
          <p:cNvPr id="60" name="Chart 59">
            <a:extLst>
              <a:ext uri="{FF2B5EF4-FFF2-40B4-BE49-F238E27FC236}">
                <a16:creationId xmlns:a16="http://schemas.microsoft.com/office/drawing/2014/main" id="{93743E6A-A9C6-4B0E-8CCB-768185FA5B79}"/>
              </a:ext>
            </a:extLst>
          </p:cNvPr>
          <p:cNvGraphicFramePr/>
          <p:nvPr>
            <p:custDataLst>
              <p:tags r:id="rId5"/>
            </p:custDataLst>
            <p:extLst>
              <p:ext uri="{D42A27DB-BD31-4B8C-83A1-F6EECF244321}">
                <p14:modId xmlns:p14="http://schemas.microsoft.com/office/powerpoint/2010/main" val="1781949502"/>
              </p:ext>
            </p:extLst>
          </p:nvPr>
        </p:nvGraphicFramePr>
        <p:xfrm>
          <a:off x="1133475" y="3173413"/>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73" name="Text Placeholder 3"/>
          <p:cNvSpPr>
            <a:spLocks noGrp="1"/>
          </p:cNvSpPr>
          <p:nvPr>
            <p:custDataLst>
              <p:tags r:id="rId6"/>
            </p:custDataLst>
          </p:nvPr>
        </p:nvSpPr>
        <p:spPr bwMode="gray">
          <a:xfrm>
            <a:off x="2828925" y="348615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F704091-F527-46E1-A656-5AEBE22D506B}" type="datetime'''1''''''''''''''''''8'''''''''''''''''''">
              <a:rPr lang="en-US" altLang="en-US" smtClean="0">
                <a:solidFill>
                  <a:schemeClr val="bg1"/>
                </a:solidFill>
              </a:rPr>
              <a:pPr/>
              <a:t>18</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7"/>
            </p:custDataLst>
          </p:nvPr>
        </p:nvSpPr>
        <p:spPr bwMode="gray">
          <a:xfrm>
            <a:off x="2586038" y="535305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8268419-3530-42E8-A207-70E5D6B76953}" type="datetime'''''''''''''''''''''54'''''''">
              <a:rPr lang="en-US" altLang="en-US" smtClean="0">
                <a:solidFill>
                  <a:schemeClr val="bg1"/>
                </a:solidFill>
              </a:rPr>
              <a:pPr/>
              <a:t>54</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8"/>
            </p:custDataLst>
          </p:nvPr>
        </p:nvSpPr>
        <p:spPr bwMode="gray">
          <a:xfrm>
            <a:off x="1360488" y="387667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BFD71A6-DFC4-4958-926E-0F83E6F2C3F5}" type="datetime'''2''''''''''''''''''''''''''''1'''''''''''''''''''''">
              <a:rPr lang="en-US" altLang="en-US" smtClean="0"/>
              <a:pPr/>
              <a:t>21</a:t>
            </a:fld>
            <a:r>
              <a:rPr lang="en-US" altLang="en-US">
                <a:sym typeface="+mn-lt"/>
              </a:rPr>
              <a:t>%</a:t>
            </a:r>
            <a:endParaRPr lang="en-US" dirty="0">
              <a:sym typeface="+mn-lt"/>
            </a:endParaRPr>
          </a:p>
        </p:txBody>
      </p:sp>
      <p:sp>
        <p:nvSpPr>
          <p:cNvPr id="50" name="Text Placeholder 3"/>
          <p:cNvSpPr>
            <a:spLocks noGrp="1"/>
          </p:cNvSpPr>
          <p:nvPr>
            <p:custDataLst>
              <p:tags r:id="rId9"/>
            </p:custDataLst>
          </p:nvPr>
        </p:nvSpPr>
        <p:spPr bwMode="gray">
          <a:xfrm>
            <a:off x="2035175" y="3324225"/>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34AFE7E-C532-4AC4-B5FA-E5B5DD15C1E7}" type="datetime'5'''''''''''''''''''''''''''''''''''''''''''''''''''''''">
              <a:rPr lang="en-US" altLang="en-US" smtClean="0">
                <a:solidFill>
                  <a:schemeClr val="bg1"/>
                </a:solidFill>
              </a:rPr>
              <a:pPr/>
              <a:t>5</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10"/>
            </p:custDataLst>
          </p:nvPr>
        </p:nvSpPr>
        <p:spPr bwMode="gray">
          <a:xfrm>
            <a:off x="2254250" y="327660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57810E4-96A4-4694-B031-66963A88A377}"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45" name="Rectangle 44"/>
          <p:cNvSpPr/>
          <p:nvPr>
            <p:custDataLst>
              <p:tags r:id="rId11"/>
            </p:custDataLst>
          </p:nvPr>
        </p:nvSpPr>
        <p:spPr bwMode="gray">
          <a:xfrm>
            <a:off x="1911350" y="60007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2"/>
            </p:custDataLst>
          </p:nvPr>
        </p:nvSpPr>
        <p:spPr bwMode="gray">
          <a:xfrm>
            <a:off x="4151313" y="60007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3201988" y="60007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4"/>
            </p:custDataLst>
          </p:nvPr>
        </p:nvSpPr>
        <p:spPr bwMode="gray">
          <a:xfrm>
            <a:off x="5022850" y="60007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6159500" y="60007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 Placeholder 3"/>
          <p:cNvSpPr>
            <a:spLocks noGrp="1"/>
          </p:cNvSpPr>
          <p:nvPr>
            <p:custDataLst>
              <p:tags r:id="rId16"/>
            </p:custDataLst>
          </p:nvPr>
        </p:nvSpPr>
        <p:spPr bwMode="gray">
          <a:xfrm>
            <a:off x="5287963" y="59817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38" name="Text Placeholder 3"/>
          <p:cNvSpPr>
            <a:spLocks noGrp="1"/>
          </p:cNvSpPr>
          <p:nvPr>
            <p:custDataLst>
              <p:tags r:id="rId17"/>
            </p:custDataLst>
          </p:nvPr>
        </p:nvSpPr>
        <p:spPr bwMode="gray">
          <a:xfrm>
            <a:off x="3467100" y="59817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4" name="Text Placeholder 3"/>
          <p:cNvSpPr>
            <a:spLocks noGrp="1"/>
          </p:cNvSpPr>
          <p:nvPr>
            <p:custDataLst>
              <p:tags r:id="rId18"/>
            </p:custDataLst>
          </p:nvPr>
        </p:nvSpPr>
        <p:spPr bwMode="gray">
          <a:xfrm>
            <a:off x="2176463" y="59817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9"/>
            </p:custDataLst>
          </p:nvPr>
        </p:nvSpPr>
        <p:spPr bwMode="gray">
          <a:xfrm>
            <a:off x="4416425" y="59817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20"/>
            </p:custDataLst>
          </p:nvPr>
        </p:nvSpPr>
        <p:spPr bwMode="gray">
          <a:xfrm>
            <a:off x="6424613" y="59817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66" name="Chart 65">
            <a:extLst>
              <a:ext uri="{FF2B5EF4-FFF2-40B4-BE49-F238E27FC236}">
                <a16:creationId xmlns:a16="http://schemas.microsoft.com/office/drawing/2014/main" id="{A3D33EA3-C1E7-42B1-95C2-7C7F0E0C36DE}"/>
              </a:ext>
            </a:extLst>
          </p:cNvPr>
          <p:cNvGraphicFramePr/>
          <p:nvPr>
            <p:custDataLst>
              <p:tags r:id="rId21"/>
            </p:custDataLst>
            <p:extLst>
              <p:ext uri="{D42A27DB-BD31-4B8C-83A1-F6EECF244321}">
                <p14:modId xmlns:p14="http://schemas.microsoft.com/office/powerpoint/2010/main" val="2359851874"/>
              </p:ext>
            </p:extLst>
          </p:nvPr>
        </p:nvGraphicFramePr>
        <p:xfrm>
          <a:off x="5457825" y="3173413"/>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32" name="Text Placeholder 3"/>
          <p:cNvSpPr>
            <a:spLocks noGrp="1"/>
          </p:cNvSpPr>
          <p:nvPr>
            <p:custDataLst>
              <p:tags r:id="rId22"/>
            </p:custDataLst>
          </p:nvPr>
        </p:nvSpPr>
        <p:spPr bwMode="gray">
          <a:xfrm>
            <a:off x="6049963" y="3476625"/>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9198A66-8CAA-4D59-BAC0-FF8EB1866EB2}" type="datetime'''''1''''''''''''''''''''''4'''''''''''''''''''''">
              <a:rPr lang="en-US" altLang="en-US" smtClean="0"/>
              <a:pPr/>
              <a:t>14</a:t>
            </a:fld>
            <a:r>
              <a:rPr lang="en-US" altLang="en-US">
                <a:sym typeface="+mn-lt"/>
              </a:rPr>
              <a:t>%</a:t>
            </a:r>
            <a:endParaRPr lang="en-US" dirty="0">
              <a:sym typeface="+mn-lt"/>
            </a:endParaRPr>
          </a:p>
        </p:txBody>
      </p:sp>
      <p:sp>
        <p:nvSpPr>
          <p:cNvPr id="29" name="Text Placeholder 3"/>
          <p:cNvSpPr>
            <a:spLocks noGrp="1"/>
          </p:cNvSpPr>
          <p:nvPr>
            <p:custDataLst>
              <p:tags r:id="rId23"/>
            </p:custDataLst>
          </p:nvPr>
        </p:nvSpPr>
        <p:spPr bwMode="gray">
          <a:xfrm>
            <a:off x="7397750" y="3717925"/>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E01F9F5-218B-44BC-9731-7A215C05CB70}" type="datetime'''29'">
              <a:rPr lang="en-US" altLang="en-US" smtClean="0">
                <a:solidFill>
                  <a:schemeClr val="bg1"/>
                </a:solidFill>
              </a:rPr>
              <a:pPr/>
              <a:t>29</a:t>
            </a:fld>
            <a:r>
              <a:rPr lang="en-US" altLang="en-US">
                <a:solidFill>
                  <a:schemeClr val="bg1"/>
                </a:solidFill>
                <a:sym typeface="+mn-lt"/>
              </a:rPr>
              <a:t>%</a:t>
            </a:r>
            <a:endParaRPr lang="en-US" dirty="0">
              <a:solidFill>
                <a:schemeClr val="bg1"/>
              </a:solidFill>
              <a:sym typeface="+mn-lt"/>
            </a:endParaRPr>
          </a:p>
        </p:txBody>
      </p:sp>
      <p:sp>
        <p:nvSpPr>
          <p:cNvPr id="31" name="Text Placeholder 3"/>
          <p:cNvSpPr>
            <a:spLocks noGrp="1"/>
          </p:cNvSpPr>
          <p:nvPr>
            <p:custDataLst>
              <p:tags r:id="rId24"/>
            </p:custDataLst>
          </p:nvPr>
        </p:nvSpPr>
        <p:spPr bwMode="gray">
          <a:xfrm>
            <a:off x="6181725" y="531018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FBB66D3-E489-4674-954A-C351E8BF60FD}" type="datetime'''5''''''6'''''''''''''''''''''''''''''">
              <a:rPr lang="en-US" altLang="en-US" smtClean="0">
                <a:solidFill>
                  <a:schemeClr val="bg1"/>
                </a:solidFill>
              </a:rPr>
              <a:pPr/>
              <a:t>56</a:t>
            </a:fld>
            <a:r>
              <a:rPr lang="en-US" altLang="en-US">
                <a:solidFill>
                  <a:schemeClr val="bg1"/>
                </a:solidFill>
                <a:sym typeface="+mn-lt"/>
              </a:rPr>
              <a:t>%</a:t>
            </a:r>
            <a:endParaRPr lang="en-US" dirty="0">
              <a:solidFill>
                <a:schemeClr val="bg1"/>
              </a:solidFill>
              <a:sym typeface="+mn-lt"/>
            </a:endParaRPr>
          </a:p>
        </p:txBody>
      </p:sp>
      <p:sp>
        <p:nvSpPr>
          <p:cNvPr id="33" name="Text Placeholder 3"/>
          <p:cNvSpPr>
            <a:spLocks noGrp="1"/>
          </p:cNvSpPr>
          <p:nvPr>
            <p:custDataLst>
              <p:tags r:id="rId25"/>
            </p:custDataLst>
          </p:nvPr>
        </p:nvSpPr>
        <p:spPr bwMode="gray">
          <a:xfrm>
            <a:off x="6556375" y="3279775"/>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55F05D2-F6FF-403C-900D-85F21CF69A15}"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30" name="Text Placeholder 3"/>
          <p:cNvSpPr>
            <a:spLocks noGrp="1"/>
          </p:cNvSpPr>
          <p:nvPr>
            <p:custDataLst>
              <p:tags r:id="rId26"/>
            </p:custDataLst>
          </p:nvPr>
        </p:nvSpPr>
        <p:spPr bwMode="gray">
          <a:xfrm>
            <a:off x="6626225" y="348138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8FD8C0A-4E4D-4118-A87E-D17720C0D444}" type="datetime'''''''''''0'''">
              <a:rPr lang="en-US" altLang="en-US" smtClean="0">
                <a:solidFill>
                  <a:schemeClr val="bg1"/>
                </a:solidFill>
                <a:effectLst/>
              </a:rPr>
              <a:pPr/>
              <a:t>0</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392113" y="1652588"/>
            <a:ext cx="4175125" cy="7794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2% </a:t>
            </a:r>
            <a:r>
              <a:rPr lang="en-US" dirty="0">
                <a:solidFill>
                  <a:srgbClr val="575757"/>
                </a:solidFill>
              </a:rPr>
              <a:t>CT 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rPr>
              <a:t>4% vs Q3 '21 | </a:t>
            </a:r>
            <a:r>
              <a:rPr lang="en-US" sz="1400" dirty="0">
                <a:solidFill>
                  <a:srgbClr val="E71C57"/>
                </a:solidFill>
                <a:latin typeface="Wingdings 3" panose="05040102010807070707" pitchFamily="18" charset="2"/>
              </a:rPr>
              <a:t>q</a:t>
            </a:r>
            <a:r>
              <a:rPr lang="en-US" sz="1400" dirty="0">
                <a:solidFill>
                  <a:srgbClr val="575757"/>
                </a:solidFill>
              </a:rPr>
              <a:t>5% vs Q4 '20 </a:t>
            </a:r>
          </a:p>
          <a:p>
            <a:pPr algn="ctr"/>
            <a:r>
              <a:rPr lang="en-US" sz="1400" dirty="0">
                <a:solidFill>
                  <a:srgbClr val="E71C57"/>
                </a:solidFill>
                <a:latin typeface="Wingdings 3" panose="05040102010807070707" pitchFamily="18" charset="2"/>
              </a:rPr>
              <a:t>q</a:t>
            </a:r>
            <a:r>
              <a:rPr lang="en-US" sz="1400" dirty="0">
                <a:solidFill>
                  <a:srgbClr val="575757"/>
                </a:solidFill>
              </a:rPr>
              <a:t>8% vs BIC Target</a:t>
            </a:r>
          </a:p>
        </p:txBody>
      </p:sp>
      <p:sp>
        <p:nvSpPr>
          <p:cNvPr id="74" name="Rectangle 73"/>
          <p:cNvSpPr/>
          <p:nvPr/>
        </p:nvSpPr>
        <p:spPr>
          <a:xfrm>
            <a:off x="4786314" y="1638300"/>
            <a:ext cx="4175125" cy="777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4% </a:t>
            </a:r>
            <a:r>
              <a:rPr lang="en-US" dirty="0">
                <a:solidFill>
                  <a:srgbClr val="575757"/>
                </a:solidFill>
              </a:rPr>
              <a:t>BST 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rPr>
              <a:t>1% vs Q3 '21  | </a:t>
            </a:r>
            <a:r>
              <a:rPr lang="en-US" sz="1400" dirty="0">
                <a:solidFill>
                  <a:srgbClr val="E71C57"/>
                </a:solidFill>
                <a:latin typeface="Wingdings 3" panose="05040102010807070707" pitchFamily="18" charset="2"/>
              </a:rPr>
              <a:t>q</a:t>
            </a:r>
            <a:r>
              <a:rPr lang="en-US" sz="1400" dirty="0">
                <a:solidFill>
                  <a:srgbClr val="575757"/>
                </a:solidFill>
              </a:rPr>
              <a:t>3% vs Q4 '20 </a:t>
            </a:r>
          </a:p>
          <a:p>
            <a:pPr algn="ctr"/>
            <a:r>
              <a:rPr lang="en-US" sz="1400" dirty="0">
                <a:solidFill>
                  <a:srgbClr val="29BA74"/>
                </a:solidFill>
                <a:latin typeface="Wingdings 3" panose="05040102010807070707" pitchFamily="18" charset="2"/>
              </a:rPr>
              <a:t>p</a:t>
            </a:r>
            <a:r>
              <a:rPr lang="en-US" sz="1400" dirty="0">
                <a:solidFill>
                  <a:srgbClr val="575757"/>
                </a:solidFill>
              </a:rPr>
              <a:t>4% vs BIC target</a:t>
            </a:r>
          </a:p>
        </p:txBody>
      </p:sp>
      <p:sp>
        <p:nvSpPr>
          <p:cNvPr id="7" name="Rectangle 6"/>
          <p:cNvSpPr/>
          <p:nvPr/>
        </p:nvSpPr>
        <p:spPr>
          <a:xfrm>
            <a:off x="1681163" y="4119375"/>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22975" y="4082256"/>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sp>
        <p:nvSpPr>
          <p:cNvPr id="93" name="Rectangle 92"/>
          <p:cNvSpPr/>
          <p:nvPr/>
        </p:nvSpPr>
        <p:spPr>
          <a:xfrm>
            <a:off x="9123697" y="1"/>
            <a:ext cx="2858753" cy="685602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72% of CT are satisfied with Digital Collaboration overall, this is -5% Q4 year-over-year</a:t>
            </a:r>
          </a:p>
          <a:p>
            <a:endParaRPr lang="en-GB" dirty="0">
              <a:solidFill>
                <a:srgbClr val="FFFFFF"/>
              </a:solidFill>
              <a:cs typeface="Arial" pitchFamily="34" charset="0"/>
            </a:endParaRPr>
          </a:p>
          <a:p>
            <a:r>
              <a:rPr lang="en-GB" dirty="0">
                <a:solidFill>
                  <a:srgbClr val="FFFFFF"/>
                </a:solidFill>
                <a:cs typeface="Arial" pitchFamily="34" charset="0"/>
              </a:rPr>
              <a:t>The annual average for CT in 2021 to date is 72%, this is -2% lower than the 2020 annual average of 74%</a:t>
            </a:r>
          </a:p>
        </p:txBody>
      </p:sp>
      <p:cxnSp>
        <p:nvCxnSpPr>
          <p:cNvPr id="35" name="Straight Connector 34"/>
          <p:cNvCxnSpPr/>
          <p:nvPr/>
        </p:nvCxnSpPr>
        <p:spPr>
          <a:xfrm flipH="1" flipV="1">
            <a:off x="684213" y="2466975"/>
            <a:ext cx="7707313" cy="0"/>
          </a:xfrm>
          <a:prstGeom prst="line">
            <a:avLst/>
          </a:prstGeom>
          <a:ln w="19050" cap="rnd">
            <a:solidFill>
              <a:schemeClr val="tx1">
                <a:lumMod val="60000"/>
                <a:lumOff val="40000"/>
              </a:schemeClr>
            </a:solidFill>
            <a:prstDash val="sysDot"/>
          </a:ln>
        </p:spPr>
      </p:cxnSp>
      <p:sp>
        <p:nvSpPr>
          <p:cNvPr id="36" name="Rectangle 35"/>
          <p:cNvSpPr/>
          <p:nvPr/>
        </p:nvSpPr>
        <p:spPr>
          <a:xfrm>
            <a:off x="921544" y="918671"/>
            <a:ext cx="269398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57" name="Rectangle 56">
            <a:extLst>
              <a:ext uri="{FF2B5EF4-FFF2-40B4-BE49-F238E27FC236}">
                <a16:creationId xmlns:a16="http://schemas.microsoft.com/office/drawing/2014/main" id="{85388B54-4B90-47CF-A2AE-4B1B8809B327}"/>
              </a:ext>
            </a:extLst>
          </p:cNvPr>
          <p:cNvSpPr/>
          <p:nvPr/>
        </p:nvSpPr>
        <p:spPr>
          <a:xfrm>
            <a:off x="6022975" y="2479675"/>
            <a:ext cx="1519238"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61" name="Rectangle 60">
            <a:extLst>
              <a:ext uri="{FF2B5EF4-FFF2-40B4-BE49-F238E27FC236}">
                <a16:creationId xmlns:a16="http://schemas.microsoft.com/office/drawing/2014/main" id="{AF8516B0-AA4A-4D9F-B79C-2CD3557FD0BF}"/>
              </a:ext>
            </a:extLst>
          </p:cNvPr>
          <p:cNvSpPr/>
          <p:nvPr/>
        </p:nvSpPr>
        <p:spPr>
          <a:xfrm>
            <a:off x="1662113" y="2481361"/>
            <a:ext cx="1519238"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43" name="Group 42">
            <a:extLst>
              <a:ext uri="{FF2B5EF4-FFF2-40B4-BE49-F238E27FC236}">
                <a16:creationId xmlns:a16="http://schemas.microsoft.com/office/drawing/2014/main" id="{EDF2D6FF-778F-4789-85F7-26E898661773}"/>
              </a:ext>
            </a:extLst>
          </p:cNvPr>
          <p:cNvGrpSpPr>
            <a:grpSpLocks noChangeAspect="1"/>
          </p:cNvGrpSpPr>
          <p:nvPr/>
        </p:nvGrpSpPr>
        <p:grpSpPr>
          <a:xfrm>
            <a:off x="529431" y="889821"/>
            <a:ext cx="457200" cy="457200"/>
            <a:chOff x="5867400" y="3200400"/>
            <a:chExt cx="457200" cy="457200"/>
          </a:xfrm>
        </p:grpSpPr>
        <p:sp>
          <p:nvSpPr>
            <p:cNvPr id="44" name="AutoShape 43">
              <a:extLst>
                <a:ext uri="{FF2B5EF4-FFF2-40B4-BE49-F238E27FC236}">
                  <a16:creationId xmlns:a16="http://schemas.microsoft.com/office/drawing/2014/main" id="{F3D06C0D-345A-4B19-87CE-F99B25FEA19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
              <a:extLst>
                <a:ext uri="{FF2B5EF4-FFF2-40B4-BE49-F238E27FC236}">
                  <a16:creationId xmlns:a16="http://schemas.microsoft.com/office/drawing/2014/main" id="{0821905D-CAD9-4828-BFC1-F51B18463C9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956934102"/>
      </p:ext>
    </p:extLst>
  </p:cSld>
  <p:clrMapOvr>
    <a:masterClrMapping/>
  </p:clrMapOvr>
  <p:transition spd="slow">
    <p:wip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45249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822"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56" name="Rectangle 155"/>
          <p:cNvSpPr/>
          <p:nvPr/>
        </p:nvSpPr>
        <p:spPr>
          <a:xfrm>
            <a:off x="9154777" y="0"/>
            <a:ext cx="287088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Zoom achieves </a:t>
            </a:r>
            <a:r>
              <a:rPr lang="en-GB" dirty="0">
                <a:solidFill>
                  <a:srgbClr val="FFFFFF"/>
                </a:solidFill>
                <a:latin typeface="Trebuchet MS"/>
                <a:cs typeface="Arial" pitchFamily="34" charset="0"/>
              </a:rPr>
              <a:t>an </a:t>
            </a: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all time high score of 9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E-SAT for Egnyte remains lower, notably – 'Collaborating on Egnyte Files' remains persistently at the bottom of this li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rgbClr val="FFFFFF"/>
              </a:solidFill>
              <a:latin typeface="Trebuchet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This is countered somewhat with the relatively good E-SAT score for OneDrive at 75%</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Tools – Satisfaction</a:t>
            </a:r>
          </a:p>
        </p:txBody>
      </p:sp>
      <p:graphicFrame>
        <p:nvGraphicFramePr>
          <p:cNvPr id="380" name="Chart 379">
            <a:extLst>
              <a:ext uri="{FF2B5EF4-FFF2-40B4-BE49-F238E27FC236}">
                <a16:creationId xmlns:a16="http://schemas.microsoft.com/office/drawing/2014/main" id="{654C8F7F-67FD-4126-B487-4BD180AD2C3F}"/>
              </a:ext>
            </a:extLst>
          </p:cNvPr>
          <p:cNvGraphicFramePr/>
          <p:nvPr>
            <p:custDataLst>
              <p:tags r:id="rId5"/>
            </p:custDataLst>
            <p:extLst>
              <p:ext uri="{D42A27DB-BD31-4B8C-83A1-F6EECF244321}">
                <p14:modId xmlns:p14="http://schemas.microsoft.com/office/powerpoint/2010/main" val="2795381429"/>
              </p:ext>
            </p:extLst>
          </p:nvPr>
        </p:nvGraphicFramePr>
        <p:xfrm>
          <a:off x="2497138" y="1925638"/>
          <a:ext cx="5038725" cy="4319587"/>
        </p:xfrm>
        <a:graphic>
          <a:graphicData uri="http://schemas.openxmlformats.org/drawingml/2006/chart">
            <c:chart xmlns:c="http://schemas.openxmlformats.org/drawingml/2006/chart" xmlns:r="http://schemas.openxmlformats.org/officeDocument/2006/relationships" r:id="rId31"/>
          </a:graphicData>
        </a:graphic>
      </p:graphicFrame>
      <p:cxnSp>
        <p:nvCxnSpPr>
          <p:cNvPr id="297" name="Straight Connector 296">
            <a:extLst>
              <a:ext uri="{FF2B5EF4-FFF2-40B4-BE49-F238E27FC236}">
                <a16:creationId xmlns:a16="http://schemas.microsoft.com/office/drawing/2014/main" id="{DE1F1433-EDFA-45CA-9DA3-C8B956AE39FF}"/>
              </a:ext>
            </a:extLst>
          </p:cNvPr>
          <p:cNvCxnSpPr>
            <a:cxnSpLocks/>
          </p:cNvCxnSpPr>
          <p:nvPr>
            <p:custDataLst>
              <p:tags r:id="rId6"/>
            </p:custDataLst>
          </p:nvPr>
        </p:nvCxnSpPr>
        <p:spPr bwMode="gray">
          <a:xfrm>
            <a:off x="7210425" y="2135188"/>
            <a:ext cx="38100" cy="55563"/>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Text Placeholder 3">
            <a:extLst>
              <a:ext uri="{FF2B5EF4-FFF2-40B4-BE49-F238E27FC236}">
                <a16:creationId xmlns:a16="http://schemas.microsoft.com/office/drawing/2014/main" id="{12A9AB21-ECCB-4CDA-AC17-47D37333079D}"/>
              </a:ext>
            </a:extLst>
          </p:cNvPr>
          <p:cNvSpPr>
            <a:spLocks noGrp="1"/>
          </p:cNvSpPr>
          <p:nvPr>
            <p:custDataLst>
              <p:tags r:id="rId7"/>
            </p:custDataLst>
          </p:nvPr>
        </p:nvSpPr>
        <p:spPr bwMode="gray">
          <a:xfrm>
            <a:off x="2286000" y="2205038"/>
            <a:ext cx="3762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A9421F3D-2309-4D03-A7B8-70E1A37C7BD1}" type="datetime'''''''Z''o''''''''''o''''''''''''''''''''''''''m'''''">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Zoom</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15" name="Text Placeholder 3">
            <a:extLst>
              <a:ext uri="{FF2B5EF4-FFF2-40B4-BE49-F238E27FC236}">
                <a16:creationId xmlns:a16="http://schemas.microsoft.com/office/drawing/2014/main" id="{7952E290-A913-47AF-BC1A-C5347D775843}"/>
              </a:ext>
            </a:extLst>
          </p:cNvPr>
          <p:cNvSpPr>
            <a:spLocks noGrp="1"/>
          </p:cNvSpPr>
          <p:nvPr>
            <p:custDataLst>
              <p:tags r:id="rId8"/>
            </p:custDataLst>
          </p:nvPr>
        </p:nvSpPr>
        <p:spPr bwMode="gray">
          <a:xfrm>
            <a:off x="444500" y="2687638"/>
            <a:ext cx="22177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113BE215-C27B-46A5-84D2-E3DDFBD93A56}" type="datetime'M''e''''ssagi''''n''g'' colleagues'' ''usi''ng'' Sla''ck'''''">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Messaging colleagues using Slack</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57" name="Text Placeholder 3">
            <a:extLst>
              <a:ext uri="{FF2B5EF4-FFF2-40B4-BE49-F238E27FC236}">
                <a16:creationId xmlns:a16="http://schemas.microsoft.com/office/drawing/2014/main" id="{6F3AEF29-2CE3-47ED-AB31-862479DDE139}"/>
              </a:ext>
            </a:extLst>
          </p:cNvPr>
          <p:cNvSpPr>
            <a:spLocks noGrp="1"/>
          </p:cNvSpPr>
          <p:nvPr>
            <p:custDataLst>
              <p:tags r:id="rId9"/>
            </p:custDataLst>
          </p:nvPr>
        </p:nvSpPr>
        <p:spPr bwMode="gray">
          <a:xfrm>
            <a:off x="977900" y="4613275"/>
            <a:ext cx="16843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45A08F8A-75E3-45DE-A606-E6F41060B300}" type="datetime'''''''''F''ile-''''sharing ''u''''si''ng ''''Eg''nyt''''''''e'">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File-sharing using Egnyte</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79" name="Text Placeholder 3">
            <a:extLst>
              <a:ext uri="{FF2B5EF4-FFF2-40B4-BE49-F238E27FC236}">
                <a16:creationId xmlns:a16="http://schemas.microsoft.com/office/drawing/2014/main" id="{5238D447-2D93-45E3-9E45-BBD3689847A7}"/>
              </a:ext>
            </a:extLst>
          </p:cNvPr>
          <p:cNvSpPr>
            <a:spLocks noGrp="1"/>
          </p:cNvSpPr>
          <p:nvPr>
            <p:custDataLst>
              <p:tags r:id="rId10"/>
            </p:custDataLst>
          </p:nvPr>
        </p:nvSpPr>
        <p:spPr bwMode="gray">
          <a:xfrm>
            <a:off x="1598613" y="4130675"/>
            <a:ext cx="10636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93D5174A-6A45-479F-B10C-54062D63F50D}" type="datetime'O''''u''tloo''''''''''k'' ''''(''Em''ai''l'''')'''''''''''''">
              <a:rPr lang="en-US" altLang="en-US" smtClean="0">
                <a:solidFill>
                  <a:srgbClr val="575757"/>
                </a:solidFill>
              </a:rPr>
              <a:pPr/>
              <a:t>Outlook (Email)</a:t>
            </a:fld>
            <a:endParaRPr kumimoji="0" lang="en-US" sz="1200" b="0" i="0" strike="noStrike" kern="1200" cap="none" spc="0" normalizeH="0" baseline="0" noProof="0" dirty="0">
              <a:ln>
                <a:noFill/>
              </a:ln>
              <a:solidFill>
                <a:srgbClr val="575757"/>
              </a:solidFill>
              <a:effectLst/>
              <a:uLnTx/>
              <a:uFillTx/>
              <a:sym typeface="+mn-lt"/>
            </a:endParaRPr>
          </a:p>
        </p:txBody>
      </p:sp>
      <p:sp>
        <p:nvSpPr>
          <p:cNvPr id="50" name="Text Placeholder 3">
            <a:extLst>
              <a:ext uri="{FF2B5EF4-FFF2-40B4-BE49-F238E27FC236}">
                <a16:creationId xmlns:a16="http://schemas.microsoft.com/office/drawing/2014/main" id="{5C6B20BD-29F2-476B-8B43-C42462179F43}"/>
              </a:ext>
            </a:extLst>
          </p:cNvPr>
          <p:cNvSpPr>
            <a:spLocks noGrp="1"/>
          </p:cNvSpPr>
          <p:nvPr>
            <p:custDataLst>
              <p:tags r:id="rId11"/>
            </p:custDataLst>
          </p:nvPr>
        </p:nvSpPr>
        <p:spPr bwMode="gray">
          <a:xfrm>
            <a:off x="1570038" y="5094288"/>
            <a:ext cx="10922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7D2C313-FFE1-4137-9F61-7A59ED447D9B}" type="datetime'''''E''gny''''''t''''e ''-'' ''Ov''''''''er''''''a''l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gnyte - Overal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02" name="Text Placeholder 3"/>
          <p:cNvSpPr>
            <a:spLocks noGrp="1"/>
          </p:cNvSpPr>
          <p:nvPr>
            <p:custDataLst>
              <p:tags r:id="rId12"/>
            </p:custDataLst>
          </p:nvPr>
        </p:nvSpPr>
        <p:spPr bwMode="gray">
          <a:xfrm>
            <a:off x="706438" y="5575300"/>
            <a:ext cx="19558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26EE6B14-971B-4364-972D-48034BE808B5}" type="datetime'C''''''ol''labora''t''''''''ing o''n'' Eg''n''yte f''il''''es'">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Collaborating on Egnyte files</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81" name="Text Placeholder 3">
            <a:extLst>
              <a:ext uri="{FF2B5EF4-FFF2-40B4-BE49-F238E27FC236}">
                <a16:creationId xmlns:a16="http://schemas.microsoft.com/office/drawing/2014/main" id="{31A99EE6-86A9-4FB4-A171-D452977E78F7}"/>
              </a:ext>
            </a:extLst>
          </p:cNvPr>
          <p:cNvSpPr>
            <a:spLocks noGrp="1"/>
          </p:cNvSpPr>
          <p:nvPr>
            <p:custDataLst>
              <p:tags r:id="rId13"/>
            </p:custDataLst>
          </p:nvPr>
        </p:nvSpPr>
        <p:spPr bwMode="gray">
          <a:xfrm>
            <a:off x="7170738" y="2687638"/>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078E48B-B376-425A-AE8F-F721F0A9C60F}" type="datetime'''''''''''''''''''''''''''''''''''''''''''''''2'''''''''''''">
              <a:rPr lang="en-US" altLang="en-US" smtClean="0">
                <a:solidFill>
                  <a:schemeClr val="bg1"/>
                </a:solidFill>
                <a:effectLst/>
              </a:rPr>
              <a:pPr/>
              <a:t>2</a:t>
            </a:fld>
            <a:endParaRPr lang="en-US" dirty="0">
              <a:solidFill>
                <a:schemeClr val="bg1"/>
              </a:solidFill>
              <a:sym typeface="+mn-lt"/>
            </a:endParaRPr>
          </a:p>
        </p:txBody>
      </p:sp>
      <p:sp>
        <p:nvSpPr>
          <p:cNvPr id="352" name="Text Placeholder 3">
            <a:extLst>
              <a:ext uri="{FF2B5EF4-FFF2-40B4-BE49-F238E27FC236}">
                <a16:creationId xmlns:a16="http://schemas.microsoft.com/office/drawing/2014/main" id="{9BEDAE31-433B-424D-9ABA-36433883F5C0}"/>
              </a:ext>
            </a:extLst>
          </p:cNvPr>
          <p:cNvSpPr>
            <a:spLocks noGrp="1"/>
          </p:cNvSpPr>
          <p:nvPr>
            <p:custDataLst>
              <p:tags r:id="rId14"/>
            </p:custDataLst>
          </p:nvPr>
        </p:nvSpPr>
        <p:spPr bwMode="gray">
          <a:xfrm>
            <a:off x="7131050" y="2205038"/>
            <a:ext cx="117475" cy="201613"/>
          </a:xfrm>
          <a:prstGeom prst="rect">
            <a:avLst/>
          </a:prstGeom>
          <a:solidFill>
            <a:srgbClr val="ABA8B3"/>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C9FE387-C1E9-463E-B412-B898C87AA1D1}" type="datetime'''''''''2'''''''''''''''''''''''''''''''''''''''''''">
              <a:rPr lang="en-US" altLang="en-US" smtClean="0">
                <a:solidFill>
                  <a:srgbClr val="FFFFFF"/>
                </a:solidFill>
                <a:effectLst/>
              </a:rPr>
              <a:pPr/>
              <a:t>2</a:t>
            </a:fld>
            <a:endParaRPr lang="en-US" dirty="0">
              <a:solidFill>
                <a:srgbClr val="FFFFFF"/>
              </a:solidFill>
              <a:sym typeface="+mn-lt"/>
            </a:endParaRPr>
          </a:p>
        </p:txBody>
      </p:sp>
      <p:sp>
        <p:nvSpPr>
          <p:cNvPr id="365" name="Text Placeholder 3">
            <a:extLst>
              <a:ext uri="{FF2B5EF4-FFF2-40B4-BE49-F238E27FC236}">
                <a16:creationId xmlns:a16="http://schemas.microsoft.com/office/drawing/2014/main" id="{26DE84EC-2DC5-48FC-B192-3C64D318DED8}"/>
              </a:ext>
            </a:extLst>
          </p:cNvPr>
          <p:cNvSpPr>
            <a:spLocks noGrp="1"/>
          </p:cNvSpPr>
          <p:nvPr>
            <p:custDataLst>
              <p:tags r:id="rId15"/>
            </p:custDataLst>
          </p:nvPr>
        </p:nvSpPr>
        <p:spPr bwMode="gray">
          <a:xfrm>
            <a:off x="2041526" y="3168650"/>
            <a:ext cx="6207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defRPr/>
            </a:pPr>
            <a:fld id="{405551FB-A7C4-4F06-878C-4D3C51D8F0C1}" type="datetime'O''n''eDr''''''''''''''''''''iv''''''''''''''''''''''''e'''''">
              <a:rPr lang="en-US" altLang="en-US" smtClean="0">
                <a:solidFill>
                  <a:srgbClr val="575757"/>
                </a:solidFill>
              </a:rPr>
              <a:pPr lvl="0" algn="r">
                <a:spcBef>
                  <a:spcPct val="0"/>
                </a:spcBef>
                <a:spcAft>
                  <a:spcPct val="0"/>
                </a:spcAft>
                <a:defRPr/>
              </a:pPr>
              <a:t>OneDrive</a:t>
            </a:fld>
            <a:endParaRPr kumimoji="0" lang="en-US" sz="1200" b="0" i="0" strike="noStrike" kern="1200" cap="none" spc="0" normalizeH="0" baseline="0" noProof="0" dirty="0">
              <a:ln>
                <a:noFill/>
              </a:ln>
              <a:solidFill>
                <a:srgbClr val="575757"/>
              </a:solidFill>
              <a:effectLst/>
              <a:uLnTx/>
              <a:uFillTx/>
              <a:sym typeface="+mn-lt"/>
            </a:endParaRPr>
          </a:p>
        </p:txBody>
      </p:sp>
      <p:sp>
        <p:nvSpPr>
          <p:cNvPr id="368" name="Text Placeholder 3">
            <a:extLst>
              <a:ext uri="{FF2B5EF4-FFF2-40B4-BE49-F238E27FC236}">
                <a16:creationId xmlns:a16="http://schemas.microsoft.com/office/drawing/2014/main" id="{748E84A6-CECD-46AC-A01D-C6906809B007}"/>
              </a:ext>
            </a:extLst>
          </p:cNvPr>
          <p:cNvSpPr>
            <a:spLocks noGrp="1"/>
          </p:cNvSpPr>
          <p:nvPr>
            <p:custDataLst>
              <p:tags r:id="rId16"/>
            </p:custDataLst>
          </p:nvPr>
        </p:nvSpPr>
        <p:spPr bwMode="gray">
          <a:xfrm>
            <a:off x="628649" y="3649663"/>
            <a:ext cx="20335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defRPr/>
            </a:pPr>
            <a:fld id="{5FDE7142-0358-44EC-83C3-0288B9413F8F}" type="datetime'Task'' ma''nag''ement'' ''''usi''ng ''''Tr''''''ell''o'''">
              <a:rPr lang="en-US" altLang="en-US" smtClean="0">
                <a:solidFill>
                  <a:srgbClr val="575757"/>
                </a:solidFill>
              </a:rPr>
              <a:pPr/>
              <a:t>Task management using Trello</a:t>
            </a:fld>
            <a:endParaRPr kumimoji="0" lang="en-US" sz="1200" b="0" i="0" strike="noStrike" kern="1200" cap="none" spc="0" normalizeH="0" baseline="0" noProof="0" dirty="0">
              <a:ln>
                <a:noFill/>
              </a:ln>
              <a:solidFill>
                <a:srgbClr val="575757"/>
              </a:solidFill>
              <a:effectLst/>
              <a:uLnTx/>
              <a:uFillTx/>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295E7E"/>
                </a:solidFill>
                <a:effectLst/>
                <a:uLnTx/>
                <a:uFillTx/>
                <a:latin typeface="Trebuchet MS"/>
                <a:ea typeface="+mn-ea"/>
                <a:cs typeface="+mn-cs"/>
              </a:rPr>
              <a:t>% of respondents satisfied with:</a:t>
            </a:r>
            <a:endParaRPr kumimoji="0" lang="en-GB" sz="1200" b="1" i="0" u="none" strike="noStrike" kern="1200" cap="none" spc="0" normalizeH="0" baseline="0" noProof="0" dirty="0">
              <a:ln>
                <a:noFill/>
              </a:ln>
              <a:solidFill>
                <a:srgbClr val="295E7E"/>
              </a:solidFill>
              <a:effectLst/>
              <a:uLnTx/>
              <a:uFillTx/>
              <a:latin typeface="Trebuchet MS"/>
              <a:ea typeface="+mn-ea"/>
              <a:cs typeface="+mn-cs"/>
            </a:endParaRPr>
          </a:p>
        </p:txBody>
      </p:sp>
      <p:sp>
        <p:nvSpPr>
          <p:cNvPr id="32" name="Rectangle 31"/>
          <p:cNvSpPr/>
          <p:nvPr/>
        </p:nvSpPr>
        <p:spPr>
          <a:xfrm>
            <a:off x="7291974" y="2153302"/>
            <a:ext cx="543551" cy="253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94%</a:t>
            </a:r>
          </a:p>
        </p:txBody>
      </p:sp>
      <p:sp>
        <p:nvSpPr>
          <p:cNvPr id="33" name="Rectangle 32"/>
          <p:cNvSpPr/>
          <p:nvPr/>
        </p:nvSpPr>
        <p:spPr>
          <a:xfrm>
            <a:off x="7269162" y="1667494"/>
            <a:ext cx="562440" cy="2472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E-SAT</a:t>
            </a:r>
          </a:p>
        </p:txBody>
      </p:sp>
      <p:sp>
        <p:nvSpPr>
          <p:cNvPr id="34" name="Rectangle 33"/>
          <p:cNvSpPr/>
          <p:nvPr/>
        </p:nvSpPr>
        <p:spPr>
          <a:xfrm>
            <a:off x="7824386" y="1694196"/>
            <a:ext cx="893049" cy="2050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rade</a:t>
            </a:r>
          </a:p>
        </p:txBody>
      </p:sp>
      <p:sp>
        <p:nvSpPr>
          <p:cNvPr id="35" name="Rectangle 34"/>
          <p:cNvSpPr/>
          <p:nvPr/>
        </p:nvSpPr>
        <p:spPr>
          <a:xfrm>
            <a:off x="7834782" y="2175304"/>
            <a:ext cx="904092" cy="211411"/>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mn-cs"/>
              </a:rPr>
              <a:t>Excellent</a:t>
            </a:r>
          </a:p>
        </p:txBody>
      </p:sp>
      <p:sp>
        <p:nvSpPr>
          <p:cNvPr id="320" name="Rectangle 319"/>
          <p:cNvSpPr/>
          <p:nvPr>
            <p:custDataLst>
              <p:tags r:id="rId17"/>
            </p:custDataLst>
          </p:nvPr>
        </p:nvSpPr>
        <p:spPr bwMode="gray">
          <a:xfrm>
            <a:off x="2824163" y="63420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3" name="Rectangle 322"/>
          <p:cNvSpPr/>
          <p:nvPr>
            <p:custDataLst>
              <p:tags r:id="rId18"/>
            </p:custDataLst>
          </p:nvPr>
        </p:nvSpPr>
        <p:spPr bwMode="gray">
          <a:xfrm>
            <a:off x="5935663" y="63420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1" name="Rectangle 320"/>
          <p:cNvSpPr/>
          <p:nvPr>
            <p:custDataLst>
              <p:tags r:id="rId19"/>
            </p:custDataLst>
          </p:nvPr>
        </p:nvSpPr>
        <p:spPr bwMode="gray">
          <a:xfrm>
            <a:off x="4114800" y="63420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2" name="Rectangle 321"/>
          <p:cNvSpPr/>
          <p:nvPr>
            <p:custDataLst>
              <p:tags r:id="rId20"/>
            </p:custDataLst>
          </p:nvPr>
        </p:nvSpPr>
        <p:spPr bwMode="gray">
          <a:xfrm>
            <a:off x="5064125" y="63420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4" name="Rectangle 323"/>
          <p:cNvSpPr/>
          <p:nvPr>
            <p:custDataLst>
              <p:tags r:id="rId21"/>
            </p:custDataLst>
          </p:nvPr>
        </p:nvSpPr>
        <p:spPr bwMode="gray">
          <a:xfrm>
            <a:off x="7072313" y="63420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7" name="Text Placeholder 3"/>
          <p:cNvSpPr>
            <a:spLocks noGrp="1"/>
          </p:cNvSpPr>
          <p:nvPr>
            <p:custDataLst>
              <p:tags r:id="rId22"/>
            </p:custDataLst>
          </p:nvPr>
        </p:nvSpPr>
        <p:spPr bwMode="gray">
          <a:xfrm>
            <a:off x="3089275" y="632301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7F8B983-CDE4-47FB-BB5E-4FBC64BCD754}" type="datetime'''V''e''''r''y'' ''''''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8" name="Text Placeholder 3"/>
          <p:cNvSpPr>
            <a:spLocks noGrp="1"/>
          </p:cNvSpPr>
          <p:nvPr>
            <p:custDataLst>
              <p:tags r:id="rId23"/>
            </p:custDataLst>
          </p:nvPr>
        </p:nvSpPr>
        <p:spPr bwMode="gray">
          <a:xfrm>
            <a:off x="4379913" y="63230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B7D7749-E547-4D31-9CC6-3EEEC0239BD1}" type="datetime'''''''''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6" name="Text Placeholder 3"/>
          <p:cNvSpPr>
            <a:spLocks noGrp="1"/>
          </p:cNvSpPr>
          <p:nvPr>
            <p:custDataLst>
              <p:tags r:id="rId24"/>
            </p:custDataLst>
          </p:nvPr>
        </p:nvSpPr>
        <p:spPr bwMode="gray">
          <a:xfrm>
            <a:off x="5329238" y="63230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2E7F819-2851-4AA6-9B4E-3ABD580425B5}" type="datetime'N''''''''''''''''''''''''''''e''''''''''''u''t''''r''a''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eutra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5" name="Text Placeholder 3"/>
          <p:cNvSpPr>
            <a:spLocks noGrp="1"/>
          </p:cNvSpPr>
          <p:nvPr>
            <p:custDataLst>
              <p:tags r:id="rId25"/>
            </p:custDataLst>
          </p:nvPr>
        </p:nvSpPr>
        <p:spPr bwMode="gray">
          <a:xfrm>
            <a:off x="6200775" y="63230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722F4F2-8AD1-405F-9A7E-5BCA30FE76E2}" type="datetime'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4" name="Text Placeholder 3"/>
          <p:cNvSpPr>
            <a:spLocks noGrp="1"/>
          </p:cNvSpPr>
          <p:nvPr>
            <p:custDataLst>
              <p:tags r:id="rId26"/>
            </p:custDataLst>
          </p:nvPr>
        </p:nvSpPr>
        <p:spPr bwMode="gray">
          <a:xfrm>
            <a:off x="7337425" y="63230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C0964463-7572-422A-BC5D-E68900BCC74D}" type="datetime'V''er''y'''''' Diss''''''''a''''''t''i''si''''f''''''''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Dissatisif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31" name="Rectangle 330"/>
          <p:cNvSpPr/>
          <p:nvPr/>
        </p:nvSpPr>
        <p:spPr>
          <a:xfrm>
            <a:off x="7274276" y="2663500"/>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88%</a:t>
            </a:r>
          </a:p>
        </p:txBody>
      </p:sp>
      <p:sp>
        <p:nvSpPr>
          <p:cNvPr id="333" name="Rectangle 332"/>
          <p:cNvSpPr/>
          <p:nvPr/>
        </p:nvSpPr>
        <p:spPr>
          <a:xfrm>
            <a:off x="7283941" y="3111984"/>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75</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335" name="Rectangle 334"/>
          <p:cNvSpPr/>
          <p:nvPr/>
        </p:nvSpPr>
        <p:spPr>
          <a:xfrm>
            <a:off x="7291974" y="4557469"/>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70</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338" name="Rectangle 337"/>
          <p:cNvSpPr/>
          <p:nvPr/>
        </p:nvSpPr>
        <p:spPr>
          <a:xfrm>
            <a:off x="7830993" y="5586139"/>
            <a:ext cx="904092" cy="211411"/>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Poor</a:t>
            </a:r>
          </a:p>
        </p:txBody>
      </p:sp>
      <p:sp>
        <p:nvSpPr>
          <p:cNvPr id="340" name="Rectangle 339"/>
          <p:cNvSpPr/>
          <p:nvPr/>
        </p:nvSpPr>
        <p:spPr>
          <a:xfrm>
            <a:off x="7821111" y="3155799"/>
            <a:ext cx="943229"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341" name="Rectangle 340"/>
          <p:cNvSpPr/>
          <p:nvPr/>
        </p:nvSpPr>
        <p:spPr>
          <a:xfrm>
            <a:off x="7274276" y="3601467"/>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74%</a:t>
            </a:r>
          </a:p>
        </p:txBody>
      </p:sp>
      <p:sp>
        <p:nvSpPr>
          <p:cNvPr id="342" name="Rectangle 341"/>
          <p:cNvSpPr/>
          <p:nvPr/>
        </p:nvSpPr>
        <p:spPr>
          <a:xfrm>
            <a:off x="7830993" y="4112451"/>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68" name="Rectangle 6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All Respondents</a:t>
            </a:r>
          </a:p>
        </p:txBody>
      </p:sp>
      <p:sp>
        <p:nvSpPr>
          <p:cNvPr id="83" name="Rectangle 82">
            <a:extLst>
              <a:ext uri="{FF2B5EF4-FFF2-40B4-BE49-F238E27FC236}">
                <a16:creationId xmlns:a16="http://schemas.microsoft.com/office/drawing/2014/main" id="{AA3EDEDD-4CE7-4CD2-84C3-1B804AC877FA}"/>
              </a:ext>
            </a:extLst>
          </p:cNvPr>
          <p:cNvSpPr/>
          <p:nvPr/>
        </p:nvSpPr>
        <p:spPr>
          <a:xfrm>
            <a:off x="7265230" y="4098270"/>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72%</a:t>
            </a:r>
          </a:p>
        </p:txBody>
      </p:sp>
      <p:grpSp>
        <p:nvGrpSpPr>
          <p:cNvPr id="48" name="Group 47">
            <a:extLst>
              <a:ext uri="{FF2B5EF4-FFF2-40B4-BE49-F238E27FC236}">
                <a16:creationId xmlns:a16="http://schemas.microsoft.com/office/drawing/2014/main" id="{596EEA0F-53C4-4637-B43A-3904C9380473}"/>
              </a:ext>
            </a:extLst>
          </p:cNvPr>
          <p:cNvGrpSpPr>
            <a:grpSpLocks noChangeAspect="1"/>
          </p:cNvGrpSpPr>
          <p:nvPr/>
        </p:nvGrpSpPr>
        <p:grpSpPr>
          <a:xfrm>
            <a:off x="537447" y="879793"/>
            <a:ext cx="457200" cy="457200"/>
            <a:chOff x="5867400" y="3200400"/>
            <a:chExt cx="457200" cy="457200"/>
          </a:xfrm>
        </p:grpSpPr>
        <p:sp>
          <p:nvSpPr>
            <p:cNvPr id="49" name="AutoShape 43">
              <a:extLst>
                <a:ext uri="{FF2B5EF4-FFF2-40B4-BE49-F238E27FC236}">
                  <a16:creationId xmlns:a16="http://schemas.microsoft.com/office/drawing/2014/main" id="{D9B0A139-BE48-4C05-9F9C-2929AF07320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51" name="Freeform 17">
              <a:extLst>
                <a:ext uri="{FF2B5EF4-FFF2-40B4-BE49-F238E27FC236}">
                  <a16:creationId xmlns:a16="http://schemas.microsoft.com/office/drawing/2014/main" id="{6844176C-2A93-4FEA-8B5C-5B20555F200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62" name="Rectangle 261">
            <a:extLst>
              <a:ext uri="{FF2B5EF4-FFF2-40B4-BE49-F238E27FC236}">
                <a16:creationId xmlns:a16="http://schemas.microsoft.com/office/drawing/2014/main" id="{B20B483F-E588-413D-BE31-EAA161E1AE14}"/>
              </a:ext>
            </a:extLst>
          </p:cNvPr>
          <p:cNvSpPr/>
          <p:nvPr/>
        </p:nvSpPr>
        <p:spPr>
          <a:xfrm>
            <a:off x="7283941" y="5051977"/>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60%</a:t>
            </a:r>
          </a:p>
        </p:txBody>
      </p:sp>
      <p:sp>
        <p:nvSpPr>
          <p:cNvPr id="263" name="Rectangle 262">
            <a:extLst>
              <a:ext uri="{FF2B5EF4-FFF2-40B4-BE49-F238E27FC236}">
                <a16:creationId xmlns:a16="http://schemas.microsoft.com/office/drawing/2014/main" id="{6DD22C5C-82B2-4F23-9BF6-6A45DDBB73A9}"/>
              </a:ext>
            </a:extLst>
          </p:cNvPr>
          <p:cNvSpPr/>
          <p:nvPr/>
        </p:nvSpPr>
        <p:spPr>
          <a:xfrm>
            <a:off x="7289354" y="5539865"/>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50%</a:t>
            </a:r>
          </a:p>
        </p:txBody>
      </p:sp>
      <p:sp>
        <p:nvSpPr>
          <p:cNvPr id="264" name="Rectangle 263">
            <a:extLst>
              <a:ext uri="{FF2B5EF4-FFF2-40B4-BE49-F238E27FC236}">
                <a16:creationId xmlns:a16="http://schemas.microsoft.com/office/drawing/2014/main" id="{922CEECA-F915-4A77-9F21-1F8CF99CACCC}"/>
              </a:ext>
            </a:extLst>
          </p:cNvPr>
          <p:cNvSpPr/>
          <p:nvPr/>
        </p:nvSpPr>
        <p:spPr>
          <a:xfrm>
            <a:off x="7830993" y="2682738"/>
            <a:ext cx="904092" cy="21141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265" name="Rectangle 264">
            <a:extLst>
              <a:ext uri="{FF2B5EF4-FFF2-40B4-BE49-F238E27FC236}">
                <a16:creationId xmlns:a16="http://schemas.microsoft.com/office/drawing/2014/main" id="{DB453171-4E16-40C5-AA5A-D08410E59024}"/>
              </a:ext>
            </a:extLst>
          </p:cNvPr>
          <p:cNvSpPr/>
          <p:nvPr/>
        </p:nvSpPr>
        <p:spPr>
          <a:xfrm>
            <a:off x="7845379" y="5037232"/>
            <a:ext cx="904092" cy="211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62" name="Rectangle 61">
            <a:extLst>
              <a:ext uri="{FF2B5EF4-FFF2-40B4-BE49-F238E27FC236}">
                <a16:creationId xmlns:a16="http://schemas.microsoft.com/office/drawing/2014/main" id="{FA89BC63-FCBD-4BCF-8CF0-5FFEF572B976}"/>
              </a:ext>
            </a:extLst>
          </p:cNvPr>
          <p:cNvSpPr/>
          <p:nvPr/>
        </p:nvSpPr>
        <p:spPr>
          <a:xfrm>
            <a:off x="7380913" y="5954729"/>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197" name="Rectangle 196">
            <a:extLst>
              <a:ext uri="{FF2B5EF4-FFF2-40B4-BE49-F238E27FC236}">
                <a16:creationId xmlns:a16="http://schemas.microsoft.com/office/drawing/2014/main" id="{0B51E351-5DA3-427B-9114-3530099E439A}"/>
              </a:ext>
            </a:extLst>
          </p:cNvPr>
          <p:cNvSpPr/>
          <p:nvPr/>
        </p:nvSpPr>
        <p:spPr>
          <a:xfrm>
            <a:off x="7834782" y="3626188"/>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198" name="Rectangle 197">
            <a:extLst>
              <a:ext uri="{FF2B5EF4-FFF2-40B4-BE49-F238E27FC236}">
                <a16:creationId xmlns:a16="http://schemas.microsoft.com/office/drawing/2014/main" id="{DDD0727A-530C-4845-8242-AF55829FDC1D}"/>
              </a:ext>
            </a:extLst>
          </p:cNvPr>
          <p:cNvSpPr/>
          <p:nvPr/>
        </p:nvSpPr>
        <p:spPr>
          <a:xfrm>
            <a:off x="7827492" y="4595860"/>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Tree>
    <p:custDataLst>
      <p:tags r:id="rId2"/>
    </p:custDataLst>
    <p:extLst>
      <p:ext uri="{BB962C8B-B14F-4D97-AF65-F5344CB8AC3E}">
        <p14:creationId xmlns:p14="http://schemas.microsoft.com/office/powerpoint/2010/main" val="71562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808917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846" name="think-cell Slide" r:id="rId33" imgW="473" imgH="473" progId="TCLayout.ActiveDocument.1">
                  <p:embed/>
                </p:oleObj>
              </mc:Choice>
              <mc:Fallback>
                <p:oleObj name="think-cell Slide" r:id="rId33" imgW="473" imgH="473" progId="TCLayout.ActiveDocument.1">
                  <p:embed/>
                  <p:pic>
                    <p:nvPicPr>
                      <p:cNvPr id="5" name="Object 4"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9" name="Text Placeholder 3"/>
          <p:cNvSpPr>
            <a:spLocks noGrp="1"/>
          </p:cNvSpPr>
          <p:nvPr>
            <p:custDataLst>
              <p:tags r:id="rId5"/>
            </p:custDataLst>
          </p:nvPr>
        </p:nvSpPr>
        <p:spPr bwMode="gray">
          <a:xfrm>
            <a:off x="4371940" y="3822699"/>
            <a:ext cx="968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A405C4AD-6980-4D41-9E36-B0AB63EEA0E2}" type="datetime'''T''r''el''''l''''''o'''''">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Trello</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1" name="Text Placeholder 3"/>
          <p:cNvSpPr>
            <a:spLocks noGrp="1"/>
          </p:cNvSpPr>
          <p:nvPr>
            <p:custDataLst>
              <p:tags r:id="rId6"/>
            </p:custDataLst>
          </p:nvPr>
        </p:nvSpPr>
        <p:spPr bwMode="gray">
          <a:xfrm>
            <a:off x="1174750" y="3822699"/>
            <a:ext cx="63182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1515AD68-0D6E-408E-BCC9-80367ED1962C}" type="datetime'''''Z''''''o''''''o''''''''''''''''''''''''''''m'''''">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Zoom</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56" name="Rectangle 155"/>
          <p:cNvSpPr/>
          <p:nvPr/>
        </p:nvSpPr>
        <p:spPr>
          <a:xfrm>
            <a:off x="9141158" y="0"/>
            <a:ext cx="2932218"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Zoom &amp; Slack CT E-SAT remain stable &amp; hig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rgbClr val="FFFFFF"/>
              </a:solidFill>
              <a:latin typeface="Trebuchet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Outlook continues to trend up for B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rgbClr val="FFFFFF"/>
              </a:solidFill>
              <a:latin typeface="Trebuchet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Trebuchet MS"/>
                <a:cs typeface="Arial" pitchFamily="34" charset="0"/>
              </a:rPr>
              <a:t>For both BST &amp; CT, m</a:t>
            </a: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ore significant year-over-year decreases are seen for Egny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FFFFF"/>
                </a:solidFill>
                <a:effectLst/>
                <a:uLnTx/>
                <a:uFillTx/>
                <a:latin typeface="Trebuchet MS"/>
                <a:ea typeface="+mn-ea"/>
                <a:cs typeface="Arial" pitchFamily="34" charset="0"/>
              </a:rPr>
              <a:t>(Reminder – the strongest trends are shown by annual averages, slide 72)</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Tools -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567619" y="1230535"/>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295E7E"/>
                </a:solidFill>
                <a:effectLst/>
                <a:uLnTx/>
                <a:uFillTx/>
                <a:latin typeface="Trebuchet MS"/>
                <a:ea typeface="+mn-ea"/>
                <a:cs typeface="+mn-cs"/>
              </a:rPr>
              <a:t>% respondents satisfied with:</a:t>
            </a:r>
          </a:p>
        </p:txBody>
      </p:sp>
      <p:graphicFrame>
        <p:nvGraphicFramePr>
          <p:cNvPr id="107" name="Chart 106">
            <a:extLst>
              <a:ext uri="{FF2B5EF4-FFF2-40B4-BE49-F238E27FC236}">
                <a16:creationId xmlns:a16="http://schemas.microsoft.com/office/drawing/2014/main" id="{D5B8C9F0-40F4-4B70-9F75-8F641914043F}"/>
              </a:ext>
            </a:extLst>
          </p:cNvPr>
          <p:cNvGraphicFramePr/>
          <p:nvPr>
            <p:custDataLst>
              <p:tags r:id="rId7"/>
            </p:custDataLst>
            <p:extLst>
              <p:ext uri="{D42A27DB-BD31-4B8C-83A1-F6EECF244321}">
                <p14:modId xmlns:p14="http://schemas.microsoft.com/office/powerpoint/2010/main" val="842793725"/>
              </p:ext>
            </p:extLst>
          </p:nvPr>
        </p:nvGraphicFramePr>
        <p:xfrm>
          <a:off x="452438" y="1838325"/>
          <a:ext cx="7254875" cy="2055813"/>
        </p:xfrm>
        <a:graphic>
          <a:graphicData uri="http://schemas.openxmlformats.org/drawingml/2006/chart">
            <c:chart xmlns:c="http://schemas.openxmlformats.org/drawingml/2006/chart" xmlns:r="http://schemas.openxmlformats.org/officeDocument/2006/relationships" r:id="rId35"/>
          </a:graphicData>
        </a:graphic>
      </p:graphicFrame>
      <p:sp>
        <p:nvSpPr>
          <p:cNvPr id="103" name="Text Placeholder 3">
            <a:extLst>
              <a:ext uri="{FF2B5EF4-FFF2-40B4-BE49-F238E27FC236}">
                <a16:creationId xmlns:a16="http://schemas.microsoft.com/office/drawing/2014/main" id="{436DEEB5-4529-49F2-A58A-96A751E9CB14}"/>
              </a:ext>
            </a:extLst>
          </p:cNvPr>
          <p:cNvSpPr>
            <a:spLocks noGrp="1"/>
          </p:cNvSpPr>
          <p:nvPr>
            <p:custDataLst>
              <p:tags r:id="rId8"/>
            </p:custDataLst>
          </p:nvPr>
        </p:nvSpPr>
        <p:spPr bwMode="gray">
          <a:xfrm>
            <a:off x="6799263" y="3822700"/>
            <a:ext cx="533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D34A4EE4-22C8-45B9-ACE6-8D48E283A09C}" type="datetime'''O''n''''''''e''''''''''''D''''''ri''''''v''e'''''''''''''''">
              <a:rPr lang="en-US" altLang="en-US" sz="1000" smtClean="0">
                <a:solidFill>
                  <a:srgbClr val="575757"/>
                </a:solidFill>
              </a:rPr>
              <a:pPr/>
              <a:t>OneDrive</a:t>
            </a:fld>
            <a:endParaRPr kumimoji="0" lang="en-US" sz="1000" b="0" i="0" strike="noStrike" kern="1200" cap="none" spc="0" normalizeH="0" baseline="0" noProof="0" dirty="0">
              <a:ln>
                <a:noFill/>
              </a:ln>
              <a:solidFill>
                <a:srgbClr val="575757"/>
              </a:solidFill>
              <a:effectLst/>
              <a:uLnTx/>
              <a:uFillTx/>
              <a:sym typeface="+mn-lt"/>
            </a:endParaRPr>
          </a:p>
        </p:txBody>
      </p:sp>
      <p:sp>
        <p:nvSpPr>
          <p:cNvPr id="26" name="Text Placeholder 3"/>
          <p:cNvSpPr>
            <a:spLocks noGrp="1"/>
          </p:cNvSpPr>
          <p:nvPr>
            <p:custDataLst>
              <p:tags r:id="rId9"/>
            </p:custDataLst>
          </p:nvPr>
        </p:nvSpPr>
        <p:spPr bwMode="gray">
          <a:xfrm>
            <a:off x="2408238" y="3822700"/>
            <a:ext cx="3968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28BD738-5AD2-4887-A7FF-0BACB045BC82}" type="datetime'Eg''''''n''''''''''''''''''yt''''''''''''''''''''''''e'''''">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gnyte</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3" name="Text Placeholder 3"/>
          <p:cNvSpPr>
            <a:spLocks noGrp="1"/>
          </p:cNvSpPr>
          <p:nvPr>
            <p:custDataLst>
              <p:tags r:id="rId10"/>
            </p:custDataLst>
          </p:nvPr>
        </p:nvSpPr>
        <p:spPr bwMode="gray">
          <a:xfrm>
            <a:off x="3568700" y="3822700"/>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35E1895A-8276-4D3C-9DAC-5B5B5AC26470}" type="datetime'''''''''''''''S''''l''''''''''''''''''''''''''''a''''c''k'''''">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lack</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91" name="Text Placeholder 3">
            <a:extLst>
              <a:ext uri="{FF2B5EF4-FFF2-40B4-BE49-F238E27FC236}">
                <a16:creationId xmlns:a16="http://schemas.microsoft.com/office/drawing/2014/main" id="{922A5312-681C-41F2-9EA3-142A4EF6EFF1}"/>
              </a:ext>
            </a:extLst>
          </p:cNvPr>
          <p:cNvSpPr>
            <a:spLocks noGrp="1"/>
          </p:cNvSpPr>
          <p:nvPr>
            <p:custDataLst>
              <p:tags r:id="rId11"/>
            </p:custDataLst>
          </p:nvPr>
        </p:nvSpPr>
        <p:spPr bwMode="gray">
          <a:xfrm>
            <a:off x="5500688" y="3822700"/>
            <a:ext cx="9017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1EDC393-85FF-4829-B11F-267942A18803}" type="datetime'''Out''''''l''''o''''o''''''k ''''''''(''''E''ma''il'')'''''">
              <a:rPr lang="en-US" altLang="en-US" sz="1000" smtClean="0">
                <a:solidFill>
                  <a:srgbClr val="575757"/>
                </a:solidFill>
              </a:rPr>
              <a:pPr/>
              <a:t>Outlook (Email)</a:t>
            </a:fld>
            <a:endParaRPr kumimoji="0" lang="en-US" sz="1000" b="0" i="0" strike="noStrike" kern="1200" cap="none" spc="0" normalizeH="0" baseline="0" noProof="0" dirty="0">
              <a:ln>
                <a:noFill/>
              </a:ln>
              <a:solidFill>
                <a:srgbClr val="575757"/>
              </a:solidFill>
              <a:effectLst/>
              <a:uLnTx/>
              <a:uFillTx/>
              <a:sym typeface="+mn-lt"/>
            </a:endParaRPr>
          </a:p>
        </p:txBody>
      </p:sp>
      <p:sp>
        <p:nvSpPr>
          <p:cNvPr id="19" name="Rectangle 18"/>
          <p:cNvSpPr/>
          <p:nvPr/>
        </p:nvSpPr>
        <p:spPr>
          <a:xfrm>
            <a:off x="592138" y="1684337"/>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t>
            </a:r>
          </a:p>
        </p:txBody>
      </p:sp>
      <p:graphicFrame>
        <p:nvGraphicFramePr>
          <p:cNvPr id="66" name="Chart 65">
            <a:extLst>
              <a:ext uri="{FF2B5EF4-FFF2-40B4-BE49-F238E27FC236}">
                <a16:creationId xmlns:a16="http://schemas.microsoft.com/office/drawing/2014/main" id="{23D0F4A8-A3C1-475B-A67A-044CE37CBFAC}"/>
              </a:ext>
            </a:extLst>
          </p:cNvPr>
          <p:cNvGraphicFramePr/>
          <p:nvPr>
            <p:custDataLst>
              <p:tags r:id="rId12"/>
            </p:custDataLst>
            <p:extLst>
              <p:ext uri="{D42A27DB-BD31-4B8C-83A1-F6EECF244321}">
                <p14:modId xmlns:p14="http://schemas.microsoft.com/office/powerpoint/2010/main" val="3075924733"/>
              </p:ext>
            </p:extLst>
          </p:nvPr>
        </p:nvGraphicFramePr>
        <p:xfrm>
          <a:off x="452438" y="4376738"/>
          <a:ext cx="7410450" cy="2055812"/>
        </p:xfrm>
        <a:graphic>
          <a:graphicData uri="http://schemas.openxmlformats.org/drawingml/2006/chart">
            <c:chart xmlns:c="http://schemas.openxmlformats.org/drawingml/2006/chart" xmlns:r="http://schemas.openxmlformats.org/officeDocument/2006/relationships" r:id="rId36"/>
          </a:graphicData>
        </a:graphic>
      </p:graphicFrame>
      <p:sp>
        <p:nvSpPr>
          <p:cNvPr id="114" name="Text Placeholder 3">
            <a:extLst>
              <a:ext uri="{FF2B5EF4-FFF2-40B4-BE49-F238E27FC236}">
                <a16:creationId xmlns:a16="http://schemas.microsoft.com/office/drawing/2014/main" id="{F8AA308E-B138-4F6A-A1F2-2520A1F47D21}"/>
              </a:ext>
            </a:extLst>
          </p:cNvPr>
          <p:cNvSpPr>
            <a:spLocks noGrp="1"/>
          </p:cNvSpPr>
          <p:nvPr>
            <p:custDataLst>
              <p:tags r:id="rId13"/>
            </p:custDataLst>
          </p:nvPr>
        </p:nvSpPr>
        <p:spPr bwMode="gray">
          <a:xfrm>
            <a:off x="6942138" y="6361113"/>
            <a:ext cx="533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476F28C-D64F-4651-BCE0-D2E57B7FFB15}" type="datetime'''''''''On''''''''''''''''''e''Dr''''i''''''''''v''''e'">
              <a:rPr lang="en-US" altLang="en-US" sz="1000" smtClean="0">
                <a:solidFill>
                  <a:srgbClr val="575757"/>
                </a:solidFill>
              </a:rPr>
              <a:pPr/>
              <a:t>OneDrive</a:t>
            </a:fld>
            <a:endParaRPr kumimoji="0" lang="en-US" sz="1000" b="0" i="0" strike="noStrike" kern="1200" cap="none" spc="0" normalizeH="0" baseline="0" noProof="0" dirty="0">
              <a:ln>
                <a:noFill/>
              </a:ln>
              <a:solidFill>
                <a:srgbClr val="575757"/>
              </a:solidFill>
              <a:effectLst/>
              <a:uLnTx/>
              <a:uFillTx/>
              <a:sym typeface="+mn-lt"/>
            </a:endParaRPr>
          </a:p>
        </p:txBody>
      </p:sp>
      <p:sp>
        <p:nvSpPr>
          <p:cNvPr id="37" name="Text Placeholder 3"/>
          <p:cNvSpPr>
            <a:spLocks noGrp="1"/>
          </p:cNvSpPr>
          <p:nvPr>
            <p:custDataLst>
              <p:tags r:id="rId14"/>
            </p:custDataLst>
          </p:nvPr>
        </p:nvSpPr>
        <p:spPr bwMode="gray">
          <a:xfrm>
            <a:off x="1343025" y="6361114"/>
            <a:ext cx="3238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5F67342-1F38-4ACC-BCF6-FD43A98302CA}" type="datetime'''''''''''''Z''''''''''''''oo''''''''''''m'''''''''''''">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Zoom</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8" name="Text Placeholder 3"/>
          <p:cNvSpPr>
            <a:spLocks noGrp="1"/>
          </p:cNvSpPr>
          <p:nvPr>
            <p:custDataLst>
              <p:tags r:id="rId15"/>
            </p:custDataLst>
          </p:nvPr>
        </p:nvSpPr>
        <p:spPr bwMode="gray">
          <a:xfrm>
            <a:off x="2446338" y="6361113"/>
            <a:ext cx="3968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252F7C6C-280E-4B85-AC43-7DBD05B46682}" type="datetime'''''''E''''''''g''''n''''''''''''''''y''t''''''e'''''''">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gnyte</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9" name="Text Placeholder 3"/>
          <p:cNvSpPr>
            <a:spLocks noGrp="1"/>
          </p:cNvSpPr>
          <p:nvPr>
            <p:custDataLst>
              <p:tags r:id="rId16"/>
            </p:custDataLst>
          </p:nvPr>
        </p:nvSpPr>
        <p:spPr bwMode="gray">
          <a:xfrm>
            <a:off x="3633788" y="6361113"/>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654598C-79B6-44CD-A906-2728AB8264EF}" type="datetime'''''''''''''''''''''S''l''''''''''''''''''''a''''''''c''''k'''">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lack</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102" name="Text Placeholder 3">
            <a:extLst>
              <a:ext uri="{FF2B5EF4-FFF2-40B4-BE49-F238E27FC236}">
                <a16:creationId xmlns:a16="http://schemas.microsoft.com/office/drawing/2014/main" id="{CD4DE1B2-23A7-45BA-A80F-8FBD8234373C}"/>
              </a:ext>
            </a:extLst>
          </p:cNvPr>
          <p:cNvSpPr>
            <a:spLocks noGrp="1"/>
          </p:cNvSpPr>
          <p:nvPr>
            <p:custDataLst>
              <p:tags r:id="rId17"/>
            </p:custDataLst>
          </p:nvPr>
        </p:nvSpPr>
        <p:spPr bwMode="gray">
          <a:xfrm>
            <a:off x="5616575" y="6361113"/>
            <a:ext cx="9017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FF544C5-2CEC-48CB-A89A-3E4C7017F93D}" type="datetime'''O''utl''''''oo''''''''k'' ''(Em''''''''''''''''a''il)'''''">
              <a:rPr lang="en-US" altLang="en-US" sz="1000" smtClean="0">
                <a:solidFill>
                  <a:srgbClr val="575757"/>
                </a:solidFill>
              </a:rPr>
              <a:pPr lvl="0" algn="ctr">
                <a:spcBef>
                  <a:spcPct val="0"/>
                </a:spcBef>
                <a:spcAft>
                  <a:spcPct val="0"/>
                </a:spcAft>
              </a:pPr>
              <a:t>Outlook (Email)</a:t>
            </a:fld>
            <a:endParaRPr kumimoji="0" lang="en-US" sz="1000" b="0" i="0" strike="noStrike" kern="1200" cap="none" spc="0" normalizeH="0" baseline="0" noProof="0" dirty="0">
              <a:ln>
                <a:noFill/>
              </a:ln>
              <a:solidFill>
                <a:srgbClr val="575757"/>
              </a:solidFill>
              <a:effectLst/>
              <a:uLnTx/>
              <a:uFillTx/>
              <a:sym typeface="+mn-lt"/>
            </a:endParaRPr>
          </a:p>
        </p:txBody>
      </p:sp>
      <p:sp>
        <p:nvSpPr>
          <p:cNvPr id="40" name="Text Placeholder 3"/>
          <p:cNvSpPr>
            <a:spLocks noGrp="1"/>
          </p:cNvSpPr>
          <p:nvPr>
            <p:custDataLst>
              <p:tags r:id="rId18"/>
            </p:custDataLst>
          </p:nvPr>
        </p:nvSpPr>
        <p:spPr bwMode="gray">
          <a:xfrm>
            <a:off x="4752975" y="6361114"/>
            <a:ext cx="349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73E75797-0156-4934-8CF5-8A838431FBB0}" type="datetime'''''''''''T''''''''''re''''''''''''ll''''''''''''''''o'''''">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Trello</a:t>
            </a:fld>
            <a:endParaRPr kumimoji="0" lang="en-US" sz="10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63" name="Rectangle 62"/>
          <p:cNvSpPr/>
          <p:nvPr/>
        </p:nvSpPr>
        <p:spPr>
          <a:xfrm>
            <a:off x="581942" y="4208462"/>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t>
            </a:r>
          </a:p>
        </p:txBody>
      </p:sp>
      <p:cxnSp>
        <p:nvCxnSpPr>
          <p:cNvPr id="53" name="Straight Connector 52">
            <a:extLst>
              <a:ext uri="{FF2B5EF4-FFF2-40B4-BE49-F238E27FC236}">
                <a16:creationId xmlns:a16="http://schemas.microsoft.com/office/drawing/2014/main" id="{2F4E5950-5F11-48DC-998F-B292972B36DC}"/>
              </a:ext>
            </a:extLst>
          </p:cNvPr>
          <p:cNvCxnSpPr>
            <a:cxnSpLocks/>
          </p:cNvCxnSpPr>
          <p:nvPr/>
        </p:nvCxnSpPr>
        <p:spPr>
          <a:xfrm>
            <a:off x="2252755" y="2497092"/>
            <a:ext cx="694999" cy="29009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FA1985F-52AA-46F3-9E03-08C937DC5B64}"/>
              </a:ext>
            </a:extLst>
          </p:cNvPr>
          <p:cNvCxnSpPr>
            <a:cxnSpLocks/>
          </p:cNvCxnSpPr>
          <p:nvPr/>
        </p:nvCxnSpPr>
        <p:spPr>
          <a:xfrm flipV="1">
            <a:off x="3406303" y="2262188"/>
            <a:ext cx="294641" cy="69369"/>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20992AF-6F6D-4568-8B68-98CA8A00DD46}"/>
              </a:ext>
            </a:extLst>
          </p:cNvPr>
          <p:cNvCxnSpPr>
            <a:cxnSpLocks/>
          </p:cNvCxnSpPr>
          <p:nvPr/>
        </p:nvCxnSpPr>
        <p:spPr>
          <a:xfrm>
            <a:off x="2627497" y="4953683"/>
            <a:ext cx="318170" cy="16075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EE3911D3-DA4F-4A74-8B67-45216547CA9F}"/>
              </a:ext>
            </a:extLst>
          </p:cNvPr>
          <p:cNvSpPr/>
          <p:nvPr/>
        </p:nvSpPr>
        <p:spPr>
          <a:xfrm>
            <a:off x="6450369" y="1595077"/>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Consulting</a:t>
            </a:r>
          </a:p>
        </p:txBody>
      </p:sp>
      <p:sp>
        <p:nvSpPr>
          <p:cNvPr id="77" name="Rectangle 76">
            <a:extLst>
              <a:ext uri="{FF2B5EF4-FFF2-40B4-BE49-F238E27FC236}">
                <a16:creationId xmlns:a16="http://schemas.microsoft.com/office/drawing/2014/main" id="{481C9E3C-0F7E-4C1C-AF6B-C3FB2424C980}"/>
              </a:ext>
            </a:extLst>
          </p:cNvPr>
          <p:cNvSpPr/>
          <p:nvPr/>
        </p:nvSpPr>
        <p:spPr>
          <a:xfrm>
            <a:off x="7163472" y="4316084"/>
            <a:ext cx="543841"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7"/>
                </a:solidFill>
                <a:effectLst/>
                <a:uLnTx/>
                <a:uFillTx/>
                <a:latin typeface="Trebuchet MS"/>
                <a:ea typeface="+mn-ea"/>
                <a:cs typeface="+mn-cs"/>
              </a:rPr>
              <a:t>BST</a:t>
            </a:r>
          </a:p>
        </p:txBody>
      </p:sp>
      <p:sp>
        <p:nvSpPr>
          <p:cNvPr id="141" name="Rectangle 140" hidden="1">
            <a:extLst>
              <a:ext uri="{FF2B5EF4-FFF2-40B4-BE49-F238E27FC236}">
                <a16:creationId xmlns:a16="http://schemas.microsoft.com/office/drawing/2014/main" id="{8560B431-9F07-4C7E-9020-92F0C8696CBB}"/>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pSp>
        <p:nvGrpSpPr>
          <p:cNvPr id="58" name="Group 57">
            <a:extLst>
              <a:ext uri="{FF2B5EF4-FFF2-40B4-BE49-F238E27FC236}">
                <a16:creationId xmlns:a16="http://schemas.microsoft.com/office/drawing/2014/main" id="{5BA89D94-9B3D-481F-A1A8-CA07BA19B5F2}"/>
              </a:ext>
            </a:extLst>
          </p:cNvPr>
          <p:cNvGrpSpPr>
            <a:grpSpLocks noChangeAspect="1"/>
          </p:cNvGrpSpPr>
          <p:nvPr/>
        </p:nvGrpSpPr>
        <p:grpSpPr>
          <a:xfrm>
            <a:off x="537447" y="879793"/>
            <a:ext cx="457200" cy="457200"/>
            <a:chOff x="5867400" y="3200400"/>
            <a:chExt cx="457200" cy="457200"/>
          </a:xfrm>
        </p:grpSpPr>
        <p:sp>
          <p:nvSpPr>
            <p:cNvPr id="59" name="AutoShape 43">
              <a:extLst>
                <a:ext uri="{FF2B5EF4-FFF2-40B4-BE49-F238E27FC236}">
                  <a16:creationId xmlns:a16="http://schemas.microsoft.com/office/drawing/2014/main" id="{32811E6A-96CB-4D50-A8A9-FEBA3B347F5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2" name="Freeform 17">
              <a:extLst>
                <a:ext uri="{FF2B5EF4-FFF2-40B4-BE49-F238E27FC236}">
                  <a16:creationId xmlns:a16="http://schemas.microsoft.com/office/drawing/2014/main" id="{CF24C5EF-EA17-417B-A1BF-E10F07763255}"/>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46" name="Rectangle 45" hidden="1">
            <a:extLst>
              <a:ext uri="{FF2B5EF4-FFF2-40B4-BE49-F238E27FC236}">
                <a16:creationId xmlns:a16="http://schemas.microsoft.com/office/drawing/2014/main" id="{107170BC-8DF8-47C8-90FB-AB39DD6A64BD}"/>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cxnSp>
        <p:nvCxnSpPr>
          <p:cNvPr id="117" name="Straight Connector 116">
            <a:extLst>
              <a:ext uri="{FF2B5EF4-FFF2-40B4-BE49-F238E27FC236}">
                <a16:creationId xmlns:a16="http://schemas.microsoft.com/office/drawing/2014/main" id="{FF857CEB-27FF-44F3-9E40-43628886ED4D}"/>
              </a:ext>
            </a:extLst>
          </p:cNvPr>
          <p:cNvCxnSpPr>
            <a:cxnSpLocks/>
          </p:cNvCxnSpPr>
          <p:nvPr/>
        </p:nvCxnSpPr>
        <p:spPr>
          <a:xfrm>
            <a:off x="4536888" y="2398460"/>
            <a:ext cx="303169" cy="126787"/>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E07B2435-D6C2-41E6-83A3-55D9DF339DA9}"/>
              </a:ext>
            </a:extLst>
          </p:cNvPr>
          <p:cNvCxnSpPr>
            <a:cxnSpLocks/>
          </p:cNvCxnSpPr>
          <p:nvPr/>
        </p:nvCxnSpPr>
        <p:spPr>
          <a:xfrm flipV="1">
            <a:off x="3472195" y="4648593"/>
            <a:ext cx="642605" cy="133391"/>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tangle 7" hidden="1">
            <a:extLst>
              <a:ext uri="{FF2B5EF4-FFF2-40B4-BE49-F238E27FC236}">
                <a16:creationId xmlns:a16="http://schemas.microsoft.com/office/drawing/2014/main" id="{58EEEA41-9ED7-4CF0-8598-D9DCA6888A2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7" name="Rectangle 6" hidden="1">
            <a:extLst>
              <a:ext uri="{FF2B5EF4-FFF2-40B4-BE49-F238E27FC236}">
                <a16:creationId xmlns:a16="http://schemas.microsoft.com/office/drawing/2014/main" id="{96F60E6E-EBF3-4295-B9AB-92A551A5D100}"/>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cxnSp>
        <p:nvCxnSpPr>
          <p:cNvPr id="113" name="Straight Connector 112">
            <a:extLst>
              <a:ext uri="{FF2B5EF4-FFF2-40B4-BE49-F238E27FC236}">
                <a16:creationId xmlns:a16="http://schemas.microsoft.com/office/drawing/2014/main" id="{CFADDBF1-3532-4F59-A42E-677C3F4D0328}"/>
              </a:ext>
            </a:extLst>
          </p:cNvPr>
          <p:cNvCxnSpPr>
            <a:cxnSpLocks/>
          </p:cNvCxnSpPr>
          <p:nvPr/>
        </p:nvCxnSpPr>
        <p:spPr>
          <a:xfrm>
            <a:off x="4860702" y="2519035"/>
            <a:ext cx="274969" cy="6212"/>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71834E5-907D-46F8-BBC1-E117E25270F1}"/>
              </a:ext>
            </a:extLst>
          </p:cNvPr>
          <p:cNvCxnSpPr>
            <a:cxnSpLocks/>
          </p:cNvCxnSpPr>
          <p:nvPr/>
        </p:nvCxnSpPr>
        <p:spPr>
          <a:xfrm flipH="1">
            <a:off x="5628623" y="2331557"/>
            <a:ext cx="312379" cy="443687"/>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9144A36-4453-49B6-97A4-32037783856B}"/>
              </a:ext>
            </a:extLst>
          </p:cNvPr>
          <p:cNvCxnSpPr>
            <a:cxnSpLocks/>
          </p:cNvCxnSpPr>
          <p:nvPr/>
        </p:nvCxnSpPr>
        <p:spPr>
          <a:xfrm>
            <a:off x="1455738" y="2116144"/>
            <a:ext cx="392726"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2AE40139-869F-4825-B82A-1EE12881DEE6}"/>
              </a:ext>
            </a:extLst>
          </p:cNvPr>
          <p:cNvCxnSpPr>
            <a:cxnSpLocks/>
          </p:cNvCxnSpPr>
          <p:nvPr/>
        </p:nvCxnSpPr>
        <p:spPr>
          <a:xfrm>
            <a:off x="1493617" y="4610792"/>
            <a:ext cx="312958" cy="30996"/>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F0996C5A-DB6B-4269-9676-72735A3B2455}"/>
              </a:ext>
            </a:extLst>
          </p:cNvPr>
          <p:cNvSpPr/>
          <p:nvPr>
            <p:custDataLst>
              <p:tags r:id="rId19"/>
            </p:custDataLst>
          </p:nvPr>
        </p:nvSpPr>
        <p:spPr bwMode="gray">
          <a:xfrm>
            <a:off x="8001000" y="3032125"/>
            <a:ext cx="214313" cy="160338"/>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58" name="Rectangle 157">
            <a:extLst>
              <a:ext uri="{FF2B5EF4-FFF2-40B4-BE49-F238E27FC236}">
                <a16:creationId xmlns:a16="http://schemas.microsoft.com/office/drawing/2014/main" id="{39A41D68-2634-42A9-AC6D-D2416F94C571}"/>
              </a:ext>
            </a:extLst>
          </p:cNvPr>
          <p:cNvSpPr/>
          <p:nvPr>
            <p:custDataLst>
              <p:tags r:id="rId20"/>
            </p:custDataLst>
          </p:nvPr>
        </p:nvSpPr>
        <p:spPr bwMode="gray">
          <a:xfrm>
            <a:off x="8001000" y="3284538"/>
            <a:ext cx="214313" cy="160337"/>
          </a:xfrm>
          <a:prstGeom prst="rect">
            <a:avLst/>
          </a:prstGeom>
          <a:solidFill>
            <a:srgbClr val="008A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60" name="Rectangle 159">
            <a:extLst>
              <a:ext uri="{FF2B5EF4-FFF2-40B4-BE49-F238E27FC236}">
                <a16:creationId xmlns:a16="http://schemas.microsoft.com/office/drawing/2014/main" id="{F8208FF7-9260-4C75-B4CC-7BD4359919EE}"/>
              </a:ext>
            </a:extLst>
          </p:cNvPr>
          <p:cNvSpPr/>
          <p:nvPr>
            <p:custDataLst>
              <p:tags r:id="rId21"/>
            </p:custDataLst>
          </p:nvPr>
        </p:nvSpPr>
        <p:spPr bwMode="gray">
          <a:xfrm>
            <a:off x="8001000" y="3536950"/>
            <a:ext cx="214313" cy="160338"/>
          </a:xfrm>
          <a:prstGeom prst="rect">
            <a:avLst/>
          </a:prstGeom>
          <a:solidFill>
            <a:srgbClr val="2BD5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65" name="Text Placeholder 3">
            <a:extLst>
              <a:ext uri="{FF2B5EF4-FFF2-40B4-BE49-F238E27FC236}">
                <a16:creationId xmlns:a16="http://schemas.microsoft.com/office/drawing/2014/main" id="{B8C1E2F2-0411-4B10-B3B3-1777B2D8362D}"/>
              </a:ext>
            </a:extLst>
          </p:cNvPr>
          <p:cNvSpPr>
            <a:spLocks noGrp="1"/>
          </p:cNvSpPr>
          <p:nvPr>
            <p:custDataLst>
              <p:tags r:id="rId22"/>
            </p:custDataLst>
          </p:nvPr>
        </p:nvSpPr>
        <p:spPr bwMode="gray">
          <a:xfrm>
            <a:off x="8266113" y="3013076"/>
            <a:ext cx="4429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spcBef>
                <a:spcPct val="0"/>
              </a:spcBef>
              <a:spcAft>
                <a:spcPct val="0"/>
              </a:spcAft>
              <a:defRPr/>
            </a:pPr>
            <a:fld id="{322E084F-05F2-4028-839C-C1029ED9B704}" type="datetime'''''Q''''4 ''''’''''''''1''9'''">
              <a:rPr lang="en-US" altLang="en-US" smtClean="0">
                <a:solidFill>
                  <a:srgbClr val="575757"/>
                </a:solidFill>
              </a:rPr>
              <a:pPr lvl="0">
                <a:spcBef>
                  <a:spcPct val="0"/>
                </a:spcBef>
                <a:spcAft>
                  <a:spcPct val="0"/>
                </a:spcAft>
                <a:defRPr/>
              </a:pPr>
              <a:t>Q4 ’19</a:t>
            </a:fld>
            <a:endParaRPr kumimoji="0" lang="en-US" sz="1200" b="0" i="0" strike="noStrike" kern="1200" cap="none" spc="0" normalizeH="0" baseline="0" noProof="0" dirty="0">
              <a:ln>
                <a:noFill/>
              </a:ln>
              <a:solidFill>
                <a:srgbClr val="575757"/>
              </a:solidFill>
              <a:effectLst/>
              <a:uLnTx/>
              <a:uFillTx/>
              <a:sym typeface="+mn-lt"/>
            </a:endParaRPr>
          </a:p>
        </p:txBody>
      </p:sp>
      <p:sp>
        <p:nvSpPr>
          <p:cNvPr id="163" name="Text Placeholder 3">
            <a:extLst>
              <a:ext uri="{FF2B5EF4-FFF2-40B4-BE49-F238E27FC236}">
                <a16:creationId xmlns:a16="http://schemas.microsoft.com/office/drawing/2014/main" id="{1FCBC5A8-B530-45BA-98C1-7D9095186CF0}"/>
              </a:ext>
            </a:extLst>
          </p:cNvPr>
          <p:cNvSpPr>
            <a:spLocks noGrp="1"/>
          </p:cNvSpPr>
          <p:nvPr>
            <p:custDataLst>
              <p:tags r:id="rId23"/>
            </p:custDataLst>
          </p:nvPr>
        </p:nvSpPr>
        <p:spPr bwMode="gray">
          <a:xfrm>
            <a:off x="8266113" y="3517901"/>
            <a:ext cx="4429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spcBef>
                <a:spcPct val="0"/>
              </a:spcBef>
              <a:spcAft>
                <a:spcPct val="0"/>
              </a:spcAft>
              <a:defRPr/>
            </a:pPr>
            <a:fld id="{53BE4677-378E-4703-A5A5-FABF316C5405}" type="datetime'''Q''''''''''4'''''' ''''''''''''’''2''''1'''''''''''">
              <a:rPr lang="en-US" altLang="en-US" smtClean="0">
                <a:solidFill>
                  <a:srgbClr val="575757"/>
                </a:solidFill>
              </a:rPr>
              <a:pPr lvl="0">
                <a:spcBef>
                  <a:spcPct val="0"/>
                </a:spcBef>
                <a:spcAft>
                  <a:spcPct val="0"/>
                </a:spcAft>
                <a:defRPr/>
              </a:pPr>
              <a:t>Q4 ’21</a:t>
            </a:fld>
            <a:endParaRPr kumimoji="0" lang="en-US" sz="1200" b="0" i="0" strike="noStrike" kern="1200" cap="none" spc="0" normalizeH="0" baseline="0" noProof="0" dirty="0">
              <a:ln>
                <a:noFill/>
              </a:ln>
              <a:solidFill>
                <a:srgbClr val="575757"/>
              </a:solidFill>
              <a:effectLst/>
              <a:uLnTx/>
              <a:uFillTx/>
              <a:sym typeface="+mn-lt"/>
            </a:endParaRPr>
          </a:p>
        </p:txBody>
      </p:sp>
      <p:sp>
        <p:nvSpPr>
          <p:cNvPr id="166" name="Text Placeholder 3">
            <a:extLst>
              <a:ext uri="{FF2B5EF4-FFF2-40B4-BE49-F238E27FC236}">
                <a16:creationId xmlns:a16="http://schemas.microsoft.com/office/drawing/2014/main" id="{BB856600-052A-4A89-A8E5-349637DC6790}"/>
              </a:ext>
            </a:extLst>
          </p:cNvPr>
          <p:cNvSpPr>
            <a:spLocks noGrp="1"/>
          </p:cNvSpPr>
          <p:nvPr>
            <p:custDataLst>
              <p:tags r:id="rId24"/>
            </p:custDataLst>
          </p:nvPr>
        </p:nvSpPr>
        <p:spPr bwMode="gray">
          <a:xfrm>
            <a:off x="8266113" y="3265489"/>
            <a:ext cx="4429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spcBef>
                <a:spcPct val="0"/>
              </a:spcBef>
              <a:spcAft>
                <a:spcPct val="0"/>
              </a:spcAft>
              <a:defRPr/>
            </a:pPr>
            <a:fld id="{BBE402D2-D254-4ACB-B488-480911F0D2D7}" type="datetime'''''''''''''''''''''''Q''''4'''''''''' ''''’''''''2''''''''0'">
              <a:rPr lang="en-US" altLang="en-US" smtClean="0">
                <a:solidFill>
                  <a:srgbClr val="575757"/>
                </a:solidFill>
              </a:rPr>
              <a:pPr lvl="0">
                <a:spcBef>
                  <a:spcPct val="0"/>
                </a:spcBef>
                <a:spcAft>
                  <a:spcPct val="0"/>
                </a:spcAft>
                <a:defRPr/>
              </a:pPr>
              <a:t>Q4 ’20</a:t>
            </a:fld>
            <a:endParaRPr kumimoji="0" lang="en-US" sz="1200" b="0" i="0" strike="noStrike" kern="1200" cap="none" spc="0" normalizeH="0" baseline="0" noProof="0" dirty="0">
              <a:ln>
                <a:noFill/>
              </a:ln>
              <a:solidFill>
                <a:srgbClr val="575757"/>
              </a:solidFill>
              <a:effectLst/>
              <a:uLnTx/>
              <a:uFillTx/>
              <a:sym typeface="+mn-lt"/>
            </a:endParaRPr>
          </a:p>
        </p:txBody>
      </p:sp>
      <p:sp>
        <p:nvSpPr>
          <p:cNvPr id="93" name="TextBox 92">
            <a:extLst>
              <a:ext uri="{FF2B5EF4-FFF2-40B4-BE49-F238E27FC236}">
                <a16:creationId xmlns:a16="http://schemas.microsoft.com/office/drawing/2014/main" id="{0AA24A1F-847E-4711-B464-9E1BF52568CA}"/>
              </a:ext>
            </a:extLst>
          </p:cNvPr>
          <p:cNvSpPr txBox="1"/>
          <p:nvPr/>
        </p:nvSpPr>
        <p:spPr>
          <a:xfrm>
            <a:off x="1135441" y="5224383"/>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3 '20</a:t>
            </a:r>
          </a:p>
        </p:txBody>
      </p:sp>
      <p:sp>
        <p:nvSpPr>
          <p:cNvPr id="124" name="TextBox 123">
            <a:extLst>
              <a:ext uri="{FF2B5EF4-FFF2-40B4-BE49-F238E27FC236}">
                <a16:creationId xmlns:a16="http://schemas.microsoft.com/office/drawing/2014/main" id="{C6DD3224-537B-4E28-9E17-081D48C6281E}"/>
              </a:ext>
            </a:extLst>
          </p:cNvPr>
          <p:cNvSpPr txBox="1"/>
          <p:nvPr/>
        </p:nvSpPr>
        <p:spPr>
          <a:xfrm>
            <a:off x="1046101" y="2729628"/>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3 '20</a:t>
            </a:r>
          </a:p>
        </p:txBody>
      </p:sp>
      <p:sp>
        <p:nvSpPr>
          <p:cNvPr id="78" name="Rectangle 77">
            <a:extLst>
              <a:ext uri="{FF2B5EF4-FFF2-40B4-BE49-F238E27FC236}">
                <a16:creationId xmlns:a16="http://schemas.microsoft.com/office/drawing/2014/main" id="{0475C737-7340-4ED9-A675-8AE1B2A058DC}"/>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By Cohort Year-over-Year – Bar Chart View</a:t>
            </a:r>
          </a:p>
        </p:txBody>
      </p:sp>
      <p:cxnSp>
        <p:nvCxnSpPr>
          <p:cNvPr id="87" name="Straight Connector 86">
            <a:extLst>
              <a:ext uri="{FF2B5EF4-FFF2-40B4-BE49-F238E27FC236}">
                <a16:creationId xmlns:a16="http://schemas.microsoft.com/office/drawing/2014/main" id="{29E3E414-B98E-4927-812F-DEAE2DBDE740}"/>
              </a:ext>
            </a:extLst>
          </p:cNvPr>
          <p:cNvCxnSpPr>
            <a:cxnSpLocks/>
          </p:cNvCxnSpPr>
          <p:nvPr/>
        </p:nvCxnSpPr>
        <p:spPr>
          <a:xfrm flipV="1">
            <a:off x="2281866" y="4952523"/>
            <a:ext cx="324809" cy="84737"/>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AC63F2E-C9D7-4A8B-8308-8BE1CB4AE661}"/>
              </a:ext>
            </a:extLst>
          </p:cNvPr>
          <p:cNvCxnSpPr>
            <a:cxnSpLocks/>
          </p:cNvCxnSpPr>
          <p:nvPr/>
        </p:nvCxnSpPr>
        <p:spPr>
          <a:xfrm flipV="1">
            <a:off x="5761567" y="4812224"/>
            <a:ext cx="599878" cy="392436"/>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92742A6-8C7D-4CBD-97E4-F326B207ABA0}"/>
              </a:ext>
            </a:extLst>
          </p:cNvPr>
          <p:cNvCxnSpPr>
            <a:cxnSpLocks/>
          </p:cNvCxnSpPr>
          <p:nvPr/>
        </p:nvCxnSpPr>
        <p:spPr>
          <a:xfrm>
            <a:off x="3721100" y="2254257"/>
            <a:ext cx="288925"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2659AAA-E7B2-494C-AEE4-FAAFFFB761DD}"/>
              </a:ext>
            </a:extLst>
          </p:cNvPr>
          <p:cNvCxnSpPr>
            <a:cxnSpLocks/>
          </p:cNvCxnSpPr>
          <p:nvPr/>
        </p:nvCxnSpPr>
        <p:spPr>
          <a:xfrm>
            <a:off x="5953684" y="2331557"/>
            <a:ext cx="297316" cy="187478"/>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757FB36D-6E38-4269-B561-FB0B820AFADC}"/>
              </a:ext>
            </a:extLst>
          </p:cNvPr>
          <p:cNvSpPr txBox="1"/>
          <p:nvPr/>
        </p:nvSpPr>
        <p:spPr>
          <a:xfrm>
            <a:off x="6941465" y="2677537"/>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4 '20</a:t>
            </a:r>
          </a:p>
        </p:txBody>
      </p:sp>
      <p:cxnSp>
        <p:nvCxnSpPr>
          <p:cNvPr id="150" name="Straight Connector 149">
            <a:extLst>
              <a:ext uri="{FF2B5EF4-FFF2-40B4-BE49-F238E27FC236}">
                <a16:creationId xmlns:a16="http://schemas.microsoft.com/office/drawing/2014/main" id="{BFBDE47C-4C87-4ACA-9012-070979A27D6E}"/>
              </a:ext>
            </a:extLst>
          </p:cNvPr>
          <p:cNvCxnSpPr>
            <a:cxnSpLocks/>
          </p:cNvCxnSpPr>
          <p:nvPr/>
        </p:nvCxnSpPr>
        <p:spPr>
          <a:xfrm>
            <a:off x="4944285" y="4888684"/>
            <a:ext cx="269065" cy="27197"/>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0A702A3-8DE5-4434-8A78-A890C41108F3}"/>
              </a:ext>
            </a:extLst>
          </p:cNvPr>
          <p:cNvCxnSpPr>
            <a:cxnSpLocks/>
          </p:cNvCxnSpPr>
          <p:nvPr/>
        </p:nvCxnSpPr>
        <p:spPr>
          <a:xfrm>
            <a:off x="4613963" y="4890187"/>
            <a:ext cx="313637"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76005815-B4DF-450E-9A73-C3D6E3D65617}"/>
              </a:ext>
            </a:extLst>
          </p:cNvPr>
          <p:cNvSpPr txBox="1"/>
          <p:nvPr/>
        </p:nvSpPr>
        <p:spPr>
          <a:xfrm>
            <a:off x="7109615" y="5149771"/>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4 '20</a:t>
            </a:r>
          </a:p>
        </p:txBody>
      </p:sp>
      <p:sp>
        <p:nvSpPr>
          <p:cNvPr id="144" name="Rectangle 143">
            <a:extLst>
              <a:ext uri="{FF2B5EF4-FFF2-40B4-BE49-F238E27FC236}">
                <a16:creationId xmlns:a16="http://schemas.microsoft.com/office/drawing/2014/main" id="{EAAF4CFC-73E9-4EED-81D0-F73743C99629}"/>
              </a:ext>
            </a:extLst>
          </p:cNvPr>
          <p:cNvSpPr/>
          <p:nvPr>
            <p:custDataLst>
              <p:tags r:id="rId25"/>
            </p:custDataLst>
          </p:nvPr>
        </p:nvSpPr>
        <p:spPr bwMode="gray">
          <a:xfrm>
            <a:off x="8001000" y="5570538"/>
            <a:ext cx="214313" cy="160338"/>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5" name="Rectangle 144">
            <a:extLst>
              <a:ext uri="{FF2B5EF4-FFF2-40B4-BE49-F238E27FC236}">
                <a16:creationId xmlns:a16="http://schemas.microsoft.com/office/drawing/2014/main" id="{BBC1ED01-0A70-43E3-99A5-091354977CDA}"/>
              </a:ext>
            </a:extLst>
          </p:cNvPr>
          <p:cNvSpPr/>
          <p:nvPr>
            <p:custDataLst>
              <p:tags r:id="rId26"/>
            </p:custDataLst>
          </p:nvPr>
        </p:nvSpPr>
        <p:spPr bwMode="gray">
          <a:xfrm>
            <a:off x="8001000" y="5822950"/>
            <a:ext cx="214313" cy="160338"/>
          </a:xfrm>
          <a:prstGeom prst="rect">
            <a:avLst/>
          </a:prstGeom>
          <a:solidFill>
            <a:srgbClr val="ABA8B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6" name="Rectangle 145">
            <a:extLst>
              <a:ext uri="{FF2B5EF4-FFF2-40B4-BE49-F238E27FC236}">
                <a16:creationId xmlns:a16="http://schemas.microsoft.com/office/drawing/2014/main" id="{3F5BD919-12FF-4C2B-B2ED-0E52A947E639}"/>
              </a:ext>
            </a:extLst>
          </p:cNvPr>
          <p:cNvSpPr/>
          <p:nvPr>
            <p:custDataLst>
              <p:tags r:id="rId27"/>
            </p:custDataLst>
          </p:nvPr>
        </p:nvSpPr>
        <p:spPr bwMode="gray">
          <a:xfrm>
            <a:off x="8001000" y="6075363"/>
            <a:ext cx="214313" cy="160338"/>
          </a:xfrm>
          <a:prstGeom prst="rect">
            <a:avLst/>
          </a:prstGeom>
          <a:solidFill>
            <a:srgbClr val="C8C8C8"/>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2" name="Text Placeholder 3">
            <a:extLst>
              <a:ext uri="{FF2B5EF4-FFF2-40B4-BE49-F238E27FC236}">
                <a16:creationId xmlns:a16="http://schemas.microsoft.com/office/drawing/2014/main" id="{533088C1-40D4-4A64-B838-65308BC0CC2F}"/>
              </a:ext>
            </a:extLst>
          </p:cNvPr>
          <p:cNvSpPr>
            <a:spLocks noGrp="1"/>
          </p:cNvSpPr>
          <p:nvPr>
            <p:custDataLst>
              <p:tags r:id="rId28"/>
            </p:custDataLst>
          </p:nvPr>
        </p:nvSpPr>
        <p:spPr bwMode="gray">
          <a:xfrm>
            <a:off x="8266113" y="5551488"/>
            <a:ext cx="4429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5433E81-F9EF-40F8-954C-DF00DC747429}" type="datetime'''''''Q''''''''4'''''''''''''' ''''''''''''''''’1''''9'">
              <a:rPr lang="en-US" altLang="en-US" smtClean="0">
                <a:effectLst/>
                <a:sym typeface="+mn-lt"/>
              </a:rPr>
              <a:pPr>
                <a:spcBef>
                  <a:spcPct val="0"/>
                </a:spcBef>
                <a:spcAft>
                  <a:spcPct val="0"/>
                </a:spcAft>
              </a:pPr>
              <a:t>Q4 ’19</a:t>
            </a:fld>
            <a:endParaRPr lang="en-US" dirty="0">
              <a:sym typeface="+mn-lt"/>
            </a:endParaRPr>
          </a:p>
        </p:txBody>
      </p:sp>
      <p:sp>
        <p:nvSpPr>
          <p:cNvPr id="164" name="Text Placeholder 3">
            <a:extLst>
              <a:ext uri="{FF2B5EF4-FFF2-40B4-BE49-F238E27FC236}">
                <a16:creationId xmlns:a16="http://schemas.microsoft.com/office/drawing/2014/main" id="{1F75F913-BE22-4F1C-AC97-5A8D8E614427}"/>
              </a:ext>
            </a:extLst>
          </p:cNvPr>
          <p:cNvSpPr>
            <a:spLocks noGrp="1"/>
          </p:cNvSpPr>
          <p:nvPr>
            <p:custDataLst>
              <p:tags r:id="rId29"/>
            </p:custDataLst>
          </p:nvPr>
        </p:nvSpPr>
        <p:spPr bwMode="gray">
          <a:xfrm>
            <a:off x="8266113" y="5803900"/>
            <a:ext cx="4429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D6C96C1-6072-42EF-A6A7-725395362BA4}" type="datetime'Q''''''''4 ''’''''''''''''''''''''''2''0'''''''''''''''''">
              <a:rPr lang="en-US" altLang="en-US" smtClean="0">
                <a:effectLst/>
                <a:sym typeface="+mn-lt"/>
              </a:rPr>
              <a:pPr>
                <a:spcBef>
                  <a:spcPct val="0"/>
                </a:spcBef>
                <a:spcAft>
                  <a:spcPct val="0"/>
                </a:spcAft>
              </a:pPr>
              <a:t>Q4 ’20</a:t>
            </a:fld>
            <a:endParaRPr lang="en-US" dirty="0">
              <a:sym typeface="+mn-lt"/>
            </a:endParaRPr>
          </a:p>
        </p:txBody>
      </p:sp>
      <p:sp>
        <p:nvSpPr>
          <p:cNvPr id="161" name="Text Placeholder 3">
            <a:extLst>
              <a:ext uri="{FF2B5EF4-FFF2-40B4-BE49-F238E27FC236}">
                <a16:creationId xmlns:a16="http://schemas.microsoft.com/office/drawing/2014/main" id="{6E672B86-967B-457F-B711-F3074F4A729A}"/>
              </a:ext>
            </a:extLst>
          </p:cNvPr>
          <p:cNvSpPr>
            <a:spLocks noGrp="1"/>
          </p:cNvSpPr>
          <p:nvPr>
            <p:custDataLst>
              <p:tags r:id="rId30"/>
            </p:custDataLst>
          </p:nvPr>
        </p:nvSpPr>
        <p:spPr bwMode="gray">
          <a:xfrm>
            <a:off x="8266113" y="6056313"/>
            <a:ext cx="4429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6B1D1DF-BE79-46C0-9B20-AE7FD1DD0727}" type="datetime'''''''''''Q4'''''''''''''''' ’''''''''2''''''''1'''''''">
              <a:rPr lang="en-US" altLang="en-US" smtClean="0">
                <a:effectLst/>
                <a:sym typeface="+mn-lt"/>
              </a:rPr>
              <a:pPr>
                <a:spcBef>
                  <a:spcPct val="0"/>
                </a:spcBef>
                <a:spcAft>
                  <a:spcPct val="0"/>
                </a:spcAft>
              </a:pPr>
              <a:t>Q4 ’21</a:t>
            </a:fld>
            <a:endParaRPr lang="en-US" dirty="0">
              <a:sym typeface="+mn-lt"/>
            </a:endParaRPr>
          </a:p>
        </p:txBody>
      </p:sp>
    </p:spTree>
    <p:custDataLst>
      <p:tags r:id="rId2"/>
    </p:custDataLst>
    <p:extLst>
      <p:ext uri="{BB962C8B-B14F-4D97-AF65-F5344CB8AC3E}">
        <p14:creationId xmlns:p14="http://schemas.microsoft.com/office/powerpoint/2010/main" val="3231116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478064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77"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47" name="table_type_name">
            <a:extLst>
              <a:ext uri="{FF2B5EF4-FFF2-40B4-BE49-F238E27FC236}">
                <a16:creationId xmlns:a16="http://schemas.microsoft.com/office/drawing/2014/main" id="{571CA0DA-BE25-4B2F-BFEE-ECB8F4A5930A}"/>
              </a:ext>
            </a:extLst>
          </p:cNvPr>
          <p:cNvGraphicFramePr>
            <a:graphicFrameLocks noGrp="1"/>
          </p:cNvGraphicFramePr>
          <p:nvPr>
            <p:extLst>
              <p:ext uri="{D42A27DB-BD31-4B8C-83A1-F6EECF244321}">
                <p14:modId xmlns:p14="http://schemas.microsoft.com/office/powerpoint/2010/main" val="4155222837"/>
              </p:ext>
            </p:extLst>
          </p:nvPr>
        </p:nvGraphicFramePr>
        <p:xfrm>
          <a:off x="648831" y="1295224"/>
          <a:ext cx="10933351" cy="4023334"/>
        </p:xfrm>
        <a:graphic>
          <a:graphicData uri="http://schemas.openxmlformats.org/drawingml/2006/table">
            <a:tbl>
              <a:tblPr/>
              <a:tblGrid>
                <a:gridCol w="1530661">
                  <a:extLst>
                    <a:ext uri="{9D8B030D-6E8A-4147-A177-3AD203B41FA5}">
                      <a16:colId xmlns:a16="http://schemas.microsoft.com/office/drawing/2014/main" val="20001"/>
                    </a:ext>
                  </a:extLst>
                </a:gridCol>
                <a:gridCol w="940269">
                  <a:extLst>
                    <a:ext uri="{9D8B030D-6E8A-4147-A177-3AD203B41FA5}">
                      <a16:colId xmlns:a16="http://schemas.microsoft.com/office/drawing/2014/main" val="20002"/>
                    </a:ext>
                  </a:extLst>
                </a:gridCol>
                <a:gridCol w="940269">
                  <a:extLst>
                    <a:ext uri="{9D8B030D-6E8A-4147-A177-3AD203B41FA5}">
                      <a16:colId xmlns:a16="http://schemas.microsoft.com/office/drawing/2014/main" val="3410967297"/>
                    </a:ext>
                  </a:extLst>
                </a:gridCol>
                <a:gridCol w="940269">
                  <a:extLst>
                    <a:ext uri="{9D8B030D-6E8A-4147-A177-3AD203B41FA5}">
                      <a16:colId xmlns:a16="http://schemas.microsoft.com/office/drawing/2014/main" val="20010"/>
                    </a:ext>
                  </a:extLst>
                </a:gridCol>
                <a:gridCol w="940269">
                  <a:extLst>
                    <a:ext uri="{9D8B030D-6E8A-4147-A177-3AD203B41FA5}">
                      <a16:colId xmlns:a16="http://schemas.microsoft.com/office/drawing/2014/main" val="276033296"/>
                    </a:ext>
                  </a:extLst>
                </a:gridCol>
                <a:gridCol w="940269">
                  <a:extLst>
                    <a:ext uri="{9D8B030D-6E8A-4147-A177-3AD203B41FA5}">
                      <a16:colId xmlns:a16="http://schemas.microsoft.com/office/drawing/2014/main" val="775284828"/>
                    </a:ext>
                  </a:extLst>
                </a:gridCol>
                <a:gridCol w="940269">
                  <a:extLst>
                    <a:ext uri="{9D8B030D-6E8A-4147-A177-3AD203B41FA5}">
                      <a16:colId xmlns:a16="http://schemas.microsoft.com/office/drawing/2014/main" val="3855264669"/>
                    </a:ext>
                  </a:extLst>
                </a:gridCol>
                <a:gridCol w="940269">
                  <a:extLst>
                    <a:ext uri="{9D8B030D-6E8A-4147-A177-3AD203B41FA5}">
                      <a16:colId xmlns:a16="http://schemas.microsoft.com/office/drawing/2014/main" val="2326982330"/>
                    </a:ext>
                  </a:extLst>
                </a:gridCol>
                <a:gridCol w="940269">
                  <a:extLst>
                    <a:ext uri="{9D8B030D-6E8A-4147-A177-3AD203B41FA5}">
                      <a16:colId xmlns:a16="http://schemas.microsoft.com/office/drawing/2014/main" val="2260121545"/>
                    </a:ext>
                  </a:extLst>
                </a:gridCol>
                <a:gridCol w="940269">
                  <a:extLst>
                    <a:ext uri="{9D8B030D-6E8A-4147-A177-3AD203B41FA5}">
                      <a16:colId xmlns:a16="http://schemas.microsoft.com/office/drawing/2014/main" val="2445790263"/>
                    </a:ext>
                  </a:extLst>
                </a:gridCol>
                <a:gridCol w="940269">
                  <a:extLst>
                    <a:ext uri="{9D8B030D-6E8A-4147-A177-3AD203B41FA5}">
                      <a16:colId xmlns:a16="http://schemas.microsoft.com/office/drawing/2014/main" val="4259314459"/>
                    </a:ext>
                  </a:extLst>
                </a:gridCol>
              </a:tblGrid>
              <a:tr h="86200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2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vs 2019 Average</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41083">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108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lang="en-US" sz="1200" b="0" i="0" u="none" strike="noStrike" kern="1200" noProof="0" dirty="0">
                          <a:solidFill>
                            <a:schemeClr val="tx1"/>
                          </a:solidFill>
                          <a:effectLst/>
                          <a:latin typeface="+mj-lt"/>
                          <a:ea typeface="+mn-ea"/>
                          <a:cs typeface="+mn-cs"/>
                          <a:sym typeface="Trebuchet MS" panose="020B0603020202020204" pitchFamily="34" charset="0"/>
                        </a:rPr>
                        <a:t>Zoom</a:t>
                      </a:r>
                      <a:r>
                        <a:rPr lang="en-US" sz="1200" b="0" i="0" u="none" strike="noStrike" kern="1200" baseline="30000" noProof="0" dirty="0">
                          <a:solidFill>
                            <a:schemeClr val="tx1"/>
                          </a:solidFill>
                          <a:effectLst/>
                          <a:latin typeface="+mj-lt"/>
                          <a:ea typeface="+mn-ea"/>
                          <a:cs typeface="+mn-cs"/>
                          <a:sym typeface="Trebuchet MS" panose="020B0603020202020204" pitchFamily="34" charset="0"/>
                        </a:rPr>
                        <a:t>1</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93</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2</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b="0" dirty="0">
                          <a:solidFill>
                            <a:srgbClr val="575757"/>
                          </a:solidFill>
                        </a:rPr>
                        <a:t>New in Q3 '2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1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71332017"/>
                  </a:ext>
                </a:extLst>
              </a:tr>
              <a:tr h="34108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Slack</a:t>
                      </a:r>
                      <a:endParaRPr kumimoji="0" lang="en-US" sz="1200" b="0" i="0" u="none" strike="noStrike" kern="1200" cap="none" spc="0" normalizeH="0" baseline="3000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8</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dirty="0">
                          <a:solidFill>
                            <a:srgbClr val="FFFFFF"/>
                          </a:solidFill>
                          <a:latin typeface="Wingdings 3" panose="05040102010807070707" pitchFamily="18" charset="2"/>
                        </a:rPr>
                        <a:t>1</a:t>
                      </a:r>
                      <a:r>
                        <a:rPr kumimoji="0" lang="en-US" sz="1200" b="0" i="0" u="none" strike="noStrike" kern="1200" cap="none" normalizeH="0" baseline="0" dirty="0">
                          <a:ln>
                            <a:noFill/>
                          </a:ln>
                          <a:solidFill>
                            <a:srgbClr val="575757"/>
                          </a:solidFill>
                          <a:effectLst/>
                          <a:latin typeface="+mn-lt"/>
                          <a:ea typeface="+mn-ea"/>
                          <a:cs typeface="Arial" charset="0"/>
                        </a:rPr>
                        <a:t>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7%</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72224656"/>
                  </a:ext>
                </a:extLst>
              </a:tr>
              <a:tr h="341083">
                <a:tc>
                  <a:txBody>
                    <a:bodyPr/>
                    <a:lstStyle/>
                    <a:p>
                      <a:pPr algn="l" fontAlgn="b"/>
                      <a:r>
                        <a:rPr lang="en-GB" sz="1200" b="0" i="0" u="none" strike="noStrike" kern="1200" dirty="0">
                          <a:solidFill>
                            <a:schemeClr val="tx1"/>
                          </a:solidFill>
                          <a:effectLst/>
                          <a:latin typeface="+mj-lt"/>
                          <a:ea typeface="+mn-ea"/>
                          <a:cs typeface="+mn-cs"/>
                        </a:rPr>
                        <a:t>OneDrive - Overall</a:t>
                      </a:r>
                      <a:r>
                        <a:rPr lang="en-GB" sz="1200" b="0" i="0" u="none" strike="noStrike" kern="1200" baseline="30000" dirty="0">
                          <a:solidFill>
                            <a:schemeClr val="tx1"/>
                          </a:solidFill>
                          <a:effectLst/>
                          <a:latin typeface="+mj-lt"/>
                          <a:ea typeface="+mn-ea"/>
                          <a:cs typeface="+mn-cs"/>
                        </a:rPr>
                        <a:t>2</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New in Q4 '21</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New in Q4 '21</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r>
                        <a:rPr kumimoji="0" lang="en-US" sz="1200" b="0" i="0" u="none" strike="noStrike" kern="1200" cap="none" normalizeH="0" baseline="30000" dirty="0">
                          <a:ln>
                            <a:noFill/>
                          </a:ln>
                          <a:solidFill>
                            <a:srgbClr val="575757"/>
                          </a:solidFill>
                          <a:effectLst/>
                          <a:latin typeface="+mn-lt"/>
                          <a:ea typeface="+mn-ea"/>
                          <a:cs typeface="Arial" charset="0"/>
                        </a:rPr>
                        <a:t>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5%</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48629598"/>
                  </a:ext>
                </a:extLst>
              </a:tr>
              <a:tr h="34108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Trello</a:t>
                      </a:r>
                      <a:endParaRPr kumimoji="0" lang="en-US" sz="1200" b="0" i="0" u="none" strike="noStrike" kern="1200" cap="none" spc="0" normalizeH="0" baseline="3000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5</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7</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1</a:t>
                      </a: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7%</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03794842"/>
                  </a:ext>
                </a:extLst>
              </a:tr>
              <a:tr h="34108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Outlook (Email)</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6</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4%</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4</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kumimoji="0" lang="en-US" sz="1200" b="0" i="0" u="none" strike="noStrike" kern="1200" cap="none" normalizeH="0" baseline="0" dirty="0">
                          <a:ln>
                            <a:noFill/>
                          </a:ln>
                          <a:solidFill>
                            <a:srgbClr val="575757"/>
                          </a:solidFill>
                          <a:effectLst/>
                          <a:latin typeface="+mn-lt"/>
                          <a:ea typeface="+mn-ea"/>
                          <a:cs typeface="Arial" charset="0"/>
                        </a:rPr>
                        <a:t>2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FFFFFF"/>
                          </a:solidFill>
                          <a:latin typeface="Wingdings 3" panose="05040102010807070707" pitchFamily="18" charset="2"/>
                        </a:rPr>
                        <a:t>1</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9%</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73093"/>
                  </a:ext>
                </a:extLst>
              </a:tr>
              <a:tr h="386876">
                <a:tc>
                  <a:txBody>
                    <a:bodyPr/>
                    <a:lstStyle/>
                    <a:p>
                      <a:pPr algn="l" fontAlgn="b"/>
                      <a:r>
                        <a:rPr lang="en-GB" sz="1200" b="0" i="0" u="none" strike="noStrike" dirty="0">
                          <a:effectLst/>
                          <a:latin typeface="+mj-lt"/>
                        </a:rPr>
                        <a:t>File-sharing with Egnyte</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0</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8</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a:t>
                      </a:r>
                      <a:r>
                        <a:rPr lang="en-US" sz="1200" dirty="0">
                          <a:solidFill>
                            <a:srgbClr val="29BA74"/>
                          </a:solidFill>
                          <a:latin typeface="Wingdings 3" panose="05040102010807070707" pitchFamily="18" charset="2"/>
                        </a:rPr>
                        <a:t> </a:t>
                      </a:r>
                      <a:r>
                        <a:rPr lang="en-US" sz="1200" dirty="0">
                          <a:solidFill>
                            <a:srgbClr val="FFFFFF"/>
                          </a:solidFill>
                          <a:latin typeface="Wingdings 3" panose="05040102010807070707" pitchFamily="18" charset="2"/>
                        </a:rPr>
                        <a:t>1</a:t>
                      </a: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81434764"/>
                  </a:ext>
                </a:extLst>
              </a:tr>
              <a:tr h="341083">
                <a:tc>
                  <a:txBody>
                    <a:bodyPr/>
                    <a:lstStyle/>
                    <a:p>
                      <a:pPr algn="l" fontAlgn="b"/>
                      <a:r>
                        <a:rPr lang="en-GB" sz="1200" b="0" i="0" u="none" strike="noStrike" kern="1200" dirty="0">
                          <a:solidFill>
                            <a:schemeClr val="tx1"/>
                          </a:solidFill>
                          <a:effectLst/>
                          <a:latin typeface="+mj-lt"/>
                          <a:ea typeface="+mn-ea"/>
                          <a:cs typeface="+mn-cs"/>
                        </a:rPr>
                        <a:t>Egnyte - Overall</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1</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1</a:t>
                      </a: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13%</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74674149"/>
                  </a:ext>
                </a:extLst>
              </a:tr>
              <a:tr h="386876">
                <a:tc>
                  <a:txBody>
                    <a:bodyPr/>
                    <a:lstStyle/>
                    <a:p>
                      <a:pPr algn="l" fontAlgn="b"/>
                      <a:r>
                        <a:rPr lang="en-GB" sz="1200" b="0" i="0" u="none" strike="noStrike" dirty="0">
                          <a:effectLst/>
                          <a:latin typeface="+mj-lt"/>
                        </a:rPr>
                        <a:t>Collaborating on Egnyte Files </a:t>
                      </a:r>
                      <a:endParaRPr lang="en-GB" sz="1200" b="0" i="0" u="none" strike="noStrike" baseline="30000" dirty="0">
                        <a:effectLst/>
                        <a:latin typeface="+mj-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2</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2%</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dirty="0">
                          <a:solidFill>
                            <a:srgbClr val="FFFFFF"/>
                          </a:solidFill>
                          <a:latin typeface="Wingdings 3" panose="05040102010807070707" pitchFamily="18" charset="2"/>
                        </a:rPr>
                        <a:t>1</a:t>
                      </a: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4%</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22%</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65135364"/>
                  </a:ext>
                </a:extLst>
              </a:tr>
            </a:tbl>
          </a:graphicData>
        </a:graphic>
      </p:graphicFrame>
      <p:sp>
        <p:nvSpPr>
          <p:cNvPr id="53" name="Title 2">
            <a:extLst>
              <a:ext uri="{FF2B5EF4-FFF2-40B4-BE49-F238E27FC236}">
                <a16:creationId xmlns:a16="http://schemas.microsoft.com/office/drawing/2014/main" id="{1E7756F0-A8FF-4C02-8897-10FCF41ADC9D}"/>
              </a:ext>
            </a:extLst>
          </p:cNvPr>
          <p:cNvSpPr>
            <a:spLocks noGrp="1"/>
          </p:cNvSpPr>
          <p:nvPr>
            <p:ph type="title"/>
          </p:nvPr>
        </p:nvSpPr>
        <p:spPr>
          <a:xfrm>
            <a:off x="628998" y="333406"/>
            <a:ext cx="10933350" cy="332399"/>
          </a:xfrm>
        </p:spPr>
        <p:txBody>
          <a:bodyPr vert="horz"/>
          <a:lstStyle/>
          <a:p>
            <a:r>
              <a:rPr lang="en-US" dirty="0">
                <a:solidFill>
                  <a:srgbClr val="295E7E"/>
                </a:solidFill>
              </a:rPr>
              <a:t>Digital Collaboration Tools - Satisfaction</a:t>
            </a:r>
          </a:p>
        </p:txBody>
      </p:sp>
      <p:sp>
        <p:nvSpPr>
          <p:cNvPr id="54" name="Rectangle 53">
            <a:extLst>
              <a:ext uri="{FF2B5EF4-FFF2-40B4-BE49-F238E27FC236}">
                <a16:creationId xmlns:a16="http://schemas.microsoft.com/office/drawing/2014/main" id="{172AE8E3-F1E4-4313-A9F8-B71B4496BCAB}"/>
              </a:ext>
            </a:extLst>
          </p:cNvPr>
          <p:cNvSpPr/>
          <p:nvPr/>
        </p:nvSpPr>
        <p:spPr>
          <a:xfrm>
            <a:off x="996485" y="635612"/>
            <a:ext cx="7420371" cy="3618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All Respondents – E-SAT Trending</a:t>
            </a:r>
            <a:endParaRPr kumimoji="0" lang="en-US" sz="1600" b="0" i="1" u="none" strike="noStrike" kern="1200" cap="none" spc="0" normalizeH="0" baseline="30000" noProof="0" dirty="0">
              <a:ln>
                <a:noFill/>
              </a:ln>
              <a:solidFill>
                <a:srgbClr val="575757"/>
              </a:solidFill>
              <a:effectLst/>
              <a:uLnTx/>
              <a:uFillTx/>
              <a:latin typeface="Trebuchet MS"/>
              <a:ea typeface="+mn-ea"/>
              <a:cs typeface="+mn-cs"/>
            </a:endParaRPr>
          </a:p>
        </p:txBody>
      </p:sp>
      <p:sp>
        <p:nvSpPr>
          <p:cNvPr id="28" name="Rectangle 27">
            <a:extLst>
              <a:ext uri="{FF2B5EF4-FFF2-40B4-BE49-F238E27FC236}">
                <a16:creationId xmlns:a16="http://schemas.microsoft.com/office/drawing/2014/main" id="{84884853-B52C-445C-A927-EB57BA199962}"/>
              </a:ext>
            </a:extLst>
          </p:cNvPr>
          <p:cNvSpPr/>
          <p:nvPr/>
        </p:nvSpPr>
        <p:spPr>
          <a:xfrm>
            <a:off x="0" y="6027492"/>
            <a:ext cx="12192000" cy="85809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0" name="Rectangle 29">
            <a:extLst>
              <a:ext uri="{FF2B5EF4-FFF2-40B4-BE49-F238E27FC236}">
                <a16:creationId xmlns:a16="http://schemas.microsoft.com/office/drawing/2014/main" id="{721C5C3D-9528-49D0-982E-67172DA76F98}"/>
              </a:ext>
            </a:extLst>
          </p:cNvPr>
          <p:cNvSpPr/>
          <p:nvPr/>
        </p:nvSpPr>
        <p:spPr>
          <a:xfrm>
            <a:off x="147783" y="6031475"/>
            <a:ext cx="12043156" cy="8541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575757"/>
                </a:solidFill>
                <a:effectLst/>
                <a:uLnTx/>
                <a:uFillTx/>
                <a:latin typeface="Trebuchet MS"/>
                <a:ea typeface="+mn-ea"/>
                <a:cs typeface="+mn-cs"/>
              </a:rPr>
              <a:t>Comparing the 2021 annual average versus 2020, improvements have been seen for Zoom, Slack &amp; Outlook. Outlook is notably +9% better vs 2020 &amp; +23% better than 2019. </a:t>
            </a:r>
            <a:r>
              <a:rPr lang="en-US" dirty="0">
                <a:solidFill>
                  <a:srgbClr val="575757"/>
                </a:solidFill>
                <a:latin typeface="Trebuchet MS"/>
              </a:rPr>
              <a:t>Egnyte continues to be challenged trending flat or down in all areas both year-over-year &amp; comparing annual averages.</a:t>
            </a:r>
            <a:endParaRPr kumimoji="0" lang="en-US"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4" name="Rectangle 23">
            <a:extLst>
              <a:ext uri="{FF2B5EF4-FFF2-40B4-BE49-F238E27FC236}">
                <a16:creationId xmlns:a16="http://schemas.microsoft.com/office/drawing/2014/main" id="{648FFB1D-C2E4-41D7-B60D-C9A4B4617C52}"/>
              </a:ext>
            </a:extLst>
          </p:cNvPr>
          <p:cNvSpPr/>
          <p:nvPr/>
        </p:nvSpPr>
        <p:spPr>
          <a:xfrm>
            <a:off x="8199255" y="5980210"/>
            <a:ext cx="3651802"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nvGrpSpPr>
          <p:cNvPr id="21" name="Group 20">
            <a:extLst>
              <a:ext uri="{FF2B5EF4-FFF2-40B4-BE49-F238E27FC236}">
                <a16:creationId xmlns:a16="http://schemas.microsoft.com/office/drawing/2014/main" id="{77F98BF4-332C-4863-BF67-0C68C1EF5CB7}"/>
              </a:ext>
            </a:extLst>
          </p:cNvPr>
          <p:cNvGrpSpPr/>
          <p:nvPr/>
        </p:nvGrpSpPr>
        <p:grpSpPr>
          <a:xfrm>
            <a:off x="630000" y="5389865"/>
            <a:ext cx="6155997" cy="496709"/>
            <a:chOff x="753111" y="3331233"/>
            <a:chExt cx="6155997" cy="444350"/>
          </a:xfrm>
        </p:grpSpPr>
        <p:grpSp>
          <p:nvGrpSpPr>
            <p:cNvPr id="22" name="Group 21">
              <a:extLst>
                <a:ext uri="{FF2B5EF4-FFF2-40B4-BE49-F238E27FC236}">
                  <a16:creationId xmlns:a16="http://schemas.microsoft.com/office/drawing/2014/main" id="{1E94AA76-6C35-474E-98C9-3766E460BBDF}"/>
                </a:ext>
              </a:extLst>
            </p:cNvPr>
            <p:cNvGrpSpPr/>
            <p:nvPr/>
          </p:nvGrpSpPr>
          <p:grpSpPr>
            <a:xfrm>
              <a:off x="753111" y="3331233"/>
              <a:ext cx="6155997" cy="220957"/>
              <a:chOff x="753111" y="3331233"/>
              <a:chExt cx="6155997" cy="220957"/>
            </a:xfrm>
          </p:grpSpPr>
          <p:sp>
            <p:nvSpPr>
              <p:cNvPr id="33" name="Rectangle 32">
                <a:extLst>
                  <a:ext uri="{FF2B5EF4-FFF2-40B4-BE49-F238E27FC236}">
                    <a16:creationId xmlns:a16="http://schemas.microsoft.com/office/drawing/2014/main" id="{39DEEA9C-77D7-468E-9047-6610F7B059F1}"/>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Unacceptable</a:t>
                </a:r>
              </a:p>
            </p:txBody>
          </p:sp>
          <p:sp>
            <p:nvSpPr>
              <p:cNvPr id="34" name="Rectangle 33">
                <a:extLst>
                  <a:ext uri="{FF2B5EF4-FFF2-40B4-BE49-F238E27FC236}">
                    <a16:creationId xmlns:a16="http://schemas.microsoft.com/office/drawing/2014/main" id="{E9208B79-4E5B-4EB3-A8B4-87225097CB46}"/>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Excellent</a:t>
                </a:r>
              </a:p>
            </p:txBody>
          </p:sp>
          <p:sp>
            <p:nvSpPr>
              <p:cNvPr id="38" name="Rectangle 37">
                <a:extLst>
                  <a:ext uri="{FF2B5EF4-FFF2-40B4-BE49-F238E27FC236}">
                    <a16:creationId xmlns:a16="http://schemas.microsoft.com/office/drawing/2014/main" id="{4236121B-EDD0-47D5-8395-E8A60913F298}"/>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39" name="Rectangle 38">
                <a:extLst>
                  <a:ext uri="{FF2B5EF4-FFF2-40B4-BE49-F238E27FC236}">
                    <a16:creationId xmlns:a16="http://schemas.microsoft.com/office/drawing/2014/main" id="{2CEFD674-B40D-40B8-B801-862C982383A3}"/>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40" name="Rectangle 39">
                <a:extLst>
                  <a:ext uri="{FF2B5EF4-FFF2-40B4-BE49-F238E27FC236}">
                    <a16:creationId xmlns:a16="http://schemas.microsoft.com/office/drawing/2014/main" id="{645D2CD3-AD70-4ED8-B303-CE46E089C95B}"/>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Poor</a:t>
                </a:r>
              </a:p>
            </p:txBody>
          </p:sp>
          <p:sp>
            <p:nvSpPr>
              <p:cNvPr id="41" name="Rectangle 40">
                <a:extLst>
                  <a:ext uri="{FF2B5EF4-FFF2-40B4-BE49-F238E27FC236}">
                    <a16:creationId xmlns:a16="http://schemas.microsoft.com/office/drawing/2014/main" id="{0D3D15E5-433E-4C0D-9039-5C75D9BFFBF3}"/>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Good</a:t>
                </a:r>
              </a:p>
            </p:txBody>
          </p:sp>
        </p:grpSp>
        <p:sp>
          <p:nvSpPr>
            <p:cNvPr id="23" name="Rectangle 22">
              <a:extLst>
                <a:ext uri="{FF2B5EF4-FFF2-40B4-BE49-F238E27FC236}">
                  <a16:creationId xmlns:a16="http://schemas.microsoft.com/office/drawing/2014/main" id="{88B90E9B-CDC0-475B-A596-6E63219624BF}"/>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0 - 49</a:t>
              </a:r>
            </a:p>
          </p:txBody>
        </p:sp>
        <p:sp>
          <p:nvSpPr>
            <p:cNvPr id="25" name="Rectangle 24">
              <a:extLst>
                <a:ext uri="{FF2B5EF4-FFF2-40B4-BE49-F238E27FC236}">
                  <a16:creationId xmlns:a16="http://schemas.microsoft.com/office/drawing/2014/main" id="{83DE9840-DEFB-47AF-A97F-B861E7BEA03F}"/>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90 - 100</a:t>
              </a:r>
            </a:p>
          </p:txBody>
        </p:sp>
        <p:sp>
          <p:nvSpPr>
            <p:cNvPr id="26" name="Rectangle 25">
              <a:extLst>
                <a:ext uri="{FF2B5EF4-FFF2-40B4-BE49-F238E27FC236}">
                  <a16:creationId xmlns:a16="http://schemas.microsoft.com/office/drawing/2014/main" id="{6D510FD6-F9E0-48CB-BDDC-A517F3927490}"/>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80 - 89</a:t>
              </a:r>
            </a:p>
          </p:txBody>
        </p:sp>
        <p:sp>
          <p:nvSpPr>
            <p:cNvPr id="27" name="Rectangle 26">
              <a:extLst>
                <a:ext uri="{FF2B5EF4-FFF2-40B4-BE49-F238E27FC236}">
                  <a16:creationId xmlns:a16="http://schemas.microsoft.com/office/drawing/2014/main" id="{B145F810-69F7-4B51-AA79-0054030F72D8}"/>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60 - 69</a:t>
              </a:r>
            </a:p>
          </p:txBody>
        </p:sp>
        <p:sp>
          <p:nvSpPr>
            <p:cNvPr id="31" name="Rectangle 30">
              <a:extLst>
                <a:ext uri="{FF2B5EF4-FFF2-40B4-BE49-F238E27FC236}">
                  <a16:creationId xmlns:a16="http://schemas.microsoft.com/office/drawing/2014/main" id="{13C786AB-17BA-4AC8-9F24-B4BA824B2719}"/>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50 - 59</a:t>
              </a:r>
            </a:p>
          </p:txBody>
        </p:sp>
        <p:sp>
          <p:nvSpPr>
            <p:cNvPr id="32" name="Rectangle 31">
              <a:extLst>
                <a:ext uri="{FF2B5EF4-FFF2-40B4-BE49-F238E27FC236}">
                  <a16:creationId xmlns:a16="http://schemas.microsoft.com/office/drawing/2014/main" id="{364578CA-F28F-4DD0-AC30-05291DB28BCD}"/>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 - 79</a:t>
              </a:r>
            </a:p>
          </p:txBody>
        </p:sp>
      </p:grpSp>
      <p:grpSp>
        <p:nvGrpSpPr>
          <p:cNvPr id="29" name="Group 28">
            <a:extLst>
              <a:ext uri="{FF2B5EF4-FFF2-40B4-BE49-F238E27FC236}">
                <a16:creationId xmlns:a16="http://schemas.microsoft.com/office/drawing/2014/main" id="{580109D8-B641-461F-AB07-CC95D93803DF}"/>
              </a:ext>
            </a:extLst>
          </p:cNvPr>
          <p:cNvGrpSpPr>
            <a:grpSpLocks noChangeAspect="1"/>
          </p:cNvGrpSpPr>
          <p:nvPr/>
        </p:nvGrpSpPr>
        <p:grpSpPr>
          <a:xfrm>
            <a:off x="536445" y="590399"/>
            <a:ext cx="457200" cy="457200"/>
            <a:chOff x="5867400" y="3200400"/>
            <a:chExt cx="457200" cy="457200"/>
          </a:xfrm>
        </p:grpSpPr>
        <p:sp>
          <p:nvSpPr>
            <p:cNvPr id="35" name="AutoShape 43">
              <a:extLst>
                <a:ext uri="{FF2B5EF4-FFF2-40B4-BE49-F238E27FC236}">
                  <a16:creationId xmlns:a16="http://schemas.microsoft.com/office/drawing/2014/main" id="{10A48E2C-0C9D-4C5A-A4A8-D6BF2D3E4E0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7" name="Freeform 17">
              <a:extLst>
                <a:ext uri="{FF2B5EF4-FFF2-40B4-BE49-F238E27FC236}">
                  <a16:creationId xmlns:a16="http://schemas.microsoft.com/office/drawing/2014/main" id="{F4DDCCE3-937A-4EE9-9764-B9DDB422EDD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48" name="Oval 20">
            <a:extLst>
              <a:ext uri="{FF2B5EF4-FFF2-40B4-BE49-F238E27FC236}">
                <a16:creationId xmlns:a16="http://schemas.microsoft.com/office/drawing/2014/main" id="{35BCFC7A-76FE-471B-BB65-D3B8ED374B9F}"/>
              </a:ext>
            </a:extLst>
          </p:cNvPr>
          <p:cNvSpPr>
            <a:spLocks noChangeAspect="1" noChangeArrowheads="1"/>
          </p:cNvSpPr>
          <p:nvPr/>
        </p:nvSpPr>
        <p:spPr bwMode="auto">
          <a:xfrm>
            <a:off x="10752595" y="3603462"/>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9" name="Oval 20">
            <a:extLst>
              <a:ext uri="{FF2B5EF4-FFF2-40B4-BE49-F238E27FC236}">
                <a16:creationId xmlns:a16="http://schemas.microsoft.com/office/drawing/2014/main" id="{62229B7E-A510-49B2-8F17-6052E95D341C}"/>
              </a:ext>
            </a:extLst>
          </p:cNvPr>
          <p:cNvSpPr>
            <a:spLocks noChangeAspect="1" noChangeArrowheads="1"/>
          </p:cNvSpPr>
          <p:nvPr/>
        </p:nvSpPr>
        <p:spPr bwMode="auto">
          <a:xfrm>
            <a:off x="10737191" y="4677001"/>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2" name="Rectangle 51">
            <a:extLst>
              <a:ext uri="{FF2B5EF4-FFF2-40B4-BE49-F238E27FC236}">
                <a16:creationId xmlns:a16="http://schemas.microsoft.com/office/drawing/2014/main" id="{AF19B514-5DFA-4D87-A397-039E9835563D}"/>
              </a:ext>
            </a:extLst>
          </p:cNvPr>
          <p:cNvSpPr/>
          <p:nvPr/>
        </p:nvSpPr>
        <p:spPr>
          <a:xfrm flipH="1">
            <a:off x="7811585" y="1302862"/>
            <a:ext cx="1889254" cy="4020312"/>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8" name="Rectangle 57">
            <a:extLst>
              <a:ext uri="{FF2B5EF4-FFF2-40B4-BE49-F238E27FC236}">
                <a16:creationId xmlns:a16="http://schemas.microsoft.com/office/drawing/2014/main" id="{7C494E2C-94D6-403A-A507-E4C467FEEA65}"/>
              </a:ext>
            </a:extLst>
          </p:cNvPr>
          <p:cNvSpPr/>
          <p:nvPr/>
        </p:nvSpPr>
        <p:spPr>
          <a:xfrm>
            <a:off x="6781161" y="5364653"/>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Chart ordered by this column</a:t>
            </a:r>
          </a:p>
        </p:txBody>
      </p:sp>
      <p:sp>
        <p:nvSpPr>
          <p:cNvPr id="65" name="Oval 20">
            <a:extLst>
              <a:ext uri="{FF2B5EF4-FFF2-40B4-BE49-F238E27FC236}">
                <a16:creationId xmlns:a16="http://schemas.microsoft.com/office/drawing/2014/main" id="{49027CEF-9605-4215-892F-DBBFF127FCD8}"/>
              </a:ext>
            </a:extLst>
          </p:cNvPr>
          <p:cNvSpPr>
            <a:spLocks noChangeAspect="1" noChangeArrowheads="1"/>
          </p:cNvSpPr>
          <p:nvPr/>
        </p:nvSpPr>
        <p:spPr bwMode="auto">
          <a:xfrm>
            <a:off x="10738391" y="2597090"/>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1" name="Oval 20">
            <a:extLst>
              <a:ext uri="{FF2B5EF4-FFF2-40B4-BE49-F238E27FC236}">
                <a16:creationId xmlns:a16="http://schemas.microsoft.com/office/drawing/2014/main" id="{1848A711-ED31-4489-9828-52709D63ADB2}"/>
              </a:ext>
            </a:extLst>
          </p:cNvPr>
          <p:cNvSpPr>
            <a:spLocks noChangeAspect="1" noChangeArrowheads="1"/>
          </p:cNvSpPr>
          <p:nvPr/>
        </p:nvSpPr>
        <p:spPr bwMode="auto">
          <a:xfrm>
            <a:off x="10735553" y="2935530"/>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9" name="Oval 20">
            <a:extLst>
              <a:ext uri="{FF2B5EF4-FFF2-40B4-BE49-F238E27FC236}">
                <a16:creationId xmlns:a16="http://schemas.microsoft.com/office/drawing/2014/main" id="{4A5D594A-9360-46E5-956E-A3F6C205F623}"/>
              </a:ext>
            </a:extLst>
          </p:cNvPr>
          <p:cNvSpPr>
            <a:spLocks noChangeAspect="1" noChangeArrowheads="1"/>
          </p:cNvSpPr>
          <p:nvPr/>
        </p:nvSpPr>
        <p:spPr bwMode="auto">
          <a:xfrm>
            <a:off x="10735553" y="502229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0" name="Oval 20">
            <a:extLst>
              <a:ext uri="{FF2B5EF4-FFF2-40B4-BE49-F238E27FC236}">
                <a16:creationId xmlns:a16="http://schemas.microsoft.com/office/drawing/2014/main" id="{5DAE2879-96BB-4785-8ECA-8A523CB3DCEC}"/>
              </a:ext>
            </a:extLst>
          </p:cNvPr>
          <p:cNvSpPr>
            <a:spLocks noChangeAspect="1" noChangeArrowheads="1"/>
          </p:cNvSpPr>
          <p:nvPr/>
        </p:nvSpPr>
        <p:spPr bwMode="auto">
          <a:xfrm>
            <a:off x="10745601" y="3280824"/>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3" name="Oval 20">
            <a:extLst>
              <a:ext uri="{FF2B5EF4-FFF2-40B4-BE49-F238E27FC236}">
                <a16:creationId xmlns:a16="http://schemas.microsoft.com/office/drawing/2014/main" id="{B75A846F-1AD5-4615-A61C-87572C077980}"/>
              </a:ext>
            </a:extLst>
          </p:cNvPr>
          <p:cNvSpPr>
            <a:spLocks noChangeAspect="1" noChangeArrowheads="1"/>
          </p:cNvSpPr>
          <p:nvPr/>
        </p:nvSpPr>
        <p:spPr bwMode="auto">
          <a:xfrm>
            <a:off x="10747239" y="3934985"/>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5" name="Oval 20">
            <a:extLst>
              <a:ext uri="{FF2B5EF4-FFF2-40B4-BE49-F238E27FC236}">
                <a16:creationId xmlns:a16="http://schemas.microsoft.com/office/drawing/2014/main" id="{B2911223-52F5-40AD-AA6D-C80B4BF5D0EE}"/>
              </a:ext>
            </a:extLst>
          </p:cNvPr>
          <p:cNvSpPr>
            <a:spLocks noChangeAspect="1" noChangeArrowheads="1"/>
          </p:cNvSpPr>
          <p:nvPr/>
        </p:nvSpPr>
        <p:spPr bwMode="auto">
          <a:xfrm>
            <a:off x="10748126" y="429149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67" name="Group 66">
            <a:extLst>
              <a:ext uri="{FF2B5EF4-FFF2-40B4-BE49-F238E27FC236}">
                <a16:creationId xmlns:a16="http://schemas.microsoft.com/office/drawing/2014/main" id="{F387006E-0660-4656-9961-7704C757CA66}"/>
              </a:ext>
            </a:extLst>
          </p:cNvPr>
          <p:cNvGrpSpPr/>
          <p:nvPr/>
        </p:nvGrpSpPr>
        <p:grpSpPr>
          <a:xfrm>
            <a:off x="9765519" y="5353732"/>
            <a:ext cx="2116895" cy="591304"/>
            <a:chOff x="9751525" y="5356845"/>
            <a:chExt cx="2116895" cy="591304"/>
          </a:xfrm>
        </p:grpSpPr>
        <p:sp>
          <p:nvSpPr>
            <p:cNvPr id="70" name="Oval 20">
              <a:extLst>
                <a:ext uri="{FF2B5EF4-FFF2-40B4-BE49-F238E27FC236}">
                  <a16:creationId xmlns:a16="http://schemas.microsoft.com/office/drawing/2014/main" id="{0ABBC2D9-6908-4D4E-8B17-4C2DA57533D6}"/>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1" name="Rectangle 70">
              <a:extLst>
                <a:ext uri="{FF2B5EF4-FFF2-40B4-BE49-F238E27FC236}">
                  <a16:creationId xmlns:a16="http://schemas.microsoft.com/office/drawing/2014/main" id="{EC7BB058-3491-4563-A81C-B013ED714272}"/>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72" name="Oval 20">
              <a:extLst>
                <a:ext uri="{FF2B5EF4-FFF2-40B4-BE49-F238E27FC236}">
                  <a16:creationId xmlns:a16="http://schemas.microsoft.com/office/drawing/2014/main" id="{AB7DAC4C-3D6F-425F-A85E-F095D34B8FDF}"/>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3" name="Oval 20">
              <a:extLst>
                <a:ext uri="{FF2B5EF4-FFF2-40B4-BE49-F238E27FC236}">
                  <a16:creationId xmlns:a16="http://schemas.microsoft.com/office/drawing/2014/main" id="{EF73E69D-0447-47FC-BA22-E60DE0A38560}"/>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74" name="Rectangle 73">
              <a:extLst>
                <a:ext uri="{FF2B5EF4-FFF2-40B4-BE49-F238E27FC236}">
                  <a16:creationId xmlns:a16="http://schemas.microsoft.com/office/drawing/2014/main" id="{65424A17-BBD1-4D29-893D-57B3AC14817F}"/>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75" name="Rectangle 74">
              <a:extLst>
                <a:ext uri="{FF2B5EF4-FFF2-40B4-BE49-F238E27FC236}">
                  <a16:creationId xmlns:a16="http://schemas.microsoft.com/office/drawing/2014/main" id="{D89160BB-1DD9-4DE1-8642-17FA3A0E24E2}"/>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6" name="Left Bracket 55">
            <a:extLst>
              <a:ext uri="{FF2B5EF4-FFF2-40B4-BE49-F238E27FC236}">
                <a16:creationId xmlns:a16="http://schemas.microsoft.com/office/drawing/2014/main" id="{473615CC-46B5-47FC-B149-068DF5F96C02}"/>
              </a:ext>
            </a:extLst>
          </p:cNvPr>
          <p:cNvSpPr/>
          <p:nvPr/>
        </p:nvSpPr>
        <p:spPr>
          <a:xfrm rot="5400000">
            <a:off x="8702866" y="-228732"/>
            <a:ext cx="181726" cy="2866188"/>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3074399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600581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055"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56" name="Rectangle 155"/>
          <p:cNvSpPr/>
          <p:nvPr/>
        </p:nvSpPr>
        <p:spPr>
          <a:xfrm>
            <a:off x="9154777" y="0"/>
            <a:ext cx="2819736"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Trebuchet MS"/>
                <a:cs typeface="Arial" pitchFamily="34" charset="0"/>
              </a:rPr>
              <a:t>In addition to overall satisfaction for OneDrive (75%), we also asked about specific experie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Trebuchet MS"/>
                <a:cs typeface="Arial" pitchFamily="34" charset="0"/>
              </a:rPr>
              <a:t>Creating files/folders scores 'good' E-SAT at 75%, whilst co-authoring files scores 57% E-SAT, a 'poor' grade</a:t>
            </a: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Tools - OneDrive</a:t>
            </a:r>
          </a:p>
        </p:txBody>
      </p:sp>
      <p:graphicFrame>
        <p:nvGraphicFramePr>
          <p:cNvPr id="47" name="Chart 46">
            <a:extLst>
              <a:ext uri="{FF2B5EF4-FFF2-40B4-BE49-F238E27FC236}">
                <a16:creationId xmlns:a16="http://schemas.microsoft.com/office/drawing/2014/main" id="{36530787-C628-4565-8B97-6F3A1B45CFD2}"/>
              </a:ext>
            </a:extLst>
          </p:cNvPr>
          <p:cNvGraphicFramePr/>
          <p:nvPr>
            <p:custDataLst>
              <p:tags r:id="rId5"/>
            </p:custDataLst>
            <p:extLst>
              <p:ext uri="{D42A27DB-BD31-4B8C-83A1-F6EECF244321}">
                <p14:modId xmlns:p14="http://schemas.microsoft.com/office/powerpoint/2010/main" val="1677949978"/>
              </p:ext>
            </p:extLst>
          </p:nvPr>
        </p:nvGraphicFramePr>
        <p:xfrm>
          <a:off x="2089150" y="1982788"/>
          <a:ext cx="5446713" cy="3003550"/>
        </p:xfrm>
        <a:graphic>
          <a:graphicData uri="http://schemas.openxmlformats.org/drawingml/2006/chart">
            <c:chart xmlns:c="http://schemas.openxmlformats.org/drawingml/2006/chart" xmlns:r="http://schemas.openxmlformats.org/officeDocument/2006/relationships" r:id="rId25"/>
          </a:graphicData>
        </a:graphic>
      </p:graphicFrame>
      <p:sp>
        <p:nvSpPr>
          <p:cNvPr id="65" name="Text Placeholder 3">
            <a:extLst>
              <a:ext uri="{FF2B5EF4-FFF2-40B4-BE49-F238E27FC236}">
                <a16:creationId xmlns:a16="http://schemas.microsoft.com/office/drawing/2014/main" id="{47801BCF-D6C6-49AB-8F6B-A777F33E44EF}"/>
              </a:ext>
            </a:extLst>
          </p:cNvPr>
          <p:cNvSpPr>
            <a:spLocks noGrp="1"/>
          </p:cNvSpPr>
          <p:nvPr>
            <p:custDataLst>
              <p:tags r:id="rId6"/>
            </p:custDataLst>
          </p:nvPr>
        </p:nvSpPr>
        <p:spPr bwMode="gray">
          <a:xfrm>
            <a:off x="798513" y="2287588"/>
            <a:ext cx="14557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defRPr/>
            </a:pPr>
            <a:fld id="{7BB77A70-7D32-4211-8C99-A444D28BDF3B}" type="datetime'Crea''''''t''''''''''in''g'' f''''il''es/fo''l''d''''''''ers'">
              <a:rPr lang="en-US" altLang="en-US" smtClean="0">
                <a:solidFill>
                  <a:srgbClr val="575757"/>
                </a:solidFill>
              </a:rPr>
              <a:pPr/>
              <a:t>Creating files/folders</a:t>
            </a:fld>
            <a:endParaRPr kumimoji="0" lang="en-US" sz="1200" b="0" i="0" strike="noStrike" kern="1200" cap="none" spc="0" normalizeH="0" baseline="0" noProof="0" dirty="0">
              <a:ln>
                <a:noFill/>
              </a:ln>
              <a:solidFill>
                <a:srgbClr val="575757"/>
              </a:solidFill>
              <a:effectLst/>
              <a:uLnTx/>
              <a:uFillTx/>
              <a:sym typeface="+mn-lt"/>
            </a:endParaRPr>
          </a:p>
        </p:txBody>
      </p:sp>
      <p:sp>
        <p:nvSpPr>
          <p:cNvPr id="157" name="Text Placeholder 3">
            <a:extLst>
              <a:ext uri="{FF2B5EF4-FFF2-40B4-BE49-F238E27FC236}">
                <a16:creationId xmlns:a16="http://schemas.microsoft.com/office/drawing/2014/main" id="{5774F4ED-351B-4439-ACB8-71C884F0F620}"/>
              </a:ext>
            </a:extLst>
          </p:cNvPr>
          <p:cNvSpPr>
            <a:spLocks noGrp="1"/>
          </p:cNvSpPr>
          <p:nvPr>
            <p:custDataLst>
              <p:tags r:id="rId7"/>
            </p:custDataLst>
          </p:nvPr>
        </p:nvSpPr>
        <p:spPr bwMode="gray">
          <a:xfrm>
            <a:off x="7185025" y="2287589"/>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040C4A8-DB66-426C-9FE4-FE381A16889D}" type="datetime'''''''''''''1'''''''''''''''''''''''''''''''''''''''''">
              <a:rPr lang="en-US" altLang="en-US" smtClean="0">
                <a:solidFill>
                  <a:srgbClr val="FFFFFF"/>
                </a:solidFill>
                <a:effectLst/>
              </a:rPr>
              <a:pPr/>
              <a:t>1</a:t>
            </a:fld>
            <a:endParaRPr lang="en-US" dirty="0">
              <a:solidFill>
                <a:srgbClr val="FFFFFF"/>
              </a:solidFill>
              <a:sym typeface="+mn-lt"/>
            </a:endParaRPr>
          </a:p>
        </p:txBody>
      </p:sp>
      <p:sp>
        <p:nvSpPr>
          <p:cNvPr id="180" name="Text Placeholder 3">
            <a:extLst>
              <a:ext uri="{FF2B5EF4-FFF2-40B4-BE49-F238E27FC236}">
                <a16:creationId xmlns:a16="http://schemas.microsoft.com/office/drawing/2014/main" id="{0D66FF47-222E-4370-9645-DCA8B07BAF54}"/>
              </a:ext>
            </a:extLst>
          </p:cNvPr>
          <p:cNvSpPr>
            <a:spLocks noGrp="1"/>
          </p:cNvSpPr>
          <p:nvPr>
            <p:custDataLst>
              <p:tags r:id="rId8"/>
            </p:custDataLst>
          </p:nvPr>
        </p:nvSpPr>
        <p:spPr bwMode="gray">
          <a:xfrm>
            <a:off x="1044575" y="4232275"/>
            <a:ext cx="12096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9EF6FA97-91B8-4335-9FDF-2239746204F8}" type="datetime'''''''Co''''-a''u''''t''''''h''or''i''n''''''g fi''''''les'">
              <a:rPr lang="en-US" altLang="en-US" smtClean="0">
                <a:solidFill>
                  <a:srgbClr val="575757"/>
                </a:solidFill>
              </a:rPr>
              <a:pPr/>
              <a:t>Co-authoring files</a:t>
            </a:fld>
            <a:endParaRPr kumimoji="0" lang="en-US" sz="1200" b="0" i="0" strike="noStrike" kern="1200" cap="none" spc="0" normalizeH="0" baseline="0" noProof="0" dirty="0">
              <a:ln>
                <a:noFill/>
              </a:ln>
              <a:solidFill>
                <a:srgbClr val="575757"/>
              </a:solidFill>
              <a:effectLst/>
              <a:uLnTx/>
              <a:uFillTx/>
              <a:sym typeface="+mn-lt"/>
            </a:endParaRPr>
          </a:p>
        </p:txBody>
      </p:sp>
      <p:sp>
        <p:nvSpPr>
          <p:cNvPr id="220" name="Text Placeholder 3">
            <a:extLst>
              <a:ext uri="{FF2B5EF4-FFF2-40B4-BE49-F238E27FC236}">
                <a16:creationId xmlns:a16="http://schemas.microsoft.com/office/drawing/2014/main" id="{9FAD71C8-36B6-40AA-96E8-8732FDD128AE}"/>
              </a:ext>
            </a:extLst>
          </p:cNvPr>
          <p:cNvSpPr>
            <a:spLocks noGrp="1"/>
          </p:cNvSpPr>
          <p:nvPr>
            <p:custDataLst>
              <p:tags r:id="rId9"/>
            </p:custDataLst>
          </p:nvPr>
        </p:nvSpPr>
        <p:spPr bwMode="gray">
          <a:xfrm>
            <a:off x="760413" y="2835275"/>
            <a:ext cx="1493838"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defRPr/>
            </a:pPr>
            <a:fld id="{A779461F-ADE5-4420-85C4-842F9F1B621D}" type="datetime'Searc''hing ''&amp; acces''''''''''sing&#10;f''i''l''e''s/f''''olders'">
              <a:rPr lang="en-US" altLang="en-US" smtClean="0">
                <a:solidFill>
                  <a:srgbClr val="575757"/>
                </a:solidFill>
              </a:rPr>
              <a:pPr/>
              <a:t>Searching &amp; accessing
files/folders</a:t>
            </a:fld>
            <a:endParaRPr kumimoji="0" lang="en-US" sz="1200" b="0" i="0" strike="noStrike" kern="1200" cap="none" spc="0" normalizeH="0" baseline="0" noProof="0" dirty="0">
              <a:ln>
                <a:noFill/>
              </a:ln>
              <a:solidFill>
                <a:srgbClr val="575757"/>
              </a:solidFill>
              <a:effectLst/>
              <a:uLnTx/>
              <a:uFillTx/>
              <a:sym typeface="+mn-lt"/>
            </a:endParaRPr>
          </a:p>
        </p:txBody>
      </p:sp>
      <p:sp>
        <p:nvSpPr>
          <p:cNvPr id="174" name="Text Placeholder 3">
            <a:extLst>
              <a:ext uri="{FF2B5EF4-FFF2-40B4-BE49-F238E27FC236}">
                <a16:creationId xmlns:a16="http://schemas.microsoft.com/office/drawing/2014/main" id="{30DE8EC0-1D0F-410D-A7DD-50DE51C8410B}"/>
              </a:ext>
            </a:extLst>
          </p:cNvPr>
          <p:cNvSpPr>
            <a:spLocks noGrp="1"/>
          </p:cNvSpPr>
          <p:nvPr>
            <p:custDataLst>
              <p:tags r:id="rId10"/>
            </p:custDataLst>
          </p:nvPr>
        </p:nvSpPr>
        <p:spPr bwMode="gray">
          <a:xfrm>
            <a:off x="876300" y="3584575"/>
            <a:ext cx="13779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C71ED4B0-EC45-4A59-8F9F-C42ACB63F566}" type="datetime'S''ha''r''i''n''g'''' files''''/''''''''''''''f''o''l''''ders'">
              <a:rPr lang="en-US" altLang="en-US" smtClean="0">
                <a:solidFill>
                  <a:srgbClr val="575757"/>
                </a:solidFill>
              </a:rPr>
              <a:pPr/>
              <a:t>Sharing files/folders</a:t>
            </a:fld>
            <a:endParaRPr kumimoji="0" lang="en-US" sz="1200" b="0" i="0" strike="noStrike" kern="1200" cap="none" spc="0" normalizeH="0" baseline="0" noProof="0" dirty="0">
              <a:ln>
                <a:noFill/>
              </a:ln>
              <a:solidFill>
                <a:srgbClr val="575757"/>
              </a:solidFill>
              <a:effectLst/>
              <a:uLnTx/>
              <a:uFillTx/>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295E7E"/>
                </a:solidFill>
                <a:effectLst/>
                <a:uLnTx/>
                <a:uFillTx/>
                <a:latin typeface="Trebuchet MS"/>
                <a:ea typeface="+mn-ea"/>
                <a:cs typeface="+mn-cs"/>
              </a:rPr>
              <a:t>% of respondents satisfied with:</a:t>
            </a:r>
            <a:endParaRPr kumimoji="0" lang="en-GB" sz="1200" b="1" i="0" u="none" strike="noStrike" kern="1200" cap="none" spc="0" normalizeH="0" baseline="0" noProof="0" dirty="0">
              <a:ln>
                <a:noFill/>
              </a:ln>
              <a:solidFill>
                <a:srgbClr val="295E7E"/>
              </a:solidFill>
              <a:effectLst/>
              <a:uLnTx/>
              <a:uFillTx/>
              <a:latin typeface="Trebuchet MS"/>
              <a:ea typeface="+mn-ea"/>
              <a:cs typeface="+mn-cs"/>
            </a:endParaRPr>
          </a:p>
        </p:txBody>
      </p:sp>
      <p:sp>
        <p:nvSpPr>
          <p:cNvPr id="33" name="Rectangle 32"/>
          <p:cNvSpPr/>
          <p:nvPr/>
        </p:nvSpPr>
        <p:spPr>
          <a:xfrm>
            <a:off x="7268553" y="1810150"/>
            <a:ext cx="562440" cy="2472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E-SAT</a:t>
            </a:r>
          </a:p>
        </p:txBody>
      </p:sp>
      <p:sp>
        <p:nvSpPr>
          <p:cNvPr id="34" name="Rectangle 33"/>
          <p:cNvSpPr/>
          <p:nvPr/>
        </p:nvSpPr>
        <p:spPr>
          <a:xfrm>
            <a:off x="7822432" y="1824069"/>
            <a:ext cx="893049" cy="2050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rade</a:t>
            </a:r>
          </a:p>
        </p:txBody>
      </p:sp>
      <p:sp>
        <p:nvSpPr>
          <p:cNvPr id="57" name="Rectangle 56"/>
          <p:cNvSpPr/>
          <p:nvPr/>
        </p:nvSpPr>
        <p:spPr>
          <a:xfrm>
            <a:off x="7283093" y="2261084"/>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75%</a:t>
            </a:r>
          </a:p>
        </p:txBody>
      </p:sp>
      <p:sp>
        <p:nvSpPr>
          <p:cNvPr id="322" name="Rectangle 321"/>
          <p:cNvSpPr/>
          <p:nvPr>
            <p:custDataLst>
              <p:tags r:id="rId11"/>
            </p:custDataLst>
          </p:nvPr>
        </p:nvSpPr>
        <p:spPr bwMode="gray">
          <a:xfrm>
            <a:off x="4656138" y="50657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0" name="Rectangle 319"/>
          <p:cNvSpPr/>
          <p:nvPr>
            <p:custDataLst>
              <p:tags r:id="rId12"/>
            </p:custDataLst>
          </p:nvPr>
        </p:nvSpPr>
        <p:spPr bwMode="gray">
          <a:xfrm>
            <a:off x="2416175" y="506571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1" name="Rectangle 320"/>
          <p:cNvSpPr/>
          <p:nvPr>
            <p:custDataLst>
              <p:tags r:id="rId13"/>
            </p:custDataLst>
          </p:nvPr>
        </p:nvSpPr>
        <p:spPr bwMode="gray">
          <a:xfrm>
            <a:off x="3706813" y="506571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3" name="Rectangle 322"/>
          <p:cNvSpPr/>
          <p:nvPr>
            <p:custDataLst>
              <p:tags r:id="rId14"/>
            </p:custDataLst>
          </p:nvPr>
        </p:nvSpPr>
        <p:spPr bwMode="gray">
          <a:xfrm>
            <a:off x="5527675" y="506571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4" name="Rectangle 323"/>
          <p:cNvSpPr/>
          <p:nvPr>
            <p:custDataLst>
              <p:tags r:id="rId15"/>
            </p:custDataLst>
          </p:nvPr>
        </p:nvSpPr>
        <p:spPr bwMode="gray">
          <a:xfrm>
            <a:off x="6664325" y="50657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8" name="Text Placeholder 3"/>
          <p:cNvSpPr>
            <a:spLocks noGrp="1"/>
          </p:cNvSpPr>
          <p:nvPr>
            <p:custDataLst>
              <p:tags r:id="rId16"/>
            </p:custDataLst>
          </p:nvPr>
        </p:nvSpPr>
        <p:spPr bwMode="gray">
          <a:xfrm>
            <a:off x="3971925" y="504666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B7D7749-E547-4D31-9CC6-3EEEC0239BD1}" type="datetime'''''''''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7" name="Text Placeholder 3"/>
          <p:cNvSpPr>
            <a:spLocks noGrp="1"/>
          </p:cNvSpPr>
          <p:nvPr>
            <p:custDataLst>
              <p:tags r:id="rId17"/>
            </p:custDataLst>
          </p:nvPr>
        </p:nvSpPr>
        <p:spPr bwMode="gray">
          <a:xfrm>
            <a:off x="2681288" y="504666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7F8B983-CDE4-47FB-BB5E-4FBC64BCD754}" type="datetime'''V''e''''r''y'' ''''''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6" name="Text Placeholder 3"/>
          <p:cNvSpPr>
            <a:spLocks noGrp="1"/>
          </p:cNvSpPr>
          <p:nvPr>
            <p:custDataLst>
              <p:tags r:id="rId18"/>
            </p:custDataLst>
          </p:nvPr>
        </p:nvSpPr>
        <p:spPr bwMode="gray">
          <a:xfrm>
            <a:off x="4921250" y="50466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2E7F819-2851-4AA6-9B4E-3ABD580425B5}" type="datetime'N''''''''''''''''''''''''''''e''''''''''''u''t''''r''a''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eutra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5" name="Text Placeholder 3"/>
          <p:cNvSpPr>
            <a:spLocks noGrp="1"/>
          </p:cNvSpPr>
          <p:nvPr>
            <p:custDataLst>
              <p:tags r:id="rId19"/>
            </p:custDataLst>
          </p:nvPr>
        </p:nvSpPr>
        <p:spPr bwMode="gray">
          <a:xfrm>
            <a:off x="5792788" y="504666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722F4F2-8AD1-405F-9A7E-5BCA30FE76E2}" type="datetime'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4" name="Text Placeholder 3"/>
          <p:cNvSpPr>
            <a:spLocks noGrp="1"/>
          </p:cNvSpPr>
          <p:nvPr>
            <p:custDataLst>
              <p:tags r:id="rId20"/>
            </p:custDataLst>
          </p:nvPr>
        </p:nvSpPr>
        <p:spPr bwMode="gray">
          <a:xfrm>
            <a:off x="6929438" y="504666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C0964463-7572-422A-BC5D-E68900BCC74D}" type="datetime'V''er''y'''''' Diss''''''''a''''''t''i''si''''f''''''''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Dissatisif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31" name="Rectangle 330"/>
          <p:cNvSpPr/>
          <p:nvPr/>
        </p:nvSpPr>
        <p:spPr>
          <a:xfrm>
            <a:off x="7304706" y="2912320"/>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69%</a:t>
            </a:r>
          </a:p>
        </p:txBody>
      </p:sp>
      <p:sp>
        <p:nvSpPr>
          <p:cNvPr id="333" name="Rectangle 332"/>
          <p:cNvSpPr/>
          <p:nvPr/>
        </p:nvSpPr>
        <p:spPr>
          <a:xfrm>
            <a:off x="7283092" y="3518979"/>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67%</a:t>
            </a:r>
          </a:p>
        </p:txBody>
      </p:sp>
      <p:sp>
        <p:nvSpPr>
          <p:cNvPr id="342" name="Rectangle 341"/>
          <p:cNvSpPr/>
          <p:nvPr/>
        </p:nvSpPr>
        <p:spPr>
          <a:xfrm>
            <a:off x="7859674" y="2293907"/>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68" name="Rectangle 6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All Respondents</a:t>
            </a:r>
          </a:p>
        </p:txBody>
      </p:sp>
      <p:sp>
        <p:nvSpPr>
          <p:cNvPr id="83" name="Rectangle 82">
            <a:extLst>
              <a:ext uri="{FF2B5EF4-FFF2-40B4-BE49-F238E27FC236}">
                <a16:creationId xmlns:a16="http://schemas.microsoft.com/office/drawing/2014/main" id="{AA3EDEDD-4CE7-4CD2-84C3-1B804AC877FA}"/>
              </a:ext>
            </a:extLst>
          </p:cNvPr>
          <p:cNvSpPr/>
          <p:nvPr/>
        </p:nvSpPr>
        <p:spPr>
          <a:xfrm>
            <a:off x="7283092" y="4186053"/>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57%</a:t>
            </a:r>
          </a:p>
        </p:txBody>
      </p:sp>
      <p:grpSp>
        <p:nvGrpSpPr>
          <p:cNvPr id="48" name="Group 47">
            <a:extLst>
              <a:ext uri="{FF2B5EF4-FFF2-40B4-BE49-F238E27FC236}">
                <a16:creationId xmlns:a16="http://schemas.microsoft.com/office/drawing/2014/main" id="{596EEA0F-53C4-4637-B43A-3904C9380473}"/>
              </a:ext>
            </a:extLst>
          </p:cNvPr>
          <p:cNvGrpSpPr>
            <a:grpSpLocks noChangeAspect="1"/>
          </p:cNvGrpSpPr>
          <p:nvPr/>
        </p:nvGrpSpPr>
        <p:grpSpPr>
          <a:xfrm>
            <a:off x="537447" y="879793"/>
            <a:ext cx="457200" cy="457200"/>
            <a:chOff x="5867400" y="3200400"/>
            <a:chExt cx="457200" cy="457200"/>
          </a:xfrm>
        </p:grpSpPr>
        <p:sp>
          <p:nvSpPr>
            <p:cNvPr id="49" name="AutoShape 43">
              <a:extLst>
                <a:ext uri="{FF2B5EF4-FFF2-40B4-BE49-F238E27FC236}">
                  <a16:creationId xmlns:a16="http://schemas.microsoft.com/office/drawing/2014/main" id="{D9B0A139-BE48-4C05-9F9C-2929AF07320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51" name="Freeform 17">
              <a:extLst>
                <a:ext uri="{FF2B5EF4-FFF2-40B4-BE49-F238E27FC236}">
                  <a16:creationId xmlns:a16="http://schemas.microsoft.com/office/drawing/2014/main" id="{6844176C-2A93-4FEA-8B5C-5B20555F200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62" name="Rectangle 61">
            <a:extLst>
              <a:ext uri="{FF2B5EF4-FFF2-40B4-BE49-F238E27FC236}">
                <a16:creationId xmlns:a16="http://schemas.microsoft.com/office/drawing/2014/main" id="{FA89BC63-FCBD-4BCF-8CF0-5FFEF572B976}"/>
              </a:ext>
            </a:extLst>
          </p:cNvPr>
          <p:cNvSpPr/>
          <p:nvPr/>
        </p:nvSpPr>
        <p:spPr>
          <a:xfrm>
            <a:off x="7381216" y="4720164"/>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81" name="Rectangle 80">
            <a:extLst>
              <a:ext uri="{FF2B5EF4-FFF2-40B4-BE49-F238E27FC236}">
                <a16:creationId xmlns:a16="http://schemas.microsoft.com/office/drawing/2014/main" id="{6C6C9EB9-A540-4A6B-B0D8-F8FA4040BE6E}"/>
              </a:ext>
            </a:extLst>
          </p:cNvPr>
          <p:cNvSpPr/>
          <p:nvPr/>
        </p:nvSpPr>
        <p:spPr>
          <a:xfrm>
            <a:off x="7859674" y="2931181"/>
            <a:ext cx="904092" cy="211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verage</a:t>
            </a:r>
          </a:p>
        </p:txBody>
      </p:sp>
      <p:grpSp>
        <p:nvGrpSpPr>
          <p:cNvPr id="52" name="Group 51">
            <a:extLst>
              <a:ext uri="{FF2B5EF4-FFF2-40B4-BE49-F238E27FC236}">
                <a16:creationId xmlns:a16="http://schemas.microsoft.com/office/drawing/2014/main" id="{E5F63C50-C2FA-4314-8732-4C8587220C4E}"/>
              </a:ext>
            </a:extLst>
          </p:cNvPr>
          <p:cNvGrpSpPr/>
          <p:nvPr/>
        </p:nvGrpSpPr>
        <p:grpSpPr>
          <a:xfrm>
            <a:off x="11096120" y="607"/>
            <a:ext cx="1229963" cy="1054387"/>
            <a:chOff x="11125937" y="-9332"/>
            <a:chExt cx="1229963" cy="1054387"/>
          </a:xfrm>
        </p:grpSpPr>
        <p:sp>
          <p:nvSpPr>
            <p:cNvPr id="54" name="NavigationTriangle">
              <a:extLst>
                <a:ext uri="{FF2B5EF4-FFF2-40B4-BE49-F238E27FC236}">
                  <a16:creationId xmlns:a16="http://schemas.microsoft.com/office/drawing/2014/main" id="{6283C3CE-EE7F-4620-AFF3-D6FD51B72BFB}"/>
                </a:ext>
              </a:extLst>
            </p:cNvPr>
            <p:cNvSpPr/>
            <p:nvPr/>
          </p:nvSpPr>
          <p:spPr>
            <a:xfrm rot="16200000">
              <a:off x="11147383" y="-30778"/>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GB" sz="1200" dirty="0">
                <a:solidFill>
                  <a:srgbClr val="FFFFFF"/>
                </a:solidFill>
              </a:endParaRPr>
            </a:p>
          </p:txBody>
        </p:sp>
        <p:sp>
          <p:nvSpPr>
            <p:cNvPr id="55" name="Rectangle 54">
              <a:extLst>
                <a:ext uri="{FF2B5EF4-FFF2-40B4-BE49-F238E27FC236}">
                  <a16:creationId xmlns:a16="http://schemas.microsoft.com/office/drawing/2014/main" id="{5730C534-1F6B-4CAA-B5AB-99AAA4330232}"/>
                </a:ext>
              </a:extLst>
            </p:cNvPr>
            <p:cNvSpPr/>
            <p:nvPr/>
          </p:nvSpPr>
          <p:spPr>
            <a:xfrm rot="2635127">
              <a:off x="11178611" y="228341"/>
              <a:ext cx="1177289" cy="4108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a:solidFill>
                    <a:srgbClr val="575757"/>
                  </a:solidFill>
                </a:rPr>
                <a:t>New Question</a:t>
              </a:r>
            </a:p>
          </p:txBody>
        </p:sp>
      </p:grpSp>
      <p:pic>
        <p:nvPicPr>
          <p:cNvPr id="53" name="Picture 52" descr="A picture containing shape&#10;&#10;Description automatically generated">
            <a:extLst>
              <a:ext uri="{FF2B5EF4-FFF2-40B4-BE49-F238E27FC236}">
                <a16:creationId xmlns:a16="http://schemas.microsoft.com/office/drawing/2014/main" id="{B2724A69-330B-4091-B2E9-7B7398F77725}"/>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1767255" y="49023"/>
            <a:ext cx="422118" cy="422118"/>
          </a:xfrm>
          <a:prstGeom prst="rect">
            <a:avLst/>
          </a:prstGeom>
        </p:spPr>
      </p:pic>
      <p:sp>
        <p:nvSpPr>
          <p:cNvPr id="172" name="Rectangle 171">
            <a:extLst>
              <a:ext uri="{FF2B5EF4-FFF2-40B4-BE49-F238E27FC236}">
                <a16:creationId xmlns:a16="http://schemas.microsoft.com/office/drawing/2014/main" id="{39663254-C62E-4336-A0DE-2BBA439D49A9}"/>
              </a:ext>
            </a:extLst>
          </p:cNvPr>
          <p:cNvSpPr/>
          <p:nvPr/>
        </p:nvSpPr>
        <p:spPr>
          <a:xfrm>
            <a:off x="7876658" y="3574777"/>
            <a:ext cx="904092" cy="211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173" name="Rectangle 172">
            <a:extLst>
              <a:ext uri="{FF2B5EF4-FFF2-40B4-BE49-F238E27FC236}">
                <a16:creationId xmlns:a16="http://schemas.microsoft.com/office/drawing/2014/main" id="{081B42C9-6F7D-4B54-B413-3BAFE8956B29}"/>
              </a:ext>
            </a:extLst>
          </p:cNvPr>
          <p:cNvSpPr/>
          <p:nvPr/>
        </p:nvSpPr>
        <p:spPr>
          <a:xfrm>
            <a:off x="7859674" y="4214357"/>
            <a:ext cx="904092" cy="211411"/>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Poor</a:t>
            </a:r>
          </a:p>
        </p:txBody>
      </p:sp>
    </p:spTree>
    <p:custDataLst>
      <p:tags r:id="rId2"/>
    </p:custDataLst>
    <p:extLst>
      <p:ext uri="{BB962C8B-B14F-4D97-AF65-F5344CB8AC3E}">
        <p14:creationId xmlns:p14="http://schemas.microsoft.com/office/powerpoint/2010/main" val="2809387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079" name="think-cell Slide" r:id="rId31" imgW="473" imgH="473" progId="TCLayout.ActiveDocument.1">
                  <p:embed/>
                </p:oleObj>
              </mc:Choice>
              <mc:Fallback>
                <p:oleObj name="think-cell Slide" r:id="rId31" imgW="473" imgH="473" progId="TCLayout.ActiveDocument.1">
                  <p:embed/>
                  <p:pic>
                    <p:nvPicPr>
                      <p:cNvPr id="5" name="Object 4"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56" name="Rectangle 155"/>
          <p:cNvSpPr/>
          <p:nvPr/>
        </p:nvSpPr>
        <p:spPr>
          <a:xfrm>
            <a:off x="9154776" y="0"/>
            <a:ext cx="2873991"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rPr>
              <a:t>Zoom for Mobile maintains its very high E-SAT sc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rgbClr val="FFFFFF"/>
              </a:solidFill>
              <a:latin typeface="Trebuchet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Trebuchet MS"/>
                <a:cs typeface="Arial" pitchFamily="34" charset="0"/>
              </a:rPr>
              <a:t>In Q4, employees continue to be +11% more satisfied with Outlook for Mobile than the native email app (same as Q3)</a:t>
            </a: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Trebuchet MS"/>
                <a:cs typeface="Arial" pitchFamily="34" charset="0"/>
              </a:rPr>
              <a:t>Like other E-SAT scores for Egnyte / file-sharing, at 68% (same as Q3) employees are least satisfied with the Egnyte mobile app</a:t>
            </a:r>
            <a:endParaRPr kumimoji="0" lang="en-GB" sz="1800" b="0" i="0" u="none" strike="noStrike" kern="1200" cap="none" spc="0" normalizeH="0" baseline="0" noProof="0" dirty="0">
              <a:ln>
                <a:noFill/>
              </a:ln>
              <a:solidFill>
                <a:srgbClr val="FFFFFF"/>
              </a:solidFill>
              <a:effectLst/>
              <a:uLnTx/>
              <a:uFillTx/>
              <a:latin typeface="Trebuchet MS"/>
              <a:ea typeface="+mn-ea"/>
              <a:cs typeface="Arial" pitchFamily="34" charset="0"/>
            </a:endParaRP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Digital Collaboration Mobile Apps – Satisfaction</a:t>
            </a:r>
          </a:p>
        </p:txBody>
      </p:sp>
      <p:graphicFrame>
        <p:nvGraphicFramePr>
          <p:cNvPr id="85" name="Chart 84">
            <a:extLst>
              <a:ext uri="{FF2B5EF4-FFF2-40B4-BE49-F238E27FC236}">
                <a16:creationId xmlns:a16="http://schemas.microsoft.com/office/drawing/2014/main" id="{DC3CFD96-5D3E-441A-8099-4F34682771FA}"/>
              </a:ext>
            </a:extLst>
          </p:cNvPr>
          <p:cNvGraphicFramePr/>
          <p:nvPr>
            <p:custDataLst>
              <p:tags r:id="rId5"/>
            </p:custDataLst>
          </p:nvPr>
        </p:nvGraphicFramePr>
        <p:xfrm>
          <a:off x="2497138" y="1982788"/>
          <a:ext cx="5038725" cy="4262437"/>
        </p:xfrm>
        <a:graphic>
          <a:graphicData uri="http://schemas.openxmlformats.org/drawingml/2006/chart">
            <c:chart xmlns:c="http://schemas.openxmlformats.org/drawingml/2006/chart" xmlns:r="http://schemas.openxmlformats.org/officeDocument/2006/relationships" r:id="rId33"/>
          </a:graphicData>
        </a:graphic>
      </p:graphicFrame>
      <p:cxnSp>
        <p:nvCxnSpPr>
          <p:cNvPr id="12" name="Straight Connector 11">
            <a:extLst>
              <a:ext uri="{FF2B5EF4-FFF2-40B4-BE49-F238E27FC236}">
                <a16:creationId xmlns:a16="http://schemas.microsoft.com/office/drawing/2014/main" id="{A40EBD26-5B4B-49B3-93D0-0EF5AB37556E}"/>
              </a:ext>
            </a:extLst>
          </p:cNvPr>
          <p:cNvCxnSpPr>
            <a:cxnSpLocks/>
          </p:cNvCxnSpPr>
          <p:nvPr>
            <p:custDataLst>
              <p:tags r:id="rId6"/>
            </p:custDataLst>
          </p:nvPr>
        </p:nvCxnSpPr>
        <p:spPr bwMode="gray">
          <a:xfrm flipV="1">
            <a:off x="7183438" y="2535238"/>
            <a:ext cx="0" cy="698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B2DC5A9F-8F4C-43DA-87B1-3E5E6450E5FB}"/>
              </a:ext>
            </a:extLst>
          </p:cNvPr>
          <p:cNvCxnSpPr/>
          <p:nvPr>
            <p:custDataLst>
              <p:tags r:id="rId7"/>
            </p:custDataLst>
          </p:nvPr>
        </p:nvCxnSpPr>
        <p:spPr bwMode="gray">
          <a:xfrm flipV="1">
            <a:off x="7156450" y="3178175"/>
            <a:ext cx="0" cy="698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0" name="Text Placeholder 3">
            <a:extLst>
              <a:ext uri="{FF2B5EF4-FFF2-40B4-BE49-F238E27FC236}">
                <a16:creationId xmlns:a16="http://schemas.microsoft.com/office/drawing/2014/main" id="{94B557B6-2043-4A21-83C8-D762B4DEA283}"/>
              </a:ext>
            </a:extLst>
          </p:cNvPr>
          <p:cNvSpPr>
            <a:spLocks noGrp="1"/>
          </p:cNvSpPr>
          <p:nvPr>
            <p:custDataLst>
              <p:tags r:id="rId8"/>
            </p:custDataLst>
          </p:nvPr>
        </p:nvSpPr>
        <p:spPr bwMode="gray">
          <a:xfrm>
            <a:off x="7196138" y="2284413"/>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989798B5-D873-4880-98ED-35AC26B4A27C}" type="datetime'''''''''''''1'''''''''''''''''''''''''''''''''''''''''">
              <a:rPr lang="en-US" altLang="en-US" smtClean="0">
                <a:solidFill>
                  <a:srgbClr val="FFFFFF"/>
                </a:solidFill>
                <a:effectLst/>
              </a:rPr>
              <a:pPr/>
              <a:t>1</a:t>
            </a:fld>
            <a:endParaRPr kumimoji="0" lang="en-US" sz="1200" b="0" i="0" strike="noStrike" kern="1200" cap="none" spc="0" normalizeH="0" baseline="0" noProof="0" dirty="0">
              <a:ln>
                <a:noFill/>
              </a:ln>
              <a:solidFill>
                <a:srgbClr val="FFFFFF"/>
              </a:solidFill>
              <a:effectLst/>
              <a:uLnTx/>
              <a:uFillTx/>
              <a:ea typeface="+mn-ea"/>
              <a:cs typeface="+mn-cs"/>
              <a:sym typeface="+mn-lt"/>
            </a:endParaRPr>
          </a:p>
        </p:txBody>
      </p:sp>
      <p:sp>
        <p:nvSpPr>
          <p:cNvPr id="220" name="Text Placeholder 3">
            <a:extLst>
              <a:ext uri="{FF2B5EF4-FFF2-40B4-BE49-F238E27FC236}">
                <a16:creationId xmlns:a16="http://schemas.microsoft.com/office/drawing/2014/main" id="{9FAD71C8-36B6-40AA-96E8-8732FDD128AE}"/>
              </a:ext>
            </a:extLst>
          </p:cNvPr>
          <p:cNvSpPr>
            <a:spLocks noGrp="1"/>
          </p:cNvSpPr>
          <p:nvPr>
            <p:custDataLst>
              <p:tags r:id="rId9"/>
            </p:custDataLst>
          </p:nvPr>
        </p:nvSpPr>
        <p:spPr bwMode="gray">
          <a:xfrm>
            <a:off x="1579563" y="2927350"/>
            <a:ext cx="10826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9817A21-64E8-4100-8A98-858E0D7A7F0E}" type="datetime'S''''lac''''k fo''''r'' M''''''''''''''o''bi''''''''''''le'''">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lack for Mobile</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07" name="Text Placeholder 3">
            <a:extLst>
              <a:ext uri="{FF2B5EF4-FFF2-40B4-BE49-F238E27FC236}">
                <a16:creationId xmlns:a16="http://schemas.microsoft.com/office/drawing/2014/main" id="{B984F4D0-8810-4D2C-AA01-BA4EF4F54A91}"/>
              </a:ext>
            </a:extLst>
          </p:cNvPr>
          <p:cNvSpPr>
            <a:spLocks noGrp="1"/>
          </p:cNvSpPr>
          <p:nvPr>
            <p:custDataLst>
              <p:tags r:id="rId10"/>
            </p:custDataLst>
          </p:nvPr>
        </p:nvSpPr>
        <p:spPr bwMode="gray">
          <a:xfrm>
            <a:off x="1552575" y="2284413"/>
            <a:ext cx="11096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B60417AE-B2C4-46DD-A269-08B8AE597339}" type="datetime'''''Zoo''''''''''m ''''''''f''or ''''M''''o''b''''''i''l''e'">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Zoom for Mobile</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221" name="Text Placeholder 3">
            <a:extLst>
              <a:ext uri="{FF2B5EF4-FFF2-40B4-BE49-F238E27FC236}">
                <a16:creationId xmlns:a16="http://schemas.microsoft.com/office/drawing/2014/main" id="{A0AAC2F5-DBFB-465B-A9E3-4968AEF9E73C}"/>
              </a:ext>
            </a:extLst>
          </p:cNvPr>
          <p:cNvSpPr>
            <a:spLocks noGrp="1"/>
          </p:cNvSpPr>
          <p:nvPr>
            <p:custDataLst>
              <p:tags r:id="rId11"/>
            </p:custDataLst>
          </p:nvPr>
        </p:nvSpPr>
        <p:spPr bwMode="gray">
          <a:xfrm>
            <a:off x="7185025" y="2927350"/>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76E2D73D-14DD-4FDD-A4CE-7DD784AAD276}" type="datetime'''''''''''''''''''''''''''''''''''''1'''''''''''''''">
              <a:rPr lang="en-US" altLang="en-US" smtClean="0">
                <a:solidFill>
                  <a:srgbClr val="FFFFFF"/>
                </a:solidFill>
                <a:effectLst/>
              </a:rPr>
              <a:pPr/>
              <a:t>1</a:t>
            </a:fld>
            <a:endParaRPr kumimoji="0" lang="en-US" sz="1200" b="0" i="0" strike="noStrike" kern="1200" cap="none" spc="0" normalizeH="0" baseline="0" noProof="0" dirty="0">
              <a:ln>
                <a:noFill/>
              </a:ln>
              <a:solidFill>
                <a:srgbClr val="FFFFFF"/>
              </a:solidFill>
              <a:effectLst/>
              <a:uLnTx/>
              <a:uFillTx/>
              <a:ea typeface="+mn-ea"/>
              <a:cs typeface="+mn-cs"/>
              <a:sym typeface="+mn-lt"/>
            </a:endParaRPr>
          </a:p>
        </p:txBody>
      </p:sp>
      <p:sp>
        <p:nvSpPr>
          <p:cNvPr id="176" name="Text Placeholder 3">
            <a:extLst>
              <a:ext uri="{FF2B5EF4-FFF2-40B4-BE49-F238E27FC236}">
                <a16:creationId xmlns:a16="http://schemas.microsoft.com/office/drawing/2014/main" id="{F54D1261-543B-4154-8465-7DA0566EC0E0}"/>
              </a:ext>
            </a:extLst>
          </p:cNvPr>
          <p:cNvSpPr>
            <a:spLocks noGrp="1"/>
          </p:cNvSpPr>
          <p:nvPr>
            <p:custDataLst>
              <p:tags r:id="rId12"/>
            </p:custDataLst>
          </p:nvPr>
        </p:nvSpPr>
        <p:spPr bwMode="gray">
          <a:xfrm>
            <a:off x="7178675" y="3568700"/>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9BBCE6F-7578-488C-B92B-636FECF37AF0}" type="datetime'''''''''''''1'''''''''''''''''''''''''''''''''''''''''''''''">
              <a:rPr lang="en-US" altLang="en-US" smtClean="0">
                <a:solidFill>
                  <a:schemeClr val="bg1"/>
                </a:solidFill>
                <a:effectLst/>
              </a:rPr>
              <a:pPr/>
              <a:t>1</a:t>
            </a:fld>
            <a:endParaRPr lang="en-US" dirty="0">
              <a:solidFill>
                <a:schemeClr val="bg1"/>
              </a:solidFill>
              <a:sym typeface="+mn-lt"/>
            </a:endParaRPr>
          </a:p>
        </p:txBody>
      </p:sp>
      <p:sp>
        <p:nvSpPr>
          <p:cNvPr id="180" name="Text Placeholder 3">
            <a:extLst>
              <a:ext uri="{FF2B5EF4-FFF2-40B4-BE49-F238E27FC236}">
                <a16:creationId xmlns:a16="http://schemas.microsoft.com/office/drawing/2014/main" id="{0D66FF47-222E-4370-9645-DCA8B07BAF54}"/>
              </a:ext>
            </a:extLst>
          </p:cNvPr>
          <p:cNvSpPr>
            <a:spLocks noGrp="1"/>
          </p:cNvSpPr>
          <p:nvPr>
            <p:custDataLst>
              <p:tags r:id="rId13"/>
            </p:custDataLst>
          </p:nvPr>
        </p:nvSpPr>
        <p:spPr bwMode="gray">
          <a:xfrm>
            <a:off x="1508125" y="4210050"/>
            <a:ext cx="11541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6D5DFD26-292A-4F0E-A6FA-6A9CEB8C9A85}" type="datetime'N''a''''''''''''ti''''ve'' E''''m''a''''''il'''' A''''pp'">
              <a:rPr lang="en-US" altLang="en-US" smtClean="0">
                <a:solidFill>
                  <a:srgbClr val="575757"/>
                </a:solidFill>
              </a:rPr>
              <a:pPr/>
              <a:t>Native Email App</a:t>
            </a:fld>
            <a:endParaRPr kumimoji="0" lang="en-US" sz="1200" b="0" i="0" strike="noStrike" kern="1200" cap="none" spc="0" normalizeH="0" baseline="0" noProof="0" dirty="0">
              <a:ln>
                <a:noFill/>
              </a:ln>
              <a:solidFill>
                <a:srgbClr val="575757"/>
              </a:solidFill>
              <a:effectLst/>
              <a:uLnTx/>
              <a:uFillTx/>
              <a:sym typeface="+mn-lt"/>
            </a:endParaRPr>
          </a:p>
        </p:txBody>
      </p:sp>
      <p:sp>
        <p:nvSpPr>
          <p:cNvPr id="174" name="Text Placeholder 3">
            <a:extLst>
              <a:ext uri="{FF2B5EF4-FFF2-40B4-BE49-F238E27FC236}">
                <a16:creationId xmlns:a16="http://schemas.microsoft.com/office/drawing/2014/main" id="{30DE8EC0-1D0F-410D-A7DD-50DE51C8410B}"/>
              </a:ext>
            </a:extLst>
          </p:cNvPr>
          <p:cNvSpPr>
            <a:spLocks noGrp="1"/>
          </p:cNvSpPr>
          <p:nvPr>
            <p:custDataLst>
              <p:tags r:id="rId14"/>
            </p:custDataLst>
          </p:nvPr>
        </p:nvSpPr>
        <p:spPr bwMode="gray">
          <a:xfrm>
            <a:off x="1397000" y="3568700"/>
            <a:ext cx="12652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1368D14C-0A56-4F51-BC2E-B610DDE70A3B}" type="datetime'O''''''u''''''''tl''''oo''k fo''''''r ''Mo''bi''''''''l''e'">
              <a:rPr lang="en-US" altLang="en-US" smtClean="0">
                <a:solidFill>
                  <a:srgbClr val="575757"/>
                </a:solidFill>
              </a:rPr>
              <a:pPr lvl="0" algn="r">
                <a:spcBef>
                  <a:spcPct val="0"/>
                </a:spcBef>
                <a:spcAft>
                  <a:spcPct val="0"/>
                </a:spcAft>
              </a:pPr>
              <a:t>Outlook for Mobile</a:t>
            </a:fld>
            <a:endParaRPr kumimoji="0" lang="en-US" sz="1200" b="0" i="0" strike="noStrike" kern="1200" cap="none" spc="0" normalizeH="0" baseline="0" noProof="0" dirty="0">
              <a:ln>
                <a:noFill/>
              </a:ln>
              <a:solidFill>
                <a:srgbClr val="575757"/>
              </a:solidFill>
              <a:effectLst/>
              <a:uLnTx/>
              <a:uFillTx/>
              <a:sym typeface="+mn-lt"/>
            </a:endParaRPr>
          </a:p>
        </p:txBody>
      </p:sp>
      <p:sp>
        <p:nvSpPr>
          <p:cNvPr id="183" name="Text Placeholder 3">
            <a:extLst>
              <a:ext uri="{FF2B5EF4-FFF2-40B4-BE49-F238E27FC236}">
                <a16:creationId xmlns:a16="http://schemas.microsoft.com/office/drawing/2014/main" id="{BAADD3CE-A498-4ACA-B7B8-065787C1F444}"/>
              </a:ext>
            </a:extLst>
          </p:cNvPr>
          <p:cNvSpPr>
            <a:spLocks noGrp="1"/>
          </p:cNvSpPr>
          <p:nvPr>
            <p:custDataLst>
              <p:tags r:id="rId15"/>
            </p:custDataLst>
          </p:nvPr>
        </p:nvSpPr>
        <p:spPr bwMode="gray">
          <a:xfrm>
            <a:off x="7175500" y="4210050"/>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D3BB154-C77C-460F-A795-DBE2C08629E2}" type="datetime'''''''''''''''''''''''''''''''''''2'''''''''''''''''''">
              <a:rPr lang="en-US" altLang="en-US" smtClean="0">
                <a:solidFill>
                  <a:schemeClr val="bg1"/>
                </a:solidFill>
                <a:effectLst/>
              </a:rPr>
              <a:pPr/>
              <a:t>2</a:t>
            </a:fld>
            <a:endParaRPr lang="en-US" dirty="0">
              <a:solidFill>
                <a:schemeClr val="bg1"/>
              </a:solidFill>
              <a:sym typeface="+mn-lt"/>
            </a:endParaRPr>
          </a:p>
        </p:txBody>
      </p:sp>
      <p:sp>
        <p:nvSpPr>
          <p:cNvPr id="181" name="Text Placeholder 3">
            <a:extLst>
              <a:ext uri="{FF2B5EF4-FFF2-40B4-BE49-F238E27FC236}">
                <a16:creationId xmlns:a16="http://schemas.microsoft.com/office/drawing/2014/main" id="{C65B68F9-282E-4F8D-8CB8-57F7DEC20C2B}"/>
              </a:ext>
            </a:extLst>
          </p:cNvPr>
          <p:cNvSpPr>
            <a:spLocks noGrp="1"/>
          </p:cNvSpPr>
          <p:nvPr>
            <p:custDataLst>
              <p:tags r:id="rId16"/>
            </p:custDataLst>
          </p:nvPr>
        </p:nvSpPr>
        <p:spPr bwMode="gray">
          <a:xfrm>
            <a:off x="1014413" y="4751388"/>
            <a:ext cx="1647825"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C337B122-AC20-4A86-B171-AABB1F4E8AD3}" type="datetime'''Calenda''ring &#10;(not ''O''''utlook'' ''for M''''ob''ile)'">
              <a:rPr lang="en-US" altLang="en-US" smtClean="0">
                <a:solidFill>
                  <a:srgbClr val="575757"/>
                </a:solidFill>
              </a:rPr>
              <a:pPr/>
              <a:t>Calendaring 
(not Outlook for Mobile)</a:t>
            </a:fld>
            <a:endParaRPr kumimoji="0" lang="en-US" sz="1200" b="0" i="0" strike="noStrike" kern="1200" cap="none" spc="0" normalizeH="0" baseline="0" noProof="0" dirty="0">
              <a:ln>
                <a:noFill/>
              </a:ln>
              <a:solidFill>
                <a:srgbClr val="575757"/>
              </a:solidFill>
              <a:effectLst/>
              <a:uLnTx/>
              <a:uFillTx/>
              <a:sym typeface="+mn-lt"/>
            </a:endParaRPr>
          </a:p>
        </p:txBody>
      </p:sp>
      <p:sp>
        <p:nvSpPr>
          <p:cNvPr id="129" name="Text Placeholder 3">
            <a:extLst>
              <a:ext uri="{FF2B5EF4-FFF2-40B4-BE49-F238E27FC236}">
                <a16:creationId xmlns:a16="http://schemas.microsoft.com/office/drawing/2014/main" id="{8DCCAD0C-15F8-453B-AE82-AFF13370EB38}"/>
              </a:ext>
            </a:extLst>
          </p:cNvPr>
          <p:cNvSpPr>
            <a:spLocks noGrp="1"/>
          </p:cNvSpPr>
          <p:nvPr>
            <p:custDataLst>
              <p:tags r:id="rId17"/>
            </p:custDataLst>
          </p:nvPr>
        </p:nvSpPr>
        <p:spPr bwMode="gray">
          <a:xfrm>
            <a:off x="1471613" y="5494338"/>
            <a:ext cx="11906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B366062E-A91B-49C5-BB10-1A017779756B}" type="datetime'E''''''g''''''''n''''''y''''te ''fo''r Mo''''bi''''l''''e'''">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gnyte for Mobile</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79" name="Text Placeholder 3">
            <a:extLst>
              <a:ext uri="{FF2B5EF4-FFF2-40B4-BE49-F238E27FC236}">
                <a16:creationId xmlns:a16="http://schemas.microsoft.com/office/drawing/2014/main" id="{AD8E3C6D-C5BD-4A6B-ADFC-6E04539DF50E}"/>
              </a:ext>
            </a:extLst>
          </p:cNvPr>
          <p:cNvSpPr>
            <a:spLocks noGrp="1"/>
          </p:cNvSpPr>
          <p:nvPr>
            <p:custDataLst>
              <p:tags r:id="rId18"/>
            </p:custDataLst>
          </p:nvPr>
        </p:nvSpPr>
        <p:spPr bwMode="gray">
          <a:xfrm>
            <a:off x="6996113" y="4210051"/>
            <a:ext cx="11747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dirty="0">
                <a:solidFill>
                  <a:schemeClr val="bg1"/>
                </a:solidFill>
                <a:effectLst/>
                <a:sym typeface="+mn-lt"/>
              </a:rPr>
              <a:t>6</a:t>
            </a:r>
            <a:endParaRPr lang="en-US" dirty="0">
              <a:solidFill>
                <a:schemeClr val="bg1"/>
              </a:solidFill>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295E7E"/>
                </a:solidFill>
                <a:effectLst/>
                <a:uLnTx/>
                <a:uFillTx/>
                <a:latin typeface="Trebuchet MS"/>
                <a:ea typeface="+mn-ea"/>
                <a:cs typeface="+mn-cs"/>
              </a:rPr>
              <a:t>% of respondents satisfied with:</a:t>
            </a:r>
            <a:endParaRPr kumimoji="0" lang="en-GB" sz="1200" b="1" i="0" u="none" strike="noStrike" kern="1200" cap="none" spc="0" normalizeH="0" baseline="0" noProof="0" dirty="0">
              <a:ln>
                <a:noFill/>
              </a:ln>
              <a:solidFill>
                <a:srgbClr val="295E7E"/>
              </a:solidFill>
              <a:effectLst/>
              <a:uLnTx/>
              <a:uFillTx/>
              <a:latin typeface="Trebuchet MS"/>
              <a:ea typeface="+mn-ea"/>
              <a:cs typeface="+mn-cs"/>
            </a:endParaRPr>
          </a:p>
        </p:txBody>
      </p:sp>
      <p:sp>
        <p:nvSpPr>
          <p:cNvPr id="33" name="Rectangle 32"/>
          <p:cNvSpPr/>
          <p:nvPr/>
        </p:nvSpPr>
        <p:spPr>
          <a:xfrm>
            <a:off x="7268553" y="1810150"/>
            <a:ext cx="562440" cy="2472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E-SAT</a:t>
            </a:r>
          </a:p>
        </p:txBody>
      </p:sp>
      <p:sp>
        <p:nvSpPr>
          <p:cNvPr id="34" name="Rectangle 33"/>
          <p:cNvSpPr/>
          <p:nvPr/>
        </p:nvSpPr>
        <p:spPr>
          <a:xfrm>
            <a:off x="7822432" y="1824069"/>
            <a:ext cx="893049" cy="20505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rade</a:t>
            </a:r>
          </a:p>
        </p:txBody>
      </p:sp>
      <p:sp>
        <p:nvSpPr>
          <p:cNvPr id="57" name="Rectangle 56"/>
          <p:cNvSpPr/>
          <p:nvPr/>
        </p:nvSpPr>
        <p:spPr>
          <a:xfrm>
            <a:off x="7283093" y="2261084"/>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90</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58" name="Rectangle 57"/>
          <p:cNvSpPr/>
          <p:nvPr/>
        </p:nvSpPr>
        <p:spPr>
          <a:xfrm>
            <a:off x="7820763" y="2942109"/>
            <a:ext cx="904092" cy="211411"/>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200" dirty="0">
                <a:solidFill>
                  <a:srgbClr val="FFFFFF"/>
                </a:solidFill>
                <a:latin typeface="Trebuchet MS"/>
              </a:rPr>
              <a:t>Excellent</a:t>
            </a: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2" name="Rectangle 321"/>
          <p:cNvSpPr/>
          <p:nvPr>
            <p:custDataLst>
              <p:tags r:id="rId19"/>
            </p:custDataLst>
          </p:nvPr>
        </p:nvSpPr>
        <p:spPr bwMode="gray">
          <a:xfrm>
            <a:off x="5064125" y="63420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0" name="Rectangle 319"/>
          <p:cNvSpPr/>
          <p:nvPr>
            <p:custDataLst>
              <p:tags r:id="rId20"/>
            </p:custDataLst>
          </p:nvPr>
        </p:nvSpPr>
        <p:spPr bwMode="gray">
          <a:xfrm>
            <a:off x="2824163" y="63420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1" name="Rectangle 320"/>
          <p:cNvSpPr/>
          <p:nvPr>
            <p:custDataLst>
              <p:tags r:id="rId21"/>
            </p:custDataLst>
          </p:nvPr>
        </p:nvSpPr>
        <p:spPr bwMode="gray">
          <a:xfrm>
            <a:off x="4114800" y="63420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3" name="Rectangle 322"/>
          <p:cNvSpPr/>
          <p:nvPr>
            <p:custDataLst>
              <p:tags r:id="rId22"/>
            </p:custDataLst>
          </p:nvPr>
        </p:nvSpPr>
        <p:spPr bwMode="gray">
          <a:xfrm>
            <a:off x="5935663" y="63420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4" name="Rectangle 323"/>
          <p:cNvSpPr/>
          <p:nvPr>
            <p:custDataLst>
              <p:tags r:id="rId23"/>
            </p:custDataLst>
          </p:nvPr>
        </p:nvSpPr>
        <p:spPr bwMode="gray">
          <a:xfrm>
            <a:off x="7072313" y="63420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7" name="Text Placeholder 3"/>
          <p:cNvSpPr>
            <a:spLocks noGrp="1"/>
          </p:cNvSpPr>
          <p:nvPr>
            <p:custDataLst>
              <p:tags r:id="rId24"/>
            </p:custDataLst>
          </p:nvPr>
        </p:nvSpPr>
        <p:spPr bwMode="gray">
          <a:xfrm>
            <a:off x="3089275" y="632301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7F8B983-CDE4-47FB-BB5E-4FBC64BCD754}" type="datetime'''V''e''''r''y'' ''''''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8" name="Text Placeholder 3"/>
          <p:cNvSpPr>
            <a:spLocks noGrp="1"/>
          </p:cNvSpPr>
          <p:nvPr>
            <p:custDataLst>
              <p:tags r:id="rId25"/>
            </p:custDataLst>
          </p:nvPr>
        </p:nvSpPr>
        <p:spPr bwMode="gray">
          <a:xfrm>
            <a:off x="4379913" y="63230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B7D7749-E547-4D31-9CC6-3EEEC0239BD1}" type="datetime'''''''''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4" name="Text Placeholder 3"/>
          <p:cNvSpPr>
            <a:spLocks noGrp="1"/>
          </p:cNvSpPr>
          <p:nvPr>
            <p:custDataLst>
              <p:tags r:id="rId26"/>
            </p:custDataLst>
          </p:nvPr>
        </p:nvSpPr>
        <p:spPr bwMode="gray">
          <a:xfrm>
            <a:off x="7337425" y="63230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C0964463-7572-422A-BC5D-E68900BCC74D}" type="datetime'V''er''y'''''' Diss''''''''a''''''t''i''si''''f''''''''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Very Dissatisif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5" name="Text Placeholder 3"/>
          <p:cNvSpPr>
            <a:spLocks noGrp="1"/>
          </p:cNvSpPr>
          <p:nvPr>
            <p:custDataLst>
              <p:tags r:id="rId27"/>
            </p:custDataLst>
          </p:nvPr>
        </p:nvSpPr>
        <p:spPr bwMode="gray">
          <a:xfrm>
            <a:off x="6200775" y="63230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722F4F2-8AD1-405F-9A7E-5BCA30FE76E2}" type="datetime'D''''''''''''''i''''''''ss''a''t''''''is''f''''i''''ed'">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issatisfied</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16" name="Text Placeholder 3"/>
          <p:cNvSpPr>
            <a:spLocks noGrp="1"/>
          </p:cNvSpPr>
          <p:nvPr>
            <p:custDataLst>
              <p:tags r:id="rId28"/>
            </p:custDataLst>
          </p:nvPr>
        </p:nvSpPr>
        <p:spPr bwMode="gray">
          <a:xfrm>
            <a:off x="5329238" y="63230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2E7F819-2851-4AA6-9B4E-3ABD580425B5}" type="datetime'N''''''''''''''''''''''''''''e''''''''''''u''t''''r''a''l'''">
              <a:rPr kumimoji="0" lang="en-US" altLang="en-US" sz="1200" b="0" i="0" u="none" strike="noStrike" kern="1200" cap="none" spc="0" normalizeH="0" baseline="0" noProof="0" smtClean="0">
                <a:ln>
                  <a:noFill/>
                </a:ln>
                <a:solidFill>
                  <a:srgbClr val="575757"/>
                </a:solidFill>
                <a:effectLst/>
                <a:uLnTx/>
                <a:uFillTx/>
                <a:latin typeface="Trebuchet MS"/>
                <a:ea typeface="+mn-ea"/>
                <a:cs typeface="+mn-cs"/>
                <a:sym typeface="+mn-lt"/>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eutral</a:t>
            </a:fld>
            <a:endParaRPr kumimoji="0" lang="en-US" sz="1200" b="0" i="0" u="none" strike="noStrike" kern="1200" cap="none" spc="0" normalizeH="0" baseline="0" noProof="0" dirty="0">
              <a:ln>
                <a:noFill/>
              </a:ln>
              <a:solidFill>
                <a:srgbClr val="575757"/>
              </a:solidFill>
              <a:effectLst/>
              <a:uLnTx/>
              <a:uFillTx/>
              <a:latin typeface="Trebuchet MS"/>
              <a:ea typeface="+mn-ea"/>
              <a:cs typeface="+mn-cs"/>
              <a:sym typeface="+mn-lt"/>
            </a:endParaRPr>
          </a:p>
        </p:txBody>
      </p:sp>
      <p:sp>
        <p:nvSpPr>
          <p:cNvPr id="330" name="Rectangle 329"/>
          <p:cNvSpPr/>
          <p:nvPr/>
        </p:nvSpPr>
        <p:spPr>
          <a:xfrm>
            <a:off x="7826643" y="3544500"/>
            <a:ext cx="904092" cy="211411"/>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331" name="Rectangle 330"/>
          <p:cNvSpPr/>
          <p:nvPr/>
        </p:nvSpPr>
        <p:spPr>
          <a:xfrm>
            <a:off x="7304706" y="2912320"/>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90</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333" name="Rectangle 332"/>
          <p:cNvSpPr/>
          <p:nvPr/>
        </p:nvSpPr>
        <p:spPr>
          <a:xfrm>
            <a:off x="7283092" y="3518979"/>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85</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335" name="Rectangle 334"/>
          <p:cNvSpPr/>
          <p:nvPr/>
        </p:nvSpPr>
        <p:spPr>
          <a:xfrm>
            <a:off x="7264087" y="4814471"/>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76</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342" name="Rectangle 341"/>
          <p:cNvSpPr/>
          <p:nvPr/>
        </p:nvSpPr>
        <p:spPr>
          <a:xfrm>
            <a:off x="7832463" y="4228377"/>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68" name="Rectangle 6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All Respondents</a:t>
            </a:r>
          </a:p>
        </p:txBody>
      </p:sp>
      <p:sp>
        <p:nvSpPr>
          <p:cNvPr id="83" name="Rectangle 82">
            <a:extLst>
              <a:ext uri="{FF2B5EF4-FFF2-40B4-BE49-F238E27FC236}">
                <a16:creationId xmlns:a16="http://schemas.microsoft.com/office/drawing/2014/main" id="{AA3EDEDD-4CE7-4CD2-84C3-1B804AC877FA}"/>
              </a:ext>
            </a:extLst>
          </p:cNvPr>
          <p:cNvSpPr/>
          <p:nvPr/>
        </p:nvSpPr>
        <p:spPr>
          <a:xfrm>
            <a:off x="7283092" y="4186053"/>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575757"/>
                </a:solidFill>
                <a:latin typeface="Trebuchet MS"/>
              </a:rPr>
              <a:t>74</a:t>
            </a:r>
            <a:r>
              <a:rPr kumimoji="0" lang="en-US" sz="1400" b="1" i="0" u="none" strike="noStrike" kern="1200" cap="none" spc="0" normalizeH="0" baseline="0" noProof="0" dirty="0">
                <a:ln>
                  <a:noFill/>
                </a:ln>
                <a:solidFill>
                  <a:srgbClr val="575757"/>
                </a:solidFill>
                <a:effectLst/>
                <a:uLnTx/>
                <a:uFillTx/>
                <a:latin typeface="Trebuchet MS"/>
                <a:ea typeface="+mn-ea"/>
                <a:cs typeface="+mn-cs"/>
              </a:rPr>
              <a:t>%</a:t>
            </a:r>
          </a:p>
        </p:txBody>
      </p:sp>
      <p:grpSp>
        <p:nvGrpSpPr>
          <p:cNvPr id="48" name="Group 47">
            <a:extLst>
              <a:ext uri="{FF2B5EF4-FFF2-40B4-BE49-F238E27FC236}">
                <a16:creationId xmlns:a16="http://schemas.microsoft.com/office/drawing/2014/main" id="{596EEA0F-53C4-4637-B43A-3904C9380473}"/>
              </a:ext>
            </a:extLst>
          </p:cNvPr>
          <p:cNvGrpSpPr>
            <a:grpSpLocks noChangeAspect="1"/>
          </p:cNvGrpSpPr>
          <p:nvPr/>
        </p:nvGrpSpPr>
        <p:grpSpPr>
          <a:xfrm>
            <a:off x="537447" y="879793"/>
            <a:ext cx="457200" cy="457200"/>
            <a:chOff x="5867400" y="3200400"/>
            <a:chExt cx="457200" cy="457200"/>
          </a:xfrm>
        </p:grpSpPr>
        <p:sp>
          <p:nvSpPr>
            <p:cNvPr id="49" name="AutoShape 43">
              <a:extLst>
                <a:ext uri="{FF2B5EF4-FFF2-40B4-BE49-F238E27FC236}">
                  <a16:creationId xmlns:a16="http://schemas.microsoft.com/office/drawing/2014/main" id="{D9B0A139-BE48-4C05-9F9C-2929AF07320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51" name="Freeform 17">
              <a:extLst>
                <a:ext uri="{FF2B5EF4-FFF2-40B4-BE49-F238E27FC236}">
                  <a16:creationId xmlns:a16="http://schemas.microsoft.com/office/drawing/2014/main" id="{6844176C-2A93-4FEA-8B5C-5B20555F200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63" name="Rectangle 262">
            <a:extLst>
              <a:ext uri="{FF2B5EF4-FFF2-40B4-BE49-F238E27FC236}">
                <a16:creationId xmlns:a16="http://schemas.microsoft.com/office/drawing/2014/main" id="{6DD22C5C-82B2-4F23-9BF6-6A45DDBB73A9}"/>
              </a:ext>
            </a:extLst>
          </p:cNvPr>
          <p:cNvSpPr/>
          <p:nvPr/>
        </p:nvSpPr>
        <p:spPr>
          <a:xfrm>
            <a:off x="7294749" y="5460846"/>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Trebuchet MS"/>
                <a:ea typeface="+mn-ea"/>
                <a:cs typeface="+mn-cs"/>
              </a:rPr>
              <a:t>68%</a:t>
            </a:r>
          </a:p>
        </p:txBody>
      </p:sp>
      <p:sp>
        <p:nvSpPr>
          <p:cNvPr id="264" name="Rectangle 263">
            <a:extLst>
              <a:ext uri="{FF2B5EF4-FFF2-40B4-BE49-F238E27FC236}">
                <a16:creationId xmlns:a16="http://schemas.microsoft.com/office/drawing/2014/main" id="{922CEECA-F915-4A77-9F21-1F8CF99CACCC}"/>
              </a:ext>
            </a:extLst>
          </p:cNvPr>
          <p:cNvSpPr/>
          <p:nvPr/>
        </p:nvSpPr>
        <p:spPr>
          <a:xfrm>
            <a:off x="7827370" y="2273515"/>
            <a:ext cx="904092" cy="211411"/>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Trebuchet MS"/>
              </a:rPr>
              <a:t>Excellent</a:t>
            </a: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62" name="Rectangle 61">
            <a:extLst>
              <a:ext uri="{FF2B5EF4-FFF2-40B4-BE49-F238E27FC236}">
                <a16:creationId xmlns:a16="http://schemas.microsoft.com/office/drawing/2014/main" id="{FA89BC63-FCBD-4BCF-8CF0-5FFEF572B976}"/>
              </a:ext>
            </a:extLst>
          </p:cNvPr>
          <p:cNvSpPr/>
          <p:nvPr/>
        </p:nvSpPr>
        <p:spPr>
          <a:xfrm>
            <a:off x="7380913" y="5954729"/>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t>
            </a:r>
          </a:p>
        </p:txBody>
      </p:sp>
      <p:sp>
        <p:nvSpPr>
          <p:cNvPr id="80" name="Rectangle 79">
            <a:extLst>
              <a:ext uri="{FF2B5EF4-FFF2-40B4-BE49-F238E27FC236}">
                <a16:creationId xmlns:a16="http://schemas.microsoft.com/office/drawing/2014/main" id="{CDCE8624-4539-41F1-B717-0D7F09EF9E32}"/>
              </a:ext>
            </a:extLst>
          </p:cNvPr>
          <p:cNvSpPr/>
          <p:nvPr/>
        </p:nvSpPr>
        <p:spPr>
          <a:xfrm>
            <a:off x="7833626" y="4840172"/>
            <a:ext cx="904092" cy="211411"/>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Good</a:t>
            </a:r>
          </a:p>
        </p:txBody>
      </p:sp>
      <p:sp>
        <p:nvSpPr>
          <p:cNvPr id="81" name="Rectangle 80">
            <a:extLst>
              <a:ext uri="{FF2B5EF4-FFF2-40B4-BE49-F238E27FC236}">
                <a16:creationId xmlns:a16="http://schemas.microsoft.com/office/drawing/2014/main" id="{6C6C9EB9-A540-4A6B-B0D8-F8FA4040BE6E}"/>
              </a:ext>
            </a:extLst>
          </p:cNvPr>
          <p:cNvSpPr/>
          <p:nvPr/>
        </p:nvSpPr>
        <p:spPr>
          <a:xfrm>
            <a:off x="7827370" y="5480391"/>
            <a:ext cx="904092" cy="211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mn-cs"/>
              </a:rPr>
              <a:t>Average</a:t>
            </a:r>
          </a:p>
        </p:txBody>
      </p:sp>
    </p:spTree>
    <p:custDataLst>
      <p:tags r:id="rId2"/>
    </p:custDataLst>
    <p:extLst>
      <p:ext uri="{BB962C8B-B14F-4D97-AF65-F5344CB8AC3E}">
        <p14:creationId xmlns:p14="http://schemas.microsoft.com/office/powerpoint/2010/main" val="42336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101"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47" name="table_type_name">
            <a:extLst>
              <a:ext uri="{FF2B5EF4-FFF2-40B4-BE49-F238E27FC236}">
                <a16:creationId xmlns:a16="http://schemas.microsoft.com/office/drawing/2014/main" id="{571CA0DA-BE25-4B2F-BFEE-ECB8F4A5930A}"/>
              </a:ext>
            </a:extLst>
          </p:cNvPr>
          <p:cNvGraphicFramePr>
            <a:graphicFrameLocks noGrp="1"/>
          </p:cNvGraphicFramePr>
          <p:nvPr>
            <p:extLst>
              <p:ext uri="{D42A27DB-BD31-4B8C-83A1-F6EECF244321}">
                <p14:modId xmlns:p14="http://schemas.microsoft.com/office/powerpoint/2010/main" val="862467854"/>
              </p:ext>
            </p:extLst>
          </p:nvPr>
        </p:nvGraphicFramePr>
        <p:xfrm>
          <a:off x="648831" y="1479871"/>
          <a:ext cx="11202228" cy="3920170"/>
        </p:xfrm>
        <a:graphic>
          <a:graphicData uri="http://schemas.openxmlformats.org/drawingml/2006/table">
            <a:tbl>
              <a:tblPr/>
              <a:tblGrid>
                <a:gridCol w="1715868">
                  <a:extLst>
                    <a:ext uri="{9D8B030D-6E8A-4147-A177-3AD203B41FA5}">
                      <a16:colId xmlns:a16="http://schemas.microsoft.com/office/drawing/2014/main" val="20001"/>
                    </a:ext>
                  </a:extLst>
                </a:gridCol>
                <a:gridCol w="1054040">
                  <a:extLst>
                    <a:ext uri="{9D8B030D-6E8A-4147-A177-3AD203B41FA5}">
                      <a16:colId xmlns:a16="http://schemas.microsoft.com/office/drawing/2014/main" val="20002"/>
                    </a:ext>
                  </a:extLst>
                </a:gridCol>
                <a:gridCol w="1054040">
                  <a:extLst>
                    <a:ext uri="{9D8B030D-6E8A-4147-A177-3AD203B41FA5}">
                      <a16:colId xmlns:a16="http://schemas.microsoft.com/office/drawing/2014/main" val="3410967297"/>
                    </a:ext>
                  </a:extLst>
                </a:gridCol>
                <a:gridCol w="1054040">
                  <a:extLst>
                    <a:ext uri="{9D8B030D-6E8A-4147-A177-3AD203B41FA5}">
                      <a16:colId xmlns:a16="http://schemas.microsoft.com/office/drawing/2014/main" val="20010"/>
                    </a:ext>
                  </a:extLst>
                </a:gridCol>
                <a:gridCol w="1054040">
                  <a:extLst>
                    <a:ext uri="{9D8B030D-6E8A-4147-A177-3AD203B41FA5}">
                      <a16:colId xmlns:a16="http://schemas.microsoft.com/office/drawing/2014/main" val="3196556911"/>
                    </a:ext>
                  </a:extLst>
                </a:gridCol>
                <a:gridCol w="1054040">
                  <a:extLst>
                    <a:ext uri="{9D8B030D-6E8A-4147-A177-3AD203B41FA5}">
                      <a16:colId xmlns:a16="http://schemas.microsoft.com/office/drawing/2014/main" val="775284828"/>
                    </a:ext>
                  </a:extLst>
                </a:gridCol>
                <a:gridCol w="1054040">
                  <a:extLst>
                    <a:ext uri="{9D8B030D-6E8A-4147-A177-3AD203B41FA5}">
                      <a16:colId xmlns:a16="http://schemas.microsoft.com/office/drawing/2014/main" val="3855264669"/>
                    </a:ext>
                  </a:extLst>
                </a:gridCol>
                <a:gridCol w="1054040">
                  <a:extLst>
                    <a:ext uri="{9D8B030D-6E8A-4147-A177-3AD203B41FA5}">
                      <a16:colId xmlns:a16="http://schemas.microsoft.com/office/drawing/2014/main" val="2260121545"/>
                    </a:ext>
                  </a:extLst>
                </a:gridCol>
                <a:gridCol w="1054040">
                  <a:extLst>
                    <a:ext uri="{9D8B030D-6E8A-4147-A177-3AD203B41FA5}">
                      <a16:colId xmlns:a16="http://schemas.microsoft.com/office/drawing/2014/main" val="2445790263"/>
                    </a:ext>
                  </a:extLst>
                </a:gridCol>
                <a:gridCol w="1054040">
                  <a:extLst>
                    <a:ext uri="{9D8B030D-6E8A-4147-A177-3AD203B41FA5}">
                      <a16:colId xmlns:a16="http://schemas.microsoft.com/office/drawing/2014/main" val="4259314459"/>
                    </a:ext>
                  </a:extLst>
                </a:gridCol>
              </a:tblGrid>
              <a:tr h="780712">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 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2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8494">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4849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lang="en-US" sz="1200" b="0" i="0" u="none" strike="noStrike" kern="1200" noProof="0" dirty="0">
                          <a:solidFill>
                            <a:schemeClr val="tx1"/>
                          </a:solidFill>
                          <a:effectLst/>
                          <a:latin typeface="+mj-lt"/>
                          <a:ea typeface="+mn-ea"/>
                          <a:cs typeface="+mn-cs"/>
                          <a:sym typeface="Trebuchet MS" panose="020B0603020202020204" pitchFamily="34" charset="0"/>
                        </a:rPr>
                        <a:t>Zoom for Mobile</a:t>
                      </a:r>
                      <a:r>
                        <a:rPr lang="en-US" sz="1200" b="0" i="0" u="none" strike="noStrike" kern="1200" baseline="30000" noProof="0" dirty="0">
                          <a:solidFill>
                            <a:schemeClr val="tx1"/>
                          </a:solidFill>
                          <a:effectLst/>
                          <a:latin typeface="+mn-lt"/>
                          <a:ea typeface="+mn-ea"/>
                          <a:cs typeface="+mn-cs"/>
                          <a:sym typeface="Trebuchet MS" panose="020B0603020202020204" pitchFamily="34" charset="0"/>
                        </a:rPr>
                        <a:t>1</a:t>
                      </a:r>
                      <a:endParaRPr lang="en-US" sz="1200" b="0" i="0" u="none" strike="noStrike" kern="1200" noProof="0" dirty="0">
                        <a:solidFill>
                          <a:schemeClr val="tx1"/>
                        </a:solidFill>
                        <a:effectLst/>
                        <a:latin typeface="+mj-lt"/>
                        <a:ea typeface="+mn-ea"/>
                        <a:cs typeface="+mn-cs"/>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91</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rowSpan="6">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New in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202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2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24360161"/>
                  </a:ext>
                </a:extLst>
              </a:tr>
              <a:tr h="44849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lang="en-US" sz="1200" b="0" i="0" u="none" strike="noStrike" kern="1200" noProof="0" dirty="0">
                          <a:solidFill>
                            <a:schemeClr val="tx1"/>
                          </a:solidFill>
                          <a:effectLst/>
                          <a:latin typeface="+mj-lt"/>
                          <a:ea typeface="+mn-ea"/>
                          <a:cs typeface="+mn-cs"/>
                          <a:sym typeface="Trebuchet MS" panose="020B0603020202020204" pitchFamily="34" charset="0"/>
                        </a:rPr>
                        <a:t>Slack for Mobile</a:t>
                      </a:r>
                      <a:r>
                        <a:rPr lang="en-US" sz="1200" b="0" i="0" u="none" strike="noStrike" kern="1200" baseline="30000" noProof="0" dirty="0">
                          <a:solidFill>
                            <a:schemeClr val="tx1"/>
                          </a:solidFill>
                          <a:effectLst/>
                          <a:latin typeface="+mn-lt"/>
                          <a:ea typeface="+mn-ea"/>
                          <a:cs typeface="+mn-cs"/>
                          <a:sym typeface="Trebuchet MS" panose="020B0603020202020204" pitchFamily="34" charset="0"/>
                        </a:rPr>
                        <a:t>1</a:t>
                      </a:r>
                      <a:endParaRPr lang="en-US" sz="1200" b="0" i="0" u="none" strike="noStrike" kern="1200" noProof="0" dirty="0">
                        <a:solidFill>
                          <a:schemeClr val="tx1"/>
                        </a:solidFill>
                        <a:effectLst/>
                        <a:latin typeface="+mj-lt"/>
                        <a:ea typeface="+mn-ea"/>
                        <a:cs typeface="+mn-cs"/>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8</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9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FFFFFF"/>
                        </a:solidFill>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FFFFFF"/>
                          </a:solidFill>
                        </a:rPr>
                        <a:t>8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lang="en-US" sz="1200" dirty="0">
                          <a:solidFill>
                            <a:srgbClr val="FFFFFF"/>
                          </a:solidFill>
                          <a:latin typeface="Wingdings 3" panose="05040102010807070707" pitchFamily="18" charset="2"/>
                        </a:rPr>
                        <a:t>1</a:t>
                      </a:r>
                      <a:r>
                        <a:rPr lang="en-US" sz="1200" kern="1200" dirty="0">
                          <a:solidFill>
                            <a:srgbClr val="575757"/>
                          </a:solidFill>
                          <a:latin typeface="+mn-lt"/>
                          <a:ea typeface="+mn-ea"/>
                          <a:cs typeface="+mn-cs"/>
                        </a:rPr>
                        <a:t>17%</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09562626"/>
                  </a:ext>
                </a:extLst>
              </a:tr>
              <a:tr h="448494">
                <a:tc>
                  <a:txBody>
                    <a:bodyPr/>
                    <a:lstStyle/>
                    <a:p>
                      <a:pPr algn="l" fontAlgn="b"/>
                      <a:r>
                        <a:rPr lang="en-GB" sz="1200" b="0" i="0" u="none" strike="noStrike" dirty="0">
                          <a:solidFill>
                            <a:srgbClr val="575757"/>
                          </a:solidFill>
                          <a:effectLst/>
                          <a:latin typeface="+mj-lt"/>
                        </a:rPr>
                        <a:t>Outlook for Mobile</a:t>
                      </a:r>
                      <a:r>
                        <a:rPr lang="en-US" sz="1200" b="0" i="0" u="none" strike="noStrike" kern="1200" baseline="30000" noProof="0" dirty="0">
                          <a:solidFill>
                            <a:schemeClr val="tx1"/>
                          </a:solidFill>
                          <a:effectLst/>
                          <a:latin typeface="+mn-lt"/>
                          <a:ea typeface="+mn-ea"/>
                          <a:cs typeface="+mn-cs"/>
                          <a:sym typeface="Trebuchet MS" panose="020B0603020202020204" pitchFamily="34" charset="0"/>
                        </a:rPr>
                        <a:t>1</a:t>
                      </a:r>
                      <a:endParaRPr lang="en-GB" sz="1200" b="0" i="0" u="none" strike="noStrike" dirty="0">
                        <a:solidFill>
                          <a:srgbClr val="575757"/>
                        </a:solidFill>
                        <a:effectLst/>
                        <a:latin typeface="+mj-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chemeClr val="bg1"/>
                          </a:solidFill>
                          <a:effectLst/>
                          <a:latin typeface="+mj-lt"/>
                        </a:rPr>
                        <a:t>86</a:t>
                      </a:r>
                    </a:p>
                  </a:txBody>
                  <a:tcPr marL="7620" marR="7620" marT="7620" marB="0" anchor="ctr">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algn="ctr" fontAlgn="b"/>
                      <a:r>
                        <a:rPr lang="en-GB" sz="1200" b="0" i="0" u="none" strike="noStrike" dirty="0">
                          <a:solidFill>
                            <a:srgbClr val="FFFFFF"/>
                          </a:solidFill>
                          <a:effectLst/>
                          <a:latin typeface="+mj-lt"/>
                        </a:rPr>
                        <a:t>8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7620" marR="7620" marT="7620" marB="0"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bg1"/>
                          </a:solidFill>
                          <a:effectLst/>
                          <a:latin typeface="+mj-lt"/>
                          <a:ea typeface="+mn-ea"/>
                          <a:cs typeface="Arial" charset="0"/>
                        </a:rPr>
                        <a:t>8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j-lt"/>
                          <a:ea typeface="+mn-ea"/>
                          <a:cs typeface="Arial" charset="0"/>
                        </a:rPr>
                        <a:t>8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 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79163555"/>
                  </a:ext>
                </a:extLst>
              </a:tr>
              <a:tr h="448494">
                <a:tc>
                  <a:txBody>
                    <a:bodyPr/>
                    <a:lstStyle/>
                    <a:p>
                      <a:pPr algn="l" fontAlgn="b"/>
                      <a:r>
                        <a:rPr lang="en-GB" sz="1200" b="0" i="0" u="none" strike="noStrike" dirty="0">
                          <a:solidFill>
                            <a:srgbClr val="575757"/>
                          </a:solidFill>
                          <a:effectLst/>
                          <a:latin typeface="+mj-lt"/>
                        </a:rPr>
                        <a:t>Calendaring (not Outlook for Mobile)</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3</a:t>
                      </a:r>
                    </a:p>
                  </a:txBody>
                  <a:tcPr marL="7620" marR="7620" marT="7620" marB="0" anchor="ctr">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dirty="0">
                          <a:solidFill>
                            <a:srgbClr val="575757"/>
                          </a:solidFill>
                          <a:effectLst/>
                          <a:latin typeface="+mj-lt"/>
                        </a:rPr>
                        <a:t>7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7620" marR="7620" marT="7620" marB="0"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rgbClr val="575757"/>
                        </a:solidFill>
                        <a:effectLst/>
                        <a:latin typeface="+mj-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5%</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575757"/>
                          </a:solidFill>
                          <a:effectLst/>
                          <a:uLnTx/>
                          <a:uFillTx/>
                          <a:latin typeface="+mn-lt"/>
                          <a:ea typeface="+mn-ea"/>
                          <a:cs typeface="+mn-cs"/>
                        </a:rPr>
                        <a:t>6%</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27846179"/>
                  </a:ext>
                </a:extLst>
              </a:tr>
              <a:tr h="448494">
                <a:tc>
                  <a:txBody>
                    <a:bodyPr/>
                    <a:lstStyle/>
                    <a:p>
                      <a:pPr algn="l" fontAlgn="b"/>
                      <a:r>
                        <a:rPr lang="en-GB" sz="1200" b="0" i="0" u="none" strike="noStrike" dirty="0">
                          <a:solidFill>
                            <a:srgbClr val="575757"/>
                          </a:solidFill>
                          <a:effectLst/>
                          <a:latin typeface="+mj-lt"/>
                        </a:rPr>
                        <a:t>Native Email App</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a:t>
                      </a:r>
                    </a:p>
                  </a:txBody>
                  <a:tcPr marL="7620" marR="7620" marT="7620" marB="0" anchor="ctr">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algn="ctr" fontAlgn="b"/>
                      <a:r>
                        <a:rPr lang="en-GB" sz="1200" b="0" i="0" u="none" strike="noStrike" dirty="0">
                          <a:solidFill>
                            <a:srgbClr val="575757"/>
                          </a:solidFill>
                          <a:effectLst/>
                          <a:latin typeface="+mj-lt"/>
                        </a:rPr>
                        <a:t>7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algn="ctr" fontAlgn="b"/>
                      <a:r>
                        <a:rPr lang="en-GB" sz="1200" b="0" i="0" u="none" strike="noStrike" kern="1200" dirty="0">
                          <a:solidFill>
                            <a:srgbClr val="575757"/>
                          </a:solidFill>
                          <a:effectLst/>
                          <a:latin typeface="+mn-lt"/>
                          <a:ea typeface="+mn-ea"/>
                          <a:cs typeface="+mn-cs"/>
                        </a:rPr>
                        <a:t>--</a:t>
                      </a:r>
                    </a:p>
                  </a:txBody>
                  <a:tcPr marL="7620" marR="7620" marT="7620" marB="0"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j-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2266860"/>
                  </a:ext>
                </a:extLst>
              </a:tr>
              <a:tr h="44849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lang="en-US" sz="1200" b="0" i="0" u="none" strike="noStrike" kern="1200" noProof="0" dirty="0">
                          <a:solidFill>
                            <a:schemeClr val="tx1"/>
                          </a:solidFill>
                          <a:effectLst/>
                          <a:latin typeface="+mj-lt"/>
                          <a:ea typeface="+mn-ea"/>
                          <a:cs typeface="+mn-cs"/>
                          <a:sym typeface="Trebuchet MS" panose="020B0603020202020204" pitchFamily="34" charset="0"/>
                        </a:rPr>
                        <a:t>Egnyte for Mobile</a:t>
                      </a:r>
                      <a:r>
                        <a:rPr lang="en-US" sz="1200" b="0" i="0" u="none" strike="noStrike" kern="1200" baseline="30000" noProof="0" dirty="0">
                          <a:solidFill>
                            <a:schemeClr val="tx1"/>
                          </a:solidFill>
                          <a:effectLst/>
                          <a:latin typeface="+mn-lt"/>
                          <a:ea typeface="+mn-ea"/>
                          <a:cs typeface="+mn-cs"/>
                          <a:sym typeface="Trebuchet MS" panose="020B0603020202020204" pitchFamily="34" charset="0"/>
                        </a:rPr>
                        <a:t>1</a:t>
                      </a:r>
                      <a:endParaRPr lang="en-US" sz="1200" b="0" i="0" u="none" strike="noStrike" kern="1200" noProof="0" dirty="0">
                        <a:solidFill>
                          <a:schemeClr val="tx1"/>
                        </a:solidFill>
                        <a:effectLst/>
                        <a:latin typeface="+mj-lt"/>
                        <a:ea typeface="+mn-ea"/>
                        <a:cs typeface="+mn-cs"/>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4</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 6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FFFFFF"/>
                          </a:solidFill>
                          <a:latin typeface="+mn-lt"/>
                          <a:ea typeface="+mn-ea"/>
                          <a:cs typeface="+mn-cs"/>
                        </a:rPr>
                        <a:t>1</a:t>
                      </a:r>
                      <a:r>
                        <a:rPr lang="en-US" sz="1200" kern="1200" dirty="0">
                          <a:solidFill>
                            <a:srgbClr val="575757"/>
                          </a:solidFill>
                          <a:latin typeface="+mn-lt"/>
                          <a:ea typeface="+mn-ea"/>
                          <a:cs typeface="+mn-cs"/>
                        </a:rPr>
                        <a:t>6%</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US" sz="1200" b="0" dirty="0">
                        <a:solidFill>
                          <a:srgbClr val="575757"/>
                        </a:solidFill>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0" dirty="0">
                          <a:solidFill>
                            <a:srgbClr val="575757"/>
                          </a:solidFill>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E71C57"/>
                          </a:solidFill>
                          <a:latin typeface="Wingdings 3" panose="05040102010807070707" pitchFamily="18" charset="2"/>
                        </a:rPr>
                        <a:t>q </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03555255"/>
                  </a:ext>
                </a:extLst>
              </a:tr>
            </a:tbl>
          </a:graphicData>
        </a:graphic>
      </p:graphicFrame>
      <p:sp>
        <p:nvSpPr>
          <p:cNvPr id="53" name="Title 2">
            <a:extLst>
              <a:ext uri="{FF2B5EF4-FFF2-40B4-BE49-F238E27FC236}">
                <a16:creationId xmlns:a16="http://schemas.microsoft.com/office/drawing/2014/main" id="{1E7756F0-A8FF-4C02-8897-10FCF41ADC9D}"/>
              </a:ext>
            </a:extLst>
          </p:cNvPr>
          <p:cNvSpPr>
            <a:spLocks noGrp="1"/>
          </p:cNvSpPr>
          <p:nvPr>
            <p:ph type="title"/>
          </p:nvPr>
        </p:nvSpPr>
        <p:spPr>
          <a:xfrm>
            <a:off x="630000" y="622800"/>
            <a:ext cx="10933350" cy="332399"/>
          </a:xfrm>
        </p:spPr>
        <p:txBody>
          <a:bodyPr vert="horz"/>
          <a:lstStyle/>
          <a:p>
            <a:r>
              <a:rPr lang="en-US" dirty="0">
                <a:solidFill>
                  <a:srgbClr val="295E7E"/>
                </a:solidFill>
              </a:rPr>
              <a:t>Digital Collaboration Tools – Satisfaction (Mobile Apps)</a:t>
            </a:r>
          </a:p>
        </p:txBody>
      </p:sp>
      <p:sp>
        <p:nvSpPr>
          <p:cNvPr id="54" name="Rectangle 53">
            <a:extLst>
              <a:ext uri="{FF2B5EF4-FFF2-40B4-BE49-F238E27FC236}">
                <a16:creationId xmlns:a16="http://schemas.microsoft.com/office/drawing/2014/main" id="{172AE8E3-F1E4-4313-A9F8-B71B4496BCAB}"/>
              </a:ext>
            </a:extLst>
          </p:cNvPr>
          <p:cNvSpPr/>
          <p:nvPr/>
        </p:nvSpPr>
        <p:spPr>
          <a:xfrm>
            <a:off x="997487" y="925006"/>
            <a:ext cx="7420371" cy="3618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575757"/>
                </a:solidFill>
                <a:effectLst/>
                <a:uLnTx/>
                <a:uFillTx/>
                <a:latin typeface="Trebuchet MS"/>
                <a:ea typeface="+mn-ea"/>
                <a:cs typeface="+mn-cs"/>
              </a:rPr>
              <a:t>All Respondents – E-SAT Trending</a:t>
            </a:r>
            <a:endParaRPr kumimoji="0" lang="en-US" sz="1600" b="0" i="1" u="none" strike="noStrike" kern="1200" cap="none" spc="0" normalizeH="0" baseline="30000" noProof="0" dirty="0">
              <a:ln>
                <a:noFill/>
              </a:ln>
              <a:solidFill>
                <a:srgbClr val="575757"/>
              </a:solidFill>
              <a:effectLst/>
              <a:uLnTx/>
              <a:uFillTx/>
              <a:latin typeface="Trebuchet MS"/>
              <a:ea typeface="+mn-ea"/>
              <a:cs typeface="+mn-cs"/>
            </a:endParaRPr>
          </a:p>
        </p:txBody>
      </p:sp>
      <p:sp>
        <p:nvSpPr>
          <p:cNvPr id="28" name="Rectangle 27">
            <a:extLst>
              <a:ext uri="{FF2B5EF4-FFF2-40B4-BE49-F238E27FC236}">
                <a16:creationId xmlns:a16="http://schemas.microsoft.com/office/drawing/2014/main" id="{84884853-B52C-445C-A927-EB57BA199962}"/>
              </a:ext>
            </a:extLst>
          </p:cNvPr>
          <p:cNvSpPr/>
          <p:nvPr/>
        </p:nvSpPr>
        <p:spPr>
          <a:xfrm>
            <a:off x="0" y="6130904"/>
            <a:ext cx="12192000" cy="75468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0" name="Rectangle 29">
            <a:extLst>
              <a:ext uri="{FF2B5EF4-FFF2-40B4-BE49-F238E27FC236}">
                <a16:creationId xmlns:a16="http://schemas.microsoft.com/office/drawing/2014/main" id="{721C5C3D-9528-49D0-982E-67172DA76F98}"/>
              </a:ext>
            </a:extLst>
          </p:cNvPr>
          <p:cNvSpPr/>
          <p:nvPr/>
        </p:nvSpPr>
        <p:spPr>
          <a:xfrm>
            <a:off x="340943" y="6117830"/>
            <a:ext cx="11593179" cy="76775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75757"/>
                </a:solidFill>
                <a:effectLst/>
                <a:uLnTx/>
                <a:uFillTx/>
                <a:latin typeface="Trebuchet MS"/>
                <a:ea typeface="+mn-ea"/>
                <a:cs typeface="+mn-cs"/>
              </a:rPr>
              <a:t>Comparing the annual averages, Slack &amp; Egnyte for Mobile decreased -1% &amp; -2% respectively, although the 2021 average is the more weighted number as this is a full annual average, 2020 is for Q3 &amp; 4 only.</a:t>
            </a:r>
            <a:r>
              <a:rPr lang="en-US" dirty="0">
                <a:solidFill>
                  <a:srgbClr val="575757"/>
                </a:solidFill>
                <a:latin typeface="Trebuchet M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75757"/>
                </a:solidFill>
                <a:effectLst/>
                <a:uLnTx/>
                <a:uFillTx/>
                <a:latin typeface="Trebuchet MS"/>
                <a:ea typeface="+mn-ea"/>
                <a:cs typeface="+mn-cs"/>
              </a:rPr>
              <a:t>All mobile</a:t>
            </a:r>
            <a:r>
              <a:rPr lang="en-US" dirty="0">
                <a:solidFill>
                  <a:srgbClr val="575757"/>
                </a:solidFill>
                <a:latin typeface="Trebuchet MS"/>
              </a:rPr>
              <a:t> apps are well above BIC targets.</a:t>
            </a: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nvGrpSpPr>
          <p:cNvPr id="21" name="Group 20">
            <a:extLst>
              <a:ext uri="{FF2B5EF4-FFF2-40B4-BE49-F238E27FC236}">
                <a16:creationId xmlns:a16="http://schemas.microsoft.com/office/drawing/2014/main" id="{77F98BF4-332C-4863-BF67-0C68C1EF5CB7}"/>
              </a:ext>
            </a:extLst>
          </p:cNvPr>
          <p:cNvGrpSpPr/>
          <p:nvPr/>
        </p:nvGrpSpPr>
        <p:grpSpPr>
          <a:xfrm>
            <a:off x="630000" y="5606126"/>
            <a:ext cx="6155997" cy="444350"/>
            <a:chOff x="753111" y="3331233"/>
            <a:chExt cx="6155997" cy="444350"/>
          </a:xfrm>
        </p:grpSpPr>
        <p:grpSp>
          <p:nvGrpSpPr>
            <p:cNvPr id="22" name="Group 21">
              <a:extLst>
                <a:ext uri="{FF2B5EF4-FFF2-40B4-BE49-F238E27FC236}">
                  <a16:creationId xmlns:a16="http://schemas.microsoft.com/office/drawing/2014/main" id="{1E94AA76-6C35-474E-98C9-3766E460BBDF}"/>
                </a:ext>
              </a:extLst>
            </p:cNvPr>
            <p:cNvGrpSpPr/>
            <p:nvPr/>
          </p:nvGrpSpPr>
          <p:grpSpPr>
            <a:xfrm>
              <a:off x="753111" y="3331233"/>
              <a:ext cx="6155997" cy="220957"/>
              <a:chOff x="753111" y="3331233"/>
              <a:chExt cx="6155997" cy="220957"/>
            </a:xfrm>
          </p:grpSpPr>
          <p:sp>
            <p:nvSpPr>
              <p:cNvPr id="33" name="Rectangle 32">
                <a:extLst>
                  <a:ext uri="{FF2B5EF4-FFF2-40B4-BE49-F238E27FC236}">
                    <a16:creationId xmlns:a16="http://schemas.microsoft.com/office/drawing/2014/main" id="{39DEEA9C-77D7-468E-9047-6610F7B059F1}"/>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Unacceptable</a:t>
                </a:r>
              </a:p>
            </p:txBody>
          </p:sp>
          <p:sp>
            <p:nvSpPr>
              <p:cNvPr id="34" name="Rectangle 33">
                <a:extLst>
                  <a:ext uri="{FF2B5EF4-FFF2-40B4-BE49-F238E27FC236}">
                    <a16:creationId xmlns:a16="http://schemas.microsoft.com/office/drawing/2014/main" id="{E9208B79-4E5B-4EB3-A8B4-87225097CB46}"/>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Excellent</a:t>
                </a:r>
              </a:p>
            </p:txBody>
          </p:sp>
          <p:sp>
            <p:nvSpPr>
              <p:cNvPr id="38" name="Rectangle 37">
                <a:extLst>
                  <a:ext uri="{FF2B5EF4-FFF2-40B4-BE49-F238E27FC236}">
                    <a16:creationId xmlns:a16="http://schemas.microsoft.com/office/drawing/2014/main" id="{4236121B-EDD0-47D5-8395-E8A60913F298}"/>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a:ea typeface="+mn-ea"/>
                    <a:cs typeface="+mn-cs"/>
                  </a:rPr>
                  <a:t>Very Good</a:t>
                </a:r>
              </a:p>
            </p:txBody>
          </p:sp>
          <p:sp>
            <p:nvSpPr>
              <p:cNvPr id="39" name="Rectangle 38">
                <a:extLst>
                  <a:ext uri="{FF2B5EF4-FFF2-40B4-BE49-F238E27FC236}">
                    <a16:creationId xmlns:a16="http://schemas.microsoft.com/office/drawing/2014/main" id="{2CEFD674-B40D-40B8-B801-862C982383A3}"/>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Average</a:t>
                </a:r>
              </a:p>
            </p:txBody>
          </p:sp>
          <p:sp>
            <p:nvSpPr>
              <p:cNvPr id="40" name="Rectangle 39">
                <a:extLst>
                  <a:ext uri="{FF2B5EF4-FFF2-40B4-BE49-F238E27FC236}">
                    <a16:creationId xmlns:a16="http://schemas.microsoft.com/office/drawing/2014/main" id="{645D2CD3-AD70-4ED8-B303-CE46E089C95B}"/>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Poor</a:t>
                </a:r>
              </a:p>
            </p:txBody>
          </p:sp>
          <p:sp>
            <p:nvSpPr>
              <p:cNvPr id="41" name="Rectangle 40">
                <a:extLst>
                  <a:ext uri="{FF2B5EF4-FFF2-40B4-BE49-F238E27FC236}">
                    <a16:creationId xmlns:a16="http://schemas.microsoft.com/office/drawing/2014/main" id="{0D3D15E5-433E-4C0D-9039-5C75D9BFFBF3}"/>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Good</a:t>
                </a:r>
              </a:p>
            </p:txBody>
          </p:sp>
        </p:grpSp>
        <p:sp>
          <p:nvSpPr>
            <p:cNvPr id="23" name="Rectangle 22">
              <a:extLst>
                <a:ext uri="{FF2B5EF4-FFF2-40B4-BE49-F238E27FC236}">
                  <a16:creationId xmlns:a16="http://schemas.microsoft.com/office/drawing/2014/main" id="{88B90E9B-CDC0-475B-A596-6E63219624BF}"/>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0 - 49</a:t>
              </a:r>
            </a:p>
          </p:txBody>
        </p:sp>
        <p:sp>
          <p:nvSpPr>
            <p:cNvPr id="25" name="Rectangle 24">
              <a:extLst>
                <a:ext uri="{FF2B5EF4-FFF2-40B4-BE49-F238E27FC236}">
                  <a16:creationId xmlns:a16="http://schemas.microsoft.com/office/drawing/2014/main" id="{83DE9840-DEFB-47AF-A97F-B861E7BEA03F}"/>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90 - 100</a:t>
              </a:r>
            </a:p>
          </p:txBody>
        </p:sp>
        <p:sp>
          <p:nvSpPr>
            <p:cNvPr id="26" name="Rectangle 25">
              <a:extLst>
                <a:ext uri="{FF2B5EF4-FFF2-40B4-BE49-F238E27FC236}">
                  <a16:creationId xmlns:a16="http://schemas.microsoft.com/office/drawing/2014/main" id="{6D510FD6-F9E0-48CB-BDDC-A517F3927490}"/>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80 - 89</a:t>
              </a:r>
            </a:p>
          </p:txBody>
        </p:sp>
        <p:sp>
          <p:nvSpPr>
            <p:cNvPr id="27" name="Rectangle 26">
              <a:extLst>
                <a:ext uri="{FF2B5EF4-FFF2-40B4-BE49-F238E27FC236}">
                  <a16:creationId xmlns:a16="http://schemas.microsoft.com/office/drawing/2014/main" id="{B145F810-69F7-4B51-AA79-0054030F72D8}"/>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60 - 69</a:t>
              </a:r>
            </a:p>
          </p:txBody>
        </p:sp>
        <p:sp>
          <p:nvSpPr>
            <p:cNvPr id="31" name="Rectangle 30">
              <a:extLst>
                <a:ext uri="{FF2B5EF4-FFF2-40B4-BE49-F238E27FC236}">
                  <a16:creationId xmlns:a16="http://schemas.microsoft.com/office/drawing/2014/main" id="{13C786AB-17BA-4AC8-9F24-B4BA824B2719}"/>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50 - 59</a:t>
              </a:r>
            </a:p>
          </p:txBody>
        </p:sp>
        <p:sp>
          <p:nvSpPr>
            <p:cNvPr id="32" name="Rectangle 31">
              <a:extLst>
                <a:ext uri="{FF2B5EF4-FFF2-40B4-BE49-F238E27FC236}">
                  <a16:creationId xmlns:a16="http://schemas.microsoft.com/office/drawing/2014/main" id="{364578CA-F28F-4DD0-AC30-05291DB28BCD}"/>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70 - 79</a:t>
              </a:r>
            </a:p>
          </p:txBody>
        </p:sp>
      </p:grpSp>
      <p:grpSp>
        <p:nvGrpSpPr>
          <p:cNvPr id="29" name="Group 28">
            <a:extLst>
              <a:ext uri="{FF2B5EF4-FFF2-40B4-BE49-F238E27FC236}">
                <a16:creationId xmlns:a16="http://schemas.microsoft.com/office/drawing/2014/main" id="{580109D8-B641-461F-AB07-CC95D93803DF}"/>
              </a:ext>
            </a:extLst>
          </p:cNvPr>
          <p:cNvGrpSpPr>
            <a:grpSpLocks noChangeAspect="1"/>
          </p:cNvGrpSpPr>
          <p:nvPr/>
        </p:nvGrpSpPr>
        <p:grpSpPr>
          <a:xfrm>
            <a:off x="537447" y="879793"/>
            <a:ext cx="457200" cy="457200"/>
            <a:chOff x="5867400" y="3200400"/>
            <a:chExt cx="457200" cy="457200"/>
          </a:xfrm>
        </p:grpSpPr>
        <p:sp>
          <p:nvSpPr>
            <p:cNvPr id="35" name="AutoShape 43">
              <a:extLst>
                <a:ext uri="{FF2B5EF4-FFF2-40B4-BE49-F238E27FC236}">
                  <a16:creationId xmlns:a16="http://schemas.microsoft.com/office/drawing/2014/main" id="{10A48E2C-0C9D-4C5A-A4A8-D6BF2D3E4E0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7" name="Freeform 17">
              <a:extLst>
                <a:ext uri="{FF2B5EF4-FFF2-40B4-BE49-F238E27FC236}">
                  <a16:creationId xmlns:a16="http://schemas.microsoft.com/office/drawing/2014/main" id="{F4DDCCE3-937A-4EE9-9764-B9DDB422EDD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45" name="Oval 20">
            <a:extLst>
              <a:ext uri="{FF2B5EF4-FFF2-40B4-BE49-F238E27FC236}">
                <a16:creationId xmlns:a16="http://schemas.microsoft.com/office/drawing/2014/main" id="{60E640BC-DF89-49C3-BE5B-E948E5E33D84}"/>
              </a:ext>
            </a:extLst>
          </p:cNvPr>
          <p:cNvSpPr>
            <a:spLocks noChangeAspect="1" noChangeArrowheads="1"/>
          </p:cNvSpPr>
          <p:nvPr/>
        </p:nvSpPr>
        <p:spPr bwMode="auto">
          <a:xfrm>
            <a:off x="10986768" y="3782401"/>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2" name="Rectangle 51">
            <a:extLst>
              <a:ext uri="{FF2B5EF4-FFF2-40B4-BE49-F238E27FC236}">
                <a16:creationId xmlns:a16="http://schemas.microsoft.com/office/drawing/2014/main" id="{AF19B514-5DFA-4D87-A397-039E9835563D}"/>
              </a:ext>
            </a:extLst>
          </p:cNvPr>
          <p:cNvSpPr/>
          <p:nvPr/>
        </p:nvSpPr>
        <p:spPr>
          <a:xfrm flipH="1">
            <a:off x="8686799" y="1479680"/>
            <a:ext cx="1040085" cy="3921414"/>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8" name="Rectangle 57">
            <a:extLst>
              <a:ext uri="{FF2B5EF4-FFF2-40B4-BE49-F238E27FC236}">
                <a16:creationId xmlns:a16="http://schemas.microsoft.com/office/drawing/2014/main" id="{7C494E2C-94D6-403A-A507-E4C467FEEA65}"/>
              </a:ext>
            </a:extLst>
          </p:cNvPr>
          <p:cNvSpPr/>
          <p:nvPr/>
        </p:nvSpPr>
        <p:spPr>
          <a:xfrm>
            <a:off x="7607047" y="5494307"/>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Chart ordered by this column</a:t>
            </a:r>
          </a:p>
        </p:txBody>
      </p:sp>
      <p:sp>
        <p:nvSpPr>
          <p:cNvPr id="64" name="Oval 20">
            <a:extLst>
              <a:ext uri="{FF2B5EF4-FFF2-40B4-BE49-F238E27FC236}">
                <a16:creationId xmlns:a16="http://schemas.microsoft.com/office/drawing/2014/main" id="{6EF4A987-89DB-43F2-BBBB-BD56BFB501D8}"/>
              </a:ext>
            </a:extLst>
          </p:cNvPr>
          <p:cNvSpPr>
            <a:spLocks noChangeAspect="1" noChangeArrowheads="1"/>
          </p:cNvSpPr>
          <p:nvPr/>
        </p:nvSpPr>
        <p:spPr bwMode="auto">
          <a:xfrm>
            <a:off x="10986768" y="3283415"/>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5" name="Oval 20">
            <a:extLst>
              <a:ext uri="{FF2B5EF4-FFF2-40B4-BE49-F238E27FC236}">
                <a16:creationId xmlns:a16="http://schemas.microsoft.com/office/drawing/2014/main" id="{49027CEF-9605-4215-892F-DBBFF127FCD8}"/>
              </a:ext>
            </a:extLst>
          </p:cNvPr>
          <p:cNvSpPr>
            <a:spLocks noChangeAspect="1" noChangeArrowheads="1"/>
          </p:cNvSpPr>
          <p:nvPr/>
        </p:nvSpPr>
        <p:spPr bwMode="auto">
          <a:xfrm>
            <a:off x="10986768" y="2885822"/>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1" name="Oval 20">
            <a:extLst>
              <a:ext uri="{FF2B5EF4-FFF2-40B4-BE49-F238E27FC236}">
                <a16:creationId xmlns:a16="http://schemas.microsoft.com/office/drawing/2014/main" id="{1848A711-ED31-4489-9828-52709D63ADB2}"/>
              </a:ext>
            </a:extLst>
          </p:cNvPr>
          <p:cNvSpPr>
            <a:spLocks noChangeAspect="1" noChangeArrowheads="1"/>
          </p:cNvSpPr>
          <p:nvPr/>
        </p:nvSpPr>
        <p:spPr bwMode="auto">
          <a:xfrm>
            <a:off x="10586365" y="3733515"/>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55" name="Group 54">
            <a:extLst>
              <a:ext uri="{FF2B5EF4-FFF2-40B4-BE49-F238E27FC236}">
                <a16:creationId xmlns:a16="http://schemas.microsoft.com/office/drawing/2014/main" id="{04B8FDC3-E21C-451F-9868-CD611A025C4C}"/>
              </a:ext>
            </a:extLst>
          </p:cNvPr>
          <p:cNvGrpSpPr/>
          <p:nvPr/>
        </p:nvGrpSpPr>
        <p:grpSpPr>
          <a:xfrm>
            <a:off x="9761206" y="5445163"/>
            <a:ext cx="2116895" cy="591304"/>
            <a:chOff x="9751525" y="5356845"/>
            <a:chExt cx="2116895" cy="591304"/>
          </a:xfrm>
        </p:grpSpPr>
        <p:sp>
          <p:nvSpPr>
            <p:cNvPr id="56" name="Oval 20">
              <a:extLst>
                <a:ext uri="{FF2B5EF4-FFF2-40B4-BE49-F238E27FC236}">
                  <a16:creationId xmlns:a16="http://schemas.microsoft.com/office/drawing/2014/main" id="{3FBE6119-47AE-448F-8BD1-13C61410C5B1}"/>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57" name="Rectangle 56">
              <a:extLst>
                <a:ext uri="{FF2B5EF4-FFF2-40B4-BE49-F238E27FC236}">
                  <a16:creationId xmlns:a16="http://schemas.microsoft.com/office/drawing/2014/main" id="{99F13C2B-D2D3-47A3-AF65-A17FBAE3E340}"/>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1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Off Target</a:t>
              </a:r>
            </a:p>
          </p:txBody>
        </p:sp>
        <p:sp>
          <p:nvSpPr>
            <p:cNvPr id="59" name="Oval 20">
              <a:extLst>
                <a:ext uri="{FF2B5EF4-FFF2-40B4-BE49-F238E27FC236}">
                  <a16:creationId xmlns:a16="http://schemas.microsoft.com/office/drawing/2014/main" id="{04823B90-C11E-4AD2-8085-07878AA98623}"/>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0" name="Oval 20">
              <a:extLst>
                <a:ext uri="{FF2B5EF4-FFF2-40B4-BE49-F238E27FC236}">
                  <a16:creationId xmlns:a16="http://schemas.microsoft.com/office/drawing/2014/main" id="{923CFB7B-7CC2-4C99-932C-401B379B2A91}"/>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1" name="Rectangle 60">
              <a:extLst>
                <a:ext uri="{FF2B5EF4-FFF2-40B4-BE49-F238E27FC236}">
                  <a16:creationId xmlns:a16="http://schemas.microsoft.com/office/drawing/2014/main" id="{974AF524-EFDA-427C-926C-3021FB04E014}"/>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Off Target</a:t>
              </a:r>
            </a:p>
          </p:txBody>
        </p:sp>
        <p:sp>
          <p:nvSpPr>
            <p:cNvPr id="62" name="Rectangle 61">
              <a:extLst>
                <a:ext uri="{FF2B5EF4-FFF2-40B4-BE49-F238E27FC236}">
                  <a16:creationId xmlns:a16="http://schemas.microsoft.com/office/drawing/2014/main" id="{366E4C83-9E1F-4660-8DA4-817A63806BC9}"/>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75757"/>
                  </a:solidFill>
                  <a:effectLst/>
                  <a:uLnTx/>
                  <a:uFillTx/>
                  <a:latin typeface="Trebuchet MS"/>
                  <a:ea typeface="+mn-ea"/>
                  <a:cs typeface="+mn-cs"/>
                </a:rPr>
                <a:t>On / Above Target</a:t>
              </a:r>
            </a:p>
          </p:txBody>
        </p:sp>
      </p:grpSp>
      <p:sp>
        <p:nvSpPr>
          <p:cNvPr id="50" name="Oval 20">
            <a:extLst>
              <a:ext uri="{FF2B5EF4-FFF2-40B4-BE49-F238E27FC236}">
                <a16:creationId xmlns:a16="http://schemas.microsoft.com/office/drawing/2014/main" id="{C5D866EB-2E60-4965-9B22-F9319E92B1DA}"/>
              </a:ext>
            </a:extLst>
          </p:cNvPr>
          <p:cNvSpPr>
            <a:spLocks noChangeAspect="1" noChangeArrowheads="1"/>
          </p:cNvSpPr>
          <p:nvPr/>
        </p:nvSpPr>
        <p:spPr bwMode="auto">
          <a:xfrm>
            <a:off x="10986768" y="4209831"/>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8" name="Oval 20">
            <a:extLst>
              <a:ext uri="{FF2B5EF4-FFF2-40B4-BE49-F238E27FC236}">
                <a16:creationId xmlns:a16="http://schemas.microsoft.com/office/drawing/2014/main" id="{80AFC8C6-E126-44EB-875A-787C9A1A79DC}"/>
              </a:ext>
            </a:extLst>
          </p:cNvPr>
          <p:cNvSpPr>
            <a:spLocks noChangeAspect="1" noChangeArrowheads="1"/>
          </p:cNvSpPr>
          <p:nvPr/>
        </p:nvSpPr>
        <p:spPr bwMode="auto">
          <a:xfrm>
            <a:off x="10986768" y="5107819"/>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69" name="Left Bracket 68">
            <a:extLst>
              <a:ext uri="{FF2B5EF4-FFF2-40B4-BE49-F238E27FC236}">
                <a16:creationId xmlns:a16="http://schemas.microsoft.com/office/drawing/2014/main" id="{EBDD7058-2B40-433B-A34E-D2D88E57B186}"/>
              </a:ext>
            </a:extLst>
          </p:cNvPr>
          <p:cNvSpPr/>
          <p:nvPr/>
        </p:nvSpPr>
        <p:spPr>
          <a:xfrm rot="5400000">
            <a:off x="9079820" y="323614"/>
            <a:ext cx="201652" cy="2180388"/>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2295787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231" name="think-cell Slide" r:id="rId16" imgW="327" imgH="327" progId="TCLayout.ActiveDocument.1">
                  <p:embed/>
                </p:oleObj>
              </mc:Choice>
              <mc:Fallback>
                <p:oleObj name="think-cell Slide" r:id="rId16" imgW="327" imgH="327"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2" name="Picture 31">
            <a:extLst>
              <a:ext uri="{FF2B5EF4-FFF2-40B4-BE49-F238E27FC236}">
                <a16:creationId xmlns:a16="http://schemas.microsoft.com/office/drawing/2014/main" id="{82604EA8-3D87-42F2-9F44-C78DCD03C223}"/>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7805608" y="8344"/>
            <a:ext cx="4399472" cy="6858000"/>
          </a:xfrm>
          <a:prstGeom prst="rect">
            <a:avLst/>
          </a:prstGeom>
        </p:spPr>
      </p:pic>
      <p:sp>
        <p:nvSpPr>
          <p:cNvPr id="33" name="Rectangle 32">
            <a:extLst>
              <a:ext uri="{FF2B5EF4-FFF2-40B4-BE49-F238E27FC236}">
                <a16:creationId xmlns:a16="http://schemas.microsoft.com/office/drawing/2014/main" id="{B9C49ADE-C130-4408-9EF7-CD07A84DBDB6}"/>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400" kern="0" dirty="0">
                <a:solidFill>
                  <a:srgbClr val="FFFFFF"/>
                </a:solidFill>
              </a:rPr>
              <a:t>DIGITAL COLLABORATION</a:t>
            </a:r>
          </a:p>
        </p:txBody>
      </p:sp>
      <p:sp>
        <p:nvSpPr>
          <p:cNvPr id="34" name="Oval 33">
            <a:extLst>
              <a:ext uri="{FF2B5EF4-FFF2-40B4-BE49-F238E27FC236}">
                <a16:creationId xmlns:a16="http://schemas.microsoft.com/office/drawing/2014/main" id="{43C2FE25-D765-46AF-9C43-ACE73B9DB9DE}"/>
              </a:ext>
            </a:extLst>
          </p:cNvPr>
          <p:cNvSpPr>
            <a:spLocks noChangeAspect="1"/>
          </p:cNvSpPr>
          <p:nvPr/>
        </p:nvSpPr>
        <p:spPr>
          <a:xfrm>
            <a:off x="8528808" y="1917700"/>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601</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57717" y="3949701"/>
            <a:ext cx="3081541" cy="1133729"/>
          </a:xfrm>
          <a:prstGeom prst="wedgeRectCallout">
            <a:avLst>
              <a:gd name="adj1" fmla="val 31460"/>
              <a:gd name="adj2" fmla="val 6207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Zoom is pretty good. Slack works well just runs slowly on the laptop so using the web app, still has some issues syncing. Teams is awful. OneDrive is pretty good just not great for sharing externally.</a:t>
            </a:r>
            <a:r>
              <a:rPr lang="en-GB" sz="1200" dirty="0">
                <a:cs typeface="Arial" pitchFamily="34" charset="0"/>
              </a:rPr>
              <a:t>”</a:t>
            </a:r>
          </a:p>
          <a:p>
            <a:pPr algn="r"/>
            <a:r>
              <a:rPr lang="en-GB" sz="1000" i="1" dirty="0">
                <a:cs typeface="Arial" pitchFamily="34" charset="0"/>
              </a:rPr>
              <a:t>MDP</a:t>
            </a:r>
          </a:p>
        </p:txBody>
      </p:sp>
      <p:sp>
        <p:nvSpPr>
          <p:cNvPr id="28" name="Rectangle 27">
            <a:extLst>
              <a:ext uri="{FF2B5EF4-FFF2-40B4-BE49-F238E27FC236}">
                <a16:creationId xmlns:a16="http://schemas.microsoft.com/office/drawing/2014/main" id="{AE8BA0A3-A22B-4066-9085-3FC79F11C9A0}"/>
              </a:ext>
            </a:extLst>
          </p:cNvPr>
          <p:cNvSpPr/>
          <p:nvPr/>
        </p:nvSpPr>
        <p:spPr>
          <a:xfrm>
            <a:off x="225214" y="3623901"/>
            <a:ext cx="5375378" cy="2742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66613" y="293222"/>
            <a:ext cx="7542981" cy="149479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Employees are mostly positive about tools like Zoom, Slack &amp; OneDrive despite some performance issues like crashing. Employees continue to express problems with Egnyte relating to real-time collaboration &amp; version control. Fewer employees provided comments for OneNote; those who use it can find it slow to sync compared. Trello as a project management tools lacks certain features like progress charts &amp; integration with other software like Outlook.</a:t>
            </a:r>
          </a:p>
        </p:txBody>
      </p:sp>
      <p:graphicFrame>
        <p:nvGraphicFramePr>
          <p:cNvPr id="54" name="Chart 53">
            <a:extLst>
              <a:ext uri="{FF2B5EF4-FFF2-40B4-BE49-F238E27FC236}">
                <a16:creationId xmlns:a16="http://schemas.microsoft.com/office/drawing/2014/main" id="{2A15D93F-8D24-43D3-84DD-D597C10F1970}"/>
              </a:ext>
            </a:extLst>
          </p:cNvPr>
          <p:cNvGraphicFramePr/>
          <p:nvPr>
            <p:custDataLst>
              <p:tags r:id="rId4"/>
            </p:custDataLst>
          </p:nvPr>
        </p:nvGraphicFramePr>
        <p:xfrm>
          <a:off x="1933575" y="2130425"/>
          <a:ext cx="5819775" cy="1160463"/>
        </p:xfrm>
        <a:graphic>
          <a:graphicData uri="http://schemas.openxmlformats.org/drawingml/2006/chart">
            <c:chart xmlns:c="http://schemas.openxmlformats.org/drawingml/2006/chart" xmlns:r="http://schemas.openxmlformats.org/officeDocument/2006/relationships" r:id="rId19"/>
          </a:graphicData>
        </a:graphic>
      </p:graphicFrame>
      <p:sp>
        <p:nvSpPr>
          <p:cNvPr id="65" name="Text Placeholder 3">
            <a:extLst>
              <a:ext uri="{FF2B5EF4-FFF2-40B4-BE49-F238E27FC236}">
                <a16:creationId xmlns:a16="http://schemas.microsoft.com/office/drawing/2014/main" id="{7528C60D-CF1D-4E96-B52D-45595B5C8B66}"/>
              </a:ext>
            </a:extLst>
          </p:cNvPr>
          <p:cNvSpPr>
            <a:spLocks noGrp="1"/>
          </p:cNvSpPr>
          <p:nvPr>
            <p:custDataLst>
              <p:tags r:id="rId5"/>
            </p:custDataLst>
          </p:nvPr>
        </p:nvSpPr>
        <p:spPr bwMode="gray">
          <a:xfrm>
            <a:off x="1136651" y="2609850"/>
            <a:ext cx="7778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D24A0BC-FCDA-455B-B98C-847DD1F375C2}" type="datetime'''E''a''''''''''s''''''e'' of'''''' ''''''''''''Use'''''">
              <a:rPr lang="en-US" altLang="en-US" smtClean="0">
                <a:solidFill>
                  <a:schemeClr val="bg1"/>
                </a:solidFill>
              </a:rPr>
              <a:pPr/>
              <a:t>Ease of Use</a:t>
            </a:fld>
            <a:endParaRPr lang="en-US" altLang="en-US" dirty="0">
              <a:solidFill>
                <a:schemeClr val="bg1"/>
              </a:solidFill>
            </a:endParaRPr>
          </a:p>
        </p:txBody>
      </p:sp>
      <p:sp>
        <p:nvSpPr>
          <p:cNvPr id="69" name="Text Placeholder 3">
            <a:extLst>
              <a:ext uri="{FF2B5EF4-FFF2-40B4-BE49-F238E27FC236}">
                <a16:creationId xmlns:a16="http://schemas.microsoft.com/office/drawing/2014/main" id="{48B0825E-FAC0-4786-955F-9115F2A23358}"/>
              </a:ext>
            </a:extLst>
          </p:cNvPr>
          <p:cNvSpPr>
            <a:spLocks noGrp="1"/>
          </p:cNvSpPr>
          <p:nvPr>
            <p:custDataLst>
              <p:tags r:id="rId6"/>
            </p:custDataLst>
          </p:nvPr>
        </p:nvSpPr>
        <p:spPr bwMode="gray">
          <a:xfrm>
            <a:off x="274637" y="2278063"/>
            <a:ext cx="16398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9AA4B10-11E5-44BD-BCA5-6F885A546B2B}" type="datetime'R''''''''''''ea''l''-T''''ime'''' C''o''l''la''bo''r''ation'''">
              <a:rPr lang="en-US" altLang="en-US" smtClean="0">
                <a:solidFill>
                  <a:schemeClr val="bg1"/>
                </a:solidFill>
              </a:rPr>
              <a:pPr/>
              <a:t>Real-Time Collaboration</a:t>
            </a:fld>
            <a:endParaRPr lang="en-US" altLang="en-US" dirty="0">
              <a:solidFill>
                <a:schemeClr val="bg1"/>
              </a:solidFill>
            </a:endParaRPr>
          </a:p>
        </p:txBody>
      </p:sp>
      <p:sp>
        <p:nvSpPr>
          <p:cNvPr id="79" name="Text Placeholder 3">
            <a:extLst>
              <a:ext uri="{FF2B5EF4-FFF2-40B4-BE49-F238E27FC236}">
                <a16:creationId xmlns:a16="http://schemas.microsoft.com/office/drawing/2014/main" id="{59C37182-1985-4221-8F13-8508DE17ABEC}"/>
              </a:ext>
            </a:extLst>
          </p:cNvPr>
          <p:cNvSpPr>
            <a:spLocks noGrp="1"/>
          </p:cNvSpPr>
          <p:nvPr>
            <p:custDataLst>
              <p:tags r:id="rId7"/>
            </p:custDataLst>
          </p:nvPr>
        </p:nvSpPr>
        <p:spPr bwMode="gray">
          <a:xfrm>
            <a:off x="1049338" y="2941638"/>
            <a:ext cx="8651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55A529E-672C-4FB8-B604-6306070F7603}" type="datetime'P''''''''e''''r''f''o''''''r''''m''''''a''n''''c''''e'''''''''">
              <a:rPr lang="en-US" altLang="en-US" smtClean="0">
                <a:solidFill>
                  <a:schemeClr val="bg1"/>
                </a:solidFill>
              </a:rPr>
              <a:pPr/>
              <a:t>Performance</a:t>
            </a:fld>
            <a:endParaRPr lang="en-US" dirty="0">
              <a:solidFill>
                <a:schemeClr val="bg1"/>
              </a:solidFill>
              <a:sym typeface="+mn-lt"/>
            </a:endParaRPr>
          </a:p>
        </p:txBody>
      </p:sp>
      <p:sp>
        <p:nvSpPr>
          <p:cNvPr id="132" name="Rectangle 131">
            <a:extLst>
              <a:ext uri="{FF2B5EF4-FFF2-40B4-BE49-F238E27FC236}">
                <a16:creationId xmlns:a16="http://schemas.microsoft.com/office/drawing/2014/main" id="{EB1A4E61-8D9D-4717-82E0-88C113E598A5}"/>
              </a:ext>
            </a:extLst>
          </p:cNvPr>
          <p:cNvSpPr/>
          <p:nvPr>
            <p:custDataLst>
              <p:tags r:id="rId8"/>
            </p:custDataLst>
          </p:nvPr>
        </p:nvSpPr>
        <p:spPr bwMode="gray">
          <a:xfrm>
            <a:off x="2076450" y="328771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3" name="Rectangle 132">
            <a:extLst>
              <a:ext uri="{FF2B5EF4-FFF2-40B4-BE49-F238E27FC236}">
                <a16:creationId xmlns:a16="http://schemas.microsoft.com/office/drawing/2014/main" id="{5390B23A-7A1E-4293-A1B7-085E520F7B24}"/>
              </a:ext>
            </a:extLst>
          </p:cNvPr>
          <p:cNvSpPr/>
          <p:nvPr>
            <p:custDataLst>
              <p:tags r:id="rId9"/>
            </p:custDataLst>
          </p:nvPr>
        </p:nvSpPr>
        <p:spPr bwMode="gray">
          <a:xfrm>
            <a:off x="2970213" y="32877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Rectangle 130">
            <a:extLst>
              <a:ext uri="{FF2B5EF4-FFF2-40B4-BE49-F238E27FC236}">
                <a16:creationId xmlns:a16="http://schemas.microsoft.com/office/drawing/2014/main" id="{38E6EF1D-6C1D-4000-BA77-86807C0D663E}"/>
              </a:ext>
            </a:extLst>
          </p:cNvPr>
          <p:cNvSpPr/>
          <p:nvPr>
            <p:custDataLst>
              <p:tags r:id="rId10"/>
            </p:custDataLst>
          </p:nvPr>
        </p:nvSpPr>
        <p:spPr bwMode="gray">
          <a:xfrm>
            <a:off x="3841750" y="32877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4" name="Text Placeholder 3">
            <a:extLst>
              <a:ext uri="{FF2B5EF4-FFF2-40B4-BE49-F238E27FC236}">
                <a16:creationId xmlns:a16="http://schemas.microsoft.com/office/drawing/2014/main" id="{78D22B05-41BC-4DCD-9554-95C1228F46E0}"/>
              </a:ext>
            </a:extLst>
          </p:cNvPr>
          <p:cNvSpPr>
            <a:spLocks noGrp="1"/>
          </p:cNvSpPr>
          <p:nvPr>
            <p:custDataLst>
              <p:tags r:id="rId11"/>
            </p:custDataLst>
          </p:nvPr>
        </p:nvSpPr>
        <p:spPr bwMode="gray">
          <a:xfrm>
            <a:off x="2341563" y="326866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00D1ECF-8306-4164-A397-D4D7B0B101DD}" type="datetime'''''''''''''Pos''it''''''''''''''''iv''''''''''''''''''e'">
              <a:rPr lang="en-US" altLang="en-US" smtClean="0">
                <a:solidFill>
                  <a:schemeClr val="bg1"/>
                </a:solidFill>
              </a:rPr>
              <a:pPr/>
              <a:t>Positive</a:t>
            </a:fld>
            <a:endParaRPr lang="en-US" dirty="0">
              <a:solidFill>
                <a:schemeClr val="bg1"/>
              </a:solidFill>
              <a:sym typeface="+mn-lt"/>
            </a:endParaRPr>
          </a:p>
        </p:txBody>
      </p:sp>
      <p:sp>
        <p:nvSpPr>
          <p:cNvPr id="135" name="Text Placeholder 3">
            <a:extLst>
              <a:ext uri="{FF2B5EF4-FFF2-40B4-BE49-F238E27FC236}">
                <a16:creationId xmlns:a16="http://schemas.microsoft.com/office/drawing/2014/main" id="{902DA154-675F-4F9F-9EF8-C5711AAB7E1B}"/>
              </a:ext>
            </a:extLst>
          </p:cNvPr>
          <p:cNvSpPr>
            <a:spLocks noGrp="1"/>
          </p:cNvSpPr>
          <p:nvPr>
            <p:custDataLst>
              <p:tags r:id="rId12"/>
            </p:custDataLst>
          </p:nvPr>
        </p:nvSpPr>
        <p:spPr bwMode="gray">
          <a:xfrm>
            <a:off x="3235325" y="32686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E582CCF-CE53-4E47-AAC0-9EC87167AE3D}" type="datetime'''Ne''''''''''''''''''ut''''r''a''''''''''l'''">
              <a:rPr lang="en-US" altLang="en-US" smtClean="0">
                <a:solidFill>
                  <a:schemeClr val="bg1"/>
                </a:solidFill>
              </a:rPr>
              <a:pPr/>
              <a:t>Neutral</a:t>
            </a:fld>
            <a:endParaRPr lang="en-US" dirty="0">
              <a:solidFill>
                <a:schemeClr val="bg1"/>
              </a:solidFill>
              <a:sym typeface="+mn-lt"/>
            </a:endParaRPr>
          </a:p>
        </p:txBody>
      </p:sp>
      <p:sp>
        <p:nvSpPr>
          <p:cNvPr id="136" name="Text Placeholder 3">
            <a:extLst>
              <a:ext uri="{FF2B5EF4-FFF2-40B4-BE49-F238E27FC236}">
                <a16:creationId xmlns:a16="http://schemas.microsoft.com/office/drawing/2014/main" id="{59D55318-1C39-4EB3-B95D-D82D93EF8C8E}"/>
              </a:ext>
            </a:extLst>
          </p:cNvPr>
          <p:cNvSpPr>
            <a:spLocks noGrp="1"/>
          </p:cNvSpPr>
          <p:nvPr>
            <p:custDataLst>
              <p:tags r:id="rId13"/>
            </p:custDataLst>
          </p:nvPr>
        </p:nvSpPr>
        <p:spPr bwMode="gray">
          <a:xfrm>
            <a:off x="4106863" y="326866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A9E6A99-ADE8-4D89-811C-F62FA7CB3E7C}" type="datetime'''''Ne''''''''''ga''''ti''''''v''e'''''''''''''''''">
              <a:rPr lang="en-US" altLang="en-US" smtClean="0">
                <a:solidFill>
                  <a:schemeClr val="bg1"/>
                </a:solidFill>
              </a:rPr>
              <a:pPr/>
              <a:t>Negative</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951336" y="1992313"/>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77" name="Rectangular Callout 42">
            <a:extLst>
              <a:ext uri="{FF2B5EF4-FFF2-40B4-BE49-F238E27FC236}">
                <a16:creationId xmlns:a16="http://schemas.microsoft.com/office/drawing/2014/main" id="{FA50C036-234B-474F-B376-BE059DED02E1}"/>
              </a:ext>
            </a:extLst>
          </p:cNvPr>
          <p:cNvSpPr/>
          <p:nvPr/>
        </p:nvSpPr>
        <p:spPr>
          <a:xfrm>
            <a:off x="6287958" y="3962773"/>
            <a:ext cx="1325622" cy="1082175"/>
          </a:xfrm>
          <a:prstGeom prst="wedgeRectCallout">
            <a:avLst>
              <a:gd name="adj1" fmla="val -15223"/>
              <a:gd name="adj2" fmla="val 5676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OneNote] </a:t>
            </a:r>
            <a:r>
              <a:rPr lang="en-US" sz="1200" dirty="0">
                <a:cs typeface="Arial" pitchFamily="34" charset="0"/>
              </a:rPr>
              <a:t>Slow sync compared to, e.g., google suite.</a:t>
            </a:r>
            <a:r>
              <a:rPr lang="en-GB" sz="1200" dirty="0">
                <a:cs typeface="Arial" pitchFamily="34" charset="0"/>
              </a:rPr>
              <a:t>”</a:t>
            </a:r>
          </a:p>
          <a:p>
            <a:pPr algn="r"/>
            <a:r>
              <a:rPr lang="en-GB" sz="1000" i="1" dirty="0">
                <a:cs typeface="Arial" pitchFamily="34" charset="0"/>
              </a:rPr>
              <a:t>Associate</a:t>
            </a:r>
          </a:p>
        </p:txBody>
      </p:sp>
      <p:sp>
        <p:nvSpPr>
          <p:cNvPr id="80" name="Rectangular Callout 40">
            <a:extLst>
              <a:ext uri="{FF2B5EF4-FFF2-40B4-BE49-F238E27FC236}">
                <a16:creationId xmlns:a16="http://schemas.microsoft.com/office/drawing/2014/main" id="{D254F263-B11A-402F-A444-65939EDA3BAE}"/>
              </a:ext>
            </a:extLst>
          </p:cNvPr>
          <p:cNvSpPr/>
          <p:nvPr/>
        </p:nvSpPr>
        <p:spPr>
          <a:xfrm>
            <a:off x="2290763" y="5289987"/>
            <a:ext cx="3613209" cy="1348384"/>
          </a:xfrm>
          <a:prstGeom prst="wedgeRectCallout">
            <a:avLst>
              <a:gd name="adj1" fmla="val 10280"/>
              <a:gd name="adj2" fmla="val -5941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rello] </a:t>
            </a:r>
            <a:r>
              <a:rPr lang="en-US" sz="1200" dirty="0">
                <a:cs typeface="Arial" pitchFamily="34" charset="0"/>
              </a:rPr>
              <a:t>Too little functionality for project management, fine for task tracking but less powerful (e.g. different views, progress charts, integration with MS To Do, Outlook...) than MS Tasks/Planner. I'd prefer to use this tool instead.</a:t>
            </a:r>
            <a:r>
              <a:rPr lang="en-GB" sz="1200" dirty="0">
                <a:cs typeface="Arial" pitchFamily="34" charset="0"/>
              </a:rPr>
              <a:t>”</a:t>
            </a:r>
            <a:endParaRPr lang="en-US" sz="1200" dirty="0">
              <a:cs typeface="Arial" pitchFamily="34" charset="0"/>
            </a:endParaRPr>
          </a:p>
          <a:p>
            <a:pPr algn="r"/>
            <a:r>
              <a:rPr lang="en-US" sz="1050" i="1" dirty="0">
                <a:cs typeface="Arial" pitchFamily="34" charset="0"/>
              </a:rPr>
              <a:t>Other CT</a:t>
            </a:r>
            <a:endParaRPr lang="en-GB" sz="1050" i="1" dirty="0">
              <a:cs typeface="Arial" pitchFamily="34" charset="0"/>
            </a:endParaRPr>
          </a:p>
        </p:txBody>
      </p:sp>
      <p:sp>
        <p:nvSpPr>
          <p:cNvPr id="2" name="Rectangle 1" hidden="1">
            <a:extLst>
              <a:ext uri="{FF2B5EF4-FFF2-40B4-BE49-F238E27FC236}">
                <a16:creationId xmlns:a16="http://schemas.microsoft.com/office/drawing/2014/main" id="{6FF00FF9-CE36-42BF-920E-3A06B3F33CD0}"/>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Rectangular Callout 42">
            <a:extLst>
              <a:ext uri="{FF2B5EF4-FFF2-40B4-BE49-F238E27FC236}">
                <a16:creationId xmlns:a16="http://schemas.microsoft.com/office/drawing/2014/main" id="{8EC2E0CE-E9ED-414E-9D96-C6079759618E}"/>
              </a:ext>
            </a:extLst>
          </p:cNvPr>
          <p:cNvSpPr/>
          <p:nvPr/>
        </p:nvSpPr>
        <p:spPr>
          <a:xfrm>
            <a:off x="6096000" y="5289987"/>
            <a:ext cx="1517581" cy="1348384"/>
          </a:xfrm>
          <a:prstGeom prst="wedgeRectCallout">
            <a:avLst>
              <a:gd name="adj1" fmla="val 20491"/>
              <a:gd name="adj2" fmla="val -5409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Love Slack! If it can integrate with OneDrive moving forward, that will be awesome!.</a:t>
            </a:r>
            <a:r>
              <a:rPr lang="en-GB" sz="1200" dirty="0">
                <a:cs typeface="Arial" pitchFamily="34" charset="0"/>
              </a:rPr>
              <a:t>”</a:t>
            </a:r>
          </a:p>
          <a:p>
            <a:endParaRPr lang="en-GB" sz="1000" i="1" dirty="0">
              <a:cs typeface="Arial" pitchFamily="34" charset="0"/>
            </a:endParaRPr>
          </a:p>
          <a:p>
            <a:pPr algn="r"/>
            <a:r>
              <a:rPr lang="en-GB" sz="1000" i="1" dirty="0">
                <a:cs typeface="Arial" pitchFamily="34" charset="0"/>
              </a:rPr>
              <a:t>BST</a:t>
            </a:r>
          </a:p>
        </p:txBody>
      </p:sp>
      <p:sp>
        <p:nvSpPr>
          <p:cNvPr id="36" name="Rectangular Callout 54">
            <a:extLst>
              <a:ext uri="{FF2B5EF4-FFF2-40B4-BE49-F238E27FC236}">
                <a16:creationId xmlns:a16="http://schemas.microsoft.com/office/drawing/2014/main" id="{0D66F1E4-6C06-4943-B0CE-A20D7BC2261B}"/>
              </a:ext>
            </a:extLst>
          </p:cNvPr>
          <p:cNvSpPr/>
          <p:nvPr/>
        </p:nvSpPr>
        <p:spPr>
          <a:xfrm>
            <a:off x="257718" y="5289987"/>
            <a:ext cx="1952973" cy="1348384"/>
          </a:xfrm>
          <a:prstGeom prst="wedgeRectCallout">
            <a:avLst>
              <a:gd name="adj1" fmla="val 43598"/>
              <a:gd name="adj2" fmla="val -5559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gnyte] Cannot</a:t>
            </a:r>
            <a:r>
              <a:rPr lang="en-US" sz="1200" dirty="0">
                <a:cs typeface="Arial" pitchFamily="34" charset="0"/>
              </a:rPr>
              <a:t> multi edit - leads to version control issues, wasted time and much longer hours than needed.</a:t>
            </a:r>
            <a:r>
              <a:rPr lang="en-GB" sz="1200" dirty="0">
                <a:cs typeface="Arial" pitchFamily="34" charset="0"/>
              </a:rPr>
              <a:t>”</a:t>
            </a:r>
          </a:p>
          <a:p>
            <a:endParaRPr lang="en-GB" sz="1200" dirty="0">
              <a:cs typeface="Arial" pitchFamily="34" charset="0"/>
            </a:endParaRPr>
          </a:p>
          <a:p>
            <a:pPr algn="r"/>
            <a:r>
              <a:rPr lang="en-GB" sz="1050" i="1" dirty="0">
                <a:cs typeface="Arial" pitchFamily="34" charset="0"/>
              </a:rPr>
              <a:t>Principal</a:t>
            </a:r>
          </a:p>
        </p:txBody>
      </p:sp>
      <p:sp>
        <p:nvSpPr>
          <p:cNvPr id="55" name="Rectangular Callout 40">
            <a:extLst>
              <a:ext uri="{FF2B5EF4-FFF2-40B4-BE49-F238E27FC236}">
                <a16:creationId xmlns:a16="http://schemas.microsoft.com/office/drawing/2014/main" id="{A5924E5A-3306-4677-846C-47FA91C33597}"/>
              </a:ext>
            </a:extLst>
          </p:cNvPr>
          <p:cNvSpPr/>
          <p:nvPr/>
        </p:nvSpPr>
        <p:spPr>
          <a:xfrm>
            <a:off x="3439340" y="3960440"/>
            <a:ext cx="1409324" cy="1122990"/>
          </a:xfrm>
          <a:prstGeom prst="wedgeRectCallout">
            <a:avLst>
              <a:gd name="adj1" fmla="val -15469"/>
              <a:gd name="adj2" fmla="val 6343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gnyte] </a:t>
            </a:r>
            <a:r>
              <a:rPr lang="en-US" sz="1200" dirty="0">
                <a:cs typeface="Arial" pitchFamily="34" charset="0"/>
              </a:rPr>
              <a:t>No real collaboration and often late setup.</a:t>
            </a:r>
            <a:r>
              <a:rPr lang="en-GB" sz="1200" dirty="0">
                <a:cs typeface="Arial" pitchFamily="34" charset="0"/>
              </a:rPr>
              <a:t>”</a:t>
            </a:r>
            <a:endParaRPr lang="en-US" sz="1200" dirty="0">
              <a:cs typeface="Arial" pitchFamily="34" charset="0"/>
            </a:endParaRPr>
          </a:p>
          <a:p>
            <a:pPr algn="r"/>
            <a:r>
              <a:rPr lang="en-GB" sz="1000" i="1" dirty="0">
                <a:cs typeface="Arial" pitchFamily="34" charset="0"/>
              </a:rPr>
              <a:t>Consultant</a:t>
            </a:r>
          </a:p>
        </p:txBody>
      </p:sp>
      <p:sp>
        <p:nvSpPr>
          <p:cNvPr id="56" name="Rectangular Callout 40">
            <a:extLst>
              <a:ext uri="{FF2B5EF4-FFF2-40B4-BE49-F238E27FC236}">
                <a16:creationId xmlns:a16="http://schemas.microsoft.com/office/drawing/2014/main" id="{B9FFA7D6-47C5-4C55-805B-A0CE02BA602C}"/>
              </a:ext>
            </a:extLst>
          </p:cNvPr>
          <p:cNvSpPr/>
          <p:nvPr/>
        </p:nvSpPr>
        <p:spPr>
          <a:xfrm>
            <a:off x="4930272" y="3960440"/>
            <a:ext cx="1284323" cy="1109722"/>
          </a:xfrm>
          <a:prstGeom prst="wedgeRectCallout">
            <a:avLst>
              <a:gd name="adj1" fmla="val -154"/>
              <a:gd name="adj2" fmla="val 6376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My Zoom crashes at least 1-2 times per week.</a:t>
            </a:r>
            <a:r>
              <a:rPr lang="en-GB" sz="1200" dirty="0">
                <a:cs typeface="Arial" pitchFamily="34" charset="0"/>
              </a:rPr>
              <a:t>”</a:t>
            </a:r>
            <a:endParaRPr lang="en-US" sz="1200"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709456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extLst>
              <p:ext uri="{D42A27DB-BD31-4B8C-83A1-F6EECF244321}">
                <p14:modId xmlns:p14="http://schemas.microsoft.com/office/powerpoint/2010/main" val="2102023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949"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380C6BAD-5DF9-42DF-8E6C-FF39F6EFC5B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0"/>
            <a:ext cx="12209579" cy="3672582"/>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Multiple</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Multiple</a:t>
            </a:r>
          </a:p>
        </p:txBody>
      </p:sp>
      <p:sp>
        <p:nvSpPr>
          <p:cNvPr id="22" name="Rectangle 21">
            <a:extLst>
              <a:ext uri="{FF2B5EF4-FFF2-40B4-BE49-F238E27FC236}">
                <a16:creationId xmlns:a16="http://schemas.microsoft.com/office/drawing/2014/main" id="{F6C092CA-B578-43B9-8086-E93D2FD271BF}"/>
              </a:ext>
            </a:extLst>
          </p:cNvPr>
          <p:cNvSpPr/>
          <p:nvPr/>
        </p:nvSpPr>
        <p:spPr>
          <a:xfrm>
            <a:off x="0" y="-17522"/>
            <a:ext cx="12192000" cy="372312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8103206" cy="609398"/>
          </a:xfrm>
          <a:effectLst>
            <a:outerShdw blurRad="165100" algn="ctr" rotWithShape="0">
              <a:prstClr val="black">
                <a:alpha val="40000"/>
              </a:prstClr>
            </a:outerShdw>
          </a:effectLst>
        </p:spPr>
        <p:txBody>
          <a:bodyPr vert="horz"/>
          <a:lstStyle/>
          <a:p>
            <a:r>
              <a:rPr lang="en-US" sz="4400" dirty="0">
                <a:solidFill>
                  <a:srgbClr val="FFFFFF"/>
                </a:solidFill>
              </a:rPr>
              <a:t>Mobile Apps Desired</a:t>
            </a:r>
          </a:p>
        </p:txBody>
      </p:sp>
      <p:sp>
        <p:nvSpPr>
          <p:cNvPr id="16" name="TextBox 15">
            <a:extLst>
              <a:ext uri="{FF2B5EF4-FFF2-40B4-BE49-F238E27FC236}">
                <a16:creationId xmlns:a16="http://schemas.microsoft.com/office/drawing/2014/main" id="{B63AF631-EE0F-4A8A-9B68-8B25282BF9EA}"/>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Other</a:t>
            </a:r>
          </a:p>
        </p:txBody>
      </p:sp>
    </p:spTree>
    <p:extLst>
      <p:ext uri="{BB962C8B-B14F-4D97-AF65-F5344CB8AC3E}">
        <p14:creationId xmlns:p14="http://schemas.microsoft.com/office/powerpoint/2010/main" val="505601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243E3A-A6AB-40B9-B77D-66EDEC66474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715"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F8243E3A-A6AB-40B9-B77D-66EDEC66474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7E9449-FB29-4409-B407-E0EAC0DF4BA4}"/>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extBox 6">
            <a:extLst>
              <a:ext uri="{FF2B5EF4-FFF2-40B4-BE49-F238E27FC236}">
                <a16:creationId xmlns:a16="http://schemas.microsoft.com/office/drawing/2014/main" id="{B25FE88C-6111-49B6-973F-C711B4BF346F}"/>
              </a:ext>
            </a:extLst>
          </p:cNvPr>
          <p:cNvSpPr txBox="1"/>
          <p:nvPr/>
        </p:nvSpPr>
        <p:spPr>
          <a:xfrm>
            <a:off x="7604642" y="1746621"/>
            <a:ext cx="4173124" cy="448857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The top apps asked for are -</a:t>
            </a:r>
          </a:p>
          <a:p>
            <a:endParaRPr lang="en-US" dirty="0">
              <a:solidFill>
                <a:srgbClr val="575757"/>
              </a:solidFill>
            </a:endParaRPr>
          </a:p>
          <a:p>
            <a:pPr marL="342900" indent="-342900">
              <a:buFont typeface="+mj-lt"/>
              <a:buAutoNum type="arabicPeriod"/>
            </a:pPr>
            <a:r>
              <a:rPr lang="en-US" dirty="0">
                <a:solidFill>
                  <a:srgbClr val="575757"/>
                </a:solidFill>
              </a:rPr>
              <a:t>Outlook/Calendar App</a:t>
            </a:r>
          </a:p>
          <a:p>
            <a:pPr marL="342900" indent="-342900">
              <a:buFont typeface="+mj-lt"/>
              <a:buAutoNum type="arabicPeriod"/>
            </a:pPr>
            <a:r>
              <a:rPr lang="en-US" dirty="0">
                <a:solidFill>
                  <a:srgbClr val="575757"/>
                </a:solidFill>
              </a:rPr>
              <a:t>Android Support</a:t>
            </a:r>
          </a:p>
          <a:p>
            <a:pPr marL="342900" indent="-342900">
              <a:buFont typeface="+mj-lt"/>
              <a:buAutoNum type="arabicPeriod"/>
            </a:pPr>
            <a:r>
              <a:rPr lang="en-US" dirty="0">
                <a:solidFill>
                  <a:srgbClr val="575757"/>
                </a:solidFill>
              </a:rPr>
              <a:t>MS Teams</a:t>
            </a:r>
          </a:p>
          <a:p>
            <a:pPr marL="342900" indent="-342900">
              <a:buFont typeface="+mj-lt"/>
              <a:buAutoNum type="arabicPeriod"/>
            </a:pPr>
            <a:r>
              <a:rPr lang="en-US" dirty="0">
                <a:solidFill>
                  <a:srgbClr val="575757"/>
                </a:solidFill>
              </a:rPr>
              <a:t>Slack</a:t>
            </a:r>
          </a:p>
          <a:p>
            <a:pPr marL="342900" indent="-342900">
              <a:buFont typeface="+mj-lt"/>
              <a:buAutoNum type="arabicPeriod"/>
            </a:pPr>
            <a:r>
              <a:rPr lang="en-US" dirty="0">
                <a:solidFill>
                  <a:srgbClr val="575757"/>
                </a:solidFill>
              </a:rPr>
              <a:t>OneDrive/SharePoint</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Identical to Q3 - Outlook, calendar apps &amp; Android support are highly requested</a:t>
            </a:r>
          </a:p>
          <a:p>
            <a:pPr marL="285750" indent="-285750">
              <a:buFont typeface="Arial" panose="020B0604020202020204" pitchFamily="34" charset="0"/>
              <a:buChar char="•"/>
            </a:pPr>
            <a:r>
              <a:rPr lang="en-US" dirty="0">
                <a:solidFill>
                  <a:srgbClr val="575757"/>
                </a:solidFill>
              </a:rPr>
              <a:t>MS Teams, OneDrive &amp; SharePoint continue to be requested</a:t>
            </a:r>
          </a:p>
          <a:p>
            <a:pPr marL="285750" indent="-285750">
              <a:buFont typeface="Arial" panose="020B0604020202020204" pitchFamily="34" charset="0"/>
              <a:buChar char="•"/>
            </a:pPr>
            <a:r>
              <a:rPr lang="en-US" dirty="0">
                <a:solidFill>
                  <a:srgbClr val="575757"/>
                </a:solidFill>
              </a:rPr>
              <a:t>Slack was mentioned more frequently than previous quarters</a:t>
            </a:r>
          </a:p>
        </p:txBody>
      </p:sp>
      <p:sp>
        <p:nvSpPr>
          <p:cNvPr id="3" name="Title 2"/>
          <p:cNvSpPr>
            <a:spLocks noGrp="1"/>
          </p:cNvSpPr>
          <p:nvPr>
            <p:ph type="title"/>
          </p:nvPr>
        </p:nvSpPr>
        <p:spPr>
          <a:xfrm>
            <a:off x="630000" y="622800"/>
            <a:ext cx="10933350" cy="304699"/>
          </a:xfrm>
        </p:spPr>
        <p:txBody>
          <a:bodyPr vert="horz"/>
          <a:lstStyle/>
          <a:p>
            <a:r>
              <a:rPr lang="en-US" sz="2200" dirty="0">
                <a:solidFill>
                  <a:srgbClr val="295E7E"/>
                </a:solidFill>
              </a:rPr>
              <a:t>Q – </a:t>
            </a:r>
            <a:r>
              <a:rPr lang="en-GB" sz="2200" dirty="0">
                <a:solidFill>
                  <a:srgbClr val="295E7E"/>
                </a:solidFill>
              </a:rPr>
              <a:t>What other mobile apps would you like to see prioritized by BCG IT? </a:t>
            </a:r>
            <a:endParaRPr lang="en-US" sz="2200" dirty="0">
              <a:solidFill>
                <a:srgbClr val="295E7E"/>
              </a:solidFill>
            </a:endParaRPr>
          </a:p>
        </p:txBody>
      </p:sp>
      <p:grpSp>
        <p:nvGrpSpPr>
          <p:cNvPr id="68" name="Group 67">
            <a:extLst>
              <a:ext uri="{FF2B5EF4-FFF2-40B4-BE49-F238E27FC236}">
                <a16:creationId xmlns:a16="http://schemas.microsoft.com/office/drawing/2014/main" id="{F6C936EA-59F0-454B-B1D5-6ED85AE2A1DC}"/>
              </a:ext>
            </a:extLst>
          </p:cNvPr>
          <p:cNvGrpSpPr>
            <a:grpSpLocks noChangeAspect="1"/>
          </p:cNvGrpSpPr>
          <p:nvPr/>
        </p:nvGrpSpPr>
        <p:grpSpPr>
          <a:xfrm>
            <a:off x="630000" y="1936451"/>
            <a:ext cx="306910" cy="306910"/>
            <a:chOff x="5961063" y="3294063"/>
            <a:chExt cx="269875" cy="269875"/>
          </a:xfrm>
        </p:grpSpPr>
        <p:sp>
          <p:nvSpPr>
            <p:cNvPr id="69" name="Oval 46">
              <a:extLst>
                <a:ext uri="{FF2B5EF4-FFF2-40B4-BE49-F238E27FC236}">
                  <a16:creationId xmlns:a16="http://schemas.microsoft.com/office/drawing/2014/main" id="{C407A520-18AB-496D-9B13-D5812806BE1B}"/>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70" name="Freeform 47">
              <a:extLst>
                <a:ext uri="{FF2B5EF4-FFF2-40B4-BE49-F238E27FC236}">
                  <a16:creationId xmlns:a16="http://schemas.microsoft.com/office/drawing/2014/main" id="{9BBCACCB-B0C1-4F99-9E45-B3F83A3FE28F}"/>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9" name="Rectangle 8">
            <a:extLst>
              <a:ext uri="{FF2B5EF4-FFF2-40B4-BE49-F238E27FC236}">
                <a16:creationId xmlns:a16="http://schemas.microsoft.com/office/drawing/2014/main" id="{842B4C1F-EBB1-488A-9BF4-A04F8C8718EB}"/>
              </a:ext>
            </a:extLst>
          </p:cNvPr>
          <p:cNvSpPr/>
          <p:nvPr/>
        </p:nvSpPr>
        <p:spPr>
          <a:xfrm>
            <a:off x="1015143" y="3364570"/>
            <a:ext cx="6257528" cy="523220"/>
          </a:xfrm>
          <a:prstGeom prst="rect">
            <a:avLst/>
          </a:prstGeom>
          <a:ln w="9525" cap="flat" cmpd="sng" algn="ctr">
            <a:noFill/>
            <a:prstDash val="solid"/>
            <a:round/>
            <a:headEnd type="none" w="med" len="med"/>
            <a:tailEnd type="none" w="med" len="med"/>
          </a:ln>
        </p:spPr>
        <p:txBody>
          <a:bodyPr wrap="square">
            <a:spAutoFit/>
          </a:bodyPr>
          <a:lstStyle/>
          <a:p>
            <a:r>
              <a:rPr lang="en-US" sz="1400" dirty="0"/>
              <a:t>Move to MS Teams so we have one tool to use for chat, calls, collaboration, file sharing and viewing</a:t>
            </a:r>
          </a:p>
        </p:txBody>
      </p:sp>
      <p:sp>
        <p:nvSpPr>
          <p:cNvPr id="99" name="TextBox 98">
            <a:extLst>
              <a:ext uri="{FF2B5EF4-FFF2-40B4-BE49-F238E27FC236}">
                <a16:creationId xmlns:a16="http://schemas.microsoft.com/office/drawing/2014/main" id="{07BC6B24-7064-4C43-8FEA-C1EDB7F9F9C7}"/>
              </a:ext>
            </a:extLst>
          </p:cNvPr>
          <p:cNvSpPr txBox="1"/>
          <p:nvPr/>
        </p:nvSpPr>
        <p:spPr>
          <a:xfrm>
            <a:off x="7604641" y="1213925"/>
            <a:ext cx="4173125" cy="532696"/>
          </a:xfrm>
          <a:prstGeom prst="rect">
            <a:avLst/>
          </a:prstGeom>
          <a:solidFill>
            <a:srgbClr val="295E7E"/>
          </a:solidFill>
          <a:ln w="10795"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dirty="0"/>
              <a:t>Observations</a:t>
            </a:r>
          </a:p>
        </p:txBody>
      </p:sp>
      <p:sp>
        <p:nvSpPr>
          <p:cNvPr id="50" name="Rectangle 49">
            <a:extLst>
              <a:ext uri="{FF2B5EF4-FFF2-40B4-BE49-F238E27FC236}">
                <a16:creationId xmlns:a16="http://schemas.microsoft.com/office/drawing/2014/main" id="{A467CEDC-F0F7-461E-B729-079412EDB237}"/>
              </a:ext>
            </a:extLst>
          </p:cNvPr>
          <p:cNvSpPr/>
          <p:nvPr/>
        </p:nvSpPr>
        <p:spPr>
          <a:xfrm>
            <a:off x="1015143" y="4199067"/>
            <a:ext cx="6566440" cy="523220"/>
          </a:xfrm>
          <a:prstGeom prst="rect">
            <a:avLst/>
          </a:prstGeom>
          <a:ln w="9525" cap="flat" cmpd="sng" algn="ctr">
            <a:noFill/>
            <a:prstDash val="solid"/>
            <a:round/>
            <a:headEnd type="none" w="med" len="med"/>
            <a:tailEnd type="none" w="med" len="med"/>
          </a:ln>
        </p:spPr>
        <p:txBody>
          <a:bodyPr wrap="square">
            <a:spAutoFit/>
          </a:bodyPr>
          <a:lstStyle/>
          <a:p>
            <a:r>
              <a:rPr lang="en-US" sz="1400" dirty="0"/>
              <a:t>I would like to be able to see my work calendar on my native calendar app without being notified of other people's calendars</a:t>
            </a:r>
          </a:p>
        </p:txBody>
      </p:sp>
      <p:grpSp>
        <p:nvGrpSpPr>
          <p:cNvPr id="44" name="Group 43">
            <a:extLst>
              <a:ext uri="{FF2B5EF4-FFF2-40B4-BE49-F238E27FC236}">
                <a16:creationId xmlns:a16="http://schemas.microsoft.com/office/drawing/2014/main" id="{E9174547-6783-43B3-81FE-8B3DCABCE734}"/>
              </a:ext>
            </a:extLst>
          </p:cNvPr>
          <p:cNvGrpSpPr>
            <a:grpSpLocks noChangeAspect="1"/>
          </p:cNvGrpSpPr>
          <p:nvPr/>
        </p:nvGrpSpPr>
        <p:grpSpPr>
          <a:xfrm>
            <a:off x="629998" y="2545017"/>
            <a:ext cx="306910" cy="306910"/>
            <a:chOff x="5961063" y="3294063"/>
            <a:chExt cx="269875" cy="269875"/>
          </a:xfrm>
        </p:grpSpPr>
        <p:sp>
          <p:nvSpPr>
            <p:cNvPr id="45" name="Oval 46">
              <a:extLst>
                <a:ext uri="{FF2B5EF4-FFF2-40B4-BE49-F238E27FC236}">
                  <a16:creationId xmlns:a16="http://schemas.microsoft.com/office/drawing/2014/main" id="{374B7306-A742-4164-BC9E-A1F36FEF5CBB}"/>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46" name="Freeform 47">
              <a:extLst>
                <a:ext uri="{FF2B5EF4-FFF2-40B4-BE49-F238E27FC236}">
                  <a16:creationId xmlns:a16="http://schemas.microsoft.com/office/drawing/2014/main" id="{AD98D3DF-F7DA-4416-9EB2-ED213C8B6FBC}"/>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37" name="Rectangle 36">
            <a:extLst>
              <a:ext uri="{FF2B5EF4-FFF2-40B4-BE49-F238E27FC236}">
                <a16:creationId xmlns:a16="http://schemas.microsoft.com/office/drawing/2014/main" id="{266F4CD7-8D52-4411-BF36-9168A21B5F7B}"/>
              </a:ext>
            </a:extLst>
          </p:cNvPr>
          <p:cNvSpPr/>
          <p:nvPr/>
        </p:nvSpPr>
        <p:spPr>
          <a:xfrm>
            <a:off x="1038200" y="1941862"/>
            <a:ext cx="6566441" cy="307777"/>
          </a:xfrm>
          <a:prstGeom prst="rect">
            <a:avLst/>
          </a:prstGeom>
          <a:ln w="9525" cap="flat" cmpd="sng" algn="ctr">
            <a:noFill/>
            <a:prstDash val="solid"/>
            <a:round/>
            <a:headEnd type="none" w="med" len="med"/>
            <a:tailEnd type="none" w="med" len="med"/>
          </a:ln>
        </p:spPr>
        <p:txBody>
          <a:bodyPr wrap="square">
            <a:spAutoFit/>
          </a:bodyPr>
          <a:lstStyle/>
          <a:p>
            <a:r>
              <a:rPr lang="en-US" sz="1400" dirty="0"/>
              <a:t>Integration between Zoom and Outlook for Mobile</a:t>
            </a:r>
          </a:p>
        </p:txBody>
      </p:sp>
      <p:grpSp>
        <p:nvGrpSpPr>
          <p:cNvPr id="43" name="Group 42">
            <a:extLst>
              <a:ext uri="{FF2B5EF4-FFF2-40B4-BE49-F238E27FC236}">
                <a16:creationId xmlns:a16="http://schemas.microsoft.com/office/drawing/2014/main" id="{040135F9-5A70-4FD0-AC57-930C07457B20}"/>
              </a:ext>
            </a:extLst>
          </p:cNvPr>
          <p:cNvGrpSpPr>
            <a:grpSpLocks noChangeAspect="1"/>
          </p:cNvGrpSpPr>
          <p:nvPr/>
        </p:nvGrpSpPr>
        <p:grpSpPr>
          <a:xfrm>
            <a:off x="626583" y="5038869"/>
            <a:ext cx="306910" cy="306910"/>
            <a:chOff x="5961063" y="3294063"/>
            <a:chExt cx="269875" cy="269875"/>
          </a:xfrm>
        </p:grpSpPr>
        <p:sp>
          <p:nvSpPr>
            <p:cNvPr id="49" name="Oval 46">
              <a:extLst>
                <a:ext uri="{FF2B5EF4-FFF2-40B4-BE49-F238E27FC236}">
                  <a16:creationId xmlns:a16="http://schemas.microsoft.com/office/drawing/2014/main" id="{924AB154-805B-4F3D-B0E6-8FCB8718F9AE}"/>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4" name="Freeform 47">
              <a:extLst>
                <a:ext uri="{FF2B5EF4-FFF2-40B4-BE49-F238E27FC236}">
                  <a16:creationId xmlns:a16="http://schemas.microsoft.com/office/drawing/2014/main" id="{A708443B-07C7-4EA9-A379-2B336A5EDE7E}"/>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7" name="Group 66">
            <a:extLst>
              <a:ext uri="{FF2B5EF4-FFF2-40B4-BE49-F238E27FC236}">
                <a16:creationId xmlns:a16="http://schemas.microsoft.com/office/drawing/2014/main" id="{CFBC6619-AF5F-4A92-8C2B-3D25CBC2339F}"/>
              </a:ext>
            </a:extLst>
          </p:cNvPr>
          <p:cNvGrpSpPr>
            <a:grpSpLocks noChangeAspect="1"/>
          </p:cNvGrpSpPr>
          <p:nvPr/>
        </p:nvGrpSpPr>
        <p:grpSpPr>
          <a:xfrm>
            <a:off x="616910" y="4233722"/>
            <a:ext cx="306910" cy="306910"/>
            <a:chOff x="5961063" y="3294063"/>
            <a:chExt cx="269875" cy="269875"/>
          </a:xfrm>
        </p:grpSpPr>
        <p:sp>
          <p:nvSpPr>
            <p:cNvPr id="80" name="Oval 46">
              <a:extLst>
                <a:ext uri="{FF2B5EF4-FFF2-40B4-BE49-F238E27FC236}">
                  <a16:creationId xmlns:a16="http://schemas.microsoft.com/office/drawing/2014/main" id="{6911A681-515A-46B4-8582-6A5767DCEE89}"/>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1" name="Freeform 47">
              <a:extLst>
                <a:ext uri="{FF2B5EF4-FFF2-40B4-BE49-F238E27FC236}">
                  <a16:creationId xmlns:a16="http://schemas.microsoft.com/office/drawing/2014/main" id="{6D051272-28E7-46EF-8BAD-A25653450B2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82" name="Group 81">
            <a:extLst>
              <a:ext uri="{FF2B5EF4-FFF2-40B4-BE49-F238E27FC236}">
                <a16:creationId xmlns:a16="http://schemas.microsoft.com/office/drawing/2014/main" id="{C8F2D3B1-9B20-4070-AEA6-F249D5761F2C}"/>
              </a:ext>
            </a:extLst>
          </p:cNvPr>
          <p:cNvGrpSpPr>
            <a:grpSpLocks noChangeAspect="1"/>
          </p:cNvGrpSpPr>
          <p:nvPr/>
        </p:nvGrpSpPr>
        <p:grpSpPr>
          <a:xfrm>
            <a:off x="626582" y="3366297"/>
            <a:ext cx="306910" cy="306910"/>
            <a:chOff x="5961063" y="3294063"/>
            <a:chExt cx="269875" cy="269875"/>
          </a:xfrm>
        </p:grpSpPr>
        <p:sp>
          <p:nvSpPr>
            <p:cNvPr id="83" name="Oval 46">
              <a:extLst>
                <a:ext uri="{FF2B5EF4-FFF2-40B4-BE49-F238E27FC236}">
                  <a16:creationId xmlns:a16="http://schemas.microsoft.com/office/drawing/2014/main" id="{E12DF8F6-EFFD-489F-9603-1E9067E41FFE}"/>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4" name="Freeform 47">
              <a:extLst>
                <a:ext uri="{FF2B5EF4-FFF2-40B4-BE49-F238E27FC236}">
                  <a16:creationId xmlns:a16="http://schemas.microsoft.com/office/drawing/2014/main" id="{90BDC41F-F0DF-4420-A304-F4127D0666FE}"/>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51" name="Rectangle 50">
            <a:extLst>
              <a:ext uri="{FF2B5EF4-FFF2-40B4-BE49-F238E27FC236}">
                <a16:creationId xmlns:a16="http://schemas.microsoft.com/office/drawing/2014/main" id="{868C2959-89C9-4FA6-B1EC-805B26FA611C}"/>
              </a:ext>
            </a:extLst>
          </p:cNvPr>
          <p:cNvSpPr/>
          <p:nvPr/>
        </p:nvSpPr>
        <p:spPr>
          <a:xfrm>
            <a:off x="1015141" y="2549737"/>
            <a:ext cx="6183101" cy="523220"/>
          </a:xfrm>
          <a:prstGeom prst="rect">
            <a:avLst/>
          </a:prstGeom>
          <a:ln w="9525" cap="flat" cmpd="sng" algn="ctr">
            <a:noFill/>
            <a:prstDash val="solid"/>
            <a:round/>
            <a:headEnd type="none" w="med" len="med"/>
            <a:tailEnd type="none" w="med" len="med"/>
          </a:ln>
        </p:spPr>
        <p:txBody>
          <a:bodyPr wrap="square">
            <a:spAutoFit/>
          </a:bodyPr>
          <a:lstStyle/>
          <a:p>
            <a:r>
              <a:rPr lang="en-US" sz="1400" dirty="0"/>
              <a:t>Please extend support for Slack and Outlook to Android as well. Currently only available on iOS and a few Samsung models</a:t>
            </a:r>
          </a:p>
        </p:txBody>
      </p:sp>
      <p:sp>
        <p:nvSpPr>
          <p:cNvPr id="6" name="Rectangle 5">
            <a:extLst>
              <a:ext uri="{FF2B5EF4-FFF2-40B4-BE49-F238E27FC236}">
                <a16:creationId xmlns:a16="http://schemas.microsoft.com/office/drawing/2014/main" id="{FCAE2AA9-9EA3-4B53-8EFE-25EE4339826A}"/>
              </a:ext>
            </a:extLst>
          </p:cNvPr>
          <p:cNvSpPr/>
          <p:nvPr/>
        </p:nvSpPr>
        <p:spPr>
          <a:xfrm>
            <a:off x="1015145" y="5034533"/>
            <a:ext cx="6566439" cy="307777"/>
          </a:xfrm>
          <a:prstGeom prst="rect">
            <a:avLst/>
          </a:prstGeom>
          <a:ln w="9525" cap="flat" cmpd="sng" algn="ctr">
            <a:noFill/>
            <a:prstDash val="solid"/>
            <a:round/>
            <a:headEnd type="none" w="med" len="med"/>
            <a:tailEnd type="none" w="med" len="med"/>
          </a:ln>
        </p:spPr>
        <p:txBody>
          <a:bodyPr wrap="square">
            <a:spAutoFit/>
          </a:bodyPr>
          <a:lstStyle/>
          <a:p>
            <a:r>
              <a:rPr lang="en-US" sz="1400" dirty="0"/>
              <a:t>I would like to see the Slack mobile app prioritized</a:t>
            </a:r>
          </a:p>
        </p:txBody>
      </p:sp>
    </p:spTree>
    <p:custDataLst>
      <p:tags r:id="rId2"/>
    </p:custDataLst>
    <p:extLst>
      <p:ext uri="{BB962C8B-B14F-4D97-AF65-F5344CB8AC3E}">
        <p14:creationId xmlns:p14="http://schemas.microsoft.com/office/powerpoint/2010/main" val="2910561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888630-B4DE-4A30-B6E2-CF3C3FD3978A}"/>
              </a:ext>
            </a:extLst>
          </p:cNvPr>
          <p:cNvGraphicFramePr>
            <a:graphicFrameLocks noChangeAspect="1"/>
          </p:cNvGraphicFramePr>
          <p:nvPr>
            <p:custDataLst>
              <p:tags r:id="rId2"/>
            </p:custDataLst>
            <p:extLst>
              <p:ext uri="{D42A27DB-BD31-4B8C-83A1-F6EECF244321}">
                <p14:modId xmlns:p14="http://schemas.microsoft.com/office/powerpoint/2010/main" val="1047485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2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7C4A19C-061B-4EA7-AAD8-128B14AFFBA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82746" y="1349958"/>
            <a:ext cx="8251223" cy="4540035"/>
          </a:xfrm>
          <a:prstGeom prst="rect">
            <a:avLst/>
          </a:prstGeom>
        </p:spPr>
      </p:pic>
      <p:sp>
        <p:nvSpPr>
          <p:cNvPr id="3" name="Title 2">
            <a:extLst>
              <a:ext uri="{FF2B5EF4-FFF2-40B4-BE49-F238E27FC236}">
                <a16:creationId xmlns:a16="http://schemas.microsoft.com/office/drawing/2014/main" id="{0650D039-9867-4AE6-8151-0DAE97D74993}"/>
              </a:ext>
            </a:extLst>
          </p:cNvPr>
          <p:cNvSpPr>
            <a:spLocks noGrp="1"/>
          </p:cNvSpPr>
          <p:nvPr>
            <p:ph type="title"/>
          </p:nvPr>
        </p:nvSpPr>
        <p:spPr/>
        <p:txBody>
          <a:bodyPr vert="horz"/>
          <a:lstStyle/>
          <a:p>
            <a:r>
              <a:rPr lang="en-US" dirty="0">
                <a:solidFill>
                  <a:srgbClr val="295E7E"/>
                </a:solidFill>
              </a:rPr>
              <a:t>How to Read E-SAT Trending Slides…</a:t>
            </a:r>
          </a:p>
        </p:txBody>
      </p:sp>
      <p:sp>
        <p:nvSpPr>
          <p:cNvPr id="15" name="Oval 20">
            <a:extLst>
              <a:ext uri="{FF2B5EF4-FFF2-40B4-BE49-F238E27FC236}">
                <a16:creationId xmlns:a16="http://schemas.microsoft.com/office/drawing/2014/main" id="{5474A70F-3608-44C5-B490-535F92D5106B}"/>
              </a:ext>
            </a:extLst>
          </p:cNvPr>
          <p:cNvSpPr>
            <a:spLocks noChangeAspect="1" noChangeArrowheads="1"/>
          </p:cNvSpPr>
          <p:nvPr/>
        </p:nvSpPr>
        <p:spPr bwMode="auto">
          <a:xfrm>
            <a:off x="3275745" y="1836785"/>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17" name="Oval 20">
            <a:extLst>
              <a:ext uri="{FF2B5EF4-FFF2-40B4-BE49-F238E27FC236}">
                <a16:creationId xmlns:a16="http://schemas.microsoft.com/office/drawing/2014/main" id="{8EA6C8D8-79F2-4A3E-84A2-1A968E881E22}"/>
              </a:ext>
            </a:extLst>
          </p:cNvPr>
          <p:cNvSpPr>
            <a:spLocks noChangeAspect="1" noChangeArrowheads="1"/>
          </p:cNvSpPr>
          <p:nvPr/>
        </p:nvSpPr>
        <p:spPr bwMode="auto">
          <a:xfrm>
            <a:off x="6271379" y="1852329"/>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8" name="Oval 20">
            <a:extLst>
              <a:ext uri="{FF2B5EF4-FFF2-40B4-BE49-F238E27FC236}">
                <a16:creationId xmlns:a16="http://schemas.microsoft.com/office/drawing/2014/main" id="{0B197CAC-E9D8-47F9-9AA5-5A3689CDF114}"/>
              </a:ext>
            </a:extLst>
          </p:cNvPr>
          <p:cNvSpPr>
            <a:spLocks noChangeAspect="1" noChangeArrowheads="1"/>
          </p:cNvSpPr>
          <p:nvPr/>
        </p:nvSpPr>
        <p:spPr bwMode="auto">
          <a:xfrm>
            <a:off x="7299219" y="1854510"/>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19" name="Oval 20">
            <a:extLst>
              <a:ext uri="{FF2B5EF4-FFF2-40B4-BE49-F238E27FC236}">
                <a16:creationId xmlns:a16="http://schemas.microsoft.com/office/drawing/2014/main" id="{70934A01-8C63-458B-8A90-DE957CA50DCA}"/>
              </a:ext>
            </a:extLst>
          </p:cNvPr>
          <p:cNvSpPr>
            <a:spLocks noChangeAspect="1" noChangeArrowheads="1"/>
          </p:cNvSpPr>
          <p:nvPr/>
        </p:nvSpPr>
        <p:spPr bwMode="auto">
          <a:xfrm>
            <a:off x="229291" y="5246339"/>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21" name="Oval 20">
            <a:extLst>
              <a:ext uri="{FF2B5EF4-FFF2-40B4-BE49-F238E27FC236}">
                <a16:creationId xmlns:a16="http://schemas.microsoft.com/office/drawing/2014/main" id="{95DAF615-1521-481A-B5A2-D9E991F74856}"/>
              </a:ext>
            </a:extLst>
          </p:cNvPr>
          <p:cNvSpPr>
            <a:spLocks noChangeAspect="1" noChangeArrowheads="1"/>
          </p:cNvSpPr>
          <p:nvPr/>
        </p:nvSpPr>
        <p:spPr bwMode="auto">
          <a:xfrm>
            <a:off x="9110909" y="944353"/>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22" name="Oval 21">
            <a:extLst>
              <a:ext uri="{FF2B5EF4-FFF2-40B4-BE49-F238E27FC236}">
                <a16:creationId xmlns:a16="http://schemas.microsoft.com/office/drawing/2014/main" id="{316AA65E-CB3B-456D-A1DC-258E8F358BB3}"/>
              </a:ext>
            </a:extLst>
          </p:cNvPr>
          <p:cNvSpPr>
            <a:spLocks noChangeAspect="1" noChangeArrowheads="1"/>
          </p:cNvSpPr>
          <p:nvPr/>
        </p:nvSpPr>
        <p:spPr bwMode="auto">
          <a:xfrm>
            <a:off x="9110909" y="2162837"/>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23" name="Oval 22">
            <a:extLst>
              <a:ext uri="{FF2B5EF4-FFF2-40B4-BE49-F238E27FC236}">
                <a16:creationId xmlns:a16="http://schemas.microsoft.com/office/drawing/2014/main" id="{F0A11140-15F5-459C-A8B6-449F4AD3C1AF}"/>
              </a:ext>
            </a:extLst>
          </p:cNvPr>
          <p:cNvSpPr>
            <a:spLocks noChangeAspect="1" noChangeArrowheads="1"/>
          </p:cNvSpPr>
          <p:nvPr/>
        </p:nvSpPr>
        <p:spPr bwMode="auto">
          <a:xfrm>
            <a:off x="9110910" y="3506782"/>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24" name="Oval 23">
            <a:extLst>
              <a:ext uri="{FF2B5EF4-FFF2-40B4-BE49-F238E27FC236}">
                <a16:creationId xmlns:a16="http://schemas.microsoft.com/office/drawing/2014/main" id="{DF2E2A25-6567-4599-A25B-4337BAC1987C}"/>
              </a:ext>
            </a:extLst>
          </p:cNvPr>
          <p:cNvSpPr>
            <a:spLocks noChangeAspect="1" noChangeArrowheads="1"/>
          </p:cNvSpPr>
          <p:nvPr/>
        </p:nvSpPr>
        <p:spPr bwMode="auto">
          <a:xfrm>
            <a:off x="9115370" y="4357562"/>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25" name="Oval 24">
            <a:extLst>
              <a:ext uri="{FF2B5EF4-FFF2-40B4-BE49-F238E27FC236}">
                <a16:creationId xmlns:a16="http://schemas.microsoft.com/office/drawing/2014/main" id="{F1617435-4A27-4846-97BC-4507029F34D3}"/>
              </a:ext>
            </a:extLst>
          </p:cNvPr>
          <p:cNvSpPr>
            <a:spLocks noChangeAspect="1" noChangeArrowheads="1"/>
          </p:cNvSpPr>
          <p:nvPr/>
        </p:nvSpPr>
        <p:spPr bwMode="auto">
          <a:xfrm>
            <a:off x="9110910" y="5639928"/>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29" name="TextBox 28">
            <a:extLst>
              <a:ext uri="{FF2B5EF4-FFF2-40B4-BE49-F238E27FC236}">
                <a16:creationId xmlns:a16="http://schemas.microsoft.com/office/drawing/2014/main" id="{3E1724FE-E59A-4308-83C6-2FF9901C5BFB}"/>
              </a:ext>
            </a:extLst>
          </p:cNvPr>
          <p:cNvSpPr txBox="1"/>
          <p:nvPr/>
        </p:nvSpPr>
        <p:spPr>
          <a:xfrm>
            <a:off x="9417819" y="949457"/>
            <a:ext cx="2577953" cy="90502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Compares quarterly year-over-year (E-SAT scores. In this case Q4 2021 vs Q4 2020)</a:t>
            </a:r>
          </a:p>
        </p:txBody>
      </p:sp>
      <p:sp>
        <p:nvSpPr>
          <p:cNvPr id="30" name="TextBox 29">
            <a:extLst>
              <a:ext uri="{FF2B5EF4-FFF2-40B4-BE49-F238E27FC236}">
                <a16:creationId xmlns:a16="http://schemas.microsoft.com/office/drawing/2014/main" id="{708A2F83-8F1A-4A3B-8ADE-7C3F5DAE8A67}"/>
              </a:ext>
            </a:extLst>
          </p:cNvPr>
          <p:cNvSpPr txBox="1"/>
          <p:nvPr/>
        </p:nvSpPr>
        <p:spPr>
          <a:xfrm>
            <a:off x="9417820" y="2163071"/>
            <a:ext cx="2506025" cy="90502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Compares annual average scores for 2021 vs 2020 &amp; newly 2019 (most important score)</a:t>
            </a:r>
          </a:p>
        </p:txBody>
      </p:sp>
      <p:sp>
        <p:nvSpPr>
          <p:cNvPr id="31" name="TextBox 30">
            <a:extLst>
              <a:ext uri="{FF2B5EF4-FFF2-40B4-BE49-F238E27FC236}">
                <a16:creationId xmlns:a16="http://schemas.microsoft.com/office/drawing/2014/main" id="{013F33CC-16FF-4E6B-B438-7F28F9B06EC8}"/>
              </a:ext>
            </a:extLst>
          </p:cNvPr>
          <p:cNvSpPr txBox="1"/>
          <p:nvPr/>
        </p:nvSpPr>
        <p:spPr>
          <a:xfrm>
            <a:off x="9417820" y="3449353"/>
            <a:ext cx="2506025" cy="59866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The 'Best-in-Class' (BIC) target for each product</a:t>
            </a:r>
          </a:p>
        </p:txBody>
      </p:sp>
      <p:sp>
        <p:nvSpPr>
          <p:cNvPr id="32" name="Oval 31">
            <a:extLst>
              <a:ext uri="{FF2B5EF4-FFF2-40B4-BE49-F238E27FC236}">
                <a16:creationId xmlns:a16="http://schemas.microsoft.com/office/drawing/2014/main" id="{0D250C81-ED6F-4211-8795-3A129DCB5464}"/>
              </a:ext>
            </a:extLst>
          </p:cNvPr>
          <p:cNvSpPr>
            <a:spLocks noChangeAspect="1" noChangeArrowheads="1"/>
          </p:cNvSpPr>
          <p:nvPr/>
        </p:nvSpPr>
        <p:spPr bwMode="auto">
          <a:xfrm>
            <a:off x="7971621" y="1836785"/>
            <a:ext cx="306910" cy="306910"/>
          </a:xfrm>
          <a:prstGeom prst="ellipse">
            <a:avLst/>
          </a:prstGeom>
          <a:solidFill>
            <a:srgbClr val="30C1D7"/>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33" name="TextBox 32">
            <a:extLst>
              <a:ext uri="{FF2B5EF4-FFF2-40B4-BE49-F238E27FC236}">
                <a16:creationId xmlns:a16="http://schemas.microsoft.com/office/drawing/2014/main" id="{7651DD6D-1B4E-4FE5-9BE7-B79463429E11}"/>
              </a:ext>
            </a:extLst>
          </p:cNvPr>
          <p:cNvSpPr txBox="1"/>
          <p:nvPr/>
        </p:nvSpPr>
        <p:spPr>
          <a:xfrm>
            <a:off x="9417820" y="4308552"/>
            <a:ext cx="2506025" cy="10512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Whether the BIC target has been met (against 2021 annual average) &amp; relevant status</a:t>
            </a:r>
          </a:p>
        </p:txBody>
      </p:sp>
      <p:sp>
        <p:nvSpPr>
          <p:cNvPr id="34" name="TextBox 33">
            <a:extLst>
              <a:ext uri="{FF2B5EF4-FFF2-40B4-BE49-F238E27FC236}">
                <a16:creationId xmlns:a16="http://schemas.microsoft.com/office/drawing/2014/main" id="{AE3E1C89-08D5-48FC-BB04-FA4D1F485B9B}"/>
              </a:ext>
            </a:extLst>
          </p:cNvPr>
          <p:cNvSpPr txBox="1"/>
          <p:nvPr/>
        </p:nvSpPr>
        <p:spPr>
          <a:xfrm>
            <a:off x="9453784" y="5646661"/>
            <a:ext cx="2506025" cy="30691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FFFFFF"/>
                </a:solidFill>
              </a:rPr>
              <a:t>Key observations</a:t>
            </a:r>
          </a:p>
        </p:txBody>
      </p:sp>
    </p:spTree>
    <p:extLst>
      <p:ext uri="{BB962C8B-B14F-4D97-AF65-F5344CB8AC3E}">
        <p14:creationId xmlns:p14="http://schemas.microsoft.com/office/powerpoint/2010/main" val="2619749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extLst>
              <p:ext uri="{D42A27DB-BD31-4B8C-83A1-F6EECF244321}">
                <p14:modId xmlns:p14="http://schemas.microsoft.com/office/powerpoint/2010/main" val="1204823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999" name="think-cell Slide" r:id="rId6" imgW="473" imgH="473" progId="TCLayout.ActiveDocument.1">
                  <p:embed/>
                </p:oleObj>
              </mc:Choice>
              <mc:Fallback>
                <p:oleObj name="think-cell Slide" r:id="rId6"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descr="A picture containing text, shelf, book, indoor&#10;&#10;Description automatically generated">
            <a:extLst>
              <a:ext uri="{FF2B5EF4-FFF2-40B4-BE49-F238E27FC236}">
                <a16:creationId xmlns:a16="http://schemas.microsoft.com/office/drawing/2014/main" id="{7B85E910-CBC3-4140-8505-AD21B1BA1FB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6388" y="-1"/>
            <a:ext cx="12175612" cy="3688081"/>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Inside BCG</a:t>
            </a:r>
          </a:p>
          <a:p>
            <a:pPr>
              <a:defRPr/>
            </a:pPr>
            <a:r>
              <a:rPr lang="en-US" sz="1400" dirty="0">
                <a:solidFill>
                  <a:srgbClr val="575757"/>
                </a:solidFill>
                <a:latin typeface="+mn-ea"/>
                <a:cs typeface="Arial" pitchFamily="34" charset="0"/>
                <a:sym typeface="Trebuchet MS" panose="020B0603020202020204" pitchFamily="34" charset="0"/>
              </a:rPr>
              <a:t>Knowledge Navigator</a:t>
            </a:r>
          </a:p>
          <a:p>
            <a:pPr>
              <a:defRPr/>
            </a:pPr>
            <a:r>
              <a:rPr lang="en-US" sz="1400" dirty="0">
                <a:solidFill>
                  <a:srgbClr val="575757"/>
                </a:solidFill>
                <a:latin typeface="+mn-ea"/>
                <a:cs typeface="Arial" pitchFamily="34" charset="0"/>
                <a:sym typeface="Trebuchet MS" panose="020B0603020202020204" pitchFamily="34" charset="0"/>
              </a:rPr>
              <a:t>Search</a:t>
            </a:r>
            <a:endParaRPr lang="en-US" sz="1400" baseline="300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BCG Internal</a:t>
            </a:r>
          </a:p>
          <a:p>
            <a:pPr>
              <a:defRPr/>
            </a:pPr>
            <a:r>
              <a:rPr lang="en-US" sz="1400" dirty="0">
                <a:solidFill>
                  <a:srgbClr val="575757"/>
                </a:solidFill>
                <a:latin typeface="+mn-ea"/>
                <a:cs typeface="Arial" pitchFamily="34" charset="0"/>
                <a:sym typeface="Trebuchet MS" panose="020B0603020202020204" pitchFamily="34" charset="0"/>
              </a:rPr>
              <a:t>Navigator Legacy</a:t>
            </a:r>
          </a:p>
          <a:p>
            <a:pPr>
              <a:defRPr/>
            </a:pPr>
            <a:r>
              <a:rPr lang="en-US" sz="1400" dirty="0">
                <a:solidFill>
                  <a:srgbClr val="575757"/>
                </a:solidFill>
                <a:latin typeface="+mn-ea"/>
                <a:cs typeface="Arial" pitchFamily="34" charset="0"/>
                <a:sym typeface="Trebuchet MS" panose="020B0603020202020204" pitchFamily="34" charset="0"/>
              </a:rPr>
              <a:t>Search Experience</a:t>
            </a:r>
          </a:p>
          <a:p>
            <a:pPr>
              <a:defRPr/>
            </a:pPr>
            <a:r>
              <a:rPr lang="en-US" sz="1400" dirty="0">
                <a:solidFill>
                  <a:srgbClr val="575757"/>
                </a:solidFill>
                <a:latin typeface="+mn-ea"/>
                <a:cs typeface="Arial" pitchFamily="34" charset="0"/>
                <a:sym typeface="Trebuchet MS" panose="020B0603020202020204" pitchFamily="34" charset="0"/>
              </a:rPr>
              <a:t>Search Enablement</a:t>
            </a:r>
          </a:p>
        </p:txBody>
      </p:sp>
      <p:sp>
        <p:nvSpPr>
          <p:cNvPr id="22" name="Rectangle 21">
            <a:extLst>
              <a:ext uri="{FF2B5EF4-FFF2-40B4-BE49-F238E27FC236}">
                <a16:creationId xmlns:a16="http://schemas.microsoft.com/office/drawing/2014/main" id="{F6C092CA-B578-43B9-8086-E93D2FD271BF}"/>
              </a:ext>
            </a:extLst>
          </p:cNvPr>
          <p:cNvSpPr/>
          <p:nvPr/>
        </p:nvSpPr>
        <p:spPr>
          <a:xfrm>
            <a:off x="16388" y="-35042"/>
            <a:ext cx="12192000" cy="3723122"/>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609398"/>
          </a:xfrm>
          <a:effectLst>
            <a:outerShdw blurRad="165100" algn="ctr" rotWithShape="0">
              <a:prstClr val="black">
                <a:alpha val="40000"/>
              </a:prstClr>
            </a:outerShdw>
          </a:effectLst>
        </p:spPr>
        <p:txBody>
          <a:bodyPr vert="horz"/>
          <a:lstStyle/>
          <a:p>
            <a:r>
              <a:rPr lang="en-US" sz="4400" dirty="0">
                <a:solidFill>
                  <a:srgbClr val="FFFFFF"/>
                </a:solidFill>
              </a:rPr>
              <a:t>Knowledge &amp; Design</a:t>
            </a:r>
          </a:p>
        </p:txBody>
      </p:sp>
      <p:sp>
        <p:nvSpPr>
          <p:cNvPr id="16" name="TextBox 15">
            <a:extLst>
              <a:ext uri="{FF2B5EF4-FFF2-40B4-BE49-F238E27FC236}">
                <a16:creationId xmlns:a16="http://schemas.microsoft.com/office/drawing/2014/main" id="{A862B5CD-CD9A-4F78-ACCF-10AFCDF59BEC}"/>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2424668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4042651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039" name="think-cell Slide" r:id="rId24" imgW="473" imgH="473" progId="TCLayout.ActiveDocument.1">
                  <p:embed/>
                </p:oleObj>
              </mc:Choice>
              <mc:Fallback>
                <p:oleObj name="think-cell Slide" r:id="rId24" imgW="473" imgH="473" progId="TCLayout.ActiveDocument.1">
                  <p:embed/>
                  <p:pic>
                    <p:nvPicPr>
                      <p:cNvPr id="5" name="Object 4"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sym typeface="+mn-lt"/>
            </a:endParaRPr>
          </a:p>
        </p:txBody>
      </p:sp>
      <p:sp>
        <p:nvSpPr>
          <p:cNvPr id="156" name="Rectangle 155"/>
          <p:cNvSpPr/>
          <p:nvPr/>
        </p:nvSpPr>
        <p:spPr>
          <a:xfrm>
            <a:off x="9145314" y="0"/>
            <a:ext cx="2752025"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The overall Search experience persistently remains low</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Knowledge &amp; Design – Tools Satisfaction</a:t>
            </a:r>
          </a:p>
        </p:txBody>
      </p:sp>
      <p:graphicFrame>
        <p:nvGraphicFramePr>
          <p:cNvPr id="52" name="Chart 51">
            <a:extLst>
              <a:ext uri="{FF2B5EF4-FFF2-40B4-BE49-F238E27FC236}">
                <a16:creationId xmlns:a16="http://schemas.microsoft.com/office/drawing/2014/main" id="{54F78371-C4EB-4EAD-BE23-75ED2A052C32}"/>
              </a:ext>
            </a:extLst>
          </p:cNvPr>
          <p:cNvGraphicFramePr/>
          <p:nvPr>
            <p:custDataLst>
              <p:tags r:id="rId5"/>
            </p:custDataLst>
            <p:extLst>
              <p:ext uri="{D42A27DB-BD31-4B8C-83A1-F6EECF244321}">
                <p14:modId xmlns:p14="http://schemas.microsoft.com/office/powerpoint/2010/main" val="1521437688"/>
              </p:ext>
            </p:extLst>
          </p:nvPr>
        </p:nvGraphicFramePr>
        <p:xfrm>
          <a:off x="2382838" y="2114550"/>
          <a:ext cx="4932362" cy="3770313"/>
        </p:xfrm>
        <a:graphic>
          <a:graphicData uri="http://schemas.openxmlformats.org/drawingml/2006/chart">
            <c:chart xmlns:c="http://schemas.openxmlformats.org/drawingml/2006/chart" xmlns:r="http://schemas.openxmlformats.org/officeDocument/2006/relationships" r:id="rId26"/>
          </a:graphicData>
        </a:graphic>
      </p:graphicFrame>
      <p:sp>
        <p:nvSpPr>
          <p:cNvPr id="83" name="Text Placeholder 3">
            <a:extLst>
              <a:ext uri="{FF2B5EF4-FFF2-40B4-BE49-F238E27FC236}">
                <a16:creationId xmlns:a16="http://schemas.microsoft.com/office/drawing/2014/main" id="{70CD8093-6E13-41CC-BFA7-0F9DFBF41075}"/>
              </a:ext>
            </a:extLst>
          </p:cNvPr>
          <p:cNvSpPr>
            <a:spLocks noGrp="1"/>
          </p:cNvSpPr>
          <p:nvPr>
            <p:custDataLst>
              <p:tags r:id="rId6"/>
            </p:custDataLst>
          </p:nvPr>
        </p:nvSpPr>
        <p:spPr bwMode="gray">
          <a:xfrm>
            <a:off x="1438275" y="4616450"/>
            <a:ext cx="11096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388010D-A2B3-4018-A2D5-FB7C9B8558BE}" type="datetime'''''''K''''N'' ''-'' ''''''T''o''p''i''''''c Pag''''''''es'">
              <a:rPr lang="en-US" altLang="en-US" smtClean="0"/>
              <a:pPr/>
              <a:t>KN - Topic Pages</a:t>
            </a:fld>
            <a:endParaRPr lang="en-US" dirty="0">
              <a:sym typeface="+mn-lt"/>
            </a:endParaRPr>
          </a:p>
        </p:txBody>
      </p:sp>
      <p:sp>
        <p:nvSpPr>
          <p:cNvPr id="64" name="Text Placeholder 3">
            <a:extLst>
              <a:ext uri="{FF2B5EF4-FFF2-40B4-BE49-F238E27FC236}">
                <a16:creationId xmlns:a16="http://schemas.microsoft.com/office/drawing/2014/main" id="{60AAE058-D195-4D6A-A43A-CD51E71041E4}"/>
              </a:ext>
            </a:extLst>
          </p:cNvPr>
          <p:cNvSpPr>
            <a:spLocks noGrp="1"/>
          </p:cNvSpPr>
          <p:nvPr>
            <p:custDataLst>
              <p:tags r:id="rId7"/>
            </p:custDataLst>
          </p:nvPr>
        </p:nvSpPr>
        <p:spPr bwMode="gray">
          <a:xfrm>
            <a:off x="587375" y="4056063"/>
            <a:ext cx="19605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3C3E097-1132-4307-8E23-816394BD45BC}" type="datetime'K''''N'''' - ''K''n''ow''l''ed''g''e Co''nt''r''''ibution'''">
              <a:rPr lang="en-US" altLang="en-US" smtClean="0"/>
              <a:pPr/>
              <a:t>KN - Knowledge Contribution</a:t>
            </a:fld>
            <a:endParaRPr lang="en-US" dirty="0">
              <a:sym typeface="+mn-lt"/>
            </a:endParaRPr>
          </a:p>
        </p:txBody>
      </p:sp>
      <p:sp>
        <p:nvSpPr>
          <p:cNvPr id="142" name="Text Placeholder 3">
            <a:extLst>
              <a:ext uri="{FF2B5EF4-FFF2-40B4-BE49-F238E27FC236}">
                <a16:creationId xmlns:a16="http://schemas.microsoft.com/office/drawing/2014/main" id="{0AA91800-590A-4CAA-8E1E-F34CEADD5B49}"/>
              </a:ext>
            </a:extLst>
          </p:cNvPr>
          <p:cNvSpPr>
            <a:spLocks noGrp="1"/>
          </p:cNvSpPr>
          <p:nvPr>
            <p:custDataLst>
              <p:tags r:id="rId8"/>
            </p:custDataLst>
          </p:nvPr>
        </p:nvSpPr>
        <p:spPr bwMode="gray">
          <a:xfrm>
            <a:off x="1825625" y="2376488"/>
            <a:ext cx="722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7D3473C-B701-46A6-863B-4D70F1A1BF94}" type="datetime'''''''''''I''n''si''''''''''d''''''''''''''''''''''e B''CG'''">
              <a:rPr lang="en-US" altLang="en-US" smtClean="0"/>
              <a:pPr/>
              <a:t>Inside BCG</a:t>
            </a:fld>
            <a:endParaRPr lang="en-US" dirty="0">
              <a:sym typeface="+mn-lt"/>
            </a:endParaRPr>
          </a:p>
        </p:txBody>
      </p:sp>
      <p:sp>
        <p:nvSpPr>
          <p:cNvPr id="147" name="Text Placeholder 3">
            <a:extLst>
              <a:ext uri="{FF2B5EF4-FFF2-40B4-BE49-F238E27FC236}">
                <a16:creationId xmlns:a16="http://schemas.microsoft.com/office/drawing/2014/main" id="{6AF591C7-195E-4728-803F-B4AB1B7F50B4}"/>
              </a:ext>
            </a:extLst>
          </p:cNvPr>
          <p:cNvSpPr>
            <a:spLocks noGrp="1"/>
          </p:cNvSpPr>
          <p:nvPr>
            <p:custDataLst>
              <p:tags r:id="rId9"/>
            </p:custDataLst>
          </p:nvPr>
        </p:nvSpPr>
        <p:spPr bwMode="gray">
          <a:xfrm>
            <a:off x="1763713" y="2936875"/>
            <a:ext cx="7842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7E9513F-8B79-4B99-9725-1E2EE62A3AE4}" type="datetime'''''''''K''''N'''' - S''e''ar''c''''''''''''''h'''">
              <a:rPr lang="en-US" altLang="en-US" smtClean="0"/>
              <a:pPr/>
              <a:t>KN - Search</a:t>
            </a:fld>
            <a:endParaRPr lang="en-US" dirty="0">
              <a:sym typeface="+mn-lt"/>
            </a:endParaRPr>
          </a:p>
        </p:txBody>
      </p:sp>
      <p:sp>
        <p:nvSpPr>
          <p:cNvPr id="149" name="Text Placeholder 3">
            <a:extLst>
              <a:ext uri="{FF2B5EF4-FFF2-40B4-BE49-F238E27FC236}">
                <a16:creationId xmlns:a16="http://schemas.microsoft.com/office/drawing/2014/main" id="{9C08EDCE-DA22-4F31-9DEA-9555EA172B7B}"/>
              </a:ext>
            </a:extLst>
          </p:cNvPr>
          <p:cNvSpPr>
            <a:spLocks noGrp="1"/>
          </p:cNvSpPr>
          <p:nvPr>
            <p:custDataLst>
              <p:tags r:id="rId10"/>
            </p:custDataLst>
          </p:nvPr>
        </p:nvSpPr>
        <p:spPr bwMode="gray">
          <a:xfrm>
            <a:off x="476250" y="3495675"/>
            <a:ext cx="20716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A7AE7F0-F133-4D15-A94D-4186BED570D7}" type="datetime'K''no''w''l''e''''''dge Navig''''at''o''r ''(Ov''erall'')'''''">
              <a:rPr lang="en-US" altLang="en-US" smtClean="0"/>
              <a:pPr/>
              <a:t>Knowledge Navigator (Overall)</a:t>
            </a:fld>
            <a:endParaRPr lang="en-US" dirty="0">
              <a:sym typeface="+mn-lt"/>
            </a:endParaRPr>
          </a:p>
        </p:txBody>
      </p:sp>
      <p:sp>
        <p:nvSpPr>
          <p:cNvPr id="157" name="Text Placeholder 3">
            <a:extLst>
              <a:ext uri="{FF2B5EF4-FFF2-40B4-BE49-F238E27FC236}">
                <a16:creationId xmlns:a16="http://schemas.microsoft.com/office/drawing/2014/main" id="{4577550A-59C5-44DB-9465-5CEF202D9998}"/>
              </a:ext>
            </a:extLst>
          </p:cNvPr>
          <p:cNvSpPr>
            <a:spLocks noGrp="1"/>
          </p:cNvSpPr>
          <p:nvPr>
            <p:custDataLst>
              <p:tags r:id="rId11"/>
            </p:custDataLst>
          </p:nvPr>
        </p:nvSpPr>
        <p:spPr bwMode="gray">
          <a:xfrm>
            <a:off x="1450975" y="5175250"/>
            <a:ext cx="10969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5E5FE19-AFA7-4AD1-8A2B-0C880AE6DF29}" type="datetime'''S''''ea''rc''''h'' (''''''O''''veral''''''l'''''''''')'''''">
              <a:rPr lang="en-US" altLang="en-US" smtClean="0"/>
              <a:pPr/>
              <a:t>Search (Overall)</a:t>
            </a:fld>
            <a:endParaRPr lang="en-US" dirty="0">
              <a:sym typeface="+mn-lt"/>
            </a:endParaRPr>
          </a:p>
        </p:txBody>
      </p:sp>
      <p:sp>
        <p:nvSpPr>
          <p:cNvPr id="75" name="Rectangle 74"/>
          <p:cNvSpPr/>
          <p:nvPr>
            <p:custDataLst>
              <p:tags r:id="rId12"/>
            </p:custDataLst>
          </p:nvPr>
        </p:nvSpPr>
        <p:spPr bwMode="gray">
          <a:xfrm>
            <a:off x="2243138" y="597217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9" name="Rectangle 78"/>
          <p:cNvSpPr/>
          <p:nvPr>
            <p:custDataLst>
              <p:tags r:id="rId13"/>
            </p:custDataLst>
          </p:nvPr>
        </p:nvSpPr>
        <p:spPr bwMode="gray">
          <a:xfrm>
            <a:off x="4483100" y="59721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14"/>
            </p:custDataLst>
          </p:nvPr>
        </p:nvSpPr>
        <p:spPr bwMode="gray">
          <a:xfrm>
            <a:off x="3533775" y="597217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p:cNvSpPr/>
          <p:nvPr>
            <p:custDataLst>
              <p:tags r:id="rId15"/>
            </p:custDataLst>
          </p:nvPr>
        </p:nvSpPr>
        <p:spPr bwMode="gray">
          <a:xfrm>
            <a:off x="5354638" y="597217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p:cNvSpPr/>
          <p:nvPr>
            <p:custDataLst>
              <p:tags r:id="rId16"/>
            </p:custDataLst>
          </p:nvPr>
        </p:nvSpPr>
        <p:spPr bwMode="gray">
          <a:xfrm>
            <a:off x="6491288" y="59721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Text Placeholder 3"/>
          <p:cNvSpPr>
            <a:spLocks noGrp="1"/>
          </p:cNvSpPr>
          <p:nvPr>
            <p:custDataLst>
              <p:tags r:id="rId17"/>
            </p:custDataLst>
          </p:nvPr>
        </p:nvSpPr>
        <p:spPr bwMode="gray">
          <a:xfrm>
            <a:off x="5619750" y="595312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7D753C-8BF3-45DB-A555-5C186421099D}" type="datetime'''''''D''''''''issa''t''''is''''fi''e''''''''''d'">
              <a:rPr lang="en-US" altLang="en-US" smtClean="0">
                <a:sym typeface="+mn-lt"/>
              </a:rPr>
              <a:pPr>
                <a:spcBef>
                  <a:spcPct val="0"/>
                </a:spcBef>
                <a:spcAft>
                  <a:spcPct val="0"/>
                </a:spcAft>
              </a:pPr>
              <a:t>Dissatisfied</a:t>
            </a:fld>
            <a:endParaRPr lang="en-US" dirty="0">
              <a:sym typeface="+mn-lt"/>
            </a:endParaRPr>
          </a:p>
        </p:txBody>
      </p:sp>
      <p:sp>
        <p:nvSpPr>
          <p:cNvPr id="59" name="Text Placeholder 3"/>
          <p:cNvSpPr>
            <a:spLocks noGrp="1"/>
          </p:cNvSpPr>
          <p:nvPr>
            <p:custDataLst>
              <p:tags r:id="rId18"/>
            </p:custDataLst>
          </p:nvPr>
        </p:nvSpPr>
        <p:spPr bwMode="gray">
          <a:xfrm>
            <a:off x="2508250" y="595312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F9A80EC-A51B-4B06-A411-964777703E07}" type="datetime'''''V''e''r''''y'''''''''' S''''a''''''''ti''sf''i''e''d'''">
              <a:rPr lang="en-US" altLang="en-US" smtClean="0">
                <a:sym typeface="+mn-lt"/>
              </a:rPr>
              <a:pPr>
                <a:spcBef>
                  <a:spcPct val="0"/>
                </a:spcBef>
                <a:spcAft>
                  <a:spcPct val="0"/>
                </a:spcAft>
              </a:pPr>
              <a:t>Very Satisfied</a:t>
            </a:fld>
            <a:endParaRPr lang="en-US" dirty="0">
              <a:sym typeface="+mn-lt"/>
            </a:endParaRPr>
          </a:p>
        </p:txBody>
      </p:sp>
      <p:sp>
        <p:nvSpPr>
          <p:cNvPr id="68" name="Text Placeholder 3"/>
          <p:cNvSpPr>
            <a:spLocks noGrp="1"/>
          </p:cNvSpPr>
          <p:nvPr>
            <p:custDataLst>
              <p:tags r:id="rId19"/>
            </p:custDataLst>
          </p:nvPr>
        </p:nvSpPr>
        <p:spPr bwMode="gray">
          <a:xfrm>
            <a:off x="4748213" y="59531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622D474-5FF2-4E97-B12D-7DE2A60FD3E7}" type="datetime'''N''e''''u''''''''tr''a''l'''''''''''''''''''''''''">
              <a:rPr lang="en-US" altLang="en-US" smtClean="0">
                <a:sym typeface="+mn-lt"/>
              </a:rPr>
              <a:pPr>
                <a:spcBef>
                  <a:spcPct val="0"/>
                </a:spcBef>
                <a:spcAft>
                  <a:spcPct val="0"/>
                </a:spcAft>
              </a:pPr>
              <a:t>Neutral</a:t>
            </a:fld>
            <a:endParaRPr lang="en-US" dirty="0">
              <a:sym typeface="+mn-lt"/>
            </a:endParaRPr>
          </a:p>
        </p:txBody>
      </p:sp>
      <p:sp>
        <p:nvSpPr>
          <p:cNvPr id="65" name="Text Placeholder 3"/>
          <p:cNvSpPr>
            <a:spLocks noGrp="1"/>
          </p:cNvSpPr>
          <p:nvPr>
            <p:custDataLst>
              <p:tags r:id="rId20"/>
            </p:custDataLst>
          </p:nvPr>
        </p:nvSpPr>
        <p:spPr bwMode="gray">
          <a:xfrm>
            <a:off x="3798888" y="595312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0628767-9A43-4058-A74A-F1920B192CAE}" type="datetime'''''''''S''a''''''tis''''''''''fi''''''''''''''''ed'''">
              <a:rPr lang="en-US" altLang="en-US" smtClean="0">
                <a:sym typeface="+mn-lt"/>
              </a:rPr>
              <a:pPr>
                <a:spcBef>
                  <a:spcPct val="0"/>
                </a:spcBef>
                <a:spcAft>
                  <a:spcPct val="0"/>
                </a:spcAft>
              </a:pPr>
              <a:t>Satisfied</a:t>
            </a:fld>
            <a:endParaRPr lang="en-US" dirty="0">
              <a:sym typeface="+mn-lt"/>
            </a:endParaRPr>
          </a:p>
        </p:txBody>
      </p:sp>
      <p:sp>
        <p:nvSpPr>
          <p:cNvPr id="72" name="Text Placeholder 3"/>
          <p:cNvSpPr>
            <a:spLocks noGrp="1"/>
          </p:cNvSpPr>
          <p:nvPr>
            <p:custDataLst>
              <p:tags r:id="rId21"/>
            </p:custDataLst>
          </p:nvPr>
        </p:nvSpPr>
        <p:spPr bwMode="gray">
          <a:xfrm>
            <a:off x="6756400" y="595312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D9B4F61-C2DA-4116-BF41-4A291F1153E0}" type="datetime'Ver''y ''''D''''''''''''i''''s''''s''at''i''si''''''fed'''">
              <a:rPr lang="en-US" altLang="en-US" smtClean="0">
                <a:sym typeface="+mn-lt"/>
              </a:rPr>
              <a:pPr>
                <a:spcBef>
                  <a:spcPct val="0"/>
                </a:spcBef>
                <a:spcAft>
                  <a:spcPct val="0"/>
                </a:spcAft>
              </a:pPr>
              <a:t>Very Dissatisifed</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128" name="Rectangle 127"/>
          <p:cNvSpPr/>
          <p:nvPr/>
        </p:nvSpPr>
        <p:spPr>
          <a:xfrm>
            <a:off x="7147191" y="2342508"/>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7%</a:t>
            </a:r>
          </a:p>
        </p:txBody>
      </p:sp>
      <p:sp>
        <p:nvSpPr>
          <p:cNvPr id="129" name="Rectangle 128"/>
          <p:cNvSpPr/>
          <p:nvPr/>
        </p:nvSpPr>
        <p:spPr>
          <a:xfrm>
            <a:off x="7111633" y="1918161"/>
            <a:ext cx="581291" cy="2607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130" name="Rectangle 129"/>
          <p:cNvSpPr/>
          <p:nvPr/>
        </p:nvSpPr>
        <p:spPr>
          <a:xfrm>
            <a:off x="7790159" y="1926604"/>
            <a:ext cx="880196" cy="26409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132" name="Rectangle 131"/>
          <p:cNvSpPr/>
          <p:nvPr/>
        </p:nvSpPr>
        <p:spPr>
          <a:xfrm>
            <a:off x="7130815" y="2895685"/>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4%</a:t>
            </a:r>
          </a:p>
        </p:txBody>
      </p:sp>
      <p:sp>
        <p:nvSpPr>
          <p:cNvPr id="134" name="Rectangle 133"/>
          <p:cNvSpPr/>
          <p:nvPr/>
        </p:nvSpPr>
        <p:spPr>
          <a:xfrm>
            <a:off x="7147191" y="3447609"/>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3%</a:t>
            </a:r>
          </a:p>
        </p:txBody>
      </p:sp>
      <p:sp>
        <p:nvSpPr>
          <p:cNvPr id="53" name="Rectangle 52"/>
          <p:cNvSpPr/>
          <p:nvPr/>
        </p:nvSpPr>
        <p:spPr>
          <a:xfrm>
            <a:off x="7180111" y="5525680"/>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51" name="Rectangle 50"/>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48" name="Rectangle 47">
            <a:extLst>
              <a:ext uri="{FF2B5EF4-FFF2-40B4-BE49-F238E27FC236}">
                <a16:creationId xmlns:a16="http://schemas.microsoft.com/office/drawing/2014/main" id="{B76DFA7E-F708-4E25-A44C-C9BBC1E585E1}"/>
              </a:ext>
            </a:extLst>
          </p:cNvPr>
          <p:cNvSpPr/>
          <p:nvPr/>
        </p:nvSpPr>
        <p:spPr>
          <a:xfrm>
            <a:off x="7698239" y="2873975"/>
            <a:ext cx="1036364" cy="327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50" name="Rectangle 49">
            <a:extLst>
              <a:ext uri="{FF2B5EF4-FFF2-40B4-BE49-F238E27FC236}">
                <a16:creationId xmlns:a16="http://schemas.microsoft.com/office/drawing/2014/main" id="{C2D91940-31CD-4F36-838F-5566DC6C0FCA}"/>
              </a:ext>
            </a:extLst>
          </p:cNvPr>
          <p:cNvSpPr/>
          <p:nvPr/>
        </p:nvSpPr>
        <p:spPr>
          <a:xfrm>
            <a:off x="7712075" y="2331585"/>
            <a:ext cx="1036364" cy="327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grpSp>
        <p:nvGrpSpPr>
          <p:cNvPr id="61" name="Group 60">
            <a:extLst>
              <a:ext uri="{FF2B5EF4-FFF2-40B4-BE49-F238E27FC236}">
                <a16:creationId xmlns:a16="http://schemas.microsoft.com/office/drawing/2014/main" id="{A3CFD0FF-6AAF-448E-9BE9-AFB20DB1F9AD}"/>
              </a:ext>
            </a:extLst>
          </p:cNvPr>
          <p:cNvGrpSpPr>
            <a:grpSpLocks noChangeAspect="1"/>
          </p:cNvGrpSpPr>
          <p:nvPr/>
        </p:nvGrpSpPr>
        <p:grpSpPr>
          <a:xfrm>
            <a:off x="514429" y="864696"/>
            <a:ext cx="457200" cy="457200"/>
            <a:chOff x="5867400" y="3200400"/>
            <a:chExt cx="457200" cy="457200"/>
          </a:xfrm>
        </p:grpSpPr>
        <p:sp>
          <p:nvSpPr>
            <p:cNvPr id="62" name="AutoShape 43">
              <a:extLst>
                <a:ext uri="{FF2B5EF4-FFF2-40B4-BE49-F238E27FC236}">
                  <a16:creationId xmlns:a16="http://schemas.microsoft.com/office/drawing/2014/main" id="{EE04771B-5BE0-4950-9753-5274227208F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7">
              <a:extLst>
                <a:ext uri="{FF2B5EF4-FFF2-40B4-BE49-F238E27FC236}">
                  <a16:creationId xmlns:a16="http://schemas.microsoft.com/office/drawing/2014/main" id="{EC3074FD-9481-452F-B920-5E3793507E7F}"/>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0" name="Rectangle 39">
            <a:extLst>
              <a:ext uri="{FF2B5EF4-FFF2-40B4-BE49-F238E27FC236}">
                <a16:creationId xmlns:a16="http://schemas.microsoft.com/office/drawing/2014/main" id="{05427335-C0EA-49C8-984F-95884B4D4ADF}"/>
              </a:ext>
            </a:extLst>
          </p:cNvPr>
          <p:cNvSpPr/>
          <p:nvPr/>
        </p:nvSpPr>
        <p:spPr>
          <a:xfrm>
            <a:off x="7147190" y="4018339"/>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3%</a:t>
            </a:r>
          </a:p>
        </p:txBody>
      </p:sp>
      <p:sp>
        <p:nvSpPr>
          <p:cNvPr id="42" name="Rectangle 41">
            <a:extLst>
              <a:ext uri="{FF2B5EF4-FFF2-40B4-BE49-F238E27FC236}">
                <a16:creationId xmlns:a16="http://schemas.microsoft.com/office/drawing/2014/main" id="{6940E3FF-FDCF-4F51-A09F-8FB6298E5A36}"/>
              </a:ext>
            </a:extLst>
          </p:cNvPr>
          <p:cNvSpPr/>
          <p:nvPr/>
        </p:nvSpPr>
        <p:spPr>
          <a:xfrm>
            <a:off x="7690115" y="5112350"/>
            <a:ext cx="1036364" cy="327411"/>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Poor</a:t>
            </a:r>
          </a:p>
        </p:txBody>
      </p:sp>
      <p:sp>
        <p:nvSpPr>
          <p:cNvPr id="43" name="Rectangle 42">
            <a:extLst>
              <a:ext uri="{FF2B5EF4-FFF2-40B4-BE49-F238E27FC236}">
                <a16:creationId xmlns:a16="http://schemas.microsoft.com/office/drawing/2014/main" id="{56E7C80C-C72E-4E8B-9388-ACD13833BD55}"/>
              </a:ext>
            </a:extLst>
          </p:cNvPr>
          <p:cNvSpPr/>
          <p:nvPr/>
        </p:nvSpPr>
        <p:spPr>
          <a:xfrm>
            <a:off x="7143648" y="4578726"/>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62%</a:t>
            </a:r>
          </a:p>
        </p:txBody>
      </p:sp>
      <p:sp>
        <p:nvSpPr>
          <p:cNvPr id="44" name="Rectangle 43">
            <a:extLst>
              <a:ext uri="{FF2B5EF4-FFF2-40B4-BE49-F238E27FC236}">
                <a16:creationId xmlns:a16="http://schemas.microsoft.com/office/drawing/2014/main" id="{32CC6DCC-5BD3-4FD1-A06C-14EACD0E7FC9}"/>
              </a:ext>
            </a:extLst>
          </p:cNvPr>
          <p:cNvSpPr/>
          <p:nvPr/>
        </p:nvSpPr>
        <p:spPr>
          <a:xfrm>
            <a:off x="7137181" y="5139113"/>
            <a:ext cx="542925"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56%</a:t>
            </a:r>
          </a:p>
        </p:txBody>
      </p:sp>
      <p:sp>
        <p:nvSpPr>
          <p:cNvPr id="45" name="Rectangle 44">
            <a:extLst>
              <a:ext uri="{FF2B5EF4-FFF2-40B4-BE49-F238E27FC236}">
                <a16:creationId xmlns:a16="http://schemas.microsoft.com/office/drawing/2014/main" id="{C64D13CB-39C3-457C-8D27-ECB95C2FE4B7}"/>
              </a:ext>
            </a:extLst>
          </p:cNvPr>
          <p:cNvSpPr/>
          <p:nvPr/>
        </p:nvSpPr>
        <p:spPr>
          <a:xfrm>
            <a:off x="7717889" y="3422432"/>
            <a:ext cx="1036364" cy="327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46" name="Rectangle 45">
            <a:extLst>
              <a:ext uri="{FF2B5EF4-FFF2-40B4-BE49-F238E27FC236}">
                <a16:creationId xmlns:a16="http://schemas.microsoft.com/office/drawing/2014/main" id="{ACACD05B-3881-43B2-BA1C-5A6CE60B7D28}"/>
              </a:ext>
            </a:extLst>
          </p:cNvPr>
          <p:cNvSpPr/>
          <p:nvPr/>
        </p:nvSpPr>
        <p:spPr>
          <a:xfrm>
            <a:off x="7714781" y="4008891"/>
            <a:ext cx="1036364" cy="327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sp>
        <p:nvSpPr>
          <p:cNvPr id="47" name="Rectangle 46">
            <a:extLst>
              <a:ext uri="{FF2B5EF4-FFF2-40B4-BE49-F238E27FC236}">
                <a16:creationId xmlns:a16="http://schemas.microsoft.com/office/drawing/2014/main" id="{E14247CE-D49B-42DA-8E3D-06421E20B805}"/>
              </a:ext>
            </a:extLst>
          </p:cNvPr>
          <p:cNvSpPr/>
          <p:nvPr/>
        </p:nvSpPr>
        <p:spPr>
          <a:xfrm>
            <a:off x="7698239" y="4548294"/>
            <a:ext cx="1036364" cy="327411"/>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pic>
        <p:nvPicPr>
          <p:cNvPr id="54" name="Picture 53" descr="A picture containing shape&#10;&#10;Description automatically generated">
            <a:extLst>
              <a:ext uri="{FF2B5EF4-FFF2-40B4-BE49-F238E27FC236}">
                <a16:creationId xmlns:a16="http://schemas.microsoft.com/office/drawing/2014/main" id="{EE6126AB-9018-40D5-904B-594B85D5E6F8}"/>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317096" y="2830657"/>
            <a:ext cx="422118" cy="422118"/>
          </a:xfrm>
          <a:prstGeom prst="rect">
            <a:avLst/>
          </a:prstGeom>
        </p:spPr>
      </p:pic>
      <p:pic>
        <p:nvPicPr>
          <p:cNvPr id="55" name="Picture 54" descr="A picture containing shape&#10;&#10;Description automatically generated">
            <a:extLst>
              <a:ext uri="{FF2B5EF4-FFF2-40B4-BE49-F238E27FC236}">
                <a16:creationId xmlns:a16="http://schemas.microsoft.com/office/drawing/2014/main" id="{64532F26-EB70-419C-882B-533E2A8D2607}"/>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92311" y="3961537"/>
            <a:ext cx="422118" cy="422118"/>
          </a:xfrm>
          <a:prstGeom prst="rect">
            <a:avLst/>
          </a:prstGeom>
        </p:spPr>
      </p:pic>
      <p:pic>
        <p:nvPicPr>
          <p:cNvPr id="56" name="Picture 55" descr="A picture containing shape&#10;&#10;Description automatically generated">
            <a:extLst>
              <a:ext uri="{FF2B5EF4-FFF2-40B4-BE49-F238E27FC236}">
                <a16:creationId xmlns:a16="http://schemas.microsoft.com/office/drawing/2014/main" id="{5DF915CF-BD39-4E69-B731-B773BFBAB883}"/>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981956" y="4544629"/>
            <a:ext cx="422118" cy="422118"/>
          </a:xfrm>
          <a:prstGeom prst="rect">
            <a:avLst/>
          </a:prstGeom>
        </p:spPr>
      </p:pic>
      <p:sp>
        <p:nvSpPr>
          <p:cNvPr id="10" name="Rectangle 9">
            <a:extLst>
              <a:ext uri="{FF2B5EF4-FFF2-40B4-BE49-F238E27FC236}">
                <a16:creationId xmlns:a16="http://schemas.microsoft.com/office/drawing/2014/main" id="{EDB6BAE8-CC76-47A2-99EE-962AE56BD640}"/>
              </a:ext>
            </a:extLst>
          </p:cNvPr>
          <p:cNvSpPr/>
          <p:nvPr/>
        </p:nvSpPr>
        <p:spPr>
          <a:xfrm>
            <a:off x="2499992" y="3447609"/>
            <a:ext cx="119848" cy="2016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1</a:t>
            </a:r>
          </a:p>
        </p:txBody>
      </p:sp>
    </p:spTree>
    <p:custDataLst>
      <p:tags r:id="rId2"/>
    </p:custDataLst>
    <p:extLst>
      <p:ext uri="{BB962C8B-B14F-4D97-AF65-F5344CB8AC3E}">
        <p14:creationId xmlns:p14="http://schemas.microsoft.com/office/powerpoint/2010/main" val="1651697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1985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064" name="think-cell Slide" r:id="rId34" imgW="473" imgH="473" progId="TCLayout.ActiveDocument.1">
                  <p:embed/>
                </p:oleObj>
              </mc:Choice>
              <mc:Fallback>
                <p:oleObj name="think-cell Slide" r:id="rId34" imgW="473" imgH="473" progId="TCLayout.ActiveDocument.1">
                  <p:embed/>
                  <p:pic>
                    <p:nvPicPr>
                      <p:cNvPr id="5" name="Object 4" hidden="1"/>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6" name="Text Placeholder 3"/>
          <p:cNvSpPr>
            <a:spLocks noGrp="1"/>
          </p:cNvSpPr>
          <p:nvPr>
            <p:custDataLst>
              <p:tags r:id="rId4"/>
            </p:custDataLst>
          </p:nvPr>
        </p:nvSpPr>
        <p:spPr bwMode="gray">
          <a:xfrm>
            <a:off x="1190625" y="3822700"/>
            <a:ext cx="6175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2228CCB-C786-4246-9F49-DDBD207AF982}" type="datetime'I''''''''''''''''n''''s''''''i''''''de'' B''''''CG'''''''''">
              <a:rPr lang="en-US" altLang="en-US" sz="1000" smtClean="0">
                <a:sym typeface="+mn-lt"/>
              </a:rPr>
              <a:pPr algn="ctr">
                <a:spcBef>
                  <a:spcPct val="0"/>
                </a:spcBef>
                <a:spcAft>
                  <a:spcPct val="0"/>
                </a:spcAft>
              </a:pPr>
              <a:t>Inside BCG</a:t>
            </a:fld>
            <a:endParaRPr lang="en-US" sz="1000" dirty="0">
              <a:sym typeface="+mn-lt"/>
            </a:endParaRPr>
          </a:p>
        </p:txBody>
      </p:sp>
      <p:sp>
        <p:nvSpPr>
          <p:cNvPr id="4" name="Rectangle 3" hidden="1"/>
          <p:cNvSpPr/>
          <p:nvPr>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76" name="Text Placeholder 3">
            <a:extLst>
              <a:ext uri="{FF2B5EF4-FFF2-40B4-BE49-F238E27FC236}">
                <a16:creationId xmlns:a16="http://schemas.microsoft.com/office/drawing/2014/main" id="{E95DCCB1-9C15-49B0-8740-708F2F4FD2BA}"/>
              </a:ext>
            </a:extLst>
          </p:cNvPr>
          <p:cNvSpPr>
            <a:spLocks noGrp="1"/>
          </p:cNvSpPr>
          <p:nvPr>
            <p:custDataLst>
              <p:tags r:id="rId6"/>
            </p:custDataLst>
          </p:nvPr>
        </p:nvSpPr>
        <p:spPr bwMode="gray">
          <a:xfrm>
            <a:off x="5692775" y="3822701"/>
            <a:ext cx="5175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sz="1000" dirty="0">
              <a:sym typeface="+mn-lt"/>
            </a:endParaRPr>
          </a:p>
        </p:txBody>
      </p:sp>
      <p:sp>
        <p:nvSpPr>
          <p:cNvPr id="156" name="Rectangle 155"/>
          <p:cNvSpPr/>
          <p:nvPr/>
        </p:nvSpPr>
        <p:spPr>
          <a:xfrm>
            <a:off x="9141158" y="0"/>
            <a:ext cx="2868613"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For BST &amp; CT, Q4 year-over-year trending is trending down for Inside BCG &amp; Search</a:t>
            </a:r>
          </a:p>
          <a:p>
            <a:endParaRPr lang="en-GB" dirty="0">
              <a:solidFill>
                <a:srgbClr val="FFFFFF"/>
              </a:solidFill>
              <a:cs typeface="Arial" pitchFamily="34" charset="0"/>
            </a:endParaRPr>
          </a:p>
          <a:p>
            <a:r>
              <a:rPr lang="en-GB" sz="1200" i="1" dirty="0">
                <a:solidFill>
                  <a:srgbClr val="FFFFFF"/>
                </a:solidFill>
                <a:cs typeface="Arial" pitchFamily="34" charset="0"/>
              </a:rPr>
              <a:t>(Reminder – the strongest trends are shown by annual averages, slide 82)</a:t>
            </a:r>
          </a:p>
        </p:txBody>
      </p:sp>
      <p:sp>
        <p:nvSpPr>
          <p:cNvPr id="3" name="Title 2"/>
          <p:cNvSpPr>
            <a:spLocks noGrp="1"/>
          </p:cNvSpPr>
          <p:nvPr>
            <p:ph type="title"/>
          </p:nvPr>
        </p:nvSpPr>
        <p:spPr>
          <a:xfrm>
            <a:off x="630000" y="622800"/>
            <a:ext cx="8101584" cy="332399"/>
          </a:xfrm>
        </p:spPr>
        <p:txBody>
          <a:bodyPr vert="horz"/>
          <a:lstStyle/>
          <a:p>
            <a:r>
              <a:rPr lang="en-US" dirty="0">
                <a:solidFill>
                  <a:srgbClr val="295E7E"/>
                </a:solidFill>
              </a:rPr>
              <a:t>Knowledge &amp; Design – Tools Satisfaction</a:t>
            </a:r>
          </a:p>
        </p:txBody>
      </p:sp>
      <p:sp>
        <p:nvSpPr>
          <p:cNvPr id="110" name="Rectangle 109">
            <a:extLst>
              <a:ext uri="{FF2B5EF4-FFF2-40B4-BE49-F238E27FC236}">
                <a16:creationId xmlns:a16="http://schemas.microsoft.com/office/drawing/2014/main" id="{988152C3-F650-465E-AB45-0AB84EF8A7EA}"/>
              </a:ext>
            </a:extLst>
          </p:cNvPr>
          <p:cNvSpPr/>
          <p:nvPr/>
        </p:nvSpPr>
        <p:spPr>
          <a:xfrm>
            <a:off x="567619" y="1230535"/>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respondents satisfied with:</a:t>
            </a:r>
          </a:p>
        </p:txBody>
      </p:sp>
      <p:graphicFrame>
        <p:nvGraphicFramePr>
          <p:cNvPr id="95" name="Chart 94">
            <a:extLst>
              <a:ext uri="{FF2B5EF4-FFF2-40B4-BE49-F238E27FC236}">
                <a16:creationId xmlns:a16="http://schemas.microsoft.com/office/drawing/2014/main" id="{626BF103-73C4-4909-9224-0C3568A6858F}"/>
              </a:ext>
            </a:extLst>
          </p:cNvPr>
          <p:cNvGraphicFramePr/>
          <p:nvPr>
            <p:custDataLst>
              <p:tags r:id="rId7"/>
            </p:custDataLst>
            <p:extLst>
              <p:ext uri="{D42A27DB-BD31-4B8C-83A1-F6EECF244321}">
                <p14:modId xmlns:p14="http://schemas.microsoft.com/office/powerpoint/2010/main" val="751508061"/>
              </p:ext>
            </p:extLst>
          </p:nvPr>
        </p:nvGraphicFramePr>
        <p:xfrm>
          <a:off x="452438" y="1838325"/>
          <a:ext cx="7337425" cy="2055813"/>
        </p:xfrm>
        <a:graphic>
          <a:graphicData uri="http://schemas.openxmlformats.org/drawingml/2006/chart">
            <c:chart xmlns:c="http://schemas.openxmlformats.org/drawingml/2006/chart" xmlns:r="http://schemas.openxmlformats.org/officeDocument/2006/relationships" r:id="rId36"/>
          </a:graphicData>
        </a:graphic>
      </p:graphicFrame>
      <p:sp>
        <p:nvSpPr>
          <p:cNvPr id="33" name="Text Placeholder 3"/>
          <p:cNvSpPr>
            <a:spLocks noGrp="1"/>
          </p:cNvSpPr>
          <p:nvPr>
            <p:custDataLst>
              <p:tags r:id="rId8"/>
            </p:custDataLst>
          </p:nvPr>
        </p:nvSpPr>
        <p:spPr bwMode="gray">
          <a:xfrm>
            <a:off x="2162175" y="3822700"/>
            <a:ext cx="9318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F16C0BA-4EAA-4EAE-8B26-08D64AA36BD0}" type="datetime'Searc''''h'''''''' ''''''''''(''Ove''''''r''a''l''l'''''')'">
              <a:rPr lang="en-US" altLang="en-US" sz="1000" smtClean="0"/>
              <a:pPr/>
              <a:t>Search (Overall)</a:t>
            </a:fld>
            <a:endParaRPr lang="en-US" sz="1000" dirty="0">
              <a:sym typeface="+mn-lt"/>
            </a:endParaRPr>
          </a:p>
        </p:txBody>
      </p:sp>
      <p:sp>
        <p:nvSpPr>
          <p:cNvPr id="58" name="Text Placeholder 3">
            <a:extLst>
              <a:ext uri="{FF2B5EF4-FFF2-40B4-BE49-F238E27FC236}">
                <a16:creationId xmlns:a16="http://schemas.microsoft.com/office/drawing/2014/main" id="{7494D50E-8F16-44A0-87BE-E82C96BBA2D5}"/>
              </a:ext>
            </a:extLst>
          </p:cNvPr>
          <p:cNvSpPr>
            <a:spLocks noGrp="1"/>
          </p:cNvSpPr>
          <p:nvPr>
            <p:custDataLst>
              <p:tags r:id="rId9"/>
            </p:custDataLst>
          </p:nvPr>
        </p:nvSpPr>
        <p:spPr bwMode="gray">
          <a:xfrm>
            <a:off x="3422650" y="3822700"/>
            <a:ext cx="6683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6444337-1CFC-484C-BE21-1A1FE3B3CFDF}" type="datetime'''''K''''''''''N'''' ''- ''''S''e''''''''''arc''''''''h'''">
              <a:rPr lang="en-US" altLang="en-US" sz="1000" smtClean="0"/>
              <a:pPr/>
              <a:t>KN - Search</a:t>
            </a:fld>
            <a:endParaRPr lang="en-US" sz="1000" dirty="0">
              <a:sym typeface="+mn-lt"/>
            </a:endParaRPr>
          </a:p>
        </p:txBody>
      </p:sp>
      <p:sp>
        <p:nvSpPr>
          <p:cNvPr id="64" name="Text Placeholder 3">
            <a:extLst>
              <a:ext uri="{FF2B5EF4-FFF2-40B4-BE49-F238E27FC236}">
                <a16:creationId xmlns:a16="http://schemas.microsoft.com/office/drawing/2014/main" id="{672BC65B-9B41-49D8-9688-CD50C1A11981}"/>
              </a:ext>
            </a:extLst>
          </p:cNvPr>
          <p:cNvSpPr>
            <a:spLocks noGrp="1"/>
          </p:cNvSpPr>
          <p:nvPr>
            <p:custDataLst>
              <p:tags r:id="rId10"/>
            </p:custDataLst>
          </p:nvPr>
        </p:nvSpPr>
        <p:spPr bwMode="gray">
          <a:xfrm>
            <a:off x="4403725" y="3822701"/>
            <a:ext cx="9620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6145F82-EFE8-4736-8587-CEAD1955FE9A}" type="datetime'''K''N'''' ''- To''''p''''i''c ''P''''''''a''''g''''''e''''s'">
              <a:rPr lang="en-US" altLang="en-US" sz="1000" smtClean="0"/>
              <a:pPr/>
              <a:t>KN - Topic Pages</a:t>
            </a:fld>
            <a:endParaRPr lang="en-US" sz="1000" dirty="0">
              <a:sym typeface="+mn-lt"/>
            </a:endParaRPr>
          </a:p>
        </p:txBody>
      </p:sp>
      <p:sp>
        <p:nvSpPr>
          <p:cNvPr id="78" name="Text Placeholder 3">
            <a:extLst>
              <a:ext uri="{FF2B5EF4-FFF2-40B4-BE49-F238E27FC236}">
                <a16:creationId xmlns:a16="http://schemas.microsoft.com/office/drawing/2014/main" id="{79A20314-EA2A-4FCC-88FC-4144A09FB18A}"/>
              </a:ext>
            </a:extLst>
          </p:cNvPr>
          <p:cNvSpPr>
            <a:spLocks noGrp="1"/>
          </p:cNvSpPr>
          <p:nvPr>
            <p:custDataLst>
              <p:tags r:id="rId11"/>
            </p:custDataLst>
          </p:nvPr>
        </p:nvSpPr>
        <p:spPr bwMode="gray">
          <a:xfrm>
            <a:off x="5559425" y="3822699"/>
            <a:ext cx="90805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55F1EAD-2EF1-4D70-98C3-E5FFBF7F1BB4}" type="datetime'KN - ''K''''no''w''''l''edge'' ''C''on''''''trib''uti''on'''">
              <a:rPr lang="en-US" altLang="en-US" sz="1000" smtClean="0"/>
              <a:pPr/>
              <a:t>KN - Knowledge Contribution</a:t>
            </a:fld>
            <a:endParaRPr lang="en-US" sz="1000" dirty="0">
              <a:sym typeface="+mn-lt"/>
            </a:endParaRPr>
          </a:p>
        </p:txBody>
      </p:sp>
      <p:sp>
        <p:nvSpPr>
          <p:cNvPr id="73" name="Text Placeholder 3">
            <a:extLst>
              <a:ext uri="{FF2B5EF4-FFF2-40B4-BE49-F238E27FC236}">
                <a16:creationId xmlns:a16="http://schemas.microsoft.com/office/drawing/2014/main" id="{CDEE7093-7EEB-4E8B-8552-A55BD7159718}"/>
              </a:ext>
            </a:extLst>
          </p:cNvPr>
          <p:cNvSpPr>
            <a:spLocks noGrp="1"/>
          </p:cNvSpPr>
          <p:nvPr>
            <p:custDataLst>
              <p:tags r:id="rId12"/>
            </p:custDataLst>
          </p:nvPr>
        </p:nvSpPr>
        <p:spPr bwMode="gray">
          <a:xfrm>
            <a:off x="6835775" y="3822701"/>
            <a:ext cx="6143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D7CDCB3-844D-469A-9965-20E5C7090B32}" type="datetime'K''N O''''v''''e''r''''''a''''''''''''''''l''l'''''''''''">
              <a:rPr lang="en-US" altLang="en-US" sz="1000" smtClean="0"/>
              <a:pPr/>
              <a:t>KN Overall</a:t>
            </a:fld>
            <a:endParaRPr lang="en-US" sz="1000" dirty="0">
              <a:sym typeface="+mn-lt"/>
            </a:endParaRPr>
          </a:p>
        </p:txBody>
      </p:sp>
      <p:sp>
        <p:nvSpPr>
          <p:cNvPr id="19" name="Rectangle 18"/>
          <p:cNvSpPr/>
          <p:nvPr/>
        </p:nvSpPr>
        <p:spPr>
          <a:xfrm>
            <a:off x="581942" y="1636789"/>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graphicFrame>
        <p:nvGraphicFramePr>
          <p:cNvPr id="87" name="Chart 86">
            <a:extLst>
              <a:ext uri="{FF2B5EF4-FFF2-40B4-BE49-F238E27FC236}">
                <a16:creationId xmlns:a16="http://schemas.microsoft.com/office/drawing/2014/main" id="{AF39796D-C9FD-4539-B3BC-81D9BE763662}"/>
              </a:ext>
            </a:extLst>
          </p:cNvPr>
          <p:cNvGraphicFramePr/>
          <p:nvPr>
            <p:custDataLst>
              <p:tags r:id="rId13"/>
            </p:custDataLst>
            <p:extLst>
              <p:ext uri="{D42A27DB-BD31-4B8C-83A1-F6EECF244321}">
                <p14:modId xmlns:p14="http://schemas.microsoft.com/office/powerpoint/2010/main" val="2368810258"/>
              </p:ext>
            </p:extLst>
          </p:nvPr>
        </p:nvGraphicFramePr>
        <p:xfrm>
          <a:off x="452438" y="4376738"/>
          <a:ext cx="7410450" cy="2055812"/>
        </p:xfrm>
        <a:graphic>
          <a:graphicData uri="http://schemas.openxmlformats.org/drawingml/2006/chart">
            <c:chart xmlns:c="http://schemas.openxmlformats.org/drawingml/2006/chart" xmlns:r="http://schemas.openxmlformats.org/officeDocument/2006/relationships" r:id="rId37"/>
          </a:graphicData>
        </a:graphic>
      </p:graphicFrame>
      <p:sp>
        <p:nvSpPr>
          <p:cNvPr id="39" name="Text Placeholder 3"/>
          <p:cNvSpPr>
            <a:spLocks noGrp="1"/>
          </p:cNvSpPr>
          <p:nvPr>
            <p:custDataLst>
              <p:tags r:id="rId14"/>
            </p:custDataLst>
          </p:nvPr>
        </p:nvSpPr>
        <p:spPr bwMode="gray">
          <a:xfrm>
            <a:off x="2179638" y="6361113"/>
            <a:ext cx="9318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F220458-2F54-4B84-99D8-59F34A86DC4B}" type="datetime'''''''Sea''''''''rch'' (Ove''''r''''''''''''''''a''''l''l)'">
              <a:rPr lang="en-US" altLang="en-US" sz="1000" smtClean="0"/>
              <a:pPr/>
              <a:t>Search (Overall)</a:t>
            </a:fld>
            <a:endParaRPr lang="en-US" sz="1000" dirty="0">
              <a:sym typeface="+mn-lt"/>
            </a:endParaRPr>
          </a:p>
        </p:txBody>
      </p:sp>
      <p:sp>
        <p:nvSpPr>
          <p:cNvPr id="38" name="Text Placeholder 3"/>
          <p:cNvSpPr>
            <a:spLocks noGrp="1"/>
          </p:cNvSpPr>
          <p:nvPr>
            <p:custDataLst>
              <p:tags r:id="rId15"/>
            </p:custDataLst>
          </p:nvPr>
        </p:nvSpPr>
        <p:spPr bwMode="gray">
          <a:xfrm>
            <a:off x="1196975" y="6361113"/>
            <a:ext cx="6175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9CA75E2-BEA6-4955-8F80-D4548D14F86F}" type="datetime'I''''n''''''''''''sid''e'''''''''''''' B''C''G'''''''''''">
              <a:rPr lang="en-US" altLang="en-US" sz="1000" smtClean="0">
                <a:sym typeface="+mn-lt"/>
              </a:rPr>
              <a:pPr algn="ctr">
                <a:spcBef>
                  <a:spcPct val="0"/>
                </a:spcBef>
                <a:spcAft>
                  <a:spcPct val="0"/>
                </a:spcAft>
              </a:pPr>
              <a:t>Inside BCG</a:t>
            </a:fld>
            <a:endParaRPr lang="en-US" sz="1000" dirty="0">
              <a:sym typeface="+mn-lt"/>
            </a:endParaRPr>
          </a:p>
        </p:txBody>
      </p:sp>
      <p:sp>
        <p:nvSpPr>
          <p:cNvPr id="118" name="Text Placeholder 3">
            <a:extLst>
              <a:ext uri="{FF2B5EF4-FFF2-40B4-BE49-F238E27FC236}">
                <a16:creationId xmlns:a16="http://schemas.microsoft.com/office/drawing/2014/main" id="{C377B946-C948-4E62-828A-DB683FDA6862}"/>
              </a:ext>
            </a:extLst>
          </p:cNvPr>
          <p:cNvSpPr>
            <a:spLocks noGrp="1"/>
          </p:cNvSpPr>
          <p:nvPr>
            <p:custDataLst>
              <p:tags r:id="rId16"/>
            </p:custDataLst>
          </p:nvPr>
        </p:nvSpPr>
        <p:spPr bwMode="gray">
          <a:xfrm>
            <a:off x="3452813" y="6361113"/>
            <a:ext cx="6683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F14ABCB-F66D-47C3-96DD-628E75D13952}" type="datetime'''K''N'''''''' ''''''-'''''''''' ''S''e''a''rc''h'''''''">
              <a:rPr lang="en-US" altLang="en-US" sz="1000" smtClean="0"/>
              <a:pPr/>
              <a:t>KN - Search</a:t>
            </a:fld>
            <a:endParaRPr lang="en-US" sz="1000" dirty="0">
              <a:sym typeface="+mn-lt"/>
            </a:endParaRPr>
          </a:p>
        </p:txBody>
      </p:sp>
      <p:sp>
        <p:nvSpPr>
          <p:cNvPr id="85" name="Text Placeholder 3">
            <a:extLst>
              <a:ext uri="{FF2B5EF4-FFF2-40B4-BE49-F238E27FC236}">
                <a16:creationId xmlns:a16="http://schemas.microsoft.com/office/drawing/2014/main" id="{F55630B3-47CC-4687-A980-2B567487531B}"/>
              </a:ext>
            </a:extLst>
          </p:cNvPr>
          <p:cNvSpPr>
            <a:spLocks noGrp="1"/>
          </p:cNvSpPr>
          <p:nvPr>
            <p:custDataLst>
              <p:tags r:id="rId17"/>
            </p:custDataLst>
          </p:nvPr>
        </p:nvSpPr>
        <p:spPr bwMode="gray">
          <a:xfrm>
            <a:off x="6859588" y="6361114"/>
            <a:ext cx="6985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B666193-2473-456F-AFA0-96AB1F784CD5}" type="datetime'K''''N'' ''''''''''- Ov''''''''''''er''''al''''''''l'''''">
              <a:rPr lang="en-US" altLang="en-US" sz="1000" smtClean="0"/>
              <a:pPr/>
              <a:t>KN - Overall</a:t>
            </a:fld>
            <a:endParaRPr lang="en-US" sz="1000" dirty="0">
              <a:sym typeface="+mn-lt"/>
            </a:endParaRPr>
          </a:p>
        </p:txBody>
      </p:sp>
      <p:sp>
        <p:nvSpPr>
          <p:cNvPr id="119" name="Text Placeholder 3">
            <a:extLst>
              <a:ext uri="{FF2B5EF4-FFF2-40B4-BE49-F238E27FC236}">
                <a16:creationId xmlns:a16="http://schemas.microsoft.com/office/drawing/2014/main" id="{B2127148-90E3-4388-9062-AAA51CEEA74E}"/>
              </a:ext>
            </a:extLst>
          </p:cNvPr>
          <p:cNvSpPr>
            <a:spLocks noGrp="1"/>
          </p:cNvSpPr>
          <p:nvPr>
            <p:custDataLst>
              <p:tags r:id="rId18"/>
            </p:custDataLst>
          </p:nvPr>
        </p:nvSpPr>
        <p:spPr bwMode="gray">
          <a:xfrm>
            <a:off x="4446588" y="6361113"/>
            <a:ext cx="9620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BCC1F06-FD73-4E2D-BEF7-0F99B9F326A7}" type="datetime'''''''K''''''''''N -'''' ''''Top''''''''''ic ''Pag''e''''s'''">
              <a:rPr lang="en-US" altLang="en-US" sz="1000" smtClean="0"/>
              <a:pPr/>
              <a:t>KN - Topic Pages</a:t>
            </a:fld>
            <a:endParaRPr lang="en-US" sz="1000" dirty="0">
              <a:sym typeface="+mn-lt"/>
            </a:endParaRPr>
          </a:p>
        </p:txBody>
      </p:sp>
      <p:sp>
        <p:nvSpPr>
          <p:cNvPr id="120" name="Text Placeholder 3">
            <a:extLst>
              <a:ext uri="{FF2B5EF4-FFF2-40B4-BE49-F238E27FC236}">
                <a16:creationId xmlns:a16="http://schemas.microsoft.com/office/drawing/2014/main" id="{24B04B85-84E9-43DB-BEB0-5969D8D03FFE}"/>
              </a:ext>
            </a:extLst>
          </p:cNvPr>
          <p:cNvSpPr>
            <a:spLocks noGrp="1"/>
          </p:cNvSpPr>
          <p:nvPr>
            <p:custDataLst>
              <p:tags r:id="rId19"/>
            </p:custDataLst>
          </p:nvPr>
        </p:nvSpPr>
        <p:spPr bwMode="gray">
          <a:xfrm>
            <a:off x="5613400" y="6361112"/>
            <a:ext cx="90805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297FCB9-2668-4D2F-AE07-BAA095C794C8}" type="datetime'KN'' -'' ''Know''ledg''''e ''Contr''''ib''''''ut''i''o''''n'">
              <a:rPr lang="en-US" altLang="en-US" sz="1000" smtClean="0"/>
              <a:pPr/>
              <a:t>KN - Knowledge Contribution</a:t>
            </a:fld>
            <a:endParaRPr lang="en-US" sz="1000" dirty="0">
              <a:sym typeface="+mn-lt"/>
            </a:endParaRPr>
          </a:p>
        </p:txBody>
      </p:sp>
      <p:sp>
        <p:nvSpPr>
          <p:cNvPr id="44" name="Rectangle 43"/>
          <p:cNvSpPr/>
          <p:nvPr>
            <p:custDataLst>
              <p:tags r:id="rId20"/>
            </p:custDataLst>
          </p:nvPr>
        </p:nvSpPr>
        <p:spPr bwMode="gray">
          <a:xfrm>
            <a:off x="8001000" y="5599113"/>
            <a:ext cx="214313" cy="160338"/>
          </a:xfrm>
          <a:prstGeom prst="rect">
            <a:avLst/>
          </a:prstGeom>
          <a:solidFill>
            <a:srgbClr val="6E6F73"/>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34">
            <a:extLst>
              <a:ext uri="{FF2B5EF4-FFF2-40B4-BE49-F238E27FC236}">
                <a16:creationId xmlns:a16="http://schemas.microsoft.com/office/drawing/2014/main" id="{8F514339-2358-4052-B1CA-E21E08AD6457}"/>
              </a:ext>
            </a:extLst>
          </p:cNvPr>
          <p:cNvSpPr/>
          <p:nvPr>
            <p:custDataLst>
              <p:tags r:id="rId21"/>
            </p:custDataLst>
          </p:nvPr>
        </p:nvSpPr>
        <p:spPr bwMode="gray">
          <a:xfrm>
            <a:off x="8001000" y="6103938"/>
            <a:ext cx="214313" cy="160337"/>
          </a:xfrm>
          <a:prstGeom prst="rect">
            <a:avLst/>
          </a:prstGeom>
          <a:solidFill>
            <a:srgbClr val="837F7F"/>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Rectangle 17">
            <a:extLst>
              <a:ext uri="{FF2B5EF4-FFF2-40B4-BE49-F238E27FC236}">
                <a16:creationId xmlns:a16="http://schemas.microsoft.com/office/drawing/2014/main" id="{4A0BD5C6-D455-4CC5-B331-64688B4AAFCB}"/>
              </a:ext>
            </a:extLst>
          </p:cNvPr>
          <p:cNvSpPr/>
          <p:nvPr>
            <p:custDataLst>
              <p:tags r:id="rId22"/>
            </p:custDataLst>
          </p:nvPr>
        </p:nvSpPr>
        <p:spPr bwMode="gray">
          <a:xfrm>
            <a:off x="8001000" y="5851525"/>
            <a:ext cx="214313" cy="160338"/>
          </a:xfrm>
          <a:prstGeom prst="rect">
            <a:avLst/>
          </a:prstGeom>
          <a:solidFill>
            <a:srgbClr val="ABA8B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Text Placeholder 3"/>
          <p:cNvSpPr>
            <a:spLocks noGrp="1"/>
          </p:cNvSpPr>
          <p:nvPr>
            <p:custDataLst>
              <p:tags r:id="rId23"/>
            </p:custDataLst>
          </p:nvPr>
        </p:nvSpPr>
        <p:spPr bwMode="gray">
          <a:xfrm>
            <a:off x="8266113" y="5580063"/>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16865BF-A4BE-4D01-B10F-ED201F30F859}" type="datetime'Q4'''''''''''''''''' ''''’19'''''''''''''''''''''">
              <a:rPr lang="en-US" altLang="en-US" smtClean="0"/>
              <a:pPr/>
              <a:t>Q4 ’19</a:t>
            </a:fld>
            <a:endParaRPr lang="en-US" dirty="0">
              <a:sym typeface="+mn-lt"/>
            </a:endParaRPr>
          </a:p>
        </p:txBody>
      </p:sp>
      <p:sp>
        <p:nvSpPr>
          <p:cNvPr id="100" name="Text Placeholder 3">
            <a:extLst>
              <a:ext uri="{FF2B5EF4-FFF2-40B4-BE49-F238E27FC236}">
                <a16:creationId xmlns:a16="http://schemas.microsoft.com/office/drawing/2014/main" id="{9BECB47A-FFE9-4807-8862-40C785A997EF}"/>
              </a:ext>
            </a:extLst>
          </p:cNvPr>
          <p:cNvSpPr>
            <a:spLocks noGrp="1"/>
          </p:cNvSpPr>
          <p:nvPr>
            <p:custDataLst>
              <p:tags r:id="rId24"/>
            </p:custDataLst>
          </p:nvPr>
        </p:nvSpPr>
        <p:spPr bwMode="gray">
          <a:xfrm>
            <a:off x="8266113" y="583247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9AED044-340F-4F0D-8A4C-83DA0754DEA6}" type="datetime'''''''''''''Q4'' ''''''’''''''''''''''''2''''0'''''''''''''">
              <a:rPr lang="en-US" altLang="en-US" smtClean="0"/>
              <a:pPr/>
              <a:t>Q4 ’20</a:t>
            </a:fld>
            <a:endParaRPr lang="en-US" dirty="0">
              <a:sym typeface="+mn-lt"/>
            </a:endParaRPr>
          </a:p>
        </p:txBody>
      </p:sp>
      <p:sp>
        <p:nvSpPr>
          <p:cNvPr id="83" name="Text Placeholder 3">
            <a:extLst>
              <a:ext uri="{FF2B5EF4-FFF2-40B4-BE49-F238E27FC236}">
                <a16:creationId xmlns:a16="http://schemas.microsoft.com/office/drawing/2014/main" id="{AB222939-C563-47B7-BC62-379641148695}"/>
              </a:ext>
            </a:extLst>
          </p:cNvPr>
          <p:cNvSpPr>
            <a:spLocks noGrp="1"/>
          </p:cNvSpPr>
          <p:nvPr>
            <p:custDataLst>
              <p:tags r:id="rId25"/>
            </p:custDataLst>
          </p:nvPr>
        </p:nvSpPr>
        <p:spPr bwMode="gray">
          <a:xfrm>
            <a:off x="8266113" y="608488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1FF6FE1-3FA5-4596-8FA4-56A785EDB6B7}" type="datetime'Q''''''''4 ''’''2''''''''''''''''''''''''''''1'''">
              <a:rPr lang="en-US" altLang="en-US" smtClean="0"/>
              <a:pPr/>
              <a:t>Q4 ’21</a:t>
            </a:fld>
            <a:endParaRPr lang="en-US" dirty="0">
              <a:sym typeface="+mn-lt"/>
            </a:endParaRPr>
          </a:p>
        </p:txBody>
      </p:sp>
      <p:sp>
        <p:nvSpPr>
          <p:cNvPr id="63" name="Rectangle 62"/>
          <p:cNvSpPr/>
          <p:nvPr/>
        </p:nvSpPr>
        <p:spPr>
          <a:xfrm>
            <a:off x="581942" y="4208462"/>
            <a:ext cx="271216" cy="2667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13" name="Rectangle 12">
            <a:extLst>
              <a:ext uri="{FF2B5EF4-FFF2-40B4-BE49-F238E27FC236}">
                <a16:creationId xmlns:a16="http://schemas.microsoft.com/office/drawing/2014/main" id="{8E7F74BB-D2F9-49DE-9495-6C5C175A32B6}"/>
              </a:ext>
            </a:extLst>
          </p:cNvPr>
          <p:cNvSpPr/>
          <p:nvPr>
            <p:custDataLst>
              <p:tags r:id="rId26"/>
            </p:custDataLst>
          </p:nvPr>
        </p:nvSpPr>
        <p:spPr bwMode="gray">
          <a:xfrm>
            <a:off x="8001000" y="3013075"/>
            <a:ext cx="214313" cy="160338"/>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Rectangle 1">
            <a:extLst>
              <a:ext uri="{FF2B5EF4-FFF2-40B4-BE49-F238E27FC236}">
                <a16:creationId xmlns:a16="http://schemas.microsoft.com/office/drawing/2014/main" id="{817488B4-A1A3-4004-8E00-C2156AC4283C}"/>
              </a:ext>
            </a:extLst>
          </p:cNvPr>
          <p:cNvSpPr/>
          <p:nvPr>
            <p:custDataLst>
              <p:tags r:id="rId27"/>
            </p:custDataLst>
          </p:nvPr>
        </p:nvSpPr>
        <p:spPr bwMode="gray">
          <a:xfrm>
            <a:off x="8001000" y="3265488"/>
            <a:ext cx="214313" cy="160338"/>
          </a:xfrm>
          <a:prstGeom prst="rect">
            <a:avLst/>
          </a:prstGeom>
          <a:solidFill>
            <a:srgbClr val="008A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1B5DD006-D997-4579-99F4-AF266A05B652}"/>
              </a:ext>
            </a:extLst>
          </p:cNvPr>
          <p:cNvSpPr/>
          <p:nvPr>
            <p:custDataLst>
              <p:tags r:id="rId28"/>
            </p:custDataLst>
          </p:nvPr>
        </p:nvSpPr>
        <p:spPr bwMode="gray">
          <a:xfrm>
            <a:off x="8001000" y="3517899"/>
            <a:ext cx="214313" cy="160338"/>
          </a:xfrm>
          <a:prstGeom prst="rect">
            <a:avLst/>
          </a:prstGeom>
          <a:solidFill>
            <a:srgbClr val="2BD5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7" name="Text Placeholder 3">
            <a:extLst>
              <a:ext uri="{FF2B5EF4-FFF2-40B4-BE49-F238E27FC236}">
                <a16:creationId xmlns:a16="http://schemas.microsoft.com/office/drawing/2014/main" id="{194250C1-B951-44BE-9080-6D0A5F1CA90D}"/>
              </a:ext>
            </a:extLst>
          </p:cNvPr>
          <p:cNvSpPr>
            <a:spLocks noGrp="1"/>
          </p:cNvSpPr>
          <p:nvPr>
            <p:custDataLst>
              <p:tags r:id="rId29"/>
            </p:custDataLst>
          </p:nvPr>
        </p:nvSpPr>
        <p:spPr bwMode="gray">
          <a:xfrm>
            <a:off x="8266113" y="2994025"/>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FF729DE-3C35-4816-8ACB-71065D4A235C}" type="datetime'''Q''''''''''''''''''''''''''''''4'''''' ’''19'''''''''''">
              <a:rPr lang="en-US" altLang="en-US" smtClean="0"/>
              <a:pPr/>
              <a:t>Q4 ’19</a:t>
            </a:fld>
            <a:endParaRPr lang="en-US" dirty="0">
              <a:sym typeface="+mn-lt"/>
            </a:endParaRPr>
          </a:p>
        </p:txBody>
      </p:sp>
      <p:sp>
        <p:nvSpPr>
          <p:cNvPr id="80" name="Text Placeholder 3">
            <a:extLst>
              <a:ext uri="{FF2B5EF4-FFF2-40B4-BE49-F238E27FC236}">
                <a16:creationId xmlns:a16="http://schemas.microsoft.com/office/drawing/2014/main" id="{9C5D6CD3-577C-4007-B8E4-92D1CCAA11DE}"/>
              </a:ext>
            </a:extLst>
          </p:cNvPr>
          <p:cNvSpPr>
            <a:spLocks noGrp="1"/>
          </p:cNvSpPr>
          <p:nvPr>
            <p:custDataLst>
              <p:tags r:id="rId30"/>
            </p:custDataLst>
          </p:nvPr>
        </p:nvSpPr>
        <p:spPr bwMode="gray">
          <a:xfrm>
            <a:off x="8266113" y="3246438"/>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9E86D2E-767F-414C-AB09-43153BF375D7}" type="datetime'''Q''''''''''''''4 ''''''''’''''''''''2''''''''''0'">
              <a:rPr lang="en-US" altLang="en-US" smtClean="0"/>
              <a:pPr/>
              <a:t>Q4 ’20</a:t>
            </a:fld>
            <a:endParaRPr lang="en-US" dirty="0">
              <a:sym typeface="+mn-lt"/>
            </a:endParaRPr>
          </a:p>
        </p:txBody>
      </p:sp>
      <p:sp>
        <p:nvSpPr>
          <p:cNvPr id="66" name="Text Placeholder 3">
            <a:extLst>
              <a:ext uri="{FF2B5EF4-FFF2-40B4-BE49-F238E27FC236}">
                <a16:creationId xmlns:a16="http://schemas.microsoft.com/office/drawing/2014/main" id="{C54AC410-595A-48EA-852A-B630266BADFE}"/>
              </a:ext>
            </a:extLst>
          </p:cNvPr>
          <p:cNvSpPr>
            <a:spLocks noGrp="1"/>
          </p:cNvSpPr>
          <p:nvPr>
            <p:custDataLst>
              <p:tags r:id="rId31"/>
            </p:custDataLst>
          </p:nvPr>
        </p:nvSpPr>
        <p:spPr bwMode="gray">
          <a:xfrm>
            <a:off x="8266113" y="3498850"/>
            <a:ext cx="4429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4C23E2C-E427-4063-BB8C-3A6927153C77}" type="datetime'Q''''4'''''''' ’''''''2''1'''''''">
              <a:rPr lang="en-US" altLang="en-US" smtClean="0"/>
              <a:pPr/>
              <a:t>Q4 ’21</a:t>
            </a:fld>
            <a:endParaRPr lang="en-US" dirty="0">
              <a:sym typeface="+mn-lt"/>
            </a:endParaRPr>
          </a:p>
        </p:txBody>
      </p:sp>
      <p:cxnSp>
        <p:nvCxnSpPr>
          <p:cNvPr id="71" name="Straight Connector 70">
            <a:extLst>
              <a:ext uri="{FF2B5EF4-FFF2-40B4-BE49-F238E27FC236}">
                <a16:creationId xmlns:a16="http://schemas.microsoft.com/office/drawing/2014/main" id="{13580633-1E5D-4887-B03F-3B6B6B0E16D1}"/>
              </a:ext>
            </a:extLst>
          </p:cNvPr>
          <p:cNvCxnSpPr>
            <a:cxnSpLocks/>
          </p:cNvCxnSpPr>
          <p:nvPr/>
        </p:nvCxnSpPr>
        <p:spPr>
          <a:xfrm flipV="1">
            <a:off x="2292994" y="5150914"/>
            <a:ext cx="351962" cy="9132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EE3911D3-DA4F-4A74-8B67-45216547CA9F}"/>
              </a:ext>
            </a:extLst>
          </p:cNvPr>
          <p:cNvSpPr/>
          <p:nvPr/>
        </p:nvSpPr>
        <p:spPr>
          <a:xfrm>
            <a:off x="6450369" y="1595077"/>
            <a:ext cx="1244437"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295E7E"/>
                </a:solidFill>
              </a:rPr>
              <a:t>Consulting</a:t>
            </a:r>
          </a:p>
        </p:txBody>
      </p:sp>
      <p:sp>
        <p:nvSpPr>
          <p:cNvPr id="77" name="Rectangle 76">
            <a:extLst>
              <a:ext uri="{FF2B5EF4-FFF2-40B4-BE49-F238E27FC236}">
                <a16:creationId xmlns:a16="http://schemas.microsoft.com/office/drawing/2014/main" id="{481C9E3C-0F7E-4C1C-AF6B-C3FB2424C980}"/>
              </a:ext>
            </a:extLst>
          </p:cNvPr>
          <p:cNvSpPr/>
          <p:nvPr/>
        </p:nvSpPr>
        <p:spPr>
          <a:xfrm>
            <a:off x="7163472" y="4316084"/>
            <a:ext cx="543841" cy="332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575757"/>
                </a:solidFill>
              </a:rPr>
              <a:t>BST</a:t>
            </a:r>
          </a:p>
        </p:txBody>
      </p:sp>
      <p:grpSp>
        <p:nvGrpSpPr>
          <p:cNvPr id="61" name="Group 60">
            <a:extLst>
              <a:ext uri="{FF2B5EF4-FFF2-40B4-BE49-F238E27FC236}">
                <a16:creationId xmlns:a16="http://schemas.microsoft.com/office/drawing/2014/main" id="{EA7FD20B-3EA5-47E9-9430-2F673556B0DC}"/>
              </a:ext>
            </a:extLst>
          </p:cNvPr>
          <p:cNvGrpSpPr>
            <a:grpSpLocks noChangeAspect="1"/>
          </p:cNvGrpSpPr>
          <p:nvPr/>
        </p:nvGrpSpPr>
        <p:grpSpPr>
          <a:xfrm>
            <a:off x="514429" y="864696"/>
            <a:ext cx="457200" cy="457200"/>
            <a:chOff x="5867400" y="3200400"/>
            <a:chExt cx="457200" cy="457200"/>
          </a:xfrm>
        </p:grpSpPr>
        <p:sp>
          <p:nvSpPr>
            <p:cNvPr id="65" name="AutoShape 43">
              <a:extLst>
                <a:ext uri="{FF2B5EF4-FFF2-40B4-BE49-F238E27FC236}">
                  <a16:creationId xmlns:a16="http://schemas.microsoft.com/office/drawing/2014/main" id="{592A0A8B-A0A2-43E2-B33F-1E73587C751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7">
              <a:extLst>
                <a:ext uri="{FF2B5EF4-FFF2-40B4-BE49-F238E27FC236}">
                  <a16:creationId xmlns:a16="http://schemas.microsoft.com/office/drawing/2014/main" id="{971A33A1-4F58-427F-9055-23BFDC8C9F6E}"/>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51" name="Rectangle 50">
            <a:extLst>
              <a:ext uri="{FF2B5EF4-FFF2-40B4-BE49-F238E27FC236}">
                <a16:creationId xmlns:a16="http://schemas.microsoft.com/office/drawing/2014/main" id="{482446D8-8726-4DC1-B063-F099309D686D}"/>
              </a:ext>
            </a:extLst>
          </p:cNvPr>
          <p:cNvSpPr/>
          <p:nvPr/>
        </p:nvSpPr>
        <p:spPr>
          <a:xfrm>
            <a:off x="964780" y="915077"/>
            <a:ext cx="4248570"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 Year-over-Year – Bar Chart View</a:t>
            </a:r>
          </a:p>
        </p:txBody>
      </p:sp>
      <p:cxnSp>
        <p:nvCxnSpPr>
          <p:cNvPr id="69" name="Straight Connector 68">
            <a:extLst>
              <a:ext uri="{FF2B5EF4-FFF2-40B4-BE49-F238E27FC236}">
                <a16:creationId xmlns:a16="http://schemas.microsoft.com/office/drawing/2014/main" id="{68793D94-3324-4E5B-8064-6889E5164602}"/>
              </a:ext>
            </a:extLst>
          </p:cNvPr>
          <p:cNvCxnSpPr>
            <a:cxnSpLocks/>
          </p:cNvCxnSpPr>
          <p:nvPr/>
        </p:nvCxnSpPr>
        <p:spPr>
          <a:xfrm>
            <a:off x="1491457" y="4888701"/>
            <a:ext cx="299835" cy="122003"/>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3CBB90C-A1DB-493F-BBC2-59EF937C4007}"/>
              </a:ext>
            </a:extLst>
          </p:cNvPr>
          <p:cNvCxnSpPr>
            <a:cxnSpLocks/>
          </p:cNvCxnSpPr>
          <p:nvPr/>
        </p:nvCxnSpPr>
        <p:spPr>
          <a:xfrm flipV="1">
            <a:off x="1179217" y="2408887"/>
            <a:ext cx="312240" cy="77377"/>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854AF9F-17B4-4EFC-B6B0-E4A88370671B}"/>
              </a:ext>
            </a:extLst>
          </p:cNvPr>
          <p:cNvCxnSpPr>
            <a:cxnSpLocks/>
          </p:cNvCxnSpPr>
          <p:nvPr/>
        </p:nvCxnSpPr>
        <p:spPr>
          <a:xfrm>
            <a:off x="1515304" y="2408887"/>
            <a:ext cx="284922" cy="218870"/>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0DDBFE65-347C-468A-921F-FD17CD5E8ABA}"/>
              </a:ext>
            </a:extLst>
          </p:cNvPr>
          <p:cNvCxnSpPr>
            <a:cxnSpLocks/>
          </p:cNvCxnSpPr>
          <p:nvPr/>
        </p:nvCxnSpPr>
        <p:spPr>
          <a:xfrm flipV="1">
            <a:off x="2273777" y="2641873"/>
            <a:ext cx="343583" cy="103802"/>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70637DD-53DC-4EB5-8836-1BEEC882FD05}"/>
              </a:ext>
            </a:extLst>
          </p:cNvPr>
          <p:cNvCxnSpPr>
            <a:cxnSpLocks/>
          </p:cNvCxnSpPr>
          <p:nvPr/>
        </p:nvCxnSpPr>
        <p:spPr>
          <a:xfrm>
            <a:off x="2644956" y="2637502"/>
            <a:ext cx="309382" cy="228729"/>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E9CE52B0-8E1A-42DE-86D2-8B095C4F8F1E}"/>
              </a:ext>
            </a:extLst>
          </p:cNvPr>
          <p:cNvSpPr txBox="1"/>
          <p:nvPr/>
        </p:nvSpPr>
        <p:spPr>
          <a:xfrm>
            <a:off x="7028711" y="2603563"/>
            <a:ext cx="226530" cy="12192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Revised for Q4 '21</a:t>
            </a:r>
          </a:p>
        </p:txBody>
      </p:sp>
      <p:sp>
        <p:nvSpPr>
          <p:cNvPr id="116" name="TextBox 115">
            <a:extLst>
              <a:ext uri="{FF2B5EF4-FFF2-40B4-BE49-F238E27FC236}">
                <a16:creationId xmlns:a16="http://schemas.microsoft.com/office/drawing/2014/main" id="{C5FA84FE-74DD-496B-ACD0-647E02263C36}"/>
              </a:ext>
            </a:extLst>
          </p:cNvPr>
          <p:cNvSpPr txBox="1"/>
          <p:nvPr/>
        </p:nvSpPr>
        <p:spPr>
          <a:xfrm>
            <a:off x="4752585" y="2705833"/>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4 '21</a:t>
            </a:r>
          </a:p>
        </p:txBody>
      </p:sp>
      <p:sp>
        <p:nvSpPr>
          <p:cNvPr id="117" name="TextBox 116">
            <a:extLst>
              <a:ext uri="{FF2B5EF4-FFF2-40B4-BE49-F238E27FC236}">
                <a16:creationId xmlns:a16="http://schemas.microsoft.com/office/drawing/2014/main" id="{EB8B3E9E-9765-4872-8C2A-516746AA57AC}"/>
              </a:ext>
            </a:extLst>
          </p:cNvPr>
          <p:cNvSpPr txBox="1"/>
          <p:nvPr/>
        </p:nvSpPr>
        <p:spPr>
          <a:xfrm>
            <a:off x="3621668" y="2707798"/>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4 '21</a:t>
            </a:r>
          </a:p>
        </p:txBody>
      </p:sp>
      <p:cxnSp>
        <p:nvCxnSpPr>
          <p:cNvPr id="154" name="Straight Connector 153">
            <a:extLst>
              <a:ext uri="{FF2B5EF4-FFF2-40B4-BE49-F238E27FC236}">
                <a16:creationId xmlns:a16="http://schemas.microsoft.com/office/drawing/2014/main" id="{C1557A6F-CA32-44A2-BCB7-C5B53524F97E}"/>
              </a:ext>
            </a:extLst>
          </p:cNvPr>
          <p:cNvCxnSpPr>
            <a:cxnSpLocks/>
          </p:cNvCxnSpPr>
          <p:nvPr/>
        </p:nvCxnSpPr>
        <p:spPr>
          <a:xfrm>
            <a:off x="2607469" y="5160903"/>
            <a:ext cx="312062" cy="71342"/>
          </a:xfrm>
          <a:prstGeom prst="line">
            <a:avLst/>
          </a:prstGeom>
          <a:ln w="2857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D4B79FA8-581D-4E67-8A91-376778790181}"/>
              </a:ext>
            </a:extLst>
          </p:cNvPr>
          <p:cNvCxnSpPr>
            <a:cxnSpLocks/>
          </p:cNvCxnSpPr>
          <p:nvPr/>
        </p:nvCxnSpPr>
        <p:spPr>
          <a:xfrm flipV="1">
            <a:off x="1145225" y="4888701"/>
            <a:ext cx="346232" cy="4566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9F9D3798-AE69-43F7-8DD6-148478A963C1}"/>
              </a:ext>
            </a:extLst>
          </p:cNvPr>
          <p:cNvSpPr txBox="1"/>
          <p:nvPr/>
        </p:nvSpPr>
        <p:spPr>
          <a:xfrm>
            <a:off x="5958210" y="5218992"/>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4 '21</a:t>
            </a:r>
          </a:p>
        </p:txBody>
      </p:sp>
      <p:sp>
        <p:nvSpPr>
          <p:cNvPr id="161" name="TextBox 160">
            <a:extLst>
              <a:ext uri="{FF2B5EF4-FFF2-40B4-BE49-F238E27FC236}">
                <a16:creationId xmlns:a16="http://schemas.microsoft.com/office/drawing/2014/main" id="{CD556F5C-7217-4715-82C8-7EE45D2E1A27}"/>
              </a:ext>
            </a:extLst>
          </p:cNvPr>
          <p:cNvSpPr txBox="1"/>
          <p:nvPr/>
        </p:nvSpPr>
        <p:spPr>
          <a:xfrm>
            <a:off x="3666993" y="5218992"/>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4 '21</a:t>
            </a:r>
          </a:p>
        </p:txBody>
      </p:sp>
      <p:sp>
        <p:nvSpPr>
          <p:cNvPr id="82" name="TextBox 81">
            <a:extLst>
              <a:ext uri="{FF2B5EF4-FFF2-40B4-BE49-F238E27FC236}">
                <a16:creationId xmlns:a16="http://schemas.microsoft.com/office/drawing/2014/main" id="{C818B970-C856-4865-96B7-938802BC8149}"/>
              </a:ext>
            </a:extLst>
          </p:cNvPr>
          <p:cNvSpPr txBox="1"/>
          <p:nvPr/>
        </p:nvSpPr>
        <p:spPr>
          <a:xfrm>
            <a:off x="5879403" y="2685970"/>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4 '21</a:t>
            </a:r>
          </a:p>
        </p:txBody>
      </p:sp>
      <p:sp>
        <p:nvSpPr>
          <p:cNvPr id="88" name="TextBox 87">
            <a:extLst>
              <a:ext uri="{FF2B5EF4-FFF2-40B4-BE49-F238E27FC236}">
                <a16:creationId xmlns:a16="http://schemas.microsoft.com/office/drawing/2014/main" id="{0206B70E-E331-466B-A941-3D250C08AA9F}"/>
              </a:ext>
            </a:extLst>
          </p:cNvPr>
          <p:cNvSpPr txBox="1"/>
          <p:nvPr/>
        </p:nvSpPr>
        <p:spPr>
          <a:xfrm>
            <a:off x="4819399" y="5232245"/>
            <a:ext cx="262243" cy="1136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New in Q4 '21</a:t>
            </a:r>
          </a:p>
        </p:txBody>
      </p:sp>
      <p:sp>
        <p:nvSpPr>
          <p:cNvPr id="81" name="TextBox 80">
            <a:extLst>
              <a:ext uri="{FF2B5EF4-FFF2-40B4-BE49-F238E27FC236}">
                <a16:creationId xmlns:a16="http://schemas.microsoft.com/office/drawing/2014/main" id="{FE076E8C-92DF-412F-A3AD-9EE79B6D208E}"/>
              </a:ext>
            </a:extLst>
          </p:cNvPr>
          <p:cNvSpPr txBox="1"/>
          <p:nvPr/>
        </p:nvSpPr>
        <p:spPr>
          <a:xfrm>
            <a:off x="7096200" y="5150915"/>
            <a:ext cx="226530" cy="12192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a:ea typeface="+mn-ea"/>
                <a:cs typeface="+mn-cs"/>
              </a:rPr>
              <a:t>Revised for Q4 '21</a:t>
            </a:r>
          </a:p>
        </p:txBody>
      </p:sp>
    </p:spTree>
    <p:custDataLst>
      <p:tags r:id="rId2"/>
    </p:custDataLst>
    <p:extLst>
      <p:ext uri="{BB962C8B-B14F-4D97-AF65-F5344CB8AC3E}">
        <p14:creationId xmlns:p14="http://schemas.microsoft.com/office/powerpoint/2010/main" val="535808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082"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22" name="table_type_name">
            <a:extLst>
              <a:ext uri="{FF2B5EF4-FFF2-40B4-BE49-F238E27FC236}">
                <a16:creationId xmlns:a16="http://schemas.microsoft.com/office/drawing/2014/main" id="{1D3F524F-3556-4669-AB06-F695623D1003}"/>
              </a:ext>
            </a:extLst>
          </p:cNvPr>
          <p:cNvGraphicFramePr>
            <a:graphicFrameLocks noGrp="1"/>
          </p:cNvGraphicFramePr>
          <p:nvPr>
            <p:extLst>
              <p:ext uri="{D42A27DB-BD31-4B8C-83A1-F6EECF244321}">
                <p14:modId xmlns:p14="http://schemas.microsoft.com/office/powerpoint/2010/main" val="2100351711"/>
              </p:ext>
            </p:extLst>
          </p:nvPr>
        </p:nvGraphicFramePr>
        <p:xfrm>
          <a:off x="630004" y="1632781"/>
          <a:ext cx="10933346" cy="3341295"/>
        </p:xfrm>
        <a:graphic>
          <a:graphicData uri="http://schemas.openxmlformats.org/drawingml/2006/table">
            <a:tbl>
              <a:tblPr/>
              <a:tblGrid>
                <a:gridCol w="1646633">
                  <a:extLst>
                    <a:ext uri="{9D8B030D-6E8A-4147-A177-3AD203B41FA5}">
                      <a16:colId xmlns:a16="http://schemas.microsoft.com/office/drawing/2014/main" val="20001"/>
                    </a:ext>
                  </a:extLst>
                </a:gridCol>
                <a:gridCol w="1031857">
                  <a:extLst>
                    <a:ext uri="{9D8B030D-6E8A-4147-A177-3AD203B41FA5}">
                      <a16:colId xmlns:a16="http://schemas.microsoft.com/office/drawing/2014/main" val="209082079"/>
                    </a:ext>
                  </a:extLst>
                </a:gridCol>
                <a:gridCol w="1031857">
                  <a:extLst>
                    <a:ext uri="{9D8B030D-6E8A-4147-A177-3AD203B41FA5}">
                      <a16:colId xmlns:a16="http://schemas.microsoft.com/office/drawing/2014/main" val="2541984326"/>
                    </a:ext>
                  </a:extLst>
                </a:gridCol>
                <a:gridCol w="1031857">
                  <a:extLst>
                    <a:ext uri="{9D8B030D-6E8A-4147-A177-3AD203B41FA5}">
                      <a16:colId xmlns:a16="http://schemas.microsoft.com/office/drawing/2014/main" val="20010"/>
                    </a:ext>
                  </a:extLst>
                </a:gridCol>
                <a:gridCol w="1031857">
                  <a:extLst>
                    <a:ext uri="{9D8B030D-6E8A-4147-A177-3AD203B41FA5}">
                      <a16:colId xmlns:a16="http://schemas.microsoft.com/office/drawing/2014/main" val="3160107866"/>
                    </a:ext>
                  </a:extLst>
                </a:gridCol>
                <a:gridCol w="1031857">
                  <a:extLst>
                    <a:ext uri="{9D8B030D-6E8A-4147-A177-3AD203B41FA5}">
                      <a16:colId xmlns:a16="http://schemas.microsoft.com/office/drawing/2014/main" val="1123839901"/>
                    </a:ext>
                  </a:extLst>
                </a:gridCol>
                <a:gridCol w="1031857">
                  <a:extLst>
                    <a:ext uri="{9D8B030D-6E8A-4147-A177-3AD203B41FA5}">
                      <a16:colId xmlns:a16="http://schemas.microsoft.com/office/drawing/2014/main" val="3157705103"/>
                    </a:ext>
                  </a:extLst>
                </a:gridCol>
                <a:gridCol w="1031857">
                  <a:extLst>
                    <a:ext uri="{9D8B030D-6E8A-4147-A177-3AD203B41FA5}">
                      <a16:colId xmlns:a16="http://schemas.microsoft.com/office/drawing/2014/main" val="2721936145"/>
                    </a:ext>
                  </a:extLst>
                </a:gridCol>
                <a:gridCol w="1031857">
                  <a:extLst>
                    <a:ext uri="{9D8B030D-6E8A-4147-A177-3AD203B41FA5}">
                      <a16:colId xmlns:a16="http://schemas.microsoft.com/office/drawing/2014/main" val="4027306372"/>
                    </a:ext>
                  </a:extLst>
                </a:gridCol>
                <a:gridCol w="1031857">
                  <a:extLst>
                    <a:ext uri="{9D8B030D-6E8A-4147-A177-3AD203B41FA5}">
                      <a16:colId xmlns:a16="http://schemas.microsoft.com/office/drawing/2014/main" val="794582377"/>
                    </a:ext>
                  </a:extLst>
                </a:gridCol>
              </a:tblGrid>
              <a:tr h="76132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19 Averag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endParaRPr kumimoji="0" lang="en-US" sz="1400" b="0" i="0" u="none" strike="noStrike" kern="1200" cap="none" normalizeH="0" baseline="3000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869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a:lnL w="12700" cmpd="sng">
                      <a:noFill/>
                      <a:prstDash val="solid"/>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18696">
                <a:tc>
                  <a:txBody>
                    <a:bodyPr/>
                    <a:lstStyle/>
                    <a:p>
                      <a:pPr algn="l" fontAlgn="b"/>
                      <a:r>
                        <a:rPr lang="en-GB" sz="1200" b="0" i="0" u="none" strike="noStrike" dirty="0">
                          <a:effectLst/>
                          <a:latin typeface="+mj-lt"/>
                        </a:rPr>
                        <a:t>Inside BCG</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7</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4%</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20667623"/>
                  </a:ext>
                </a:extLst>
              </a:tr>
              <a:tr h="495749">
                <a:tc>
                  <a:txBody>
                    <a:bodyPr/>
                    <a:lstStyle/>
                    <a:p>
                      <a:pPr algn="l" fontAlgn="b"/>
                      <a:r>
                        <a:rPr lang="en-GB" sz="1200" b="0" i="0" u="none" strike="noStrike" dirty="0">
                          <a:effectLst/>
                          <a:latin typeface="+mj-lt"/>
                        </a:rPr>
                        <a:t>KN – Search</a:t>
                      </a:r>
                      <a:endParaRPr lang="en-GB" sz="1200" b="0" i="0" u="none" strike="noStrike" baseline="30000" dirty="0">
                        <a:effectLst/>
                        <a:latin typeface="+mj-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rowSpan="4">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Redefined in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Q4 '21</a:t>
                      </a:r>
                      <a:r>
                        <a:rPr lang="en-GB" sz="1200" b="0" i="0" u="none" strike="noStrike" kern="1200" baseline="30000" dirty="0">
                          <a:solidFill>
                            <a:schemeClr val="tx1"/>
                          </a:solidFill>
                          <a:effectLst/>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4</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rowSpan="4"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Redefined in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Q4 '21</a:t>
                      </a:r>
                      <a:r>
                        <a:rPr lang="en-GB" sz="1200" b="0" i="0" u="none" strike="noStrike" kern="1200" baseline="30000" dirty="0">
                          <a:solidFill>
                            <a:schemeClr val="tx1"/>
                          </a:solidFill>
                          <a:effectLst/>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rowSpan="4"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rowSpan="4"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4</a:t>
                      </a:r>
                      <a:r>
                        <a:rPr kumimoji="0" lang="en-GB" sz="1200" b="0" i="0" u="none" strike="noStrike" kern="1200" cap="none" normalizeH="0" baseline="30000" dirty="0">
                          <a:ln>
                            <a:noFill/>
                          </a:ln>
                          <a:solidFill>
                            <a:schemeClr val="tx1"/>
                          </a:solidFill>
                          <a:effectLst/>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6%</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59160669"/>
                  </a:ext>
                </a:extLst>
              </a:tr>
              <a:tr h="318696">
                <a:tc>
                  <a:txBody>
                    <a:bodyPr/>
                    <a:lstStyle/>
                    <a:p>
                      <a:pPr algn="l" fontAlgn="b"/>
                      <a:r>
                        <a:rPr lang="en-GB" sz="1200" b="0" i="0" u="none" strike="noStrike" dirty="0">
                          <a:effectLst/>
                          <a:latin typeface="+mj-lt"/>
                        </a:rPr>
                        <a:t>KN – Overall</a:t>
                      </a:r>
                      <a:r>
                        <a:rPr lang="en-GB" sz="1200" b="0" i="0" u="none" strike="noStrike" kern="1200" baseline="30000" dirty="0">
                          <a:solidFill>
                            <a:schemeClr val="tx1"/>
                          </a:solidFill>
                          <a:effectLst/>
                          <a:latin typeface="+mn-lt"/>
                          <a:ea typeface="+mn-ea"/>
                          <a:cs typeface="+mn-cs"/>
                        </a:rPr>
                        <a:t>2</a:t>
                      </a:r>
                      <a:endParaRPr lang="en-GB" sz="1200" b="0" i="0" u="none" strike="noStrike" dirty="0">
                        <a:effectLst/>
                        <a:latin typeface="+mj-lt"/>
                      </a:endParaRP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gridSpan="3"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3</a:t>
                      </a:r>
                      <a:r>
                        <a:rPr kumimoji="0" lang="en-GB" sz="1200" b="0" i="0" u="none" strike="noStrike" kern="1200" cap="none" normalizeH="0" baseline="30000" dirty="0">
                          <a:ln>
                            <a:noFill/>
                          </a:ln>
                          <a:solidFill>
                            <a:schemeClr val="tx1"/>
                          </a:solidFill>
                          <a:effectLst/>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75757"/>
                          </a:solidFill>
                          <a:effectLst/>
                          <a:uLnTx/>
                          <a:uFillTx/>
                          <a:latin typeface="Trebuchet MS"/>
                          <a:ea typeface="+mn-ea"/>
                          <a:cs typeface="Arial" charset="0"/>
                          <a:sym typeface="Trebuchet MS" panose="020B0603020202020204" pitchFamily="34" charset="0"/>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7%</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58089531"/>
                  </a:ext>
                </a:extLst>
              </a:tr>
              <a:tr h="369046">
                <a:tc>
                  <a:txBody>
                    <a:bodyPr/>
                    <a:lstStyle/>
                    <a:p>
                      <a:pPr algn="l" fontAlgn="b"/>
                      <a:r>
                        <a:rPr lang="en-GB" sz="1200" b="0" i="0" u="none" strike="noStrike" dirty="0">
                          <a:effectLst/>
                          <a:latin typeface="+mj-lt"/>
                        </a:rPr>
                        <a:t>KN – Knowledge Contribution</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Redefined in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Q4 '21</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gridSpan="3"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3</a:t>
                      </a:r>
                      <a:r>
                        <a:rPr kumimoji="0" lang="en-GB" sz="1200" b="0" i="0" u="none" strike="noStrike" kern="1200" cap="none" normalizeH="0" baseline="30000" dirty="0">
                          <a:ln>
                            <a:noFill/>
                          </a:ln>
                          <a:solidFill>
                            <a:schemeClr val="tx1"/>
                          </a:solidFill>
                          <a:effectLst/>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75757"/>
                          </a:solidFill>
                          <a:effectLst/>
                          <a:uLnTx/>
                          <a:uFillTx/>
                          <a:latin typeface="Trebuchet MS"/>
                          <a:ea typeface="+mn-ea"/>
                          <a:cs typeface="Arial" charset="0"/>
                          <a:sym typeface="Trebuchet MS" panose="020B0603020202020204" pitchFamily="34" charset="0"/>
                        </a:rPr>
                        <a:t>--</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7%</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92493505"/>
                  </a:ext>
                </a:extLst>
              </a:tr>
              <a:tr h="369046">
                <a:tc>
                  <a:txBody>
                    <a:bodyPr/>
                    <a:lstStyle/>
                    <a:p>
                      <a:pPr algn="l" fontAlgn="b"/>
                      <a:r>
                        <a:rPr lang="en-GB" sz="1200" b="0" i="0" u="none" strike="noStrike" dirty="0">
                          <a:effectLst/>
                          <a:latin typeface="+mj-lt"/>
                        </a:rPr>
                        <a:t>KN – Topic Pages</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gridSpan="3"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N/A</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2</a:t>
                      </a:r>
                      <a:r>
                        <a:rPr kumimoji="0" lang="en-GB" sz="1200" b="0" i="0" u="none" strike="noStrike" kern="1200" cap="none" normalizeH="0" baseline="30000" dirty="0">
                          <a:ln>
                            <a:noFill/>
                          </a:ln>
                          <a:solidFill>
                            <a:schemeClr val="tx1"/>
                          </a:solidFill>
                          <a:effectLst/>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8%</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35339424"/>
                  </a:ext>
                </a:extLst>
              </a:tr>
              <a:tr h="318696">
                <a:tc>
                  <a:txBody>
                    <a:bodyPr/>
                    <a:lstStyle/>
                    <a:p>
                      <a:pPr algn="l" fontAlgn="b"/>
                      <a:r>
                        <a:rPr lang="en-GB" sz="1200" b="0" i="0" u="none" strike="noStrike" dirty="0">
                          <a:effectLst/>
                          <a:latin typeface="+mj-lt"/>
                        </a:rPr>
                        <a:t>Search (Overall)</a:t>
                      </a:r>
                    </a:p>
                  </a:txBody>
                  <a:tcPr marL="7620" marR="7620" marT="7620" marB="0" anchor="ctr">
                    <a:lnL cap="flat">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4</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6</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8%</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3</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9</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5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EBC5D0"/>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63680671"/>
                  </a:ext>
                </a:extLst>
              </a:tr>
            </a:tbl>
          </a:graphicData>
        </a:graphic>
      </p:graphicFrame>
      <p:sp>
        <p:nvSpPr>
          <p:cNvPr id="35" name="Rectangle 34">
            <a:extLst>
              <a:ext uri="{FF2B5EF4-FFF2-40B4-BE49-F238E27FC236}">
                <a16:creationId xmlns:a16="http://schemas.microsoft.com/office/drawing/2014/main" id="{DBC34E2B-3CB9-48FD-9A23-BF89C591BECE}"/>
              </a:ext>
            </a:extLst>
          </p:cNvPr>
          <p:cNvSpPr/>
          <p:nvPr/>
        </p:nvSpPr>
        <p:spPr>
          <a:xfrm>
            <a:off x="997488" y="925006"/>
            <a:ext cx="6570296" cy="3694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sp>
        <p:nvSpPr>
          <p:cNvPr id="31" name="Rectangle 30">
            <a:extLst>
              <a:ext uri="{FF2B5EF4-FFF2-40B4-BE49-F238E27FC236}">
                <a16:creationId xmlns:a16="http://schemas.microsoft.com/office/drawing/2014/main" id="{2E665849-2E53-4A92-BB43-AD9B8CA89B1A}"/>
              </a:ext>
            </a:extLst>
          </p:cNvPr>
          <p:cNvSpPr/>
          <p:nvPr/>
        </p:nvSpPr>
        <p:spPr>
          <a:xfrm>
            <a:off x="0" y="5640527"/>
            <a:ext cx="12192000" cy="1223303"/>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mparing the annual averages, both Inside BCG &amp; Search are trending down at -4% &amp; -2% respectively. </a:t>
            </a:r>
          </a:p>
          <a:p>
            <a:pPr algn="ctr"/>
            <a:r>
              <a:rPr lang="en-US" sz="1400" i="1" dirty="0">
                <a:solidFill>
                  <a:srgbClr val="575757"/>
                </a:solidFill>
              </a:rPr>
              <a:t>(See notes for Knowledge Navigator.)</a:t>
            </a:r>
          </a:p>
        </p:txBody>
      </p:sp>
      <p:sp>
        <p:nvSpPr>
          <p:cNvPr id="34" name="Rectangle 33">
            <a:extLst>
              <a:ext uri="{FF2B5EF4-FFF2-40B4-BE49-F238E27FC236}">
                <a16:creationId xmlns:a16="http://schemas.microsoft.com/office/drawing/2014/main" id="{F84E6C4B-13E7-410A-8C08-28A2AE955CA1}"/>
              </a:ext>
            </a:extLst>
          </p:cNvPr>
          <p:cNvSpPr/>
          <p:nvPr/>
        </p:nvSpPr>
        <p:spPr>
          <a:xfrm>
            <a:off x="219075" y="5572435"/>
            <a:ext cx="11725275" cy="12855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575757"/>
              </a:solidFill>
            </a:endParaRPr>
          </a:p>
        </p:txBody>
      </p:sp>
      <p:grpSp>
        <p:nvGrpSpPr>
          <p:cNvPr id="20" name="Group 19">
            <a:extLst>
              <a:ext uri="{FF2B5EF4-FFF2-40B4-BE49-F238E27FC236}">
                <a16:creationId xmlns:a16="http://schemas.microsoft.com/office/drawing/2014/main" id="{DBAC0DE4-E5EC-4B66-8A0D-622358591E0D}"/>
              </a:ext>
            </a:extLst>
          </p:cNvPr>
          <p:cNvGrpSpPr/>
          <p:nvPr/>
        </p:nvGrpSpPr>
        <p:grpSpPr>
          <a:xfrm>
            <a:off x="630000" y="5071598"/>
            <a:ext cx="6155997" cy="444350"/>
            <a:chOff x="753111" y="3331233"/>
            <a:chExt cx="6155997" cy="444350"/>
          </a:xfrm>
        </p:grpSpPr>
        <p:grpSp>
          <p:nvGrpSpPr>
            <p:cNvPr id="21" name="Group 20">
              <a:extLst>
                <a:ext uri="{FF2B5EF4-FFF2-40B4-BE49-F238E27FC236}">
                  <a16:creationId xmlns:a16="http://schemas.microsoft.com/office/drawing/2014/main" id="{AB2D6CEA-6EB3-47A3-98A0-77C4AD483621}"/>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5ED3F275-F0E4-4FC2-B2F7-AB03D6D0FA90}"/>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2" name="Rectangle 31">
                <a:extLst>
                  <a:ext uri="{FF2B5EF4-FFF2-40B4-BE49-F238E27FC236}">
                    <a16:creationId xmlns:a16="http://schemas.microsoft.com/office/drawing/2014/main" id="{B1D978D7-F150-45A3-903A-73A27231F9B9}"/>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3" name="Rectangle 32">
                <a:extLst>
                  <a:ext uri="{FF2B5EF4-FFF2-40B4-BE49-F238E27FC236}">
                    <a16:creationId xmlns:a16="http://schemas.microsoft.com/office/drawing/2014/main" id="{06D7EB04-1D3C-4FBC-8296-6F1291611639}"/>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8" name="Rectangle 37">
                <a:extLst>
                  <a:ext uri="{FF2B5EF4-FFF2-40B4-BE49-F238E27FC236}">
                    <a16:creationId xmlns:a16="http://schemas.microsoft.com/office/drawing/2014/main" id="{A9861DF0-1691-483E-B902-D2CDD752AD5D}"/>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9" name="Rectangle 38">
                <a:extLst>
                  <a:ext uri="{FF2B5EF4-FFF2-40B4-BE49-F238E27FC236}">
                    <a16:creationId xmlns:a16="http://schemas.microsoft.com/office/drawing/2014/main" id="{1CF6E38D-BDF3-4376-8001-BEE94D23F335}"/>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0" name="Rectangle 39">
                <a:extLst>
                  <a:ext uri="{FF2B5EF4-FFF2-40B4-BE49-F238E27FC236}">
                    <a16:creationId xmlns:a16="http://schemas.microsoft.com/office/drawing/2014/main" id="{A5477AB9-3066-4328-B977-C990D971F417}"/>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EB5C4F08-8166-4C81-ACFC-A6895E4B79F4}"/>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5E93E95F-4B3F-4269-9929-90813B36504C}"/>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88FDBA2A-94D9-45FC-962A-34110B658211}"/>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08741E76-D3DB-4F35-A0A2-DE7B4F3F16C8}"/>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644CE718-E6E8-434D-B335-E8A26DC4D430}"/>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B98AF887-7C72-41E8-8C8A-FE0EC401710A}"/>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41" name="Group 40">
            <a:extLst>
              <a:ext uri="{FF2B5EF4-FFF2-40B4-BE49-F238E27FC236}">
                <a16:creationId xmlns:a16="http://schemas.microsoft.com/office/drawing/2014/main" id="{E24F5F32-58F6-487D-8F48-7449CE018319}"/>
              </a:ext>
            </a:extLst>
          </p:cNvPr>
          <p:cNvGrpSpPr>
            <a:grpSpLocks noChangeAspect="1"/>
          </p:cNvGrpSpPr>
          <p:nvPr/>
        </p:nvGrpSpPr>
        <p:grpSpPr>
          <a:xfrm>
            <a:off x="514429" y="864696"/>
            <a:ext cx="457200" cy="457200"/>
            <a:chOff x="5867400" y="3200400"/>
            <a:chExt cx="457200" cy="457200"/>
          </a:xfrm>
        </p:grpSpPr>
        <p:sp>
          <p:nvSpPr>
            <p:cNvPr id="43" name="AutoShape 43">
              <a:extLst>
                <a:ext uri="{FF2B5EF4-FFF2-40B4-BE49-F238E27FC236}">
                  <a16:creationId xmlns:a16="http://schemas.microsoft.com/office/drawing/2014/main" id="{71DB5408-141F-45D6-B0A8-DB21EBBBF04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7">
              <a:extLst>
                <a:ext uri="{FF2B5EF4-FFF2-40B4-BE49-F238E27FC236}">
                  <a16:creationId xmlns:a16="http://schemas.microsoft.com/office/drawing/2014/main" id="{FBEF6AF8-9D0A-4468-BA14-270B80A7F502}"/>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2" name="Oval 20">
            <a:extLst>
              <a:ext uri="{FF2B5EF4-FFF2-40B4-BE49-F238E27FC236}">
                <a16:creationId xmlns:a16="http://schemas.microsoft.com/office/drawing/2014/main" id="{4A397A30-9238-428A-B3CD-EE19D46BE7DB}"/>
              </a:ext>
            </a:extLst>
          </p:cNvPr>
          <p:cNvSpPr>
            <a:spLocks noChangeAspect="1" noChangeArrowheads="1"/>
          </p:cNvSpPr>
          <p:nvPr/>
        </p:nvSpPr>
        <p:spPr bwMode="auto">
          <a:xfrm>
            <a:off x="10591865" y="3270338"/>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93895620-C79E-413A-8575-5E6D614BF341}"/>
              </a:ext>
            </a:extLst>
          </p:cNvPr>
          <p:cNvSpPr>
            <a:spLocks noChangeAspect="1" noChangeArrowheads="1"/>
          </p:cNvSpPr>
          <p:nvPr/>
        </p:nvSpPr>
        <p:spPr bwMode="auto">
          <a:xfrm>
            <a:off x="10591865" y="4711162"/>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3" name="Title 2">
            <a:extLst>
              <a:ext uri="{FF2B5EF4-FFF2-40B4-BE49-F238E27FC236}">
                <a16:creationId xmlns:a16="http://schemas.microsoft.com/office/drawing/2014/main" id="{30CE95B6-480E-4A54-84C8-E482521017FD}"/>
              </a:ext>
            </a:extLst>
          </p:cNvPr>
          <p:cNvSpPr>
            <a:spLocks noGrp="1"/>
          </p:cNvSpPr>
          <p:nvPr>
            <p:ph type="title"/>
          </p:nvPr>
        </p:nvSpPr>
        <p:spPr/>
        <p:txBody>
          <a:bodyPr vert="horz"/>
          <a:lstStyle/>
          <a:p>
            <a:r>
              <a:rPr lang="en-US" dirty="0">
                <a:solidFill>
                  <a:srgbClr val="295E7E"/>
                </a:solidFill>
              </a:rPr>
              <a:t>Knowledge &amp; Design – Tools Satisfaction</a:t>
            </a:r>
            <a:endParaRPr lang="en-US" dirty="0"/>
          </a:p>
        </p:txBody>
      </p:sp>
      <p:sp>
        <p:nvSpPr>
          <p:cNvPr id="46" name="Oval 20">
            <a:extLst>
              <a:ext uri="{FF2B5EF4-FFF2-40B4-BE49-F238E27FC236}">
                <a16:creationId xmlns:a16="http://schemas.microsoft.com/office/drawing/2014/main" id="{BAA9DA0B-1298-461B-BA66-825BFE1E8718}"/>
              </a:ext>
            </a:extLst>
          </p:cNvPr>
          <p:cNvSpPr>
            <a:spLocks noChangeAspect="1" noChangeArrowheads="1"/>
          </p:cNvSpPr>
          <p:nvPr/>
        </p:nvSpPr>
        <p:spPr bwMode="auto">
          <a:xfrm>
            <a:off x="10606479" y="2822462"/>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2" name="Rectangle 51">
            <a:extLst>
              <a:ext uri="{FF2B5EF4-FFF2-40B4-BE49-F238E27FC236}">
                <a16:creationId xmlns:a16="http://schemas.microsoft.com/office/drawing/2014/main" id="{93852567-1352-49FC-9C66-9CE861017499}"/>
              </a:ext>
            </a:extLst>
          </p:cNvPr>
          <p:cNvSpPr/>
          <p:nvPr/>
        </p:nvSpPr>
        <p:spPr>
          <a:xfrm>
            <a:off x="3268862" y="1371316"/>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44" name="Group 43">
            <a:extLst>
              <a:ext uri="{FF2B5EF4-FFF2-40B4-BE49-F238E27FC236}">
                <a16:creationId xmlns:a16="http://schemas.microsoft.com/office/drawing/2014/main" id="{04B7CB37-EF19-41D7-90DB-788DB8F6690E}"/>
              </a:ext>
            </a:extLst>
          </p:cNvPr>
          <p:cNvGrpSpPr/>
          <p:nvPr/>
        </p:nvGrpSpPr>
        <p:grpSpPr>
          <a:xfrm>
            <a:off x="9462867" y="5053945"/>
            <a:ext cx="2116895" cy="591304"/>
            <a:chOff x="9751525" y="5356845"/>
            <a:chExt cx="2116895" cy="591304"/>
          </a:xfrm>
        </p:grpSpPr>
        <p:sp>
          <p:nvSpPr>
            <p:cNvPr id="47" name="Oval 20">
              <a:extLst>
                <a:ext uri="{FF2B5EF4-FFF2-40B4-BE49-F238E27FC236}">
                  <a16:creationId xmlns:a16="http://schemas.microsoft.com/office/drawing/2014/main" id="{4132C183-B485-46F9-A575-B6C8A2CEE02F}"/>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9" name="Rectangle 48">
              <a:extLst>
                <a:ext uri="{FF2B5EF4-FFF2-40B4-BE49-F238E27FC236}">
                  <a16:creationId xmlns:a16="http://schemas.microsoft.com/office/drawing/2014/main" id="{1BC94F97-516E-4EDF-89D6-EBCB7149902E}"/>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50" name="Oval 20">
              <a:extLst>
                <a:ext uri="{FF2B5EF4-FFF2-40B4-BE49-F238E27FC236}">
                  <a16:creationId xmlns:a16="http://schemas.microsoft.com/office/drawing/2014/main" id="{03A0EF32-925C-4009-9436-147665FADF14}"/>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3" name="Oval 20">
              <a:extLst>
                <a:ext uri="{FF2B5EF4-FFF2-40B4-BE49-F238E27FC236}">
                  <a16:creationId xmlns:a16="http://schemas.microsoft.com/office/drawing/2014/main" id="{8DE5AA31-9021-4C96-B665-0160C4259759}"/>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5" name="Rectangle 54">
              <a:extLst>
                <a:ext uri="{FF2B5EF4-FFF2-40B4-BE49-F238E27FC236}">
                  <a16:creationId xmlns:a16="http://schemas.microsoft.com/office/drawing/2014/main" id="{6900C736-5EC3-4625-82DC-B9796AE6B1E8}"/>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56" name="Rectangle 55">
              <a:extLst>
                <a:ext uri="{FF2B5EF4-FFF2-40B4-BE49-F238E27FC236}">
                  <a16:creationId xmlns:a16="http://schemas.microsoft.com/office/drawing/2014/main" id="{8D20FB00-2CA1-4D8D-8E1C-6A5685E93E4A}"/>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4" name="Rectangle 53">
            <a:extLst>
              <a:ext uri="{FF2B5EF4-FFF2-40B4-BE49-F238E27FC236}">
                <a16:creationId xmlns:a16="http://schemas.microsoft.com/office/drawing/2014/main" id="{67AFA02A-643A-46B4-9170-8D51F62AF73A}"/>
              </a:ext>
            </a:extLst>
          </p:cNvPr>
          <p:cNvSpPr/>
          <p:nvPr/>
        </p:nvSpPr>
        <p:spPr>
          <a:xfrm>
            <a:off x="8466988" y="1634526"/>
            <a:ext cx="1031292" cy="3352367"/>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Oval 20">
            <a:extLst>
              <a:ext uri="{FF2B5EF4-FFF2-40B4-BE49-F238E27FC236}">
                <a16:creationId xmlns:a16="http://schemas.microsoft.com/office/drawing/2014/main" id="{EE3D0C53-2FD0-400D-9A5D-3253288D819B}"/>
              </a:ext>
            </a:extLst>
          </p:cNvPr>
          <p:cNvSpPr>
            <a:spLocks noChangeAspect="1" noChangeArrowheads="1"/>
          </p:cNvSpPr>
          <p:nvPr/>
        </p:nvSpPr>
        <p:spPr bwMode="auto">
          <a:xfrm>
            <a:off x="10606479" y="3673003"/>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9" name="Oval 20">
            <a:extLst>
              <a:ext uri="{FF2B5EF4-FFF2-40B4-BE49-F238E27FC236}">
                <a16:creationId xmlns:a16="http://schemas.microsoft.com/office/drawing/2014/main" id="{27C5241A-DDD1-4121-959F-E85591DA451A}"/>
              </a:ext>
            </a:extLst>
          </p:cNvPr>
          <p:cNvSpPr>
            <a:spLocks noChangeAspect="1" noChangeArrowheads="1"/>
          </p:cNvSpPr>
          <p:nvPr/>
        </p:nvSpPr>
        <p:spPr bwMode="auto">
          <a:xfrm>
            <a:off x="10591865" y="402782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0" name="Oval 20">
            <a:extLst>
              <a:ext uri="{FF2B5EF4-FFF2-40B4-BE49-F238E27FC236}">
                <a16:creationId xmlns:a16="http://schemas.microsoft.com/office/drawing/2014/main" id="{DC2D558E-B9D1-4DF6-B6BE-8CB88F403681}"/>
              </a:ext>
            </a:extLst>
          </p:cNvPr>
          <p:cNvSpPr>
            <a:spLocks noChangeAspect="1" noChangeArrowheads="1"/>
          </p:cNvSpPr>
          <p:nvPr/>
        </p:nvSpPr>
        <p:spPr bwMode="auto">
          <a:xfrm>
            <a:off x="10591865" y="4368755"/>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1" name="Left Bracket 50">
            <a:extLst>
              <a:ext uri="{FF2B5EF4-FFF2-40B4-BE49-F238E27FC236}">
                <a16:creationId xmlns:a16="http://schemas.microsoft.com/office/drawing/2014/main" id="{4BB761A0-8BB9-4F9C-818C-25B1E6FC00EA}"/>
              </a:ext>
            </a:extLst>
          </p:cNvPr>
          <p:cNvSpPr/>
          <p:nvPr/>
        </p:nvSpPr>
        <p:spPr>
          <a:xfrm rot="5400000">
            <a:off x="8859480" y="323614"/>
            <a:ext cx="201652" cy="2180388"/>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3793796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243E3A-A6AB-40B9-B77D-66EDEC664746}"/>
              </a:ext>
            </a:extLst>
          </p:cNvPr>
          <p:cNvGraphicFramePr>
            <a:graphicFrameLocks noChangeAspect="1"/>
          </p:cNvGraphicFramePr>
          <p:nvPr>
            <p:custDataLst>
              <p:tags r:id="rId3"/>
            </p:custDataLst>
            <p:extLst>
              <p:ext uri="{D42A27DB-BD31-4B8C-83A1-F6EECF244321}">
                <p14:modId xmlns:p14="http://schemas.microsoft.com/office/powerpoint/2010/main" val="385373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703"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F8243E3A-A6AB-40B9-B77D-66EDEC66474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7E9449-FB29-4409-B407-E0EAC0DF4BA4}"/>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extBox 6">
            <a:extLst>
              <a:ext uri="{FF2B5EF4-FFF2-40B4-BE49-F238E27FC236}">
                <a16:creationId xmlns:a16="http://schemas.microsoft.com/office/drawing/2014/main" id="{B25FE88C-6111-49B6-973F-C711B4BF346F}"/>
              </a:ext>
            </a:extLst>
          </p:cNvPr>
          <p:cNvSpPr txBox="1"/>
          <p:nvPr/>
        </p:nvSpPr>
        <p:spPr>
          <a:xfrm>
            <a:off x="7604642" y="1746621"/>
            <a:ext cx="4173124" cy="448857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2000" dirty="0">
                <a:solidFill>
                  <a:srgbClr val="575757"/>
                </a:solidFill>
              </a:rPr>
              <a:t>250 users chose to comment, with most saying their #1 priority is to have a centralized, structured repository for all BCG content</a:t>
            </a:r>
          </a:p>
          <a:p>
            <a:pPr marL="285750" indent="-285750">
              <a:buFont typeface="Arial" panose="020B0604020202020204" pitchFamily="34" charset="0"/>
              <a:buChar char="•"/>
            </a:pPr>
            <a:endParaRPr lang="en-US" sz="2000" dirty="0">
              <a:solidFill>
                <a:srgbClr val="575757"/>
              </a:solidFill>
            </a:endParaRPr>
          </a:p>
          <a:p>
            <a:pPr marL="285750" indent="-285750">
              <a:buFont typeface="Arial" panose="020B0604020202020204" pitchFamily="34" charset="0"/>
              <a:buChar char="•"/>
            </a:pPr>
            <a:r>
              <a:rPr lang="en-US" sz="2000" dirty="0">
                <a:solidFill>
                  <a:srgbClr val="575757"/>
                </a:solidFill>
              </a:rPr>
              <a:t>Employees reference 'Google' as the best search experience</a:t>
            </a:r>
          </a:p>
          <a:p>
            <a:pPr marL="285750" indent="-285750">
              <a:buFont typeface="Arial" panose="020B0604020202020204" pitchFamily="34" charset="0"/>
              <a:buChar char="•"/>
            </a:pPr>
            <a:endParaRPr lang="en-US" sz="2000" dirty="0">
              <a:solidFill>
                <a:srgbClr val="575757"/>
              </a:solidFill>
            </a:endParaRPr>
          </a:p>
          <a:p>
            <a:pPr marL="285750" indent="-285750">
              <a:buFont typeface="Arial" panose="020B0604020202020204" pitchFamily="34" charset="0"/>
              <a:buChar char="•"/>
            </a:pPr>
            <a:r>
              <a:rPr lang="en-US" sz="2000" dirty="0">
                <a:solidFill>
                  <a:srgbClr val="575757"/>
                </a:solidFill>
              </a:rPr>
              <a:t>Employees want more easily searchable content &amp; links, with a fast UI</a:t>
            </a:r>
          </a:p>
        </p:txBody>
      </p:sp>
      <p:sp>
        <p:nvSpPr>
          <p:cNvPr id="3" name="Title 2"/>
          <p:cNvSpPr>
            <a:spLocks noGrp="1"/>
          </p:cNvSpPr>
          <p:nvPr>
            <p:ph type="title"/>
          </p:nvPr>
        </p:nvSpPr>
        <p:spPr>
          <a:xfrm>
            <a:off x="629325" y="443292"/>
            <a:ext cx="10933350" cy="677108"/>
          </a:xfrm>
        </p:spPr>
        <p:txBody>
          <a:bodyPr vert="horz"/>
          <a:lstStyle/>
          <a:p>
            <a:pPr>
              <a:lnSpc>
                <a:spcPct val="100000"/>
              </a:lnSpc>
            </a:pPr>
            <a:r>
              <a:rPr lang="en-US" sz="2200" dirty="0">
                <a:solidFill>
                  <a:srgbClr val="295E7E"/>
                </a:solidFill>
              </a:rPr>
              <a:t>Q – </a:t>
            </a:r>
            <a:r>
              <a:rPr lang="en-GB" sz="2200" dirty="0">
                <a:solidFill>
                  <a:srgbClr val="295E7E"/>
                </a:solidFill>
                <a:effectLst/>
                <a:ea typeface="Times New Roman" panose="02020603050405020304" pitchFamily="18" charset="0"/>
              </a:rPr>
              <a:t>What would you like us to prioritize to make the overall search experience for BCG-related content more effective?</a:t>
            </a:r>
            <a:endParaRPr lang="en-US" sz="2200" dirty="0">
              <a:solidFill>
                <a:srgbClr val="295E7E"/>
              </a:solidFill>
            </a:endParaRPr>
          </a:p>
        </p:txBody>
      </p:sp>
      <p:grpSp>
        <p:nvGrpSpPr>
          <p:cNvPr id="68" name="Group 67">
            <a:extLst>
              <a:ext uri="{FF2B5EF4-FFF2-40B4-BE49-F238E27FC236}">
                <a16:creationId xmlns:a16="http://schemas.microsoft.com/office/drawing/2014/main" id="{F6C936EA-59F0-454B-B1D5-6ED85AE2A1DC}"/>
              </a:ext>
            </a:extLst>
          </p:cNvPr>
          <p:cNvGrpSpPr>
            <a:grpSpLocks noChangeAspect="1"/>
          </p:cNvGrpSpPr>
          <p:nvPr/>
        </p:nvGrpSpPr>
        <p:grpSpPr>
          <a:xfrm>
            <a:off x="626457" y="1692155"/>
            <a:ext cx="306910" cy="306910"/>
            <a:chOff x="5961063" y="3294063"/>
            <a:chExt cx="269875" cy="269875"/>
          </a:xfrm>
        </p:grpSpPr>
        <p:sp>
          <p:nvSpPr>
            <p:cNvPr id="69" name="Oval 46">
              <a:extLst>
                <a:ext uri="{FF2B5EF4-FFF2-40B4-BE49-F238E27FC236}">
                  <a16:creationId xmlns:a16="http://schemas.microsoft.com/office/drawing/2014/main" id="{C407A520-18AB-496D-9B13-D5812806BE1B}"/>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70" name="Freeform 47">
              <a:extLst>
                <a:ext uri="{FF2B5EF4-FFF2-40B4-BE49-F238E27FC236}">
                  <a16:creationId xmlns:a16="http://schemas.microsoft.com/office/drawing/2014/main" id="{9BBCACCB-B0C1-4F99-9E45-B3F83A3FE28F}"/>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9" name="Rectangle 8">
            <a:extLst>
              <a:ext uri="{FF2B5EF4-FFF2-40B4-BE49-F238E27FC236}">
                <a16:creationId xmlns:a16="http://schemas.microsoft.com/office/drawing/2014/main" id="{842B4C1F-EBB1-488A-9BF4-A04F8C8718EB}"/>
              </a:ext>
            </a:extLst>
          </p:cNvPr>
          <p:cNvSpPr/>
          <p:nvPr/>
        </p:nvSpPr>
        <p:spPr>
          <a:xfrm>
            <a:off x="1011603" y="2563484"/>
            <a:ext cx="6509800" cy="738664"/>
          </a:xfrm>
          <a:prstGeom prst="rect">
            <a:avLst/>
          </a:prstGeom>
          <a:ln w="9525" cap="flat" cmpd="sng" algn="ctr">
            <a:noFill/>
            <a:prstDash val="solid"/>
            <a:round/>
            <a:headEnd type="none" w="med" len="med"/>
            <a:tailEnd type="none" w="med" len="med"/>
          </a:ln>
        </p:spPr>
        <p:txBody>
          <a:bodyPr wrap="square">
            <a:spAutoFit/>
          </a:bodyPr>
          <a:lstStyle/>
          <a:p>
            <a:r>
              <a:rPr kumimoji="0" lang="en-US" altLang="en-US" sz="1400" b="0" i="0" u="none" strike="noStrike" cap="none" normalizeH="0" baseline="0" dirty="0">
                <a:ln>
                  <a:noFill/>
                </a:ln>
                <a:solidFill>
                  <a:srgbClr val="575757"/>
                </a:solidFill>
                <a:effectLst/>
                <a:latin typeface="+mj-lt"/>
              </a:rPr>
              <a:t>There should be just a simple one box search (like google) that actually works. It is not intuitive to find the content you need, even when you know what you are looking for! </a:t>
            </a:r>
            <a:endParaRPr lang="en-US" sz="1400" dirty="0">
              <a:solidFill>
                <a:srgbClr val="575757"/>
              </a:solidFill>
              <a:latin typeface="+mj-lt"/>
            </a:endParaRPr>
          </a:p>
        </p:txBody>
      </p:sp>
      <p:sp>
        <p:nvSpPr>
          <p:cNvPr id="99" name="TextBox 98">
            <a:extLst>
              <a:ext uri="{FF2B5EF4-FFF2-40B4-BE49-F238E27FC236}">
                <a16:creationId xmlns:a16="http://schemas.microsoft.com/office/drawing/2014/main" id="{07BC6B24-7064-4C43-8FEA-C1EDB7F9F9C7}"/>
              </a:ext>
            </a:extLst>
          </p:cNvPr>
          <p:cNvSpPr txBox="1"/>
          <p:nvPr/>
        </p:nvSpPr>
        <p:spPr>
          <a:xfrm>
            <a:off x="7604641" y="1213925"/>
            <a:ext cx="4173125" cy="532696"/>
          </a:xfrm>
          <a:prstGeom prst="rect">
            <a:avLst/>
          </a:prstGeom>
          <a:solidFill>
            <a:srgbClr val="295E7E"/>
          </a:solidFill>
          <a:ln w="10795"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dirty="0"/>
              <a:t>Observations</a:t>
            </a:r>
          </a:p>
        </p:txBody>
      </p:sp>
      <p:sp>
        <p:nvSpPr>
          <p:cNvPr id="37" name="Rectangle 36">
            <a:extLst>
              <a:ext uri="{FF2B5EF4-FFF2-40B4-BE49-F238E27FC236}">
                <a16:creationId xmlns:a16="http://schemas.microsoft.com/office/drawing/2014/main" id="{266F4CD7-8D52-4411-BF36-9168A21B5F7B}"/>
              </a:ext>
            </a:extLst>
          </p:cNvPr>
          <p:cNvSpPr/>
          <p:nvPr/>
        </p:nvSpPr>
        <p:spPr>
          <a:xfrm>
            <a:off x="1038201" y="1692155"/>
            <a:ext cx="6318564" cy="738664"/>
          </a:xfrm>
          <a:prstGeom prst="rect">
            <a:avLst/>
          </a:prstGeom>
          <a:ln w="9525" cap="flat" cmpd="sng" algn="ctr">
            <a:noFill/>
            <a:prstDash val="solid"/>
            <a:round/>
            <a:headEnd type="none" w="med" len="med"/>
            <a:tailEnd type="none" w="med" len="med"/>
          </a:ln>
        </p:spPr>
        <p:txBody>
          <a:bodyPr wrap="square">
            <a:spAutoFit/>
          </a:bodyPr>
          <a:lstStyle/>
          <a:p>
            <a:r>
              <a:rPr lang="en-US" sz="1400" dirty="0"/>
              <a:t>Simplify the search experience and make it more comprehensive. (e.g. the search bar in the top right hand corner defaults to a directory search, would be easier if it just defaulted to a full search.)</a:t>
            </a:r>
          </a:p>
        </p:txBody>
      </p:sp>
      <p:grpSp>
        <p:nvGrpSpPr>
          <p:cNvPr id="58" name="Group 57">
            <a:extLst>
              <a:ext uri="{FF2B5EF4-FFF2-40B4-BE49-F238E27FC236}">
                <a16:creationId xmlns:a16="http://schemas.microsoft.com/office/drawing/2014/main" id="{0B28E5B7-FDB6-4CDD-AC55-8585CEA3EA82}"/>
              </a:ext>
            </a:extLst>
          </p:cNvPr>
          <p:cNvGrpSpPr>
            <a:grpSpLocks noChangeAspect="1"/>
          </p:cNvGrpSpPr>
          <p:nvPr/>
        </p:nvGrpSpPr>
        <p:grpSpPr>
          <a:xfrm>
            <a:off x="626454" y="4905122"/>
            <a:ext cx="306910" cy="306910"/>
            <a:chOff x="5961063" y="3294063"/>
            <a:chExt cx="269875" cy="269875"/>
          </a:xfrm>
        </p:grpSpPr>
        <p:sp>
          <p:nvSpPr>
            <p:cNvPr id="59" name="Oval 46">
              <a:extLst>
                <a:ext uri="{FF2B5EF4-FFF2-40B4-BE49-F238E27FC236}">
                  <a16:creationId xmlns:a16="http://schemas.microsoft.com/office/drawing/2014/main" id="{ACC96187-5AAB-4051-BDCA-534A0DEB71C8}"/>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60" name="Freeform 47">
              <a:extLst>
                <a:ext uri="{FF2B5EF4-FFF2-40B4-BE49-F238E27FC236}">
                  <a16:creationId xmlns:a16="http://schemas.microsoft.com/office/drawing/2014/main" id="{AB586D5F-A5D1-4F77-95E4-EB9F5DC732C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67" name="Group 66">
            <a:extLst>
              <a:ext uri="{FF2B5EF4-FFF2-40B4-BE49-F238E27FC236}">
                <a16:creationId xmlns:a16="http://schemas.microsoft.com/office/drawing/2014/main" id="{CFBC6619-AF5F-4A92-8C2B-3D25CBC2339F}"/>
              </a:ext>
            </a:extLst>
          </p:cNvPr>
          <p:cNvGrpSpPr>
            <a:grpSpLocks noChangeAspect="1"/>
          </p:cNvGrpSpPr>
          <p:nvPr/>
        </p:nvGrpSpPr>
        <p:grpSpPr>
          <a:xfrm>
            <a:off x="626455" y="3374732"/>
            <a:ext cx="306910" cy="306910"/>
            <a:chOff x="5961063" y="3294063"/>
            <a:chExt cx="269875" cy="269875"/>
          </a:xfrm>
        </p:grpSpPr>
        <p:sp>
          <p:nvSpPr>
            <p:cNvPr id="80" name="Oval 46">
              <a:extLst>
                <a:ext uri="{FF2B5EF4-FFF2-40B4-BE49-F238E27FC236}">
                  <a16:creationId xmlns:a16="http://schemas.microsoft.com/office/drawing/2014/main" id="{6911A681-515A-46B4-8582-6A5767DCEE89}"/>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1" name="Freeform 47">
              <a:extLst>
                <a:ext uri="{FF2B5EF4-FFF2-40B4-BE49-F238E27FC236}">
                  <a16:creationId xmlns:a16="http://schemas.microsoft.com/office/drawing/2014/main" id="{6D051272-28E7-46EF-8BAD-A25653450B22}"/>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grpSp>
        <p:nvGrpSpPr>
          <p:cNvPr id="82" name="Group 81">
            <a:extLst>
              <a:ext uri="{FF2B5EF4-FFF2-40B4-BE49-F238E27FC236}">
                <a16:creationId xmlns:a16="http://schemas.microsoft.com/office/drawing/2014/main" id="{C8F2D3B1-9B20-4070-AEA6-F249D5761F2C}"/>
              </a:ext>
            </a:extLst>
          </p:cNvPr>
          <p:cNvGrpSpPr>
            <a:grpSpLocks noChangeAspect="1"/>
          </p:cNvGrpSpPr>
          <p:nvPr/>
        </p:nvGrpSpPr>
        <p:grpSpPr>
          <a:xfrm>
            <a:off x="626457" y="2571482"/>
            <a:ext cx="306910" cy="306910"/>
            <a:chOff x="5961063" y="3294063"/>
            <a:chExt cx="269875" cy="269875"/>
          </a:xfrm>
        </p:grpSpPr>
        <p:sp>
          <p:nvSpPr>
            <p:cNvPr id="83" name="Oval 46">
              <a:extLst>
                <a:ext uri="{FF2B5EF4-FFF2-40B4-BE49-F238E27FC236}">
                  <a16:creationId xmlns:a16="http://schemas.microsoft.com/office/drawing/2014/main" id="{E12DF8F6-EFFD-489F-9603-1E9067E41FFE}"/>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84" name="Freeform 47">
              <a:extLst>
                <a:ext uri="{FF2B5EF4-FFF2-40B4-BE49-F238E27FC236}">
                  <a16:creationId xmlns:a16="http://schemas.microsoft.com/office/drawing/2014/main" id="{90BDC41F-F0DF-4420-A304-F4127D0666FE}"/>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6" name="Rectangle 5">
            <a:extLst>
              <a:ext uri="{FF2B5EF4-FFF2-40B4-BE49-F238E27FC236}">
                <a16:creationId xmlns:a16="http://schemas.microsoft.com/office/drawing/2014/main" id="{FCAE2AA9-9EA3-4B53-8EFE-25EE4339826A}"/>
              </a:ext>
            </a:extLst>
          </p:cNvPr>
          <p:cNvSpPr/>
          <p:nvPr/>
        </p:nvSpPr>
        <p:spPr>
          <a:xfrm>
            <a:off x="1038202" y="3370274"/>
            <a:ext cx="6566439" cy="523220"/>
          </a:xfrm>
          <a:prstGeom prst="rect">
            <a:avLst/>
          </a:prstGeom>
          <a:ln w="9525" cap="flat" cmpd="sng" algn="ctr">
            <a:noFill/>
            <a:prstDash val="solid"/>
            <a:round/>
            <a:headEnd type="none" w="med" len="med"/>
            <a:tailEnd type="none" w="med" len="med"/>
          </a:ln>
        </p:spPr>
        <p:txBody>
          <a:bodyPr wrap="square">
            <a:spAutoFit/>
          </a:bodyPr>
          <a:lstStyle/>
          <a:p>
            <a:r>
              <a:rPr lang="en-US" sz="1400" dirty="0"/>
              <a:t>Contents should be more structured and presented in a way so that can be found easily</a:t>
            </a:r>
          </a:p>
        </p:txBody>
      </p:sp>
      <p:sp>
        <p:nvSpPr>
          <p:cNvPr id="8" name="Rectangle 7">
            <a:extLst>
              <a:ext uri="{FF2B5EF4-FFF2-40B4-BE49-F238E27FC236}">
                <a16:creationId xmlns:a16="http://schemas.microsoft.com/office/drawing/2014/main" id="{960CEF85-0ED8-43E3-A85A-F67D585F8E6B}"/>
              </a:ext>
            </a:extLst>
          </p:cNvPr>
          <p:cNvSpPr/>
          <p:nvPr/>
        </p:nvSpPr>
        <p:spPr>
          <a:xfrm>
            <a:off x="1076980" y="5493262"/>
            <a:ext cx="6438679" cy="307777"/>
          </a:xfrm>
          <a:prstGeom prst="rect">
            <a:avLst/>
          </a:prstGeom>
          <a:ln w="9525" cap="flat" cmpd="sng" algn="ctr">
            <a:noFill/>
            <a:prstDash val="solid"/>
            <a:round/>
            <a:headEnd type="none" w="med" len="med"/>
            <a:tailEnd type="none" w="med" len="med"/>
          </a:ln>
        </p:spPr>
        <p:txBody>
          <a:bodyPr wrap="square">
            <a:spAutoFit/>
          </a:bodyPr>
          <a:lstStyle/>
          <a:p>
            <a:r>
              <a:rPr lang="en-US" sz="1400" dirty="0"/>
              <a:t>Improved algorithm like Google Search</a:t>
            </a:r>
          </a:p>
        </p:txBody>
      </p:sp>
      <p:sp>
        <p:nvSpPr>
          <p:cNvPr id="29" name="Rectangle 28">
            <a:extLst>
              <a:ext uri="{FF2B5EF4-FFF2-40B4-BE49-F238E27FC236}">
                <a16:creationId xmlns:a16="http://schemas.microsoft.com/office/drawing/2014/main" id="{1D2FB96E-83E2-4F87-BF8F-20CD722E7048}"/>
              </a:ext>
            </a:extLst>
          </p:cNvPr>
          <p:cNvSpPr/>
          <p:nvPr/>
        </p:nvSpPr>
        <p:spPr>
          <a:xfrm>
            <a:off x="1042024" y="3997160"/>
            <a:ext cx="6438679" cy="738664"/>
          </a:xfrm>
          <a:prstGeom prst="rect">
            <a:avLst/>
          </a:prstGeom>
          <a:ln w="9525" cap="flat" cmpd="sng" algn="ctr">
            <a:noFill/>
            <a:prstDash val="solid"/>
            <a:round/>
            <a:headEnd type="none" w="med" len="med"/>
            <a:tailEnd type="none" w="med" len="med"/>
          </a:ln>
        </p:spPr>
        <p:txBody>
          <a:bodyPr wrap="square">
            <a:spAutoFit/>
          </a:bodyPr>
          <a:lstStyle/>
          <a:p>
            <a:r>
              <a:rPr lang="en-US" sz="1400" dirty="0"/>
              <a:t>New office pages and microsites should be easily searchable. Old office pages and microsites HTMLs should either be transitioned to the new site or redirect to the new site, so that there are less dead ends (= 502 Bad Gateway).</a:t>
            </a:r>
            <a:endParaRPr lang="en-US" sz="1400" i="1" dirty="0"/>
          </a:p>
        </p:txBody>
      </p:sp>
      <p:grpSp>
        <p:nvGrpSpPr>
          <p:cNvPr id="30" name="Group 29">
            <a:extLst>
              <a:ext uri="{FF2B5EF4-FFF2-40B4-BE49-F238E27FC236}">
                <a16:creationId xmlns:a16="http://schemas.microsoft.com/office/drawing/2014/main" id="{B3FA6772-3629-45E5-9AC9-16BF21F31106}"/>
              </a:ext>
            </a:extLst>
          </p:cNvPr>
          <p:cNvGrpSpPr>
            <a:grpSpLocks noChangeAspect="1"/>
          </p:cNvGrpSpPr>
          <p:nvPr/>
        </p:nvGrpSpPr>
        <p:grpSpPr>
          <a:xfrm>
            <a:off x="626455" y="4036732"/>
            <a:ext cx="306910" cy="306910"/>
            <a:chOff x="5961063" y="3294063"/>
            <a:chExt cx="269875" cy="269875"/>
          </a:xfrm>
        </p:grpSpPr>
        <p:sp>
          <p:nvSpPr>
            <p:cNvPr id="31" name="Oval 46">
              <a:extLst>
                <a:ext uri="{FF2B5EF4-FFF2-40B4-BE49-F238E27FC236}">
                  <a16:creationId xmlns:a16="http://schemas.microsoft.com/office/drawing/2014/main" id="{3C392DBE-B9C9-4813-BF61-B6BEC4689134}"/>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32" name="Freeform 47">
              <a:extLst>
                <a:ext uri="{FF2B5EF4-FFF2-40B4-BE49-F238E27FC236}">
                  <a16:creationId xmlns:a16="http://schemas.microsoft.com/office/drawing/2014/main" id="{79B5B733-38F2-4F7F-B68D-FFC1ED98FF07}"/>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34" name="Rectangle 33">
            <a:extLst>
              <a:ext uri="{FF2B5EF4-FFF2-40B4-BE49-F238E27FC236}">
                <a16:creationId xmlns:a16="http://schemas.microsoft.com/office/drawing/2014/main" id="{4C2F9B2A-E0D1-4542-B945-2F0B157B5382}"/>
              </a:ext>
            </a:extLst>
          </p:cNvPr>
          <p:cNvSpPr/>
          <p:nvPr/>
        </p:nvSpPr>
        <p:spPr>
          <a:xfrm>
            <a:off x="1038201" y="4852933"/>
            <a:ext cx="6438679" cy="523220"/>
          </a:xfrm>
          <a:prstGeom prst="rect">
            <a:avLst/>
          </a:prstGeom>
          <a:ln w="9525" cap="flat" cmpd="sng" algn="ctr">
            <a:noFill/>
            <a:prstDash val="solid"/>
            <a:round/>
            <a:headEnd type="none" w="med" len="med"/>
            <a:tailEnd type="none" w="med" len="med"/>
          </a:ln>
        </p:spPr>
        <p:txBody>
          <a:bodyPr wrap="square">
            <a:spAutoFit/>
          </a:bodyPr>
          <a:lstStyle/>
          <a:p>
            <a:r>
              <a:rPr lang="en-US" sz="1400" dirty="0"/>
              <a:t>Make the link pages available more easily (e.g., I don’t even know how to get to the full list of micro sites) - search terms also not clear</a:t>
            </a:r>
          </a:p>
        </p:txBody>
      </p:sp>
      <p:grpSp>
        <p:nvGrpSpPr>
          <p:cNvPr id="35" name="Group 34">
            <a:extLst>
              <a:ext uri="{FF2B5EF4-FFF2-40B4-BE49-F238E27FC236}">
                <a16:creationId xmlns:a16="http://schemas.microsoft.com/office/drawing/2014/main" id="{A5746E1C-A289-412C-9E71-5FC60F240F6F}"/>
              </a:ext>
            </a:extLst>
          </p:cNvPr>
          <p:cNvGrpSpPr>
            <a:grpSpLocks noChangeAspect="1"/>
          </p:cNvGrpSpPr>
          <p:nvPr/>
        </p:nvGrpSpPr>
        <p:grpSpPr>
          <a:xfrm>
            <a:off x="630870" y="5489304"/>
            <a:ext cx="306910" cy="306910"/>
            <a:chOff x="5961063" y="3294063"/>
            <a:chExt cx="269875" cy="269875"/>
          </a:xfrm>
        </p:grpSpPr>
        <p:sp>
          <p:nvSpPr>
            <p:cNvPr id="36" name="Oval 46">
              <a:extLst>
                <a:ext uri="{FF2B5EF4-FFF2-40B4-BE49-F238E27FC236}">
                  <a16:creationId xmlns:a16="http://schemas.microsoft.com/office/drawing/2014/main" id="{72990552-62A5-454C-8BB2-2B3C50EE3B46}"/>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38" name="Freeform 47">
              <a:extLst>
                <a:ext uri="{FF2B5EF4-FFF2-40B4-BE49-F238E27FC236}">
                  <a16:creationId xmlns:a16="http://schemas.microsoft.com/office/drawing/2014/main" id="{75A7E503-A9A7-4B55-9C74-DC4B058164A4}"/>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
        <p:nvSpPr>
          <p:cNvPr id="52" name="Rectangle 51">
            <a:extLst>
              <a:ext uri="{FF2B5EF4-FFF2-40B4-BE49-F238E27FC236}">
                <a16:creationId xmlns:a16="http://schemas.microsoft.com/office/drawing/2014/main" id="{33B8B5AE-FAA0-4A02-80E2-A93E45A02E64}"/>
              </a:ext>
            </a:extLst>
          </p:cNvPr>
          <p:cNvSpPr/>
          <p:nvPr/>
        </p:nvSpPr>
        <p:spPr>
          <a:xfrm>
            <a:off x="1076980" y="5918148"/>
            <a:ext cx="6438679" cy="307777"/>
          </a:xfrm>
          <a:prstGeom prst="rect">
            <a:avLst/>
          </a:prstGeom>
          <a:ln w="9525" cap="flat" cmpd="sng" algn="ctr">
            <a:noFill/>
            <a:prstDash val="solid"/>
            <a:round/>
            <a:headEnd type="none" w="med" len="med"/>
            <a:tailEnd type="none" w="med" len="med"/>
          </a:ln>
        </p:spPr>
        <p:txBody>
          <a:bodyPr wrap="square">
            <a:spAutoFit/>
          </a:bodyPr>
          <a:lstStyle/>
          <a:p>
            <a:r>
              <a:rPr lang="en-US" sz="1400" dirty="0"/>
              <a:t>Have Google build our search engine</a:t>
            </a:r>
          </a:p>
        </p:txBody>
      </p:sp>
      <p:grpSp>
        <p:nvGrpSpPr>
          <p:cNvPr id="53" name="Group 52">
            <a:extLst>
              <a:ext uri="{FF2B5EF4-FFF2-40B4-BE49-F238E27FC236}">
                <a16:creationId xmlns:a16="http://schemas.microsoft.com/office/drawing/2014/main" id="{8A20E61A-2178-4E91-AF49-4F4AE1102C54}"/>
              </a:ext>
            </a:extLst>
          </p:cNvPr>
          <p:cNvGrpSpPr>
            <a:grpSpLocks noChangeAspect="1"/>
          </p:cNvGrpSpPr>
          <p:nvPr/>
        </p:nvGrpSpPr>
        <p:grpSpPr>
          <a:xfrm>
            <a:off x="626453" y="5928290"/>
            <a:ext cx="306910" cy="306910"/>
            <a:chOff x="5961063" y="3294063"/>
            <a:chExt cx="269875" cy="269875"/>
          </a:xfrm>
        </p:grpSpPr>
        <p:sp>
          <p:nvSpPr>
            <p:cNvPr id="54" name="Oval 46">
              <a:extLst>
                <a:ext uri="{FF2B5EF4-FFF2-40B4-BE49-F238E27FC236}">
                  <a16:creationId xmlns:a16="http://schemas.microsoft.com/office/drawing/2014/main" id="{4455AA22-90C2-412B-B37D-A4CCCD0478E3}"/>
                </a:ext>
              </a:extLst>
            </p:cNvPr>
            <p:cNvSpPr>
              <a:spLocks noChangeArrowheads="1"/>
            </p:cNvSpPr>
            <p:nvPr/>
          </p:nvSpPr>
          <p:spPr bwMode="auto">
            <a:xfrm>
              <a:off x="5961063" y="3294063"/>
              <a:ext cx="269875" cy="269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sp>
          <p:nvSpPr>
            <p:cNvPr id="55" name="Freeform 47">
              <a:extLst>
                <a:ext uri="{FF2B5EF4-FFF2-40B4-BE49-F238E27FC236}">
                  <a16:creationId xmlns:a16="http://schemas.microsoft.com/office/drawing/2014/main" id="{5D7A71EA-93F7-47E2-9329-809686143809}"/>
                </a:ext>
              </a:extLst>
            </p:cNvPr>
            <p:cNvSpPr>
              <a:spLocks noEditPoints="1"/>
            </p:cNvSpPr>
            <p:nvPr/>
          </p:nvSpPr>
          <p:spPr bwMode="auto">
            <a:xfrm>
              <a:off x="6032500" y="3379788"/>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30C1D7"/>
                </a:solidFill>
              </a:endParaRPr>
            </a:p>
          </p:txBody>
        </p:sp>
      </p:grpSp>
    </p:spTree>
    <p:custDataLst>
      <p:tags r:id="rId2"/>
    </p:custDataLst>
    <p:extLst>
      <p:ext uri="{BB962C8B-B14F-4D97-AF65-F5344CB8AC3E}">
        <p14:creationId xmlns:p14="http://schemas.microsoft.com/office/powerpoint/2010/main" val="1755509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252" name="think-cell Slide" r:id="rId16" imgW="327" imgH="327" progId="TCLayout.ActiveDocument.1">
                  <p:embed/>
                </p:oleObj>
              </mc:Choice>
              <mc:Fallback>
                <p:oleObj name="think-cell Slide" r:id="rId16" imgW="327" imgH="327"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2" name="Picture 31">
            <a:extLst>
              <a:ext uri="{FF2B5EF4-FFF2-40B4-BE49-F238E27FC236}">
                <a16:creationId xmlns:a16="http://schemas.microsoft.com/office/drawing/2014/main" id="{53DDB05F-C4AA-4412-8DC5-D4A124027160}"/>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7814748" y="17584"/>
            <a:ext cx="4386392" cy="6858000"/>
          </a:xfrm>
          <a:prstGeom prst="rect">
            <a:avLst/>
          </a:prstGeom>
        </p:spPr>
      </p:pic>
      <p:sp>
        <p:nvSpPr>
          <p:cNvPr id="33" name="Rectangle 32">
            <a:extLst>
              <a:ext uri="{FF2B5EF4-FFF2-40B4-BE49-F238E27FC236}">
                <a16:creationId xmlns:a16="http://schemas.microsoft.com/office/drawing/2014/main" id="{20C8528A-8E9E-412B-8D61-013FB4E98BDD}"/>
              </a:ext>
            </a:extLst>
          </p:cNvPr>
          <p:cNvSpPr/>
          <p:nvPr/>
        </p:nvSpPr>
        <p:spPr>
          <a:xfrm>
            <a:off x="7805608" y="0"/>
            <a:ext cx="4386392" cy="925286"/>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200" kern="0" dirty="0">
                <a:solidFill>
                  <a:srgbClr val="30C1D7"/>
                </a:solidFill>
                <a:effectLst>
                  <a:outerShdw blurRad="38100" dist="38100" dir="2700000" algn="tl">
                    <a:srgbClr val="000000">
                      <a:alpha val="43137"/>
                    </a:srgbClr>
                  </a:outerShdw>
                </a:effectLst>
              </a:rPr>
              <a:t>Comments Analysis</a:t>
            </a:r>
            <a:endParaRPr lang="en-GB" sz="2200" kern="0" dirty="0">
              <a:solidFill>
                <a:srgbClr val="D4DF33"/>
              </a:solidFill>
            </a:endParaRPr>
          </a:p>
          <a:p>
            <a:pPr algn="ctr">
              <a:lnSpc>
                <a:spcPct val="95000"/>
              </a:lnSpc>
            </a:pPr>
            <a:r>
              <a:rPr lang="en-US" sz="2200" dirty="0">
                <a:solidFill>
                  <a:srgbClr val="FFFFFF"/>
                </a:solidFill>
                <a:sym typeface="Trebuchet MS" panose="020B0603020202020204" pitchFamily="34" charset="0"/>
              </a:rPr>
              <a:t>KNOWLEDGE NAVIGATOR</a:t>
            </a:r>
            <a:endParaRPr lang="en-GB" sz="2200" kern="0" dirty="0">
              <a:solidFill>
                <a:srgbClr val="FFFFFF"/>
              </a:solidFill>
            </a:endParaRPr>
          </a:p>
        </p:txBody>
      </p:sp>
      <p:sp>
        <p:nvSpPr>
          <p:cNvPr id="34" name="Oval 33">
            <a:extLst>
              <a:ext uri="{FF2B5EF4-FFF2-40B4-BE49-F238E27FC236}">
                <a16:creationId xmlns:a16="http://schemas.microsoft.com/office/drawing/2014/main" id="{AE2C2335-37AE-4D63-8ABC-76EBDF734897}"/>
              </a:ext>
            </a:extLst>
          </p:cNvPr>
          <p:cNvSpPr>
            <a:spLocks noChangeAspect="1"/>
          </p:cNvSpPr>
          <p:nvPr/>
        </p:nvSpPr>
        <p:spPr>
          <a:xfrm>
            <a:off x="8536559" y="1823193"/>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168</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57716" y="4107071"/>
            <a:ext cx="2005193" cy="1231847"/>
          </a:xfrm>
          <a:prstGeom prst="wedgeRectCallout">
            <a:avLst>
              <a:gd name="adj1" fmla="val -2808"/>
              <a:gd name="adj2" fmla="val 5910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Search] </a:t>
            </a:r>
            <a:r>
              <a:rPr lang="en-US" sz="1200" dirty="0">
                <a:cs typeface="Arial" pitchFamily="34" charset="0"/>
              </a:rPr>
              <a:t>Has improved but loading the new features (enhanced pages, profiles) takes longer.</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roject Leader</a:t>
            </a:r>
          </a:p>
        </p:txBody>
      </p:sp>
      <p:sp>
        <p:nvSpPr>
          <p:cNvPr id="55" name="Rectangular Callout 54"/>
          <p:cNvSpPr/>
          <p:nvPr/>
        </p:nvSpPr>
        <p:spPr>
          <a:xfrm>
            <a:off x="4150132" y="4107068"/>
            <a:ext cx="1381192" cy="1231847"/>
          </a:xfrm>
          <a:prstGeom prst="wedgeRectCallout">
            <a:avLst>
              <a:gd name="adj1" fmla="val 11890"/>
              <a:gd name="adj2" fmla="val 6050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cs typeface="Arial" pitchFamily="34" charset="0"/>
              </a:rPr>
              <a:t>“[Topic Pages] </a:t>
            </a:r>
            <a:r>
              <a:rPr lang="en-US" sz="1200" dirty="0">
                <a:cs typeface="Arial" pitchFamily="34" charset="0"/>
              </a:rPr>
              <a:t>Content isn't well curated on most topic pages.</a:t>
            </a:r>
            <a:r>
              <a:rPr lang="en-GB" sz="1200" dirty="0">
                <a:cs typeface="Arial" pitchFamily="34" charset="0"/>
              </a:rPr>
              <a:t>”</a:t>
            </a:r>
          </a:p>
          <a:p>
            <a:endParaRPr lang="en-GB" sz="1200" dirty="0">
              <a:cs typeface="Arial" pitchFamily="34" charset="0"/>
            </a:endParaRPr>
          </a:p>
          <a:p>
            <a:pPr algn="r"/>
            <a:r>
              <a:rPr lang="en-GB" sz="1050" i="1" dirty="0">
                <a:cs typeface="Arial" pitchFamily="34" charset="0"/>
              </a:rPr>
              <a:t>Partner</a:t>
            </a:r>
          </a:p>
        </p:txBody>
      </p:sp>
      <p:sp>
        <p:nvSpPr>
          <p:cNvPr id="41" name="Rectangular Callout 40"/>
          <p:cNvSpPr/>
          <p:nvPr/>
        </p:nvSpPr>
        <p:spPr>
          <a:xfrm>
            <a:off x="257717" y="5546520"/>
            <a:ext cx="3018090" cy="1100341"/>
          </a:xfrm>
          <a:prstGeom prst="wedgeRectCallout">
            <a:avLst>
              <a:gd name="adj1" fmla="val 36672"/>
              <a:gd name="adj2" fmla="val -6069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Knowledge Contribution] </a:t>
            </a:r>
            <a:r>
              <a:rPr lang="en-US" sz="1200" dirty="0">
                <a:cs typeface="Arial" pitchFamily="34" charset="0"/>
              </a:rPr>
              <a:t>Many materials hold back the most important information - this is done to get </a:t>
            </a:r>
            <a:r>
              <a:rPr lang="en-US" sz="1200" dirty="0" err="1">
                <a:cs typeface="Arial" pitchFamily="34" charset="0"/>
              </a:rPr>
              <a:t>MDPs</a:t>
            </a:r>
            <a:r>
              <a:rPr lang="en-US" sz="1200" dirty="0">
                <a:cs typeface="Arial" pitchFamily="34" charset="0"/>
              </a:rPr>
              <a:t> involved in new cases</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Associate</a:t>
            </a:r>
          </a:p>
        </p:txBody>
      </p:sp>
      <p:sp>
        <p:nvSpPr>
          <p:cNvPr id="28" name="Rectangle 27">
            <a:extLst>
              <a:ext uri="{FF2B5EF4-FFF2-40B4-BE49-F238E27FC236}">
                <a16:creationId xmlns:a16="http://schemas.microsoft.com/office/drawing/2014/main" id="{AE8BA0A3-A22B-4066-9085-3FC79F11C9A0}"/>
              </a:ext>
            </a:extLst>
          </p:cNvPr>
          <p:cNvSpPr/>
          <p:nvPr/>
        </p:nvSpPr>
        <p:spPr>
          <a:xfrm>
            <a:off x="227635" y="3749675"/>
            <a:ext cx="5405286" cy="32274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67184" y="352396"/>
            <a:ext cx="7492504" cy="14097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buClr>
                <a:schemeClr val="tx2"/>
              </a:buClr>
              <a:buSzPct val="120000"/>
            </a:pPr>
            <a:r>
              <a:rPr lang="en-US" sz="1600" dirty="0">
                <a:solidFill>
                  <a:srgbClr val="FFFFFF"/>
                </a:solidFill>
              </a:rPr>
              <a:t>Knowledge Navigator has seen many positive responses from employees relating to the search functionality, content available &amp; Topic Pages, however, performance remains an issue. Whilst employees find find Topic Pages easy to navigate, &amp; acknowledge efforts to make contributing content easier, they remark the content is not always up-to-date, or relevant. </a:t>
            </a:r>
          </a:p>
        </p:txBody>
      </p:sp>
      <p:graphicFrame>
        <p:nvGraphicFramePr>
          <p:cNvPr id="47" name="Chart 46">
            <a:extLst>
              <a:ext uri="{FF2B5EF4-FFF2-40B4-BE49-F238E27FC236}">
                <a16:creationId xmlns:a16="http://schemas.microsoft.com/office/drawing/2014/main" id="{4E9DDC1E-E9CE-4E06-922C-C20EF9F12D7E}"/>
              </a:ext>
            </a:extLst>
          </p:cNvPr>
          <p:cNvGraphicFramePr/>
          <p:nvPr>
            <p:custDataLst>
              <p:tags r:id="rId4"/>
            </p:custDataLst>
          </p:nvPr>
        </p:nvGraphicFramePr>
        <p:xfrm>
          <a:off x="1725613" y="1954213"/>
          <a:ext cx="5934075" cy="1517650"/>
        </p:xfrm>
        <a:graphic>
          <a:graphicData uri="http://schemas.openxmlformats.org/drawingml/2006/chart">
            <c:chart xmlns:c="http://schemas.openxmlformats.org/drawingml/2006/chart" xmlns:r="http://schemas.openxmlformats.org/officeDocument/2006/relationships" r:id="rId19"/>
          </a:graphicData>
        </a:graphic>
      </p:graphicFrame>
      <p:sp>
        <p:nvSpPr>
          <p:cNvPr id="39" name="Text Placeholder 3">
            <a:extLst>
              <a:ext uri="{FF2B5EF4-FFF2-40B4-BE49-F238E27FC236}">
                <a16:creationId xmlns:a16="http://schemas.microsoft.com/office/drawing/2014/main" id="{7AA73322-96CC-4F14-92A0-362550FE5E62}"/>
              </a:ext>
            </a:extLst>
          </p:cNvPr>
          <p:cNvSpPr>
            <a:spLocks noGrp="1"/>
          </p:cNvSpPr>
          <p:nvPr>
            <p:custDataLst>
              <p:tags r:id="rId5"/>
            </p:custDataLst>
          </p:nvPr>
        </p:nvSpPr>
        <p:spPr bwMode="gray">
          <a:xfrm>
            <a:off x="498474" y="2613025"/>
            <a:ext cx="12080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3E95BE9-E7F8-4A88-826C-D47E0C67B3E3}" type="datetime'Fi''''''''''n''ding'' R''''''e''''''so''''''''u''''''rc''e''s'">
              <a:rPr lang="en-US" altLang="en-US" smtClean="0">
                <a:solidFill>
                  <a:schemeClr val="bg1"/>
                </a:solidFill>
              </a:rPr>
              <a:pPr/>
              <a:t>Finding Resources</a:t>
            </a:fld>
            <a:endParaRPr lang="en-US" altLang="en-US" dirty="0">
              <a:solidFill>
                <a:schemeClr val="bg1"/>
              </a:solidFill>
            </a:endParaRPr>
          </a:p>
        </p:txBody>
      </p:sp>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6"/>
            </p:custDataLst>
          </p:nvPr>
        </p:nvSpPr>
        <p:spPr bwMode="gray">
          <a:xfrm>
            <a:off x="928689" y="2162175"/>
            <a:ext cx="7778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D13CD3B-DEB6-447C-8099-0A87B562B5B4}" type="datetime'E''''ase'' ''''''''''''o''''''''''''''''''f'''''' ''''U''se'''">
              <a:rPr lang="en-US" altLang="en-US" smtClean="0">
                <a:solidFill>
                  <a:schemeClr val="bg1"/>
                </a:solidFill>
              </a:rPr>
              <a:pPr/>
              <a:t>Ease of Use</a:t>
            </a:fld>
            <a:endParaRPr lang="en-US" altLang="en-US" dirty="0">
              <a:solidFill>
                <a:schemeClr val="bg1"/>
              </a:solidFill>
            </a:endParaRPr>
          </a:p>
        </p:txBody>
      </p:sp>
      <p:sp>
        <p:nvSpPr>
          <p:cNvPr id="121" name="Text Placeholder 3">
            <a:extLst>
              <a:ext uri="{FF2B5EF4-FFF2-40B4-BE49-F238E27FC236}">
                <a16:creationId xmlns:a16="http://schemas.microsoft.com/office/drawing/2014/main" id="{8F82E562-8FA8-4707-9A39-2A17BAEA7ED4}"/>
              </a:ext>
            </a:extLst>
          </p:cNvPr>
          <p:cNvSpPr>
            <a:spLocks noGrp="1"/>
          </p:cNvSpPr>
          <p:nvPr>
            <p:custDataLst>
              <p:tags r:id="rId7"/>
            </p:custDataLst>
          </p:nvPr>
        </p:nvSpPr>
        <p:spPr bwMode="gray">
          <a:xfrm>
            <a:off x="79375" y="3063875"/>
            <a:ext cx="16271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3059D52-4AE0-43B8-9108-1AAD01A1D87F}" type="datetime'Re''''al T''ime C''ol''''''''''l''a''''b''''''o''''rat''io''n'">
              <a:rPr lang="en-US" altLang="en-US" smtClean="0">
                <a:solidFill>
                  <a:schemeClr val="bg1"/>
                </a:solidFill>
              </a:rPr>
              <a:pPr/>
              <a:t>Real Time Collaboration</a:t>
            </a:fld>
            <a:endParaRPr lang="en-US" dirty="0">
              <a:solidFill>
                <a:schemeClr val="bg1"/>
              </a:solidFill>
              <a:sym typeface="+mn-lt"/>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725613" y="1797050"/>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7" name="Rectangle 6">
            <a:extLst>
              <a:ext uri="{FF2B5EF4-FFF2-40B4-BE49-F238E27FC236}">
                <a16:creationId xmlns:a16="http://schemas.microsoft.com/office/drawing/2014/main" id="{457E6CEC-3BCF-4EA6-9B0B-9FE17986FDA2}"/>
              </a:ext>
            </a:extLst>
          </p:cNvPr>
          <p:cNvSpPr/>
          <p:nvPr>
            <p:custDataLst>
              <p:tags r:id="rId8"/>
            </p:custDataLst>
          </p:nvPr>
        </p:nvSpPr>
        <p:spPr bwMode="gray">
          <a:xfrm>
            <a:off x="1824038" y="3573463"/>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a:extLst>
              <a:ext uri="{FF2B5EF4-FFF2-40B4-BE49-F238E27FC236}">
                <a16:creationId xmlns:a16="http://schemas.microsoft.com/office/drawing/2014/main" id="{43FBD0D5-8718-457F-BFBD-85724C9CAFE2}"/>
              </a:ext>
            </a:extLst>
          </p:cNvPr>
          <p:cNvSpPr/>
          <p:nvPr>
            <p:custDataLst>
              <p:tags r:id="rId9"/>
            </p:custDataLst>
          </p:nvPr>
        </p:nvSpPr>
        <p:spPr bwMode="gray">
          <a:xfrm>
            <a:off x="2717800" y="35734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a:extLst>
              <a:ext uri="{FF2B5EF4-FFF2-40B4-BE49-F238E27FC236}">
                <a16:creationId xmlns:a16="http://schemas.microsoft.com/office/drawing/2014/main" id="{C12872B1-1C2F-4521-92FE-A1706638B757}"/>
              </a:ext>
            </a:extLst>
          </p:cNvPr>
          <p:cNvSpPr/>
          <p:nvPr>
            <p:custDataLst>
              <p:tags r:id="rId10"/>
            </p:custDataLst>
          </p:nvPr>
        </p:nvSpPr>
        <p:spPr bwMode="gray">
          <a:xfrm>
            <a:off x="3589338" y="35734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9" name="Text Placeholder 3">
            <a:extLst>
              <a:ext uri="{FF2B5EF4-FFF2-40B4-BE49-F238E27FC236}">
                <a16:creationId xmlns:a16="http://schemas.microsoft.com/office/drawing/2014/main" id="{901C65E1-C189-4791-A4A9-9AFE498AE684}"/>
              </a:ext>
            </a:extLst>
          </p:cNvPr>
          <p:cNvSpPr>
            <a:spLocks noGrp="1"/>
          </p:cNvSpPr>
          <p:nvPr>
            <p:custDataLst>
              <p:tags r:id="rId11"/>
            </p:custDataLst>
          </p:nvPr>
        </p:nvSpPr>
        <p:spPr bwMode="gray">
          <a:xfrm>
            <a:off x="2982913" y="35544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A5F7640-66EB-421B-8E2D-410D33010716}" type="datetime'''''N''''''''''''''e''u''''''tr''al'''''">
              <a:rPr lang="en-US" altLang="en-US" smtClean="0">
                <a:solidFill>
                  <a:srgbClr val="FFFFFF"/>
                </a:solidFill>
                <a:sym typeface="+mn-lt"/>
              </a:rPr>
              <a:pPr>
                <a:spcBef>
                  <a:spcPct val="0"/>
                </a:spcBef>
                <a:spcAft>
                  <a:spcPct val="0"/>
                </a:spcAft>
              </a:pPr>
              <a:t>Neutral</a:t>
            </a:fld>
            <a:endParaRPr lang="en-US" dirty="0">
              <a:solidFill>
                <a:srgbClr val="FFFFFF"/>
              </a:solidFill>
              <a:sym typeface="+mn-lt"/>
            </a:endParaRPr>
          </a:p>
        </p:txBody>
      </p:sp>
      <p:sp>
        <p:nvSpPr>
          <p:cNvPr id="137" name="Text Placeholder 3">
            <a:extLst>
              <a:ext uri="{FF2B5EF4-FFF2-40B4-BE49-F238E27FC236}">
                <a16:creationId xmlns:a16="http://schemas.microsoft.com/office/drawing/2014/main" id="{070188D8-9E50-4CAA-8F81-CB964A87DB20}"/>
              </a:ext>
            </a:extLst>
          </p:cNvPr>
          <p:cNvSpPr>
            <a:spLocks noGrp="1"/>
          </p:cNvSpPr>
          <p:nvPr>
            <p:custDataLst>
              <p:tags r:id="rId12"/>
            </p:custDataLst>
          </p:nvPr>
        </p:nvSpPr>
        <p:spPr bwMode="gray">
          <a:xfrm>
            <a:off x="2089150" y="3554413"/>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A30DCF5-4DB5-4840-9E9C-6D1EF2B53C7F}" type="datetime'''''P''o''s''''''i''t''''''''''''i''''''ve'''''''''''''''''">
              <a:rPr lang="en-US" altLang="en-US" smtClean="0">
                <a:solidFill>
                  <a:srgbClr val="FFFFFF"/>
                </a:solidFill>
                <a:sym typeface="+mn-lt"/>
              </a:rPr>
              <a:pPr>
                <a:spcBef>
                  <a:spcPct val="0"/>
                </a:spcBef>
                <a:spcAft>
                  <a:spcPct val="0"/>
                </a:spcAft>
              </a:pPr>
              <a:t>Positive</a:t>
            </a:fld>
            <a:endParaRPr lang="en-US" dirty="0">
              <a:solidFill>
                <a:srgbClr val="FFFFFF"/>
              </a:solidFill>
              <a:sym typeface="+mn-lt"/>
            </a:endParaRPr>
          </a:p>
        </p:txBody>
      </p:sp>
      <p:sp>
        <p:nvSpPr>
          <p:cNvPr id="138" name="Text Placeholder 3">
            <a:extLst>
              <a:ext uri="{FF2B5EF4-FFF2-40B4-BE49-F238E27FC236}">
                <a16:creationId xmlns:a16="http://schemas.microsoft.com/office/drawing/2014/main" id="{96F01B03-8501-4EA9-88B5-7E8467D11275}"/>
              </a:ext>
            </a:extLst>
          </p:cNvPr>
          <p:cNvSpPr>
            <a:spLocks noGrp="1"/>
          </p:cNvSpPr>
          <p:nvPr>
            <p:custDataLst>
              <p:tags r:id="rId13"/>
            </p:custDataLst>
          </p:nvPr>
        </p:nvSpPr>
        <p:spPr bwMode="gray">
          <a:xfrm>
            <a:off x="3854450" y="3554413"/>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649AFBC-268D-43E0-96CE-12A5F2F626E4}" type="datetime'''''N''''''''''e''''''''''''g''''a''''''''tiv''''e'''">
              <a:rPr lang="en-US" altLang="en-US" smtClean="0">
                <a:solidFill>
                  <a:srgbClr val="FFFFFF"/>
                </a:solidFill>
                <a:sym typeface="+mn-lt"/>
              </a:rPr>
              <a:pPr>
                <a:spcBef>
                  <a:spcPct val="0"/>
                </a:spcBef>
                <a:spcAft>
                  <a:spcPct val="0"/>
                </a:spcAft>
              </a:pPr>
              <a:t>Negative</a:t>
            </a:fld>
            <a:endParaRPr lang="en-US" dirty="0">
              <a:solidFill>
                <a:srgbClr val="FFFFFF"/>
              </a:solidFill>
              <a:sym typeface="+mn-lt"/>
            </a:endParaRPr>
          </a:p>
        </p:txBody>
      </p:sp>
      <p:sp>
        <p:nvSpPr>
          <p:cNvPr id="126" name="Rectangular Callout 54">
            <a:extLst>
              <a:ext uri="{FF2B5EF4-FFF2-40B4-BE49-F238E27FC236}">
                <a16:creationId xmlns:a16="http://schemas.microsoft.com/office/drawing/2014/main" id="{7547B4AB-21DD-473F-987D-FF691E2934BC}"/>
              </a:ext>
            </a:extLst>
          </p:cNvPr>
          <p:cNvSpPr/>
          <p:nvPr/>
        </p:nvSpPr>
        <p:spPr>
          <a:xfrm>
            <a:off x="5698836" y="5569210"/>
            <a:ext cx="1941678" cy="1100342"/>
          </a:xfrm>
          <a:prstGeom prst="wedgeRectCallout">
            <a:avLst>
              <a:gd name="adj1" fmla="val -6252"/>
              <a:gd name="adj2" fmla="val -6001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 new functionality for the topic pages are great, user interface is pleasant and functional</a:t>
            </a:r>
            <a:r>
              <a:rPr lang="en-GB" sz="1200" dirty="0">
                <a:cs typeface="Arial" pitchFamily="34" charset="0"/>
              </a:rPr>
              <a:t>.”</a:t>
            </a:r>
          </a:p>
          <a:p>
            <a:endParaRPr lang="en-GB" sz="1200" dirty="0">
              <a:cs typeface="Arial" pitchFamily="34" charset="0"/>
            </a:endParaRPr>
          </a:p>
          <a:p>
            <a:pPr algn="r"/>
            <a:r>
              <a:rPr lang="en-GB" sz="1050" i="1" dirty="0">
                <a:cs typeface="Arial" pitchFamily="34" charset="0"/>
              </a:rPr>
              <a:t>Consultant</a:t>
            </a:r>
          </a:p>
        </p:txBody>
      </p:sp>
      <p:sp>
        <p:nvSpPr>
          <p:cNvPr id="37" name="Rectangular Callout 54">
            <a:extLst>
              <a:ext uri="{FF2B5EF4-FFF2-40B4-BE49-F238E27FC236}">
                <a16:creationId xmlns:a16="http://schemas.microsoft.com/office/drawing/2014/main" id="{5674003E-2726-4928-AB1B-B0CA21F6087B}"/>
              </a:ext>
            </a:extLst>
          </p:cNvPr>
          <p:cNvSpPr/>
          <p:nvPr/>
        </p:nvSpPr>
        <p:spPr>
          <a:xfrm>
            <a:off x="2346274" y="4107069"/>
            <a:ext cx="1722686" cy="1231848"/>
          </a:xfrm>
          <a:prstGeom prst="wedgeRectCallout">
            <a:avLst>
              <a:gd name="adj1" fmla="val 4470"/>
              <a:gd name="adj2" fmla="val 5886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t>Search is very slow with the new navigator profile site (on Mac on Chrome).</a:t>
            </a:r>
            <a:r>
              <a:rPr lang="en-GB" sz="1200" dirty="0">
                <a:cs typeface="Arial" pitchFamily="34" charset="0"/>
              </a:rPr>
              <a:t>”</a:t>
            </a:r>
          </a:p>
          <a:p>
            <a:endParaRPr lang="en-GB" sz="1200" dirty="0">
              <a:cs typeface="Arial" pitchFamily="34" charset="0"/>
            </a:endParaRPr>
          </a:p>
          <a:p>
            <a:pPr algn="r"/>
            <a:r>
              <a:rPr lang="en-GB" sz="1050" i="1" dirty="0">
                <a:cs typeface="Arial" pitchFamily="34" charset="0"/>
              </a:rPr>
              <a:t>Other CT</a:t>
            </a:r>
            <a:endParaRPr lang="en-GB" sz="1000" i="1" dirty="0">
              <a:cs typeface="Arial" pitchFamily="34" charset="0"/>
            </a:endParaRPr>
          </a:p>
        </p:txBody>
      </p:sp>
      <p:sp>
        <p:nvSpPr>
          <p:cNvPr id="26" name="Rectangular Callout 54">
            <a:extLst>
              <a:ext uri="{FF2B5EF4-FFF2-40B4-BE49-F238E27FC236}">
                <a16:creationId xmlns:a16="http://schemas.microsoft.com/office/drawing/2014/main" id="{AEDFC4FC-B2C7-436C-B418-8E6F6771D95F}"/>
              </a:ext>
            </a:extLst>
          </p:cNvPr>
          <p:cNvSpPr/>
          <p:nvPr/>
        </p:nvSpPr>
        <p:spPr>
          <a:xfrm>
            <a:off x="5635321" y="4107070"/>
            <a:ext cx="2005193" cy="1231846"/>
          </a:xfrm>
          <a:prstGeom prst="wedgeRectCallout">
            <a:avLst>
              <a:gd name="adj1" fmla="val 2858"/>
              <a:gd name="adj2" fmla="val 5799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Knowledge Contribution] </a:t>
            </a:r>
            <a:r>
              <a:rPr lang="en-US" sz="1200" dirty="0">
                <a:cs typeface="Arial" pitchFamily="34" charset="0"/>
              </a:rPr>
              <a:t>Very good initiatives on-going to make contributing easier</a:t>
            </a:r>
            <a:r>
              <a:rPr lang="en-GB" sz="1200" dirty="0">
                <a:cs typeface="Arial" pitchFamily="34" charset="0"/>
              </a:rPr>
              <a:t>.”</a:t>
            </a:r>
          </a:p>
          <a:p>
            <a:endParaRPr lang="en-GB" sz="1200" dirty="0">
              <a:cs typeface="Arial" pitchFamily="34" charset="0"/>
            </a:endParaRPr>
          </a:p>
          <a:p>
            <a:pPr algn="r"/>
            <a:r>
              <a:rPr lang="en-GB" sz="1050" i="1" dirty="0">
                <a:cs typeface="Arial" pitchFamily="34" charset="0"/>
              </a:rPr>
              <a:t>Consultant</a:t>
            </a:r>
          </a:p>
        </p:txBody>
      </p:sp>
      <p:sp>
        <p:nvSpPr>
          <p:cNvPr id="27" name="Rectangular Callout 54">
            <a:extLst>
              <a:ext uri="{FF2B5EF4-FFF2-40B4-BE49-F238E27FC236}">
                <a16:creationId xmlns:a16="http://schemas.microsoft.com/office/drawing/2014/main" id="{DC778B2F-3099-4CB9-9DB3-B01AACD7904B}"/>
              </a:ext>
            </a:extLst>
          </p:cNvPr>
          <p:cNvSpPr/>
          <p:nvPr/>
        </p:nvSpPr>
        <p:spPr>
          <a:xfrm>
            <a:off x="3403861" y="5546520"/>
            <a:ext cx="2182880" cy="1100341"/>
          </a:xfrm>
          <a:prstGeom prst="wedgeRectCallout">
            <a:avLst>
              <a:gd name="adj1" fmla="val 1564"/>
              <a:gd name="adj2" fmla="val -5652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opic Pages] </a:t>
            </a:r>
            <a:r>
              <a:rPr lang="en-US" sz="1200" dirty="0">
                <a:cs typeface="Arial" pitchFamily="34" charset="0"/>
              </a:rPr>
              <a:t>There are always errors especially on the contact page. Wrong display photo or name </a:t>
            </a:r>
            <a:r>
              <a:rPr lang="en-US" sz="1200" dirty="0" err="1">
                <a:cs typeface="Arial" pitchFamily="34" charset="0"/>
              </a:rPr>
              <a:t>etc</a:t>
            </a:r>
            <a:r>
              <a:rPr lang="en-GB" sz="1200" dirty="0">
                <a:cs typeface="Arial" pitchFamily="34" charset="0"/>
              </a:rPr>
              <a:t>.”</a:t>
            </a:r>
          </a:p>
          <a:p>
            <a:endParaRPr lang="en-GB" sz="1200" dirty="0">
              <a:cs typeface="Arial" pitchFamily="34" charset="0"/>
            </a:endParaRPr>
          </a:p>
          <a:p>
            <a:pPr algn="r"/>
            <a:r>
              <a:rPr lang="en-GB" sz="1050" i="1" dirty="0">
                <a:cs typeface="Arial" pitchFamily="34" charset="0"/>
              </a:rPr>
              <a:t>BST</a:t>
            </a:r>
          </a:p>
        </p:txBody>
      </p:sp>
    </p:spTree>
    <p:extLst>
      <p:ext uri="{BB962C8B-B14F-4D97-AF65-F5344CB8AC3E}">
        <p14:creationId xmlns:p14="http://schemas.microsoft.com/office/powerpoint/2010/main" val="1677430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279" name="think-cell Slide" r:id="rId15" imgW="327" imgH="327" progId="TCLayout.ActiveDocument.1">
                  <p:embed/>
                </p:oleObj>
              </mc:Choice>
              <mc:Fallback>
                <p:oleObj name="think-cell Slide" r:id="rId15" imgW="327" imgH="327" progId="TCLayout.ActiveDocument.1">
                  <p:embed/>
                  <p:pic>
                    <p:nvPicPr>
                      <p:cNvPr id="5" name="Object 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2" name="Picture 31">
            <a:extLst>
              <a:ext uri="{FF2B5EF4-FFF2-40B4-BE49-F238E27FC236}">
                <a16:creationId xmlns:a16="http://schemas.microsoft.com/office/drawing/2014/main" id="{53DDB05F-C4AA-4412-8DC5-D4A124027160}"/>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7814748" y="0"/>
            <a:ext cx="4386392" cy="6858000"/>
          </a:xfrm>
          <a:prstGeom prst="rect">
            <a:avLst/>
          </a:prstGeom>
        </p:spPr>
      </p:pic>
      <p:sp>
        <p:nvSpPr>
          <p:cNvPr id="33" name="Rectangle 32">
            <a:extLst>
              <a:ext uri="{FF2B5EF4-FFF2-40B4-BE49-F238E27FC236}">
                <a16:creationId xmlns:a16="http://schemas.microsoft.com/office/drawing/2014/main" id="{20C8528A-8E9E-412B-8D61-013FB4E98BDD}"/>
              </a:ext>
            </a:extLst>
          </p:cNvPr>
          <p:cNvSpPr/>
          <p:nvPr/>
        </p:nvSpPr>
        <p:spPr>
          <a:xfrm>
            <a:off x="7805608" y="0"/>
            <a:ext cx="4386392" cy="829340"/>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endParaRPr lang="en-GB" sz="2400" kern="0" dirty="0">
              <a:solidFill>
                <a:srgbClr val="D4DF33"/>
              </a:solidFill>
            </a:endParaRPr>
          </a:p>
          <a:p>
            <a:pPr algn="ctr">
              <a:lnSpc>
                <a:spcPct val="95000"/>
              </a:lnSpc>
            </a:pPr>
            <a:r>
              <a:rPr lang="en-GB" sz="2200" kern="0" dirty="0">
                <a:solidFill>
                  <a:srgbClr val="FFFFFF"/>
                </a:solidFill>
              </a:rPr>
              <a:t>SEARCH (OVERALL) + INSIDE BCG</a:t>
            </a:r>
          </a:p>
        </p:txBody>
      </p:sp>
      <p:sp>
        <p:nvSpPr>
          <p:cNvPr id="34" name="Oval 33">
            <a:extLst>
              <a:ext uri="{FF2B5EF4-FFF2-40B4-BE49-F238E27FC236}">
                <a16:creationId xmlns:a16="http://schemas.microsoft.com/office/drawing/2014/main" id="{AE2C2335-37AE-4D63-8ABC-76EBDF734897}"/>
              </a:ext>
            </a:extLst>
          </p:cNvPr>
          <p:cNvSpPr>
            <a:spLocks noChangeAspect="1"/>
          </p:cNvSpPr>
          <p:nvPr/>
        </p:nvSpPr>
        <p:spPr>
          <a:xfrm>
            <a:off x="8529806" y="1784752"/>
            <a:ext cx="3127248" cy="312724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5400" b="1" kern="0" dirty="0">
                <a:solidFill>
                  <a:srgbClr val="575757">
                    <a:lumMod val="100000"/>
                  </a:srgbClr>
                </a:solidFill>
              </a:rPr>
              <a:t>278</a:t>
            </a:r>
            <a:endParaRPr lang="en-US" sz="5400" kern="0" dirty="0">
              <a:solidFill>
                <a:schemeClr val="bg1">
                  <a:lumMod val="50000"/>
                </a:schemeClr>
              </a:solidFill>
            </a:endParaRPr>
          </a:p>
          <a:p>
            <a:pPr algn="ctr"/>
            <a:r>
              <a:rPr lang="en-US" sz="1400" kern="0" dirty="0">
                <a:solidFill>
                  <a:schemeClr val="bg1">
                    <a:lumMod val="50000"/>
                  </a:schemeClr>
                </a:solidFill>
              </a:rPr>
              <a:t>Total</a:t>
            </a:r>
          </a:p>
          <a:p>
            <a:pPr algn="ctr"/>
            <a:r>
              <a:rPr lang="en-US" sz="1400" kern="0" dirty="0">
                <a:solidFill>
                  <a:schemeClr val="bg1">
                    <a:lumMod val="50000"/>
                  </a:schemeClr>
                </a:solidFill>
              </a:rPr>
              <a:t> # Mentions</a:t>
            </a:r>
          </a:p>
        </p:txBody>
      </p:sp>
      <p:sp>
        <p:nvSpPr>
          <p:cNvPr id="53" name="Rectangular Callout 52"/>
          <p:cNvSpPr/>
          <p:nvPr/>
        </p:nvSpPr>
        <p:spPr>
          <a:xfrm>
            <a:off x="276767" y="4039157"/>
            <a:ext cx="3398295" cy="1311575"/>
          </a:xfrm>
          <a:prstGeom prst="wedgeRectCallout">
            <a:avLst>
              <a:gd name="adj1" fmla="val -8820"/>
              <a:gd name="adj2" fmla="val 5778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re should be just a simple one box search (like google) that actually works. It is not intuitive to find the content you need, even when you know what you are looking for! Have to get exactly the right keywords or it doesn't show. V hard to find e.g. m</a:t>
            </a:r>
            <a:r>
              <a:rPr lang="en-GB" sz="1000" i="1" dirty="0">
                <a:cs typeface="Arial" pitchFamily="34" charset="0"/>
              </a:rPr>
              <a:t>.</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Partner</a:t>
            </a:r>
          </a:p>
        </p:txBody>
      </p:sp>
      <p:sp>
        <p:nvSpPr>
          <p:cNvPr id="54" name="Rectangular Callout 53"/>
          <p:cNvSpPr/>
          <p:nvPr/>
        </p:nvSpPr>
        <p:spPr>
          <a:xfrm>
            <a:off x="2296444" y="5558828"/>
            <a:ext cx="1089852" cy="1117118"/>
          </a:xfrm>
          <a:prstGeom prst="wedgeRectCallout">
            <a:avLst>
              <a:gd name="adj1" fmla="val -5229"/>
              <a:gd name="adj2" fmla="val -5869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Hard to find resources, scattered around many micro-sites</a:t>
            </a:r>
            <a:r>
              <a:rPr lang="en-US" sz="1200" b="1" dirty="0">
                <a:solidFill>
                  <a:srgbClr val="FFFFFF"/>
                </a:solidFill>
                <a:sym typeface="Trebuchet MS" panose="020B0603020202020204" pitchFamily="34" charset="0"/>
              </a:rPr>
              <a:t>.</a:t>
            </a:r>
            <a:r>
              <a:rPr lang="en-GB" sz="1200" dirty="0">
                <a:cs typeface="Arial" pitchFamily="34" charset="0"/>
              </a:rPr>
              <a:t>”</a:t>
            </a:r>
          </a:p>
          <a:p>
            <a:pPr algn="r"/>
            <a:r>
              <a:rPr lang="en-GB" sz="1000" i="1" dirty="0">
                <a:cs typeface="Arial" pitchFamily="34" charset="0"/>
              </a:rPr>
              <a:t>Other CT</a:t>
            </a:r>
          </a:p>
        </p:txBody>
      </p:sp>
      <p:sp>
        <p:nvSpPr>
          <p:cNvPr id="28" name="Rectangle 27">
            <a:extLst>
              <a:ext uri="{FF2B5EF4-FFF2-40B4-BE49-F238E27FC236}">
                <a16:creationId xmlns:a16="http://schemas.microsoft.com/office/drawing/2014/main" id="{AE8BA0A3-A22B-4066-9085-3FC79F11C9A0}"/>
              </a:ext>
            </a:extLst>
          </p:cNvPr>
          <p:cNvSpPr/>
          <p:nvPr/>
        </p:nvSpPr>
        <p:spPr>
          <a:xfrm>
            <a:off x="193366" y="3574533"/>
            <a:ext cx="5405286" cy="4826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 name="Rectangle 3">
            <a:extLst>
              <a:ext uri="{FF2B5EF4-FFF2-40B4-BE49-F238E27FC236}">
                <a16:creationId xmlns:a16="http://schemas.microsoft.com/office/drawing/2014/main" id="{49630AD3-3113-4B48-9321-17FF996FD965}"/>
              </a:ext>
            </a:extLst>
          </p:cNvPr>
          <p:cNvSpPr/>
          <p:nvPr/>
        </p:nvSpPr>
        <p:spPr>
          <a:xfrm>
            <a:off x="193366" y="186916"/>
            <a:ext cx="7425327" cy="15176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dirty="0">
                <a:solidFill>
                  <a:srgbClr val="FFFFFF"/>
                </a:solidFill>
              </a:rPr>
              <a:t>Employees continue to say they can't find the resources they need across the many BCG websites, even basic information like BCG policy documents. Content is spread across too many disconnected places. Searching takes too much time both in terms of locating content &amp; sifting through search results. Employees continue to ask for a single, central, Google-like search experience, also referencing KN as an example of where search works well.  </a:t>
            </a:r>
          </a:p>
        </p:txBody>
      </p:sp>
      <p:graphicFrame>
        <p:nvGraphicFramePr>
          <p:cNvPr id="51" name="Chart 50">
            <a:extLst>
              <a:ext uri="{FF2B5EF4-FFF2-40B4-BE49-F238E27FC236}">
                <a16:creationId xmlns:a16="http://schemas.microsoft.com/office/drawing/2014/main" id="{98F391B5-90EB-4633-A9A7-A8523323B5B1}"/>
              </a:ext>
            </a:extLst>
          </p:cNvPr>
          <p:cNvGraphicFramePr/>
          <p:nvPr>
            <p:custDataLst>
              <p:tags r:id="rId4"/>
            </p:custDataLst>
          </p:nvPr>
        </p:nvGraphicFramePr>
        <p:xfrm>
          <a:off x="1887538" y="1955800"/>
          <a:ext cx="5772150" cy="1517650"/>
        </p:xfrm>
        <a:graphic>
          <a:graphicData uri="http://schemas.openxmlformats.org/drawingml/2006/chart">
            <c:chart xmlns:c="http://schemas.openxmlformats.org/drawingml/2006/chart" xmlns:r="http://schemas.openxmlformats.org/officeDocument/2006/relationships" r:id="rId18"/>
          </a:graphicData>
        </a:graphic>
      </p:graphicFrame>
      <p:sp>
        <p:nvSpPr>
          <p:cNvPr id="124" name="Text Placeholder 3">
            <a:extLst>
              <a:ext uri="{FF2B5EF4-FFF2-40B4-BE49-F238E27FC236}">
                <a16:creationId xmlns:a16="http://schemas.microsoft.com/office/drawing/2014/main" id="{F2F719E5-DA83-4A30-BB3A-F44EC4BEE0E8}"/>
              </a:ext>
            </a:extLst>
          </p:cNvPr>
          <p:cNvSpPr>
            <a:spLocks noGrp="1"/>
          </p:cNvSpPr>
          <p:nvPr>
            <p:custDataLst>
              <p:tags r:id="rId5"/>
            </p:custDataLst>
          </p:nvPr>
        </p:nvSpPr>
        <p:spPr bwMode="gray">
          <a:xfrm>
            <a:off x="652463" y="2274888"/>
            <a:ext cx="12080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9F6B33D-312E-4B83-B1F2-82FDE725FE39}" type="datetime'''Fi''''''''''n''d''in''''g Re''s''o''u''''''''r''c''''e''s'''">
              <a:rPr lang="en-US" altLang="en-US" smtClean="0">
                <a:solidFill>
                  <a:schemeClr val="bg1"/>
                </a:solidFill>
              </a:rPr>
              <a:pPr/>
              <a:t>Finding Resources</a:t>
            </a:fld>
            <a:endParaRPr lang="en-US" altLang="en-US" dirty="0">
              <a:solidFill>
                <a:schemeClr val="bg1"/>
              </a:solidFill>
            </a:endParaRPr>
          </a:p>
        </p:txBody>
      </p:sp>
      <p:sp>
        <p:nvSpPr>
          <p:cNvPr id="47" name="Text Placeholder 3">
            <a:extLst>
              <a:ext uri="{FF2B5EF4-FFF2-40B4-BE49-F238E27FC236}">
                <a16:creationId xmlns:a16="http://schemas.microsoft.com/office/drawing/2014/main" id="{C3147D36-E37B-4B2C-A400-F6742E738BA0}"/>
              </a:ext>
            </a:extLst>
          </p:cNvPr>
          <p:cNvSpPr>
            <a:spLocks noGrp="1"/>
          </p:cNvSpPr>
          <p:nvPr>
            <p:custDataLst>
              <p:tags r:id="rId6"/>
            </p:custDataLst>
          </p:nvPr>
        </p:nvSpPr>
        <p:spPr bwMode="gray">
          <a:xfrm>
            <a:off x="265113" y="2951163"/>
            <a:ext cx="15954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E0E12F2-BE85-448F-B799-63D89527CC70}" type="datetime'Sea''r''ch ''U''s''e''r ''''Ex''per''''i''enc''''''''''''e'''">
              <a:rPr lang="en-US" altLang="en-US" smtClean="0">
                <a:solidFill>
                  <a:schemeClr val="bg1"/>
                </a:solidFill>
              </a:rPr>
              <a:pPr/>
              <a:t>Search User Experience</a:t>
            </a:fld>
            <a:endParaRPr lang="en-US" altLang="en-US" dirty="0">
              <a:solidFill>
                <a:schemeClr val="bg1"/>
              </a:solidFill>
            </a:endParaRPr>
          </a:p>
        </p:txBody>
      </p:sp>
      <p:sp>
        <p:nvSpPr>
          <p:cNvPr id="22" name="Rectangle 21">
            <a:extLst>
              <a:ext uri="{FF2B5EF4-FFF2-40B4-BE49-F238E27FC236}">
                <a16:creationId xmlns:a16="http://schemas.microsoft.com/office/drawing/2014/main" id="{392D76CC-89C3-474E-B81C-7DA5FC951896}"/>
              </a:ext>
            </a:extLst>
          </p:cNvPr>
          <p:cNvSpPr/>
          <p:nvPr/>
        </p:nvSpPr>
        <p:spPr>
          <a:xfrm>
            <a:off x="1871953" y="1868573"/>
            <a:ext cx="1724428" cy="2000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FFFFFF"/>
                </a:solidFill>
              </a:rPr>
              <a:t>% of mentions</a:t>
            </a:r>
          </a:p>
        </p:txBody>
      </p:sp>
      <p:sp>
        <p:nvSpPr>
          <p:cNvPr id="7" name="Rectangle 6">
            <a:extLst>
              <a:ext uri="{FF2B5EF4-FFF2-40B4-BE49-F238E27FC236}">
                <a16:creationId xmlns:a16="http://schemas.microsoft.com/office/drawing/2014/main" id="{457E6CEC-3BCF-4EA6-9B0B-9FE17986FDA2}"/>
              </a:ext>
            </a:extLst>
          </p:cNvPr>
          <p:cNvSpPr/>
          <p:nvPr>
            <p:custDataLst>
              <p:tags r:id="rId7"/>
            </p:custDataLst>
          </p:nvPr>
        </p:nvSpPr>
        <p:spPr bwMode="gray">
          <a:xfrm>
            <a:off x="2011363" y="3470275"/>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a:extLst>
              <a:ext uri="{FF2B5EF4-FFF2-40B4-BE49-F238E27FC236}">
                <a16:creationId xmlns:a16="http://schemas.microsoft.com/office/drawing/2014/main" id="{C12872B1-1C2F-4521-92FE-A1706638B757}"/>
              </a:ext>
            </a:extLst>
          </p:cNvPr>
          <p:cNvSpPr/>
          <p:nvPr>
            <p:custDataLst>
              <p:tags r:id="rId8"/>
            </p:custDataLst>
          </p:nvPr>
        </p:nvSpPr>
        <p:spPr bwMode="gray">
          <a:xfrm>
            <a:off x="3776663" y="347027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a:extLst>
              <a:ext uri="{FF2B5EF4-FFF2-40B4-BE49-F238E27FC236}">
                <a16:creationId xmlns:a16="http://schemas.microsoft.com/office/drawing/2014/main" id="{43FBD0D5-8718-457F-BFBD-85724C9CAFE2}"/>
              </a:ext>
            </a:extLst>
          </p:cNvPr>
          <p:cNvSpPr/>
          <p:nvPr>
            <p:custDataLst>
              <p:tags r:id="rId9"/>
            </p:custDataLst>
          </p:nvPr>
        </p:nvSpPr>
        <p:spPr bwMode="gray">
          <a:xfrm>
            <a:off x="2905125" y="347027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7" name="Text Placeholder 3">
            <a:extLst>
              <a:ext uri="{FF2B5EF4-FFF2-40B4-BE49-F238E27FC236}">
                <a16:creationId xmlns:a16="http://schemas.microsoft.com/office/drawing/2014/main" id="{070188D8-9E50-4CAA-8F81-CB964A87DB20}"/>
              </a:ext>
            </a:extLst>
          </p:cNvPr>
          <p:cNvSpPr>
            <a:spLocks noGrp="1"/>
          </p:cNvSpPr>
          <p:nvPr>
            <p:custDataLst>
              <p:tags r:id="rId10"/>
            </p:custDataLst>
          </p:nvPr>
        </p:nvSpPr>
        <p:spPr bwMode="gray">
          <a:xfrm>
            <a:off x="2276475" y="3451225"/>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A30DCF5-4DB5-4840-9E9C-6D1EF2B53C7F}" type="datetime'''''P''o''s''''''i''t''''''''''''i''''''ve'''''''''''''''''">
              <a:rPr lang="en-US" altLang="en-US" smtClean="0">
                <a:solidFill>
                  <a:srgbClr val="FFFFFF"/>
                </a:solidFill>
                <a:sym typeface="+mn-lt"/>
              </a:rPr>
              <a:pPr>
                <a:spcBef>
                  <a:spcPct val="0"/>
                </a:spcBef>
                <a:spcAft>
                  <a:spcPct val="0"/>
                </a:spcAft>
              </a:pPr>
              <a:t>Positive</a:t>
            </a:fld>
            <a:endParaRPr lang="en-US" dirty="0">
              <a:solidFill>
                <a:srgbClr val="FFFFFF"/>
              </a:solidFill>
              <a:sym typeface="+mn-lt"/>
            </a:endParaRPr>
          </a:p>
        </p:txBody>
      </p:sp>
      <p:sp>
        <p:nvSpPr>
          <p:cNvPr id="138" name="Text Placeholder 3">
            <a:extLst>
              <a:ext uri="{FF2B5EF4-FFF2-40B4-BE49-F238E27FC236}">
                <a16:creationId xmlns:a16="http://schemas.microsoft.com/office/drawing/2014/main" id="{96F01B03-8501-4EA9-88B5-7E8467D11275}"/>
              </a:ext>
            </a:extLst>
          </p:cNvPr>
          <p:cNvSpPr>
            <a:spLocks noGrp="1"/>
          </p:cNvSpPr>
          <p:nvPr>
            <p:custDataLst>
              <p:tags r:id="rId11"/>
            </p:custDataLst>
          </p:nvPr>
        </p:nvSpPr>
        <p:spPr bwMode="gray">
          <a:xfrm>
            <a:off x="4041775" y="3451225"/>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649AFBC-268D-43E0-96CE-12A5F2F626E4}" type="datetime'''''N''''''''''e''''''''''''g''''a''''''''tiv''''e'''">
              <a:rPr lang="en-US" altLang="en-US" smtClean="0">
                <a:solidFill>
                  <a:srgbClr val="FFFFFF"/>
                </a:solidFill>
                <a:sym typeface="+mn-lt"/>
              </a:rPr>
              <a:pPr>
                <a:spcBef>
                  <a:spcPct val="0"/>
                </a:spcBef>
                <a:spcAft>
                  <a:spcPct val="0"/>
                </a:spcAft>
              </a:pPr>
              <a:t>Negative</a:t>
            </a:fld>
            <a:endParaRPr lang="en-US" dirty="0">
              <a:solidFill>
                <a:srgbClr val="FFFFFF"/>
              </a:solidFill>
              <a:sym typeface="+mn-lt"/>
            </a:endParaRPr>
          </a:p>
        </p:txBody>
      </p:sp>
      <p:sp>
        <p:nvSpPr>
          <p:cNvPr id="139" name="Text Placeholder 3">
            <a:extLst>
              <a:ext uri="{FF2B5EF4-FFF2-40B4-BE49-F238E27FC236}">
                <a16:creationId xmlns:a16="http://schemas.microsoft.com/office/drawing/2014/main" id="{901C65E1-C189-4791-A4A9-9AFE498AE684}"/>
              </a:ext>
            </a:extLst>
          </p:cNvPr>
          <p:cNvSpPr>
            <a:spLocks noGrp="1"/>
          </p:cNvSpPr>
          <p:nvPr>
            <p:custDataLst>
              <p:tags r:id="rId12"/>
            </p:custDataLst>
          </p:nvPr>
        </p:nvSpPr>
        <p:spPr bwMode="gray">
          <a:xfrm>
            <a:off x="3170238" y="345122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A5F7640-66EB-421B-8E2D-410D33010716}" type="datetime'''''N''''''''''''''e''u''''''tr''al'''''">
              <a:rPr lang="en-US" altLang="en-US" smtClean="0">
                <a:solidFill>
                  <a:srgbClr val="FFFFFF"/>
                </a:solidFill>
                <a:sym typeface="+mn-lt"/>
              </a:rPr>
              <a:pPr>
                <a:spcBef>
                  <a:spcPct val="0"/>
                </a:spcBef>
                <a:spcAft>
                  <a:spcPct val="0"/>
                </a:spcAft>
              </a:pPr>
              <a:t>Neutral</a:t>
            </a:fld>
            <a:endParaRPr lang="en-US" dirty="0">
              <a:solidFill>
                <a:srgbClr val="FFFFFF"/>
              </a:solidFill>
              <a:sym typeface="+mn-lt"/>
            </a:endParaRPr>
          </a:p>
        </p:txBody>
      </p:sp>
      <p:sp>
        <p:nvSpPr>
          <p:cNvPr id="46" name="Rectangular Callout 40">
            <a:extLst>
              <a:ext uri="{FF2B5EF4-FFF2-40B4-BE49-F238E27FC236}">
                <a16:creationId xmlns:a16="http://schemas.microsoft.com/office/drawing/2014/main" id="{F7DF4DE7-925A-44B1-A64B-F293E5C75652}"/>
              </a:ext>
            </a:extLst>
          </p:cNvPr>
          <p:cNvSpPr/>
          <p:nvPr/>
        </p:nvSpPr>
        <p:spPr>
          <a:xfrm>
            <a:off x="3819400" y="4039157"/>
            <a:ext cx="2132261" cy="1302587"/>
          </a:xfrm>
          <a:prstGeom prst="wedgeRectCallout">
            <a:avLst>
              <a:gd name="adj1" fmla="val -15490"/>
              <a:gd name="adj2" fmla="val 5668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One integrated search platform - something like KN where you can search for everything and have information grouped by themes.</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Project Leader</a:t>
            </a:r>
          </a:p>
        </p:txBody>
      </p:sp>
      <p:sp>
        <p:nvSpPr>
          <p:cNvPr id="50" name="Rectangular Callout 53">
            <a:extLst>
              <a:ext uri="{FF2B5EF4-FFF2-40B4-BE49-F238E27FC236}">
                <a16:creationId xmlns:a16="http://schemas.microsoft.com/office/drawing/2014/main" id="{593278AE-DA66-4515-BA6F-EE06FA45A2BC}"/>
              </a:ext>
            </a:extLst>
          </p:cNvPr>
          <p:cNvSpPr/>
          <p:nvPr/>
        </p:nvSpPr>
        <p:spPr>
          <a:xfrm>
            <a:off x="5169776" y="5558828"/>
            <a:ext cx="2494317" cy="1109235"/>
          </a:xfrm>
          <a:prstGeom prst="wedgeRectCallout">
            <a:avLst>
              <a:gd name="adj1" fmla="val -33224"/>
              <a:gd name="adj2" fmla="val -59724"/>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The search is very limited. I would assume that this search would look across all materials at BCG (including people directory, microsites, etc.), but I can't even find colleagues.</a:t>
            </a:r>
            <a:r>
              <a:rPr lang="en-GB" sz="1200" dirty="0">
                <a:cs typeface="Arial" pitchFamily="34" charset="0"/>
              </a:rPr>
              <a:t>” -         </a:t>
            </a:r>
            <a:r>
              <a:rPr lang="en-GB" sz="1000" i="1" dirty="0">
                <a:cs typeface="Arial" pitchFamily="34" charset="0"/>
              </a:rPr>
              <a:t>Consultant</a:t>
            </a:r>
          </a:p>
        </p:txBody>
      </p:sp>
      <p:sp>
        <p:nvSpPr>
          <p:cNvPr id="36" name="Rectangular Callout 40">
            <a:extLst>
              <a:ext uri="{FF2B5EF4-FFF2-40B4-BE49-F238E27FC236}">
                <a16:creationId xmlns:a16="http://schemas.microsoft.com/office/drawing/2014/main" id="{A834C5CB-EE07-4FA0-8487-EDADD2058DAA}"/>
              </a:ext>
            </a:extLst>
          </p:cNvPr>
          <p:cNvSpPr/>
          <p:nvPr/>
        </p:nvSpPr>
        <p:spPr>
          <a:xfrm>
            <a:off x="273050" y="5558828"/>
            <a:ext cx="1952626" cy="1116442"/>
          </a:xfrm>
          <a:prstGeom prst="wedgeRectCallout">
            <a:avLst>
              <a:gd name="adj1" fmla="val -27808"/>
              <a:gd name="adj2" fmla="val -5372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Very</a:t>
            </a:r>
            <a:r>
              <a:rPr lang="en-US" sz="1200" dirty="0">
                <a:cs typeface="Arial" pitchFamily="34" charset="0"/>
              </a:rPr>
              <a:t> poor experience - often have to spend lot of time going through the various false positive returns.</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Senior ECT</a:t>
            </a:r>
          </a:p>
        </p:txBody>
      </p:sp>
      <p:sp>
        <p:nvSpPr>
          <p:cNvPr id="44" name="Rectangular Callout 40">
            <a:extLst>
              <a:ext uri="{FF2B5EF4-FFF2-40B4-BE49-F238E27FC236}">
                <a16:creationId xmlns:a16="http://schemas.microsoft.com/office/drawing/2014/main" id="{6ABC1E97-58CC-42C8-84F8-F17D09F6FA55}"/>
              </a:ext>
            </a:extLst>
          </p:cNvPr>
          <p:cNvSpPr/>
          <p:nvPr/>
        </p:nvSpPr>
        <p:spPr>
          <a:xfrm>
            <a:off x="6095999" y="4057133"/>
            <a:ext cx="1574411" cy="1311574"/>
          </a:xfrm>
          <a:prstGeom prst="wedgeRectCallout">
            <a:avLst>
              <a:gd name="adj1" fmla="val -12639"/>
              <a:gd name="adj2" fmla="val 5475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Difficult to find policies and documents that are related to admin in the company, not casework.</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Project Leader</a:t>
            </a:r>
          </a:p>
        </p:txBody>
      </p:sp>
      <p:sp>
        <p:nvSpPr>
          <p:cNvPr id="27" name="Rectangular Callout 40">
            <a:extLst>
              <a:ext uri="{FF2B5EF4-FFF2-40B4-BE49-F238E27FC236}">
                <a16:creationId xmlns:a16="http://schemas.microsoft.com/office/drawing/2014/main" id="{90C60700-FC04-4442-AF0F-FB131214F6BC}"/>
              </a:ext>
            </a:extLst>
          </p:cNvPr>
          <p:cNvSpPr/>
          <p:nvPr/>
        </p:nvSpPr>
        <p:spPr>
          <a:xfrm>
            <a:off x="3457064" y="5568126"/>
            <a:ext cx="1665221" cy="1116442"/>
          </a:xfrm>
          <a:prstGeom prst="wedgeRectCallout">
            <a:avLst>
              <a:gd name="adj1" fmla="val 27067"/>
              <a:gd name="adj2" fmla="val -6004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US" sz="1200" dirty="0">
                <a:cs typeface="Arial" pitchFamily="34" charset="0"/>
              </a:rPr>
              <a:t>A myriad of microsites/choices makes it often very difficult to find what you are looking for.</a:t>
            </a:r>
            <a:r>
              <a:rPr lang="en-GB" sz="1200" dirty="0">
                <a:cs typeface="Arial" pitchFamily="34" charset="0"/>
              </a:rPr>
              <a:t>”</a:t>
            </a:r>
            <a:endParaRPr lang="en-GB" sz="1200" i="1"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2361518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41"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picture containing text, person&#10;&#10;Description automatically generated">
            <a:extLst>
              <a:ext uri="{FF2B5EF4-FFF2-40B4-BE49-F238E27FC236}">
                <a16:creationId xmlns:a16="http://schemas.microsoft.com/office/drawing/2014/main" id="{1E080456-630D-442B-9520-0F8BDDFF990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1"/>
            <a:ext cx="12192000" cy="3728088"/>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748848"/>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IT Connect</a:t>
            </a:r>
            <a:endParaRPr lang="en-US" sz="1400" dirty="0">
              <a:solidFill>
                <a:srgbClr val="575757"/>
              </a:solidFill>
              <a:latin typeface="+mn-ea"/>
              <a:cs typeface="Arial" pitchFamily="34" charset="0"/>
              <a:sym typeface="Trebuchet MS" panose="020B0603020202020204" pitchFamily="34" charset="0"/>
            </a:endParaRP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Squad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72469" y="4765973"/>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Service &amp; Workflow</a:t>
            </a:r>
            <a:endParaRPr lang="en-US" sz="1400" dirty="0">
              <a:solidFill>
                <a:srgbClr val="575757"/>
              </a:solidFill>
              <a:latin typeface="+mn-ea"/>
              <a:cs typeface="Arial" pitchFamily="34" charset="0"/>
              <a:sym typeface="Trebuchet MS" panose="020B0603020202020204" pitchFamily="34" charset="0"/>
            </a:endParaRPr>
          </a:p>
        </p:txBody>
      </p:sp>
      <p:sp>
        <p:nvSpPr>
          <p:cNvPr id="22" name="Rectangle 21">
            <a:extLst>
              <a:ext uri="{FF2B5EF4-FFF2-40B4-BE49-F238E27FC236}">
                <a16:creationId xmlns:a16="http://schemas.microsoft.com/office/drawing/2014/main" id="{B798BA23-DC8F-4C83-9DB5-7D3A8EA3B2D1}"/>
              </a:ext>
            </a:extLst>
          </p:cNvPr>
          <p:cNvSpPr/>
          <p:nvPr/>
        </p:nvSpPr>
        <p:spPr>
          <a:xfrm>
            <a:off x="0" y="-2877"/>
            <a:ext cx="12192000" cy="3688081"/>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1218795"/>
          </a:xfrm>
          <a:effectLst>
            <a:outerShdw blurRad="165100" algn="ctr" rotWithShape="0">
              <a:prstClr val="black">
                <a:alpha val="40000"/>
              </a:prstClr>
            </a:outerShdw>
          </a:effectLst>
        </p:spPr>
        <p:txBody>
          <a:bodyPr vert="horz"/>
          <a:lstStyle/>
          <a:p>
            <a:r>
              <a:rPr lang="en-US" altLang="ko-KR" sz="4400" dirty="0">
                <a:solidFill>
                  <a:srgbClr val="FFFFFF"/>
                </a:solidFill>
              </a:rPr>
              <a:t>IT Service &amp; Business Management</a:t>
            </a:r>
            <a:endParaRPr lang="en-US" sz="4400" dirty="0">
              <a:solidFill>
                <a:srgbClr val="FFFFFF"/>
              </a:solidFill>
            </a:endParaRPr>
          </a:p>
        </p:txBody>
      </p:sp>
      <p:sp>
        <p:nvSpPr>
          <p:cNvPr id="16" name="TextBox 15">
            <a:extLst>
              <a:ext uri="{FF2B5EF4-FFF2-40B4-BE49-F238E27FC236}">
                <a16:creationId xmlns:a16="http://schemas.microsoft.com/office/drawing/2014/main" id="{D0E878CC-A1BD-4052-B51A-EE4436734437}"/>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500" dirty="0">
                <a:solidFill>
                  <a:schemeClr val="bg1"/>
                </a:solidFill>
                <a:latin typeface="+mj-lt"/>
              </a:rPr>
              <a:t>TRIBE</a:t>
            </a:r>
          </a:p>
        </p:txBody>
      </p:sp>
    </p:spTree>
    <p:extLst>
      <p:ext uri="{BB962C8B-B14F-4D97-AF65-F5344CB8AC3E}">
        <p14:creationId xmlns:p14="http://schemas.microsoft.com/office/powerpoint/2010/main" val="709560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EA5F9B-1E81-4289-B414-38E0CB733EF9}"/>
              </a:ext>
            </a:extLst>
          </p:cNvPr>
          <p:cNvGraphicFramePr>
            <a:graphicFrameLocks noChangeAspect="1"/>
          </p:cNvGraphicFramePr>
          <p:nvPr>
            <p:custDataLst>
              <p:tags r:id="rId2"/>
            </p:custDataLst>
            <p:extLst>
              <p:ext uri="{D42A27DB-BD31-4B8C-83A1-F6EECF244321}">
                <p14:modId xmlns:p14="http://schemas.microsoft.com/office/powerpoint/2010/main" val="152567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165" name="think-cell Slide" r:id="rId6" imgW="473" imgH="473" progId="TCLayout.ActiveDocument.1">
                  <p:embed/>
                </p:oleObj>
              </mc:Choice>
              <mc:Fallback>
                <p:oleObj name="think-cell Slide" r:id="rId6" imgW="473" imgH="473" progId="TCLayout.ActiveDocument.1">
                  <p:embed/>
                  <p:pic>
                    <p:nvPicPr>
                      <p:cNvPr id="11" name="Object 10" hidden="1">
                        <a:extLst>
                          <a:ext uri="{FF2B5EF4-FFF2-40B4-BE49-F238E27FC236}">
                            <a16:creationId xmlns:a16="http://schemas.microsoft.com/office/drawing/2014/main" id="{83EA5F9B-1E81-4289-B414-38E0CB733E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6" name="Picture 5" descr="A picture containing text, person, indoor, computer&#10;&#10;Description automatically generated">
            <a:extLst>
              <a:ext uri="{FF2B5EF4-FFF2-40B4-BE49-F238E27FC236}">
                <a16:creationId xmlns:a16="http://schemas.microsoft.com/office/drawing/2014/main" id="{3233821B-5012-4A13-88C6-AF4FC6CD86F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1"/>
            <a:ext cx="12192000" cy="3672582"/>
          </a:xfrm>
          <a:prstGeom prst="rect">
            <a:avLst/>
          </a:prstGeom>
        </p:spPr>
      </p:pic>
      <p:sp>
        <p:nvSpPr>
          <p:cNvPr id="13" name="Rectangle 12" hidden="1">
            <a:extLst>
              <a:ext uri="{FF2B5EF4-FFF2-40B4-BE49-F238E27FC236}">
                <a16:creationId xmlns:a16="http://schemas.microsoft.com/office/drawing/2014/main" id="{59414C9C-2895-462A-8EE2-633B1263B978}"/>
              </a:ext>
            </a:extLst>
          </p:cNvPr>
          <p:cNvSpPr/>
          <p:nvPr>
            <p:custDataLst>
              <p:tags r:id="rId3"/>
            </p:custDataLst>
          </p:nvPr>
        </p:nvSpPr>
        <p:spPr>
          <a:xfrm>
            <a:off x="0" y="0"/>
            <a:ext cx="158750" cy="15875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pl-PL" altLang="ko-KR" sz="4400" dirty="0" err="1">
              <a:solidFill>
                <a:srgbClr val="575757"/>
              </a:solidFill>
              <a:latin typeface="Trebuchet MS" panose="020B0603020202020204" pitchFamily="34" charset="0"/>
              <a:ea typeface="+mj-ea"/>
              <a:cs typeface="+mj-cs"/>
              <a:sym typeface="Trebuchet MS" panose="020B0603020202020204" pitchFamily="34" charset="0"/>
            </a:endParaRPr>
          </a:p>
        </p:txBody>
      </p:sp>
      <p:sp>
        <p:nvSpPr>
          <p:cNvPr id="15" name="Rectangle 14">
            <a:extLst>
              <a:ext uri="{FF2B5EF4-FFF2-40B4-BE49-F238E27FC236}">
                <a16:creationId xmlns:a16="http://schemas.microsoft.com/office/drawing/2014/main" id="{D49E4E87-9B00-41DC-9F06-3C7636A2DDC2}"/>
              </a:ext>
            </a:extLst>
          </p:cNvPr>
          <p:cNvSpPr/>
          <p:nvPr/>
        </p:nvSpPr>
        <p:spPr>
          <a:xfrm>
            <a:off x="0" y="3688081"/>
            <a:ext cx="12192000" cy="316991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4" name="Rectangle 13">
            <a:extLst>
              <a:ext uri="{FF2B5EF4-FFF2-40B4-BE49-F238E27FC236}">
                <a16:creationId xmlns:a16="http://schemas.microsoft.com/office/drawing/2014/main" id="{1575F246-8BAD-42E4-829D-4B549CAB97D0}"/>
              </a:ext>
            </a:extLst>
          </p:cNvPr>
          <p:cNvSpPr/>
          <p:nvPr/>
        </p:nvSpPr>
        <p:spPr>
          <a:xfrm>
            <a:off x="9133174" y="0"/>
            <a:ext cx="2340429" cy="6858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27" name="Rectangle 26">
            <a:extLst>
              <a:ext uri="{FF2B5EF4-FFF2-40B4-BE49-F238E27FC236}">
                <a16:creationId xmlns:a16="http://schemas.microsoft.com/office/drawing/2014/main" id="{4C26E673-540D-4E17-A0CF-216C1C2CBB7C}"/>
              </a:ext>
            </a:extLst>
          </p:cNvPr>
          <p:cNvSpPr/>
          <p:nvPr/>
        </p:nvSpPr>
        <p:spPr>
          <a:xfrm>
            <a:off x="4911755" y="4331909"/>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2000" dirty="0">
                <a:solidFill>
                  <a:srgbClr val="575757"/>
                </a:solidFill>
                <a:latin typeface="+mn-ea"/>
                <a:cs typeface="Arial" pitchFamily="34" charset="0"/>
                <a:sym typeface="Trebuchet MS" panose="020B0603020202020204" pitchFamily="34" charset="0"/>
              </a:rPr>
              <a:t>Products / Services Covered</a:t>
            </a:r>
            <a:endParaRPr lang="en-US" sz="1600" dirty="0">
              <a:solidFill>
                <a:srgbClr val="575757"/>
              </a:solidFill>
              <a:latin typeface="+mn-ea"/>
              <a:cs typeface="Arial" pitchFamily="34" charset="0"/>
              <a:sym typeface="Trebuchet MS" panose="020B0603020202020204" pitchFamily="34" charset="0"/>
            </a:endParaRPr>
          </a:p>
        </p:txBody>
      </p:sp>
      <p:sp>
        <p:nvSpPr>
          <p:cNvPr id="17" name="Rectangle 16">
            <a:extLst>
              <a:ext uri="{FF2B5EF4-FFF2-40B4-BE49-F238E27FC236}">
                <a16:creationId xmlns:a16="http://schemas.microsoft.com/office/drawing/2014/main" id="{E5556E24-7B75-4B69-B294-03138794223F}"/>
              </a:ext>
            </a:extLst>
          </p:cNvPr>
          <p:cNvSpPr/>
          <p:nvPr/>
        </p:nvSpPr>
        <p:spPr>
          <a:xfrm>
            <a:off x="4911755" y="4922720"/>
            <a:ext cx="3272126" cy="1505239"/>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altLang="ko-KR" sz="1400" dirty="0">
                <a:solidFill>
                  <a:srgbClr val="575757"/>
                </a:solidFill>
                <a:latin typeface="+mn-ea"/>
                <a:cs typeface="Arial" pitchFamily="34" charset="0"/>
                <a:sym typeface="Trebuchet MS" panose="020B0603020202020204" pitchFamily="34" charset="0"/>
              </a:rPr>
              <a:t>Information Security</a:t>
            </a:r>
          </a:p>
          <a:p>
            <a:pPr>
              <a:defRPr/>
            </a:pPr>
            <a:r>
              <a:rPr lang="en-US" sz="1400" dirty="0">
                <a:solidFill>
                  <a:srgbClr val="575757"/>
                </a:solidFill>
                <a:latin typeface="+mn-ea"/>
                <a:cs typeface="Arial" pitchFamily="34" charset="0"/>
                <a:sym typeface="Trebuchet MS" panose="020B0603020202020204" pitchFamily="34" charset="0"/>
              </a:rPr>
              <a:t>IT Service Center</a:t>
            </a:r>
          </a:p>
          <a:p>
            <a:pPr>
              <a:defRPr/>
            </a:pPr>
            <a:r>
              <a:rPr lang="en-US" sz="1400" dirty="0">
                <a:solidFill>
                  <a:srgbClr val="575757"/>
                </a:solidFill>
                <a:latin typeface="+mn-ea"/>
                <a:cs typeface="Arial" pitchFamily="34" charset="0"/>
                <a:sym typeface="Trebuchet MS" panose="020B0603020202020204" pitchFamily="34" charset="0"/>
              </a:rPr>
              <a:t>Local IT</a:t>
            </a:r>
          </a:p>
          <a:p>
            <a:pPr>
              <a:defRPr/>
            </a:pPr>
            <a:r>
              <a:rPr lang="en-US" sz="1400" dirty="0">
                <a:solidFill>
                  <a:srgbClr val="575757"/>
                </a:solidFill>
                <a:latin typeface="+mn-ea"/>
                <a:cs typeface="Arial" pitchFamily="34" charset="0"/>
                <a:sym typeface="Trebuchet MS" panose="020B0603020202020204" pitchFamily="34" charset="0"/>
              </a:rPr>
              <a:t>Okta</a:t>
            </a:r>
          </a:p>
          <a:p>
            <a:pPr>
              <a:defRPr/>
            </a:pPr>
            <a:r>
              <a:rPr lang="en-US" sz="1400" dirty="0">
                <a:solidFill>
                  <a:srgbClr val="575757"/>
                </a:solidFill>
                <a:latin typeface="+mn-ea"/>
                <a:cs typeface="Arial" pitchFamily="34" charset="0"/>
                <a:sym typeface="Trebuchet MS" panose="020B0603020202020204" pitchFamily="34" charset="0"/>
              </a:rPr>
              <a:t>VPN</a:t>
            </a:r>
          </a:p>
          <a:p>
            <a:pPr>
              <a:defRPr/>
            </a:pPr>
            <a:endParaRPr lang="en-US" sz="1400" dirty="0">
              <a:solidFill>
                <a:srgbClr val="575757"/>
              </a:solidFill>
              <a:latin typeface="+mn-ea"/>
              <a:cs typeface="Arial" pitchFamily="34" charset="0"/>
              <a:sym typeface="Trebuchet MS" panose="020B0603020202020204" pitchFamily="34" charset="0"/>
            </a:endParaRPr>
          </a:p>
        </p:txBody>
      </p:sp>
      <p:sp>
        <p:nvSpPr>
          <p:cNvPr id="19" name="Rectangle 18">
            <a:extLst>
              <a:ext uri="{FF2B5EF4-FFF2-40B4-BE49-F238E27FC236}">
                <a16:creationId xmlns:a16="http://schemas.microsoft.com/office/drawing/2014/main" id="{C37EBF25-9AE1-41E9-A514-609D8E1C88AB}"/>
              </a:ext>
            </a:extLst>
          </p:cNvPr>
          <p:cNvSpPr/>
          <p:nvPr/>
        </p:nvSpPr>
        <p:spPr>
          <a:xfrm>
            <a:off x="744898" y="4337586"/>
            <a:ext cx="3272126" cy="5908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2000" dirty="0">
                <a:solidFill>
                  <a:srgbClr val="575757"/>
                </a:solidFill>
                <a:latin typeface="+mn-ea"/>
                <a:cs typeface="Arial" pitchFamily="34" charset="0"/>
                <a:sym typeface="Trebuchet MS" panose="020B0603020202020204" pitchFamily="34" charset="0"/>
              </a:rPr>
              <a:t>Portfolios</a:t>
            </a:r>
            <a:endParaRPr lang="en-US" sz="1600" dirty="0">
              <a:solidFill>
                <a:srgbClr val="575757"/>
              </a:solidFill>
              <a:latin typeface="+mn-ea"/>
              <a:cs typeface="Arial" pitchFamily="34" charset="0"/>
              <a:sym typeface="Trebuchet MS" panose="020B0603020202020204" pitchFamily="34" charset="0"/>
            </a:endParaRPr>
          </a:p>
        </p:txBody>
      </p:sp>
      <p:sp>
        <p:nvSpPr>
          <p:cNvPr id="20" name="Rectangle 19">
            <a:extLst>
              <a:ext uri="{FF2B5EF4-FFF2-40B4-BE49-F238E27FC236}">
                <a16:creationId xmlns:a16="http://schemas.microsoft.com/office/drawing/2014/main" id="{0CC99A02-7754-418A-AFBE-0893E4ACF9E9}"/>
              </a:ext>
            </a:extLst>
          </p:cNvPr>
          <p:cNvSpPr/>
          <p:nvPr/>
        </p:nvSpPr>
        <p:spPr>
          <a:xfrm>
            <a:off x="753092" y="4922720"/>
            <a:ext cx="3272126" cy="495510"/>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25400" dir="5400000" sx="99000" sy="99000" algn="ctr" rotWithShape="0">
                    <a:srgbClr val="177B57"/>
                  </a:outerShdw>
                </a:effectLst>
              </a14:hiddenEffects>
            </a:ext>
          </a:extLst>
        </p:spPr>
        <p:txBody>
          <a:bodyPr vert="horz" wrap="square" lIns="0" tIns="0" rIns="0" bIns="0" anchor="t" anchorCtr="0">
            <a:noAutofit/>
          </a:bodyPr>
          <a:lstStyle/>
          <a:p>
            <a:pPr>
              <a:defRPr/>
            </a:pPr>
            <a:r>
              <a:rPr lang="en-US" sz="1400" dirty="0">
                <a:solidFill>
                  <a:srgbClr val="575757"/>
                </a:solidFill>
                <a:latin typeface="+mn-ea"/>
                <a:cs typeface="Arial" pitchFamily="34" charset="0"/>
                <a:sym typeface="Trebuchet MS" panose="020B0603020202020204" pitchFamily="34" charset="0"/>
              </a:rPr>
              <a:t>Security (SP)</a:t>
            </a:r>
          </a:p>
          <a:p>
            <a:pPr>
              <a:defRPr/>
            </a:pPr>
            <a:r>
              <a:rPr lang="en-US" sz="1400" dirty="0">
                <a:solidFill>
                  <a:srgbClr val="575757"/>
                </a:solidFill>
                <a:latin typeface="+mn-ea"/>
                <a:cs typeface="Arial" pitchFamily="34" charset="0"/>
                <a:sym typeface="Trebuchet MS" panose="020B0603020202020204" pitchFamily="34" charset="0"/>
              </a:rPr>
              <a:t>IT Service (SP)</a:t>
            </a:r>
          </a:p>
          <a:p>
            <a:pPr>
              <a:defRPr/>
            </a:pPr>
            <a:r>
              <a:rPr lang="en-US" sz="1400" dirty="0">
                <a:solidFill>
                  <a:srgbClr val="575757"/>
                </a:solidFill>
                <a:latin typeface="+mn-ea"/>
                <a:cs typeface="Arial" pitchFamily="34" charset="0"/>
                <a:sym typeface="Trebuchet MS" panose="020B0603020202020204" pitchFamily="34" charset="0"/>
              </a:rPr>
              <a:t>Identity &amp; Access Management (TP)</a:t>
            </a:r>
          </a:p>
          <a:p>
            <a:pPr>
              <a:defRPr/>
            </a:pPr>
            <a:r>
              <a:rPr lang="en-US" sz="1400" dirty="0">
                <a:solidFill>
                  <a:srgbClr val="575757"/>
                </a:solidFill>
                <a:latin typeface="+mn-ea"/>
                <a:cs typeface="Arial" pitchFamily="34" charset="0"/>
                <a:sym typeface="Trebuchet MS" panose="020B0603020202020204" pitchFamily="34" charset="0"/>
              </a:rPr>
              <a:t>Infrastructure Communications (TP)</a:t>
            </a:r>
          </a:p>
        </p:txBody>
      </p:sp>
      <p:sp>
        <p:nvSpPr>
          <p:cNvPr id="22" name="Rectangle 21">
            <a:extLst>
              <a:ext uri="{FF2B5EF4-FFF2-40B4-BE49-F238E27FC236}">
                <a16:creationId xmlns:a16="http://schemas.microsoft.com/office/drawing/2014/main" id="{F6C092CA-B578-43B9-8086-E93D2FD271BF}"/>
              </a:ext>
            </a:extLst>
          </p:cNvPr>
          <p:cNvSpPr/>
          <p:nvPr/>
        </p:nvSpPr>
        <p:spPr>
          <a:xfrm>
            <a:off x="0" y="-8532"/>
            <a:ext cx="12192000" cy="3681115"/>
          </a:xfrm>
          <a:prstGeom prst="rect">
            <a:avLst/>
          </a:prstGeom>
          <a:gradFill flip="none" rotWithShape="1">
            <a:gsLst>
              <a:gs pos="0">
                <a:schemeClr val="accent6">
                  <a:alpha val="0"/>
                  <a:lumMod val="100000"/>
                </a:schemeClr>
              </a:gs>
              <a:gs pos="67000">
                <a:schemeClr val="accent6">
                  <a:lumMod val="97000"/>
                  <a:lumOff val="3000"/>
                </a:schemeClr>
              </a:gs>
              <a:gs pos="100000">
                <a:srgbClr val="30C1D7"/>
              </a:gs>
            </a:gsLst>
            <a:lin ang="13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err="1">
              <a:solidFill>
                <a:schemeClr val="bg1"/>
              </a:solidFill>
            </a:endParaRPr>
          </a:p>
        </p:txBody>
      </p:sp>
      <p:sp>
        <p:nvSpPr>
          <p:cNvPr id="12" name="Title 11">
            <a:extLst>
              <a:ext uri="{FF2B5EF4-FFF2-40B4-BE49-F238E27FC236}">
                <a16:creationId xmlns:a16="http://schemas.microsoft.com/office/drawing/2014/main" id="{E02664CE-DD27-40DE-8E07-16AED520C1D9}"/>
              </a:ext>
            </a:extLst>
          </p:cNvPr>
          <p:cNvSpPr>
            <a:spLocks noGrp="1"/>
          </p:cNvSpPr>
          <p:nvPr>
            <p:ph type="title"/>
          </p:nvPr>
        </p:nvSpPr>
        <p:spPr>
          <a:xfrm>
            <a:off x="735994" y="1234641"/>
            <a:ext cx="6077777" cy="1218795"/>
          </a:xfrm>
          <a:effectLst>
            <a:outerShdw blurRad="165100" algn="ctr" rotWithShape="0">
              <a:prstClr val="black">
                <a:alpha val="40000"/>
              </a:prstClr>
            </a:outerShdw>
          </a:effectLst>
        </p:spPr>
        <p:txBody>
          <a:bodyPr vert="horz"/>
          <a:lstStyle/>
          <a:p>
            <a:r>
              <a:rPr lang="en-US" sz="4400" dirty="0">
                <a:solidFill>
                  <a:srgbClr val="FFFFFF"/>
                </a:solidFill>
              </a:rPr>
              <a:t>Service &amp; Technical Portfolios</a:t>
            </a:r>
          </a:p>
        </p:txBody>
      </p:sp>
      <p:sp>
        <p:nvSpPr>
          <p:cNvPr id="16" name="TextBox 15">
            <a:extLst>
              <a:ext uri="{FF2B5EF4-FFF2-40B4-BE49-F238E27FC236}">
                <a16:creationId xmlns:a16="http://schemas.microsoft.com/office/drawing/2014/main" id="{C6F7E4B0-1891-48F5-9A0A-45405CCACA8C}"/>
              </a:ext>
            </a:extLst>
          </p:cNvPr>
          <p:cNvSpPr txBox="1"/>
          <p:nvPr/>
        </p:nvSpPr>
        <p:spPr>
          <a:xfrm>
            <a:off x="9002976" y="6254087"/>
            <a:ext cx="2600823" cy="445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500" dirty="0">
                <a:solidFill>
                  <a:schemeClr val="bg1"/>
                </a:solidFill>
                <a:latin typeface="+mj-lt"/>
              </a:rPr>
              <a:t>Portfolio</a:t>
            </a:r>
          </a:p>
        </p:txBody>
      </p:sp>
    </p:spTree>
    <p:extLst>
      <p:ext uri="{BB962C8B-B14F-4D97-AF65-F5344CB8AC3E}">
        <p14:creationId xmlns:p14="http://schemas.microsoft.com/office/powerpoint/2010/main" val="129423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500252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197"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87196" y="0"/>
            <a:ext cx="2820077"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Satisfaction for overall IT Support remains high, although -2% Q4 year-over-year</a:t>
            </a:r>
          </a:p>
          <a:p>
            <a:endParaRPr lang="en-GB" dirty="0">
              <a:solidFill>
                <a:srgbClr val="FFFFFF"/>
              </a:solidFill>
              <a:cs typeface="Arial" pitchFamily="34" charset="0"/>
            </a:endParaRPr>
          </a:p>
          <a:p>
            <a:r>
              <a:rPr lang="en-GB" dirty="0">
                <a:solidFill>
                  <a:srgbClr val="FFFFFF"/>
                </a:solidFill>
                <a:cs typeface="Arial" pitchFamily="34" charset="0"/>
              </a:rPr>
              <a:t>The annual average for overall IT Support is 86%, +1% better than 2020 </a:t>
            </a:r>
          </a:p>
          <a:p>
            <a:r>
              <a:rPr lang="en-GB" sz="1400" i="1" dirty="0">
                <a:solidFill>
                  <a:srgbClr val="FFFFFF"/>
                </a:solidFill>
                <a:cs typeface="Arial" pitchFamily="34" charset="0"/>
              </a:rPr>
              <a:t>(Slide 91 for more trending)</a:t>
            </a:r>
          </a:p>
        </p:txBody>
      </p:sp>
      <p:sp>
        <p:nvSpPr>
          <p:cNvPr id="3" name="Title 2"/>
          <p:cNvSpPr>
            <a:spLocks noGrp="1"/>
          </p:cNvSpPr>
          <p:nvPr>
            <p:ph type="title"/>
          </p:nvPr>
        </p:nvSpPr>
        <p:spPr/>
        <p:txBody>
          <a:bodyPr vert="horz"/>
          <a:lstStyle/>
          <a:p>
            <a:r>
              <a:rPr lang="en-US" dirty="0">
                <a:solidFill>
                  <a:srgbClr val="295E7E"/>
                </a:solidFill>
              </a:rPr>
              <a:t>IT Services - Overall IT Support</a:t>
            </a:r>
          </a:p>
        </p:txBody>
      </p:sp>
      <p:graphicFrame>
        <p:nvGraphicFramePr>
          <p:cNvPr id="39" name="Chart 38">
            <a:extLst>
              <a:ext uri="{FF2B5EF4-FFF2-40B4-BE49-F238E27FC236}">
                <a16:creationId xmlns:a16="http://schemas.microsoft.com/office/drawing/2014/main" id="{56B675BB-B350-4086-884E-44C6D97D4D54}"/>
              </a:ext>
            </a:extLst>
          </p:cNvPr>
          <p:cNvGraphicFramePr/>
          <p:nvPr>
            <p:custDataLst>
              <p:tags r:id="rId5"/>
            </p:custDataLst>
            <p:extLst>
              <p:ext uri="{D42A27DB-BD31-4B8C-83A1-F6EECF244321}">
                <p14:modId xmlns:p14="http://schemas.microsoft.com/office/powerpoint/2010/main" val="1284783380"/>
              </p:ext>
            </p:extLst>
          </p:nvPr>
        </p:nvGraphicFramePr>
        <p:xfrm>
          <a:off x="2735263" y="2481263"/>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37" name="Text Placeholder 3"/>
          <p:cNvSpPr>
            <a:spLocks noGrp="1"/>
          </p:cNvSpPr>
          <p:nvPr>
            <p:custDataLst>
              <p:tags r:id="rId6"/>
            </p:custDataLst>
          </p:nvPr>
        </p:nvSpPr>
        <p:spPr bwMode="gray">
          <a:xfrm>
            <a:off x="5640388" y="354647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4389605-8330-4B51-8205-4D6E2FB479CC}" type="datetime'''''''''''3''''''''''''''8'''''''''''''''''''">
              <a:rPr lang="en-US" altLang="en-US" smtClean="0">
                <a:solidFill>
                  <a:schemeClr val="bg1"/>
                </a:solidFill>
              </a:rPr>
              <a:pPr/>
              <a:t>38</a:t>
            </a:fld>
            <a:r>
              <a:rPr lang="en-US" altLang="en-US">
                <a:solidFill>
                  <a:schemeClr val="bg1"/>
                </a:solidFill>
                <a:sym typeface="+mn-lt"/>
              </a:rPr>
              <a:t>%</a:t>
            </a:r>
            <a:endParaRPr lang="en-US" dirty="0">
              <a:solidFill>
                <a:schemeClr val="bg1"/>
              </a:solidFill>
              <a:sym typeface="+mn-lt"/>
            </a:endParaRPr>
          </a:p>
        </p:txBody>
      </p:sp>
      <p:sp>
        <p:nvSpPr>
          <p:cNvPr id="59" name="Text Placeholder 3"/>
          <p:cNvSpPr>
            <a:spLocks noGrp="1"/>
          </p:cNvSpPr>
          <p:nvPr>
            <p:custDataLst>
              <p:tags r:id="rId7"/>
            </p:custDataLst>
          </p:nvPr>
        </p:nvSpPr>
        <p:spPr bwMode="gray">
          <a:xfrm>
            <a:off x="4129088" y="2601913"/>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A2FA38C-6FC7-4DF0-9B3A-2B2FEF39A7F4}" type="datetime'''''''''''''''''''''''''''''''3'''''''">
              <a:rPr lang="en-US" altLang="en-US" smtClean="0">
                <a:solidFill>
                  <a:schemeClr val="bg1"/>
                </a:solidFill>
              </a:rPr>
              <a:pPr/>
              <a:t>3</a:t>
            </a:fld>
            <a:r>
              <a:rPr lang="en-US" altLang="en-US">
                <a:solidFill>
                  <a:schemeClr val="bg1"/>
                </a:solidFill>
                <a:sym typeface="+mn-lt"/>
              </a:rPr>
              <a:t>%</a:t>
            </a:r>
            <a:endParaRPr lang="en-US" dirty="0">
              <a:solidFill>
                <a:schemeClr val="bg1"/>
              </a:solidFill>
              <a:sym typeface="+mn-lt"/>
            </a:endParaRPr>
          </a:p>
        </p:txBody>
      </p:sp>
      <p:sp>
        <p:nvSpPr>
          <p:cNvPr id="48" name="Text Placeholder 3"/>
          <p:cNvSpPr>
            <a:spLocks noGrp="1"/>
          </p:cNvSpPr>
          <p:nvPr>
            <p:custDataLst>
              <p:tags r:id="rId8"/>
            </p:custDataLst>
          </p:nvPr>
        </p:nvSpPr>
        <p:spPr bwMode="gray">
          <a:xfrm>
            <a:off x="3357563" y="518636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BA6A960-19AD-4FF1-ABD1-97BA6E2DB6BF}" type="datetime'''4''6'''">
              <a:rPr lang="en-US" altLang="en-US" smtClean="0">
                <a:solidFill>
                  <a:schemeClr val="bg1"/>
                </a:solidFill>
              </a:rPr>
              <a:pPr/>
              <a:t>46</a:t>
            </a:fld>
            <a:r>
              <a:rPr lang="en-US" altLang="en-US">
                <a:solidFill>
                  <a:schemeClr val="bg1"/>
                </a:solidFill>
                <a:sym typeface="+mn-lt"/>
              </a:rPr>
              <a:t>%</a:t>
            </a:r>
            <a:endParaRPr lang="en-US" dirty="0">
              <a:solidFill>
                <a:schemeClr val="bg1"/>
              </a:solidFill>
              <a:sym typeface="+mn-lt"/>
            </a:endParaRPr>
          </a:p>
        </p:txBody>
      </p:sp>
      <p:sp>
        <p:nvSpPr>
          <p:cNvPr id="54" name="Text Placeholder 3"/>
          <p:cNvSpPr>
            <a:spLocks noGrp="1"/>
          </p:cNvSpPr>
          <p:nvPr>
            <p:custDataLst>
              <p:tags r:id="rId9"/>
            </p:custDataLst>
          </p:nvPr>
        </p:nvSpPr>
        <p:spPr bwMode="gray">
          <a:xfrm>
            <a:off x="3470275" y="2884488"/>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4271D1E-70EB-473D-A977-87CE73E9B8C8}" type="datetime'''''''''''''1''''''''''''''''2'''''''''''''''''''''''">
              <a:rPr lang="en-US" altLang="en-US" smtClean="0"/>
              <a:pPr/>
              <a:t>12</a:t>
            </a:fld>
            <a:r>
              <a:rPr lang="en-US" altLang="en-US">
                <a:sym typeface="+mn-lt"/>
              </a:rPr>
              <a:t>%</a:t>
            </a:r>
            <a:endParaRPr lang="en-US" dirty="0">
              <a:sym typeface="+mn-lt"/>
            </a:endParaRPr>
          </a:p>
        </p:txBody>
      </p:sp>
      <p:sp>
        <p:nvSpPr>
          <p:cNvPr id="62" name="Text Placeholder 3"/>
          <p:cNvSpPr>
            <a:spLocks noGrp="1"/>
          </p:cNvSpPr>
          <p:nvPr>
            <p:custDataLst>
              <p:tags r:id="rId10"/>
            </p:custDataLst>
          </p:nvPr>
        </p:nvSpPr>
        <p:spPr bwMode="gray">
          <a:xfrm>
            <a:off x="4298950" y="280352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44F7881-0FC9-4863-B88B-B4E92FA8972A}"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96" name="Rectangle 95"/>
          <p:cNvSpPr/>
          <p:nvPr/>
        </p:nvSpPr>
        <p:spPr>
          <a:xfrm>
            <a:off x="3035123" y="1422836"/>
            <a:ext cx="5314915"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4% </a:t>
            </a:r>
            <a:r>
              <a:rPr lang="en-US" dirty="0">
                <a:solidFill>
                  <a:srgbClr val="575757"/>
                </a:solidFill>
              </a:rPr>
              <a:t>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rPr>
              <a:t>2% vs Q3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latin typeface="+mj-lt"/>
              </a:rPr>
              <a:t>2</a:t>
            </a:r>
            <a:r>
              <a:rPr lang="en-US" sz="1400" dirty="0">
                <a:solidFill>
                  <a:srgbClr val="575757"/>
                </a:solidFill>
              </a:rPr>
              <a:t>% vs Q4 '20 | </a:t>
            </a:r>
            <a:r>
              <a:rPr lang="en-US" sz="1400" dirty="0">
                <a:solidFill>
                  <a:srgbClr val="29BA74"/>
                </a:solidFill>
                <a:latin typeface="Wingdings 3" panose="05040102010807070707" pitchFamily="18" charset="2"/>
              </a:rPr>
              <a:t>p</a:t>
            </a:r>
            <a:r>
              <a:rPr lang="en-US" sz="1400" dirty="0">
                <a:solidFill>
                  <a:srgbClr val="575757"/>
                </a:solidFill>
              </a:rPr>
              <a:t>4% vs BIC Target</a:t>
            </a:r>
          </a:p>
        </p:txBody>
      </p:sp>
      <p:sp>
        <p:nvSpPr>
          <p:cNvPr id="29" name="Rectangle 28"/>
          <p:cNvSpPr/>
          <p:nvPr/>
        </p:nvSpPr>
        <p:spPr>
          <a:xfrm>
            <a:off x="552256" y="1422835"/>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sp>
        <p:nvSpPr>
          <p:cNvPr id="6" name="Rectangle 5"/>
          <p:cNvSpPr/>
          <p:nvPr>
            <p:custDataLst>
              <p:tags r:id="rId11"/>
            </p:custDataLst>
          </p:nvPr>
        </p:nvSpPr>
        <p:spPr bwMode="gray">
          <a:xfrm>
            <a:off x="1784350" y="60753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p:cNvSpPr/>
          <p:nvPr>
            <p:custDataLst>
              <p:tags r:id="rId12"/>
            </p:custDataLst>
          </p:nvPr>
        </p:nvSpPr>
        <p:spPr bwMode="gray">
          <a:xfrm>
            <a:off x="4024313" y="60753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Rectangle 6"/>
          <p:cNvSpPr/>
          <p:nvPr>
            <p:custDataLst>
              <p:tags r:id="rId13"/>
            </p:custDataLst>
          </p:nvPr>
        </p:nvSpPr>
        <p:spPr bwMode="gray">
          <a:xfrm>
            <a:off x="3074988" y="6075363"/>
            <a:ext cx="214313" cy="160338"/>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p:cNvSpPr/>
          <p:nvPr>
            <p:custDataLst>
              <p:tags r:id="rId14"/>
            </p:custDataLst>
          </p:nvPr>
        </p:nvSpPr>
        <p:spPr bwMode="gray">
          <a:xfrm>
            <a:off x="4895850" y="60753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Rectangle 9"/>
          <p:cNvSpPr/>
          <p:nvPr>
            <p:custDataLst>
              <p:tags r:id="rId15"/>
            </p:custDataLst>
          </p:nvPr>
        </p:nvSpPr>
        <p:spPr bwMode="gray">
          <a:xfrm>
            <a:off x="6032500" y="60753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6" name="Text Placeholder 3"/>
          <p:cNvSpPr>
            <a:spLocks noGrp="1"/>
          </p:cNvSpPr>
          <p:nvPr>
            <p:custDataLst>
              <p:tags r:id="rId16"/>
            </p:custDataLst>
          </p:nvPr>
        </p:nvSpPr>
        <p:spPr bwMode="gray">
          <a:xfrm>
            <a:off x="2049463" y="6056314"/>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19A7388-860D-4897-978C-7E7FBB9E75AC}" type="datetime'V''e''''''r''''''''y'''''''''' S''''''a''''''t''isfie''d'">
              <a:rPr lang="en-US" altLang="en-US" smtClean="0">
                <a:sym typeface="+mn-lt"/>
              </a:rPr>
              <a:pPr>
                <a:spcBef>
                  <a:spcPct val="0"/>
                </a:spcBef>
                <a:spcAft>
                  <a:spcPct val="0"/>
                </a:spcAft>
              </a:pPr>
              <a:t>Very Satisfied</a:t>
            </a:fld>
            <a:endParaRPr lang="en-US" dirty="0">
              <a:sym typeface="+mn-lt"/>
            </a:endParaRPr>
          </a:p>
        </p:txBody>
      </p:sp>
      <p:sp>
        <p:nvSpPr>
          <p:cNvPr id="88" name="Text Placeholder 3"/>
          <p:cNvSpPr>
            <a:spLocks noGrp="1"/>
          </p:cNvSpPr>
          <p:nvPr>
            <p:custDataLst>
              <p:tags r:id="rId17"/>
            </p:custDataLst>
          </p:nvPr>
        </p:nvSpPr>
        <p:spPr bwMode="gray">
          <a:xfrm>
            <a:off x="6297613" y="60563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E105C6E-EB66-4196-9B24-96F424369551}" type="datetime'''''V''''er''y ''''D''''''''i''''s''sa''''''''''''tis''fied'''">
              <a:rPr lang="en-US" altLang="en-US" smtClean="0">
                <a:sym typeface="+mn-lt"/>
              </a:rPr>
              <a:pPr>
                <a:spcBef>
                  <a:spcPct val="0"/>
                </a:spcBef>
                <a:spcAft>
                  <a:spcPct val="0"/>
                </a:spcAft>
              </a:pPr>
              <a:t>Very Dissatisfied</a:t>
            </a:fld>
            <a:endParaRPr lang="en-US" dirty="0">
              <a:sym typeface="+mn-lt"/>
            </a:endParaRPr>
          </a:p>
        </p:txBody>
      </p:sp>
      <p:sp>
        <p:nvSpPr>
          <p:cNvPr id="85" name="Text Placeholder 3"/>
          <p:cNvSpPr>
            <a:spLocks noGrp="1"/>
          </p:cNvSpPr>
          <p:nvPr>
            <p:custDataLst>
              <p:tags r:id="rId18"/>
            </p:custDataLst>
          </p:nvPr>
        </p:nvSpPr>
        <p:spPr bwMode="gray">
          <a:xfrm>
            <a:off x="3340100" y="60563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CD34079-9469-43D6-9D1B-D51BCAD2E14A}" type="datetime'''''''''S''''''''''at''''''i''sf''i''''''e''''''d'''''''">
              <a:rPr lang="en-US" altLang="en-US" smtClean="0">
                <a:sym typeface="+mn-lt"/>
              </a:rPr>
              <a:pPr>
                <a:spcBef>
                  <a:spcPct val="0"/>
                </a:spcBef>
                <a:spcAft>
                  <a:spcPct val="0"/>
                </a:spcAft>
              </a:pPr>
              <a:t>Satisfied</a:t>
            </a:fld>
            <a:endParaRPr lang="en-US" dirty="0">
              <a:sym typeface="+mn-lt"/>
            </a:endParaRPr>
          </a:p>
        </p:txBody>
      </p:sp>
      <p:sp>
        <p:nvSpPr>
          <p:cNvPr id="87" name="Text Placeholder 3"/>
          <p:cNvSpPr>
            <a:spLocks noGrp="1"/>
          </p:cNvSpPr>
          <p:nvPr>
            <p:custDataLst>
              <p:tags r:id="rId19"/>
            </p:custDataLst>
          </p:nvPr>
        </p:nvSpPr>
        <p:spPr bwMode="gray">
          <a:xfrm>
            <a:off x="4289425" y="6056314"/>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5D43EF1-0187-4661-A669-93E3D3F2392A}" type="datetime'''''''N''e''u''''''''''''''''''''''''''''t''''''r''''a''''l'">
              <a:rPr lang="en-US" altLang="en-US" smtClean="0">
                <a:sym typeface="+mn-lt"/>
              </a:rPr>
              <a:pPr>
                <a:spcBef>
                  <a:spcPct val="0"/>
                </a:spcBef>
                <a:spcAft>
                  <a:spcPct val="0"/>
                </a:spcAft>
              </a:pPr>
              <a:t>Neutral</a:t>
            </a:fld>
            <a:endParaRPr lang="en-US" dirty="0">
              <a:sym typeface="+mn-lt"/>
            </a:endParaRPr>
          </a:p>
        </p:txBody>
      </p:sp>
      <p:sp>
        <p:nvSpPr>
          <p:cNvPr id="89" name="Text Placeholder 3"/>
          <p:cNvSpPr>
            <a:spLocks noGrp="1"/>
          </p:cNvSpPr>
          <p:nvPr>
            <p:custDataLst>
              <p:tags r:id="rId20"/>
            </p:custDataLst>
          </p:nvPr>
        </p:nvSpPr>
        <p:spPr bwMode="gray">
          <a:xfrm>
            <a:off x="5160963" y="60563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198DE97-6B57-4347-A7EC-CDF755FABDE3}" type="datetime'''''''''''''''''D''''i''ss''''''a''''ti''sf''''''''''i''''ed'">
              <a:rPr lang="en-US" altLang="en-US" smtClean="0">
                <a:sym typeface="+mn-lt"/>
              </a:rPr>
              <a:pPr>
                <a:spcBef>
                  <a:spcPct val="0"/>
                </a:spcBef>
                <a:spcAft>
                  <a:spcPct val="0"/>
                </a:spcAft>
              </a:pPr>
              <a:t>Dissatisfied</a:t>
            </a:fld>
            <a:endParaRPr lang="en-US" dirty="0">
              <a:sym typeface="+mn-lt"/>
            </a:endParaRPr>
          </a:p>
        </p:txBody>
      </p:sp>
      <p:cxnSp>
        <p:nvCxnSpPr>
          <p:cNvPr id="106" name="Straight Connector 10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4" name="Rectangle 33"/>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61F7C57B-759F-4B46-B734-2DF7D87FBB04}"/>
              </a:ext>
            </a:extLst>
          </p:cNvPr>
          <p:cNvSpPr/>
          <p:nvPr/>
        </p:nvSpPr>
        <p:spPr>
          <a:xfrm>
            <a:off x="1443131" y="1392248"/>
            <a:ext cx="1301658" cy="60649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31" name="Group 30">
            <a:extLst>
              <a:ext uri="{FF2B5EF4-FFF2-40B4-BE49-F238E27FC236}">
                <a16:creationId xmlns:a16="http://schemas.microsoft.com/office/drawing/2014/main" id="{736DCCA5-C6A7-43BF-8A90-0B08CCFC732A}"/>
              </a:ext>
            </a:extLst>
          </p:cNvPr>
          <p:cNvGrpSpPr>
            <a:grpSpLocks noChangeAspect="1"/>
          </p:cNvGrpSpPr>
          <p:nvPr/>
        </p:nvGrpSpPr>
        <p:grpSpPr>
          <a:xfrm>
            <a:off x="514429" y="864696"/>
            <a:ext cx="457200" cy="457200"/>
            <a:chOff x="5867400" y="3200400"/>
            <a:chExt cx="457200" cy="457200"/>
          </a:xfrm>
        </p:grpSpPr>
        <p:sp>
          <p:nvSpPr>
            <p:cNvPr id="32" name="AutoShape 43">
              <a:extLst>
                <a:ext uri="{FF2B5EF4-FFF2-40B4-BE49-F238E27FC236}">
                  <a16:creationId xmlns:a16="http://schemas.microsoft.com/office/drawing/2014/main" id="{A18B0DB3-16C9-439F-9BBA-7E40AC98EC71}"/>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7">
              <a:extLst>
                <a:ext uri="{FF2B5EF4-FFF2-40B4-BE49-F238E27FC236}">
                  <a16:creationId xmlns:a16="http://schemas.microsoft.com/office/drawing/2014/main" id="{DF994E66-4529-4435-A63B-BFC8C331E19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4100749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11303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4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SECTION 2 – </a:t>
            </a:r>
            <a:br>
              <a:rPr lang="en-US" dirty="0"/>
            </a:br>
            <a:r>
              <a:rPr lang="en-US" dirty="0"/>
              <a:t>Response Rates</a:t>
            </a:r>
          </a:p>
        </p:txBody>
      </p:sp>
      <p:cxnSp>
        <p:nvCxnSpPr>
          <p:cNvPr id="10" name="Straight Connector 9"/>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a:grpSpLocks noChangeAspect="1"/>
          </p:cNvGrpSpPr>
          <p:nvPr/>
        </p:nvGrpSpPr>
        <p:grpSpPr>
          <a:xfrm>
            <a:off x="8097558" y="1862604"/>
            <a:ext cx="1644650" cy="1644650"/>
            <a:chOff x="5273675" y="2606675"/>
            <a:chExt cx="1644650" cy="1644650"/>
          </a:xfrm>
        </p:grpSpPr>
        <p:sp>
          <p:nvSpPr>
            <p:cNvPr id="7" name="AutoShape 29"/>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45124" y="2963863"/>
              <a:ext cx="1363856" cy="1235075"/>
            </a:xfrm>
            <a:custGeom>
              <a:avLst/>
              <a:gdLst>
                <a:gd name="connsiteX0" fmla="*/ 1121392 w 1363856"/>
                <a:gd name="connsiteY0" fmla="*/ 920750 h 1235075"/>
                <a:gd name="connsiteX1" fmla="*/ 1110680 w 1363856"/>
                <a:gd name="connsiteY1" fmla="*/ 930055 h 1235075"/>
                <a:gd name="connsiteX2" fmla="*/ 1055688 w 1363856"/>
                <a:gd name="connsiteY2" fmla="*/ 983023 h 1235075"/>
                <a:gd name="connsiteX3" fmla="*/ 1266369 w 1363856"/>
                <a:gd name="connsiteY3" fmla="*/ 1202766 h 1235075"/>
                <a:gd name="connsiteX4" fmla="*/ 1279224 w 1363856"/>
                <a:gd name="connsiteY4" fmla="*/ 1202766 h 1235075"/>
                <a:gd name="connsiteX5" fmla="*/ 1309934 w 1363856"/>
                <a:gd name="connsiteY5" fmla="*/ 1182724 h 1235075"/>
                <a:gd name="connsiteX6" fmla="*/ 1330645 w 1363856"/>
                <a:gd name="connsiteY6" fmla="*/ 1153377 h 1235075"/>
                <a:gd name="connsiteX7" fmla="*/ 1332073 w 1363856"/>
                <a:gd name="connsiteY7" fmla="*/ 1140493 h 1235075"/>
                <a:gd name="connsiteX8" fmla="*/ 1130676 w 1363856"/>
                <a:gd name="connsiteY8" fmla="*/ 930055 h 1235075"/>
                <a:gd name="connsiteX9" fmla="*/ 1121392 w 1363856"/>
                <a:gd name="connsiteY9" fmla="*/ 920750 h 1235075"/>
                <a:gd name="connsiteX10" fmla="*/ 925012 w 1363856"/>
                <a:gd name="connsiteY10" fmla="*/ 904875 h 1235075"/>
                <a:gd name="connsiteX11" fmla="*/ 949325 w 1363856"/>
                <a:gd name="connsiteY11" fmla="*/ 928688 h 1235075"/>
                <a:gd name="connsiteX12" fmla="*/ 869950 w 1363856"/>
                <a:gd name="connsiteY12" fmla="*/ 928688 h 1235075"/>
                <a:gd name="connsiteX13" fmla="*/ 925012 w 1363856"/>
                <a:gd name="connsiteY13" fmla="*/ 904875 h 1235075"/>
                <a:gd name="connsiteX14" fmla="*/ 1123687 w 1363856"/>
                <a:gd name="connsiteY14" fmla="*/ 881062 h 1235075"/>
                <a:gd name="connsiteX15" fmla="*/ 1134352 w 1363856"/>
                <a:gd name="connsiteY15" fmla="*/ 886068 h 1235075"/>
                <a:gd name="connsiteX16" fmla="*/ 1145016 w 1363856"/>
                <a:gd name="connsiteY16" fmla="*/ 897511 h 1235075"/>
                <a:gd name="connsiteX17" fmla="*/ 1174877 w 1363856"/>
                <a:gd name="connsiteY17" fmla="*/ 928979 h 1235075"/>
                <a:gd name="connsiteX18" fmla="*/ 1354041 w 1363856"/>
                <a:gd name="connsiteY18" fmla="*/ 1118501 h 1235075"/>
                <a:gd name="connsiteX19" fmla="*/ 1360440 w 1363856"/>
                <a:gd name="connsiteY19" fmla="*/ 1162842 h 1235075"/>
                <a:gd name="connsiteX20" fmla="*/ 1332001 w 1363856"/>
                <a:gd name="connsiteY20" fmla="*/ 1205753 h 1235075"/>
                <a:gd name="connsiteX21" fmla="*/ 1287921 w 1363856"/>
                <a:gd name="connsiteY21" fmla="*/ 1232930 h 1235075"/>
                <a:gd name="connsiteX22" fmla="*/ 1270858 w 1363856"/>
                <a:gd name="connsiteY22" fmla="*/ 1235075 h 1235075"/>
                <a:gd name="connsiteX23" fmla="*/ 1243841 w 1363856"/>
                <a:gd name="connsiteY23" fmla="*/ 1224347 h 1235075"/>
                <a:gd name="connsiteX24" fmla="*/ 1024863 w 1363856"/>
                <a:gd name="connsiteY24" fmla="*/ 993345 h 1235075"/>
                <a:gd name="connsiteX25" fmla="*/ 1025574 w 1363856"/>
                <a:gd name="connsiteY25" fmla="*/ 971175 h 1235075"/>
                <a:gd name="connsiteX26" fmla="*/ 1067521 w 1363856"/>
                <a:gd name="connsiteY26" fmla="*/ 928979 h 1235075"/>
                <a:gd name="connsiteX27" fmla="*/ 1075342 w 1363856"/>
                <a:gd name="connsiteY27" fmla="*/ 921827 h 1235075"/>
                <a:gd name="connsiteX28" fmla="*/ 1099515 w 1363856"/>
                <a:gd name="connsiteY28" fmla="*/ 897511 h 1235075"/>
                <a:gd name="connsiteX29" fmla="*/ 1103069 w 1363856"/>
                <a:gd name="connsiteY29" fmla="*/ 894651 h 1235075"/>
                <a:gd name="connsiteX30" fmla="*/ 1112312 w 1363856"/>
                <a:gd name="connsiteY30" fmla="*/ 886068 h 1235075"/>
                <a:gd name="connsiteX31" fmla="*/ 1123687 w 1363856"/>
                <a:gd name="connsiteY31" fmla="*/ 881062 h 1235075"/>
                <a:gd name="connsiteX32" fmla="*/ 80829 w 1363856"/>
                <a:gd name="connsiteY32" fmla="*/ 444499 h 1235075"/>
                <a:gd name="connsiteX33" fmla="*/ 317638 w 1363856"/>
                <a:gd name="connsiteY33" fmla="*/ 444499 h 1235075"/>
                <a:gd name="connsiteX34" fmla="*/ 333377 w 1363856"/>
                <a:gd name="connsiteY34" fmla="*/ 460911 h 1235075"/>
                <a:gd name="connsiteX35" fmla="*/ 333377 w 1363856"/>
                <a:gd name="connsiteY35" fmla="*/ 852664 h 1235075"/>
                <a:gd name="connsiteX36" fmla="*/ 317638 w 1363856"/>
                <a:gd name="connsiteY36" fmla="*/ 868362 h 1235075"/>
                <a:gd name="connsiteX37" fmla="*/ 80829 w 1363856"/>
                <a:gd name="connsiteY37" fmla="*/ 868362 h 1235075"/>
                <a:gd name="connsiteX38" fmla="*/ 65089 w 1363856"/>
                <a:gd name="connsiteY38" fmla="*/ 852664 h 1235075"/>
                <a:gd name="connsiteX39" fmla="*/ 65089 w 1363856"/>
                <a:gd name="connsiteY39" fmla="*/ 460911 h 1235075"/>
                <a:gd name="connsiteX40" fmla="*/ 80829 w 1363856"/>
                <a:gd name="connsiteY40" fmla="*/ 444499 h 1235075"/>
                <a:gd name="connsiteX41" fmla="*/ 608014 w 1363856"/>
                <a:gd name="connsiteY41" fmla="*/ 430211 h 1235075"/>
                <a:gd name="connsiteX42" fmla="*/ 608014 w 1363856"/>
                <a:gd name="connsiteY42" fmla="*/ 489543 h 1235075"/>
                <a:gd name="connsiteX43" fmla="*/ 608014 w 1363856"/>
                <a:gd name="connsiteY43" fmla="*/ 796924 h 1235075"/>
                <a:gd name="connsiteX44" fmla="*/ 587313 w 1363856"/>
                <a:gd name="connsiteY44" fmla="*/ 777623 h 1235075"/>
                <a:gd name="connsiteX45" fmla="*/ 556617 w 1363856"/>
                <a:gd name="connsiteY45" fmla="*/ 489543 h 1235075"/>
                <a:gd name="connsiteX46" fmla="*/ 593737 w 1363856"/>
                <a:gd name="connsiteY46" fmla="*/ 443078 h 1235075"/>
                <a:gd name="connsiteX47" fmla="*/ 608014 w 1363856"/>
                <a:gd name="connsiteY47" fmla="*/ 430211 h 1235075"/>
                <a:gd name="connsiteX48" fmla="*/ 756086 w 1363856"/>
                <a:gd name="connsiteY48" fmla="*/ 377824 h 1235075"/>
                <a:gd name="connsiteX49" fmla="*/ 924764 w 1363856"/>
                <a:gd name="connsiteY49" fmla="*/ 449346 h 1235075"/>
                <a:gd name="connsiteX50" fmla="*/ 935485 w 1363856"/>
                <a:gd name="connsiteY50" fmla="*/ 462220 h 1235075"/>
                <a:gd name="connsiteX51" fmla="*/ 969078 w 1363856"/>
                <a:gd name="connsiteY51" fmla="*/ 515147 h 1235075"/>
                <a:gd name="connsiteX52" fmla="*/ 969078 w 1363856"/>
                <a:gd name="connsiteY52" fmla="*/ 711117 h 1235075"/>
                <a:gd name="connsiteX53" fmla="*/ 938344 w 1363856"/>
                <a:gd name="connsiteY53" fmla="*/ 761182 h 1235075"/>
                <a:gd name="connsiteX54" fmla="*/ 935485 w 1363856"/>
                <a:gd name="connsiteY54" fmla="*/ 764043 h 1235075"/>
                <a:gd name="connsiteX55" fmla="*/ 918331 w 1363856"/>
                <a:gd name="connsiteY55" fmla="*/ 782639 h 1235075"/>
                <a:gd name="connsiteX56" fmla="*/ 899748 w 1363856"/>
                <a:gd name="connsiteY56" fmla="*/ 799089 h 1235075"/>
                <a:gd name="connsiteX57" fmla="*/ 898319 w 1363856"/>
                <a:gd name="connsiteY57" fmla="*/ 799804 h 1235075"/>
                <a:gd name="connsiteX58" fmla="*/ 756086 w 1363856"/>
                <a:gd name="connsiteY58" fmla="*/ 847724 h 1235075"/>
                <a:gd name="connsiteX59" fmla="*/ 681039 w 1363856"/>
                <a:gd name="connsiteY59" fmla="*/ 836281 h 1235075"/>
                <a:gd name="connsiteX60" fmla="*/ 681039 w 1363856"/>
                <a:gd name="connsiteY60" fmla="*/ 389983 h 1235075"/>
                <a:gd name="connsiteX61" fmla="*/ 756086 w 1363856"/>
                <a:gd name="connsiteY61" fmla="*/ 377824 h 1235075"/>
                <a:gd name="connsiteX62" fmla="*/ 735688 w 1363856"/>
                <a:gd name="connsiteY62" fmla="*/ 345914 h 1235075"/>
                <a:gd name="connsiteX63" fmla="*/ 570986 w 1363856"/>
                <a:gd name="connsiteY63" fmla="*/ 418685 h 1235075"/>
                <a:gd name="connsiteX64" fmla="*/ 519650 w 1363856"/>
                <a:gd name="connsiteY64" fmla="*/ 488601 h 1235075"/>
                <a:gd name="connsiteX65" fmla="*/ 563856 w 1363856"/>
                <a:gd name="connsiteY65" fmla="*/ 797519 h 1235075"/>
                <a:gd name="connsiteX66" fmla="*/ 635155 w 1363856"/>
                <a:gd name="connsiteY66" fmla="*/ 849600 h 1235075"/>
                <a:gd name="connsiteX67" fmla="*/ 836933 w 1363856"/>
                <a:gd name="connsiteY67" fmla="*/ 866722 h 1235075"/>
                <a:gd name="connsiteX68" fmla="*/ 920354 w 1363856"/>
                <a:gd name="connsiteY68" fmla="*/ 823916 h 1235075"/>
                <a:gd name="connsiteX69" fmla="*/ 937466 w 1363856"/>
                <a:gd name="connsiteY69" fmla="*/ 809648 h 1235075"/>
                <a:gd name="connsiteX70" fmla="*/ 943170 w 1363856"/>
                <a:gd name="connsiteY70" fmla="*/ 804654 h 1235075"/>
                <a:gd name="connsiteX71" fmla="*/ 965986 w 1363856"/>
                <a:gd name="connsiteY71" fmla="*/ 780397 h 1235075"/>
                <a:gd name="connsiteX72" fmla="*/ 970977 w 1363856"/>
                <a:gd name="connsiteY72" fmla="*/ 773262 h 1235075"/>
                <a:gd name="connsiteX73" fmla="*/ 970977 w 1363856"/>
                <a:gd name="connsiteY73" fmla="*/ 450789 h 1235075"/>
                <a:gd name="connsiteX74" fmla="*/ 950300 w 1363856"/>
                <a:gd name="connsiteY74" fmla="*/ 425819 h 1235075"/>
                <a:gd name="connsiteX75" fmla="*/ 937466 w 1363856"/>
                <a:gd name="connsiteY75" fmla="*/ 414404 h 1235075"/>
                <a:gd name="connsiteX76" fmla="*/ 871157 w 1363856"/>
                <a:gd name="connsiteY76" fmla="*/ 370884 h 1235075"/>
                <a:gd name="connsiteX77" fmla="*/ 794867 w 1363856"/>
                <a:gd name="connsiteY77" fmla="*/ 348054 h 1235075"/>
                <a:gd name="connsiteX78" fmla="*/ 735688 w 1363856"/>
                <a:gd name="connsiteY78" fmla="*/ 345914 h 1235075"/>
                <a:gd name="connsiteX79" fmla="*/ 382366 w 1363856"/>
                <a:gd name="connsiteY79" fmla="*/ 339724 h 1235075"/>
                <a:gd name="connsiteX80" fmla="*/ 558802 w 1363856"/>
                <a:gd name="connsiteY80" fmla="*/ 339724 h 1235075"/>
                <a:gd name="connsiteX81" fmla="*/ 523942 w 1363856"/>
                <a:gd name="connsiteY81" fmla="*/ 369013 h 1235075"/>
                <a:gd name="connsiteX82" fmla="*/ 523230 w 1363856"/>
                <a:gd name="connsiteY82" fmla="*/ 369013 h 1235075"/>
                <a:gd name="connsiteX83" fmla="*/ 449241 w 1363856"/>
                <a:gd name="connsiteY83" fmla="*/ 476884 h 1235075"/>
                <a:gd name="connsiteX84" fmla="*/ 425764 w 1363856"/>
                <a:gd name="connsiteY84" fmla="*/ 669766 h 1235075"/>
                <a:gd name="connsiteX85" fmla="*/ 513982 w 1363856"/>
                <a:gd name="connsiteY85" fmla="*/ 846931 h 1235075"/>
                <a:gd name="connsiteX86" fmla="*/ 513982 w 1363856"/>
                <a:gd name="connsiteY86" fmla="*/ 847645 h 1235075"/>
                <a:gd name="connsiteX87" fmla="*/ 514693 w 1363856"/>
                <a:gd name="connsiteY87" fmla="*/ 847645 h 1235075"/>
                <a:gd name="connsiteX88" fmla="*/ 536748 w 1363856"/>
                <a:gd name="connsiteY88" fmla="*/ 868362 h 1235075"/>
                <a:gd name="connsiteX89" fmla="*/ 382366 w 1363856"/>
                <a:gd name="connsiteY89" fmla="*/ 868362 h 1235075"/>
                <a:gd name="connsiteX90" fmla="*/ 366714 w 1363856"/>
                <a:gd name="connsiteY90" fmla="*/ 852646 h 1235075"/>
                <a:gd name="connsiteX91" fmla="*/ 366714 w 1363856"/>
                <a:gd name="connsiteY91" fmla="*/ 356155 h 1235075"/>
                <a:gd name="connsiteX92" fmla="*/ 382366 w 1363856"/>
                <a:gd name="connsiteY92" fmla="*/ 339724 h 1235075"/>
                <a:gd name="connsiteX93" fmla="*/ 759346 w 1363856"/>
                <a:gd name="connsiteY93" fmla="*/ 307100 h 1235075"/>
                <a:gd name="connsiteX94" fmla="*/ 970930 w 1363856"/>
                <a:gd name="connsiteY94" fmla="*/ 394069 h 1235075"/>
                <a:gd name="connsiteX95" fmla="*/ 978054 w 1363856"/>
                <a:gd name="connsiteY95" fmla="*/ 400485 h 1235075"/>
                <a:gd name="connsiteX96" fmla="*/ 1005838 w 1363856"/>
                <a:gd name="connsiteY96" fmla="*/ 790422 h 1235075"/>
                <a:gd name="connsiteX97" fmla="*/ 1078503 w 1363856"/>
                <a:gd name="connsiteY97" fmla="*/ 865273 h 1235075"/>
                <a:gd name="connsiteX98" fmla="*/ 1079928 w 1363856"/>
                <a:gd name="connsiteY98" fmla="*/ 867412 h 1235075"/>
                <a:gd name="connsiteX99" fmla="*/ 1079928 w 1363856"/>
                <a:gd name="connsiteY99" fmla="*/ 875253 h 1235075"/>
                <a:gd name="connsiteX100" fmla="*/ 1054282 w 1363856"/>
                <a:gd name="connsiteY100" fmla="*/ 898778 h 1235075"/>
                <a:gd name="connsiteX101" fmla="*/ 1052857 w 1363856"/>
                <a:gd name="connsiteY101" fmla="*/ 900203 h 1235075"/>
                <a:gd name="connsiteX102" fmla="*/ 1021511 w 1363856"/>
                <a:gd name="connsiteY102" fmla="*/ 930144 h 1235075"/>
                <a:gd name="connsiteX103" fmla="*/ 1012250 w 1363856"/>
                <a:gd name="connsiteY103" fmla="*/ 939411 h 1235075"/>
                <a:gd name="connsiteX104" fmla="*/ 1000851 w 1363856"/>
                <a:gd name="connsiteY104" fmla="*/ 939411 h 1235075"/>
                <a:gd name="connsiteX105" fmla="*/ 991590 w 1363856"/>
                <a:gd name="connsiteY105" fmla="*/ 930144 h 1235075"/>
                <a:gd name="connsiteX106" fmla="*/ 961669 w 1363856"/>
                <a:gd name="connsiteY106" fmla="*/ 898778 h 1235075"/>
                <a:gd name="connsiteX107" fmla="*/ 929611 w 1363856"/>
                <a:gd name="connsiteY107" fmla="*/ 865986 h 1235075"/>
                <a:gd name="connsiteX108" fmla="*/ 928898 w 1363856"/>
                <a:gd name="connsiteY108" fmla="*/ 865273 h 1235075"/>
                <a:gd name="connsiteX109" fmla="*/ 925336 w 1363856"/>
                <a:gd name="connsiteY109" fmla="*/ 867412 h 1235075"/>
                <a:gd name="connsiteX110" fmla="*/ 862644 w 1363856"/>
                <a:gd name="connsiteY110" fmla="*/ 898778 h 1235075"/>
                <a:gd name="connsiteX111" fmla="*/ 651060 w 1363856"/>
                <a:gd name="connsiteY111" fmla="*/ 898778 h 1235075"/>
                <a:gd name="connsiteX112" fmla="*/ 589081 w 1363856"/>
                <a:gd name="connsiteY112" fmla="*/ 867412 h 1235075"/>
                <a:gd name="connsiteX113" fmla="*/ 537075 w 1363856"/>
                <a:gd name="connsiteY113" fmla="*/ 824640 h 1235075"/>
                <a:gd name="connsiteX114" fmla="*/ 477945 w 1363856"/>
                <a:gd name="connsiteY114" fmla="*/ 489593 h 1235075"/>
                <a:gd name="connsiteX115" fmla="*/ 545624 w 1363856"/>
                <a:gd name="connsiteY115" fmla="*/ 391931 h 1235075"/>
                <a:gd name="connsiteX116" fmla="*/ 759346 w 1363856"/>
                <a:gd name="connsiteY116" fmla="*/ 307100 h 1235075"/>
                <a:gd name="connsiteX117" fmla="*/ 698324 w 1363856"/>
                <a:gd name="connsiteY117" fmla="*/ 200024 h 1235075"/>
                <a:gd name="connsiteX118" fmla="*/ 935217 w 1363856"/>
                <a:gd name="connsiteY118" fmla="*/ 200024 h 1235075"/>
                <a:gd name="connsiteX119" fmla="*/ 950914 w 1363856"/>
                <a:gd name="connsiteY119" fmla="*/ 216551 h 1235075"/>
                <a:gd name="connsiteX120" fmla="*/ 950914 w 1363856"/>
                <a:gd name="connsiteY120" fmla="*/ 336549 h 1235075"/>
                <a:gd name="connsiteX121" fmla="*/ 758974 w 1363856"/>
                <a:gd name="connsiteY121" fmla="*/ 275472 h 1235075"/>
                <a:gd name="connsiteX122" fmla="*/ 756834 w 1363856"/>
                <a:gd name="connsiteY122" fmla="*/ 275472 h 1235075"/>
                <a:gd name="connsiteX123" fmla="*/ 682626 w 1363856"/>
                <a:gd name="connsiteY123" fmla="*/ 283376 h 1235075"/>
                <a:gd name="connsiteX124" fmla="*/ 682626 w 1363856"/>
                <a:gd name="connsiteY124" fmla="*/ 216551 h 1235075"/>
                <a:gd name="connsiteX125" fmla="*/ 698324 w 1363856"/>
                <a:gd name="connsiteY125" fmla="*/ 200024 h 1235075"/>
                <a:gd name="connsiteX126" fmla="*/ 984125 w 1363856"/>
                <a:gd name="connsiteY126" fmla="*/ 66674 h 1235075"/>
                <a:gd name="connsiteX127" fmla="*/ 1222503 w 1363856"/>
                <a:gd name="connsiteY127" fmla="*/ 66674 h 1235075"/>
                <a:gd name="connsiteX128" fmla="*/ 1238251 w 1363856"/>
                <a:gd name="connsiteY128" fmla="*/ 82393 h 1235075"/>
                <a:gd name="connsiteX129" fmla="*/ 1238251 w 1363856"/>
                <a:gd name="connsiteY129" fmla="*/ 852643 h 1235075"/>
                <a:gd name="connsiteX130" fmla="*/ 1222503 w 1363856"/>
                <a:gd name="connsiteY130" fmla="*/ 868362 h 1235075"/>
                <a:gd name="connsiteX131" fmla="*/ 1156644 w 1363856"/>
                <a:gd name="connsiteY131" fmla="*/ 868362 h 1235075"/>
                <a:gd name="connsiteX132" fmla="*/ 1154497 w 1363856"/>
                <a:gd name="connsiteY132" fmla="*/ 866219 h 1235075"/>
                <a:gd name="connsiteX133" fmla="*/ 1126579 w 1363856"/>
                <a:gd name="connsiteY133" fmla="*/ 852643 h 1235075"/>
                <a:gd name="connsiteX134" fmla="*/ 1123715 w 1363856"/>
                <a:gd name="connsiteY134" fmla="*/ 851928 h 1235075"/>
                <a:gd name="connsiteX135" fmla="*/ 1121568 w 1363856"/>
                <a:gd name="connsiteY135" fmla="*/ 851928 h 1235075"/>
                <a:gd name="connsiteX136" fmla="*/ 1105819 w 1363856"/>
                <a:gd name="connsiteY136" fmla="*/ 854786 h 1235075"/>
                <a:gd name="connsiteX137" fmla="*/ 1097945 w 1363856"/>
                <a:gd name="connsiteY137" fmla="*/ 844783 h 1235075"/>
                <a:gd name="connsiteX138" fmla="*/ 1043540 w 1363856"/>
                <a:gd name="connsiteY138" fmla="*/ 789051 h 1235075"/>
                <a:gd name="connsiteX139" fmla="*/ 997726 w 1363856"/>
                <a:gd name="connsiteY139" fmla="*/ 380347 h 1235075"/>
                <a:gd name="connsiteX140" fmla="*/ 968376 w 1363856"/>
                <a:gd name="connsiteY140" fmla="*/ 353195 h 1235075"/>
                <a:gd name="connsiteX141" fmla="*/ 968376 w 1363856"/>
                <a:gd name="connsiteY141" fmla="*/ 82393 h 1235075"/>
                <a:gd name="connsiteX142" fmla="*/ 984125 w 1363856"/>
                <a:gd name="connsiteY142" fmla="*/ 66674 h 1235075"/>
                <a:gd name="connsiteX143" fmla="*/ 15701 w 1363856"/>
                <a:gd name="connsiteY143" fmla="*/ 0 h 1235075"/>
                <a:gd name="connsiteX144" fmla="*/ 1286049 w 1363856"/>
                <a:gd name="connsiteY144" fmla="*/ 0 h 1235075"/>
                <a:gd name="connsiteX145" fmla="*/ 1301750 w 1363856"/>
                <a:gd name="connsiteY145" fmla="*/ 15692 h 1235075"/>
                <a:gd name="connsiteX146" fmla="*/ 1301750 w 1363856"/>
                <a:gd name="connsiteY146" fmla="*/ 912996 h 1235075"/>
                <a:gd name="connsiteX147" fmla="*/ 1286049 w 1363856"/>
                <a:gd name="connsiteY147" fmla="*/ 928688 h 1235075"/>
                <a:gd name="connsiteX148" fmla="*/ 1217536 w 1363856"/>
                <a:gd name="connsiteY148" fmla="*/ 928688 h 1235075"/>
                <a:gd name="connsiteX149" fmla="*/ 1187562 w 1363856"/>
                <a:gd name="connsiteY149" fmla="*/ 897304 h 1235075"/>
                <a:gd name="connsiteX150" fmla="*/ 1270348 w 1363856"/>
                <a:gd name="connsiteY150" fmla="*/ 897304 h 1235075"/>
                <a:gd name="connsiteX151" fmla="*/ 1270348 w 1363856"/>
                <a:gd name="connsiteY151" fmla="*/ 31384 h 1235075"/>
                <a:gd name="connsiteX152" fmla="*/ 31402 w 1363856"/>
                <a:gd name="connsiteY152" fmla="*/ 31384 h 1235075"/>
                <a:gd name="connsiteX153" fmla="*/ 31402 w 1363856"/>
                <a:gd name="connsiteY153" fmla="*/ 897304 h 1235075"/>
                <a:gd name="connsiteX154" fmla="*/ 578080 w 1363856"/>
                <a:gd name="connsiteY154" fmla="*/ 897304 h 1235075"/>
                <a:gd name="connsiteX155" fmla="*/ 643738 w 1363856"/>
                <a:gd name="connsiteY155" fmla="*/ 928688 h 1235075"/>
                <a:gd name="connsiteX156" fmla="*/ 15701 w 1363856"/>
                <a:gd name="connsiteY156" fmla="*/ 928688 h 1235075"/>
                <a:gd name="connsiteX157" fmla="*/ 0 w 1363856"/>
                <a:gd name="connsiteY157" fmla="*/ 912996 h 1235075"/>
                <a:gd name="connsiteX158" fmla="*/ 0 w 1363856"/>
                <a:gd name="connsiteY158" fmla="*/ 15692 h 1235075"/>
                <a:gd name="connsiteX159" fmla="*/ 15701 w 1363856"/>
                <a:gd name="connsiteY159" fmla="*/ 0 h 12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363856" h="1235075">
                  <a:moveTo>
                    <a:pt x="1121392" y="920750"/>
                  </a:moveTo>
                  <a:cubicBezTo>
                    <a:pt x="1121392" y="920750"/>
                    <a:pt x="1121392" y="920750"/>
                    <a:pt x="1110680" y="930055"/>
                  </a:cubicBezTo>
                  <a:cubicBezTo>
                    <a:pt x="1110680" y="930055"/>
                    <a:pt x="1110680" y="930055"/>
                    <a:pt x="1055688" y="983023"/>
                  </a:cubicBezTo>
                  <a:cubicBezTo>
                    <a:pt x="1266369" y="1202766"/>
                    <a:pt x="1266369" y="1202766"/>
                    <a:pt x="1266369" y="1202766"/>
                  </a:cubicBezTo>
                  <a:cubicBezTo>
                    <a:pt x="1267083" y="1203482"/>
                    <a:pt x="1271368" y="1204913"/>
                    <a:pt x="1279224" y="1202766"/>
                  </a:cubicBezTo>
                  <a:cubicBezTo>
                    <a:pt x="1289223" y="1199903"/>
                    <a:pt x="1299935" y="1192745"/>
                    <a:pt x="1309934" y="1182724"/>
                  </a:cubicBezTo>
                  <a:cubicBezTo>
                    <a:pt x="1319932" y="1173419"/>
                    <a:pt x="1327788" y="1162682"/>
                    <a:pt x="1330645" y="1153377"/>
                  </a:cubicBezTo>
                  <a:cubicBezTo>
                    <a:pt x="1333501" y="1145504"/>
                    <a:pt x="1332787" y="1141209"/>
                    <a:pt x="1332073" y="1140493"/>
                  </a:cubicBezTo>
                  <a:cubicBezTo>
                    <a:pt x="1195666" y="998054"/>
                    <a:pt x="1147102" y="947950"/>
                    <a:pt x="1130676" y="930055"/>
                  </a:cubicBezTo>
                  <a:cubicBezTo>
                    <a:pt x="1121392" y="920750"/>
                    <a:pt x="1121392" y="920750"/>
                    <a:pt x="1121392" y="920750"/>
                  </a:cubicBezTo>
                  <a:close/>
                  <a:moveTo>
                    <a:pt x="925012" y="904875"/>
                  </a:moveTo>
                  <a:cubicBezTo>
                    <a:pt x="925012" y="904875"/>
                    <a:pt x="925012" y="904875"/>
                    <a:pt x="949325" y="928688"/>
                  </a:cubicBezTo>
                  <a:cubicBezTo>
                    <a:pt x="949325" y="928688"/>
                    <a:pt x="949325" y="928688"/>
                    <a:pt x="869950" y="928688"/>
                  </a:cubicBezTo>
                  <a:cubicBezTo>
                    <a:pt x="889257" y="922194"/>
                    <a:pt x="907850" y="913534"/>
                    <a:pt x="925012" y="904875"/>
                  </a:cubicBezTo>
                  <a:close/>
                  <a:moveTo>
                    <a:pt x="1123687" y="881062"/>
                  </a:moveTo>
                  <a:cubicBezTo>
                    <a:pt x="1127953" y="881777"/>
                    <a:pt x="1131508" y="883208"/>
                    <a:pt x="1134352" y="886068"/>
                  </a:cubicBezTo>
                  <a:cubicBezTo>
                    <a:pt x="1137907" y="890359"/>
                    <a:pt x="1141462" y="893935"/>
                    <a:pt x="1145016" y="897511"/>
                  </a:cubicBezTo>
                  <a:cubicBezTo>
                    <a:pt x="1155681" y="908954"/>
                    <a:pt x="1165635" y="919682"/>
                    <a:pt x="1174877" y="928979"/>
                  </a:cubicBezTo>
                  <a:cubicBezTo>
                    <a:pt x="1354041" y="1118501"/>
                    <a:pt x="1354041" y="1118501"/>
                    <a:pt x="1354041" y="1118501"/>
                  </a:cubicBezTo>
                  <a:cubicBezTo>
                    <a:pt x="1363994" y="1128514"/>
                    <a:pt x="1366838" y="1144963"/>
                    <a:pt x="1360440" y="1162842"/>
                  </a:cubicBezTo>
                  <a:cubicBezTo>
                    <a:pt x="1355463" y="1177861"/>
                    <a:pt x="1345509" y="1192880"/>
                    <a:pt x="1332001" y="1205753"/>
                  </a:cubicBezTo>
                  <a:cubicBezTo>
                    <a:pt x="1318492" y="1218626"/>
                    <a:pt x="1302851" y="1228639"/>
                    <a:pt x="1287921" y="1232930"/>
                  </a:cubicBezTo>
                  <a:cubicBezTo>
                    <a:pt x="1282233" y="1234360"/>
                    <a:pt x="1276545" y="1235075"/>
                    <a:pt x="1270858" y="1235075"/>
                  </a:cubicBezTo>
                  <a:cubicBezTo>
                    <a:pt x="1260193" y="1235075"/>
                    <a:pt x="1250240" y="1231499"/>
                    <a:pt x="1243841" y="1224347"/>
                  </a:cubicBezTo>
                  <a:cubicBezTo>
                    <a:pt x="1024863" y="993345"/>
                    <a:pt x="1024863" y="993345"/>
                    <a:pt x="1024863" y="993345"/>
                  </a:cubicBezTo>
                  <a:cubicBezTo>
                    <a:pt x="1019175" y="986908"/>
                    <a:pt x="1019175" y="976896"/>
                    <a:pt x="1025574" y="971175"/>
                  </a:cubicBezTo>
                  <a:cubicBezTo>
                    <a:pt x="1042637" y="954010"/>
                    <a:pt x="1056146" y="940422"/>
                    <a:pt x="1067521" y="928979"/>
                  </a:cubicBezTo>
                  <a:cubicBezTo>
                    <a:pt x="1070365" y="926834"/>
                    <a:pt x="1072498" y="923973"/>
                    <a:pt x="1075342" y="921827"/>
                  </a:cubicBezTo>
                  <a:cubicBezTo>
                    <a:pt x="1086717" y="911100"/>
                    <a:pt x="1094538" y="903233"/>
                    <a:pt x="1099515" y="897511"/>
                  </a:cubicBezTo>
                  <a:cubicBezTo>
                    <a:pt x="1100936" y="896796"/>
                    <a:pt x="1102358" y="895366"/>
                    <a:pt x="1103069" y="894651"/>
                  </a:cubicBezTo>
                  <a:cubicBezTo>
                    <a:pt x="1112312" y="886068"/>
                    <a:pt x="1112312" y="886068"/>
                    <a:pt x="1112312" y="886068"/>
                  </a:cubicBezTo>
                  <a:cubicBezTo>
                    <a:pt x="1115156" y="883208"/>
                    <a:pt x="1119422" y="881062"/>
                    <a:pt x="1123687" y="881062"/>
                  </a:cubicBezTo>
                  <a:close/>
                  <a:moveTo>
                    <a:pt x="80829" y="444499"/>
                  </a:moveTo>
                  <a:cubicBezTo>
                    <a:pt x="80829" y="444499"/>
                    <a:pt x="80829" y="444499"/>
                    <a:pt x="317638" y="444499"/>
                  </a:cubicBezTo>
                  <a:cubicBezTo>
                    <a:pt x="326223" y="444499"/>
                    <a:pt x="333377" y="451635"/>
                    <a:pt x="333377" y="460911"/>
                  </a:cubicBezTo>
                  <a:cubicBezTo>
                    <a:pt x="333377" y="460911"/>
                    <a:pt x="333377" y="612189"/>
                    <a:pt x="333377" y="852664"/>
                  </a:cubicBezTo>
                  <a:cubicBezTo>
                    <a:pt x="333377" y="861940"/>
                    <a:pt x="326223" y="868362"/>
                    <a:pt x="317638" y="868362"/>
                  </a:cubicBezTo>
                  <a:cubicBezTo>
                    <a:pt x="317638" y="868362"/>
                    <a:pt x="317638" y="868362"/>
                    <a:pt x="80829" y="868362"/>
                  </a:cubicBezTo>
                  <a:cubicBezTo>
                    <a:pt x="72244" y="868362"/>
                    <a:pt x="65089" y="861940"/>
                    <a:pt x="65089" y="852664"/>
                  </a:cubicBezTo>
                  <a:cubicBezTo>
                    <a:pt x="65089" y="852664"/>
                    <a:pt x="65089" y="702099"/>
                    <a:pt x="65089" y="460911"/>
                  </a:cubicBezTo>
                  <a:cubicBezTo>
                    <a:pt x="65089" y="451635"/>
                    <a:pt x="72244" y="444499"/>
                    <a:pt x="80829" y="444499"/>
                  </a:cubicBezTo>
                  <a:close/>
                  <a:moveTo>
                    <a:pt x="608014" y="430211"/>
                  </a:moveTo>
                  <a:cubicBezTo>
                    <a:pt x="608014" y="430211"/>
                    <a:pt x="608014" y="430211"/>
                    <a:pt x="608014" y="489543"/>
                  </a:cubicBezTo>
                  <a:cubicBezTo>
                    <a:pt x="608014" y="489543"/>
                    <a:pt x="608014" y="489543"/>
                    <a:pt x="608014" y="796924"/>
                  </a:cubicBezTo>
                  <a:cubicBezTo>
                    <a:pt x="600876" y="790491"/>
                    <a:pt x="593737" y="784772"/>
                    <a:pt x="587313" y="777623"/>
                  </a:cubicBezTo>
                  <a:cubicBezTo>
                    <a:pt x="511645" y="698276"/>
                    <a:pt x="501651" y="579613"/>
                    <a:pt x="556617" y="489543"/>
                  </a:cubicBezTo>
                  <a:cubicBezTo>
                    <a:pt x="566611" y="473102"/>
                    <a:pt x="578747" y="457375"/>
                    <a:pt x="593737" y="443078"/>
                  </a:cubicBezTo>
                  <a:cubicBezTo>
                    <a:pt x="598020" y="438789"/>
                    <a:pt x="603017" y="434500"/>
                    <a:pt x="608014" y="430211"/>
                  </a:cubicBezTo>
                  <a:close/>
                  <a:moveTo>
                    <a:pt x="756086" y="377824"/>
                  </a:moveTo>
                  <a:cubicBezTo>
                    <a:pt x="820413" y="377824"/>
                    <a:pt x="880450" y="403572"/>
                    <a:pt x="924764" y="449346"/>
                  </a:cubicBezTo>
                  <a:cubicBezTo>
                    <a:pt x="929052" y="453638"/>
                    <a:pt x="932626" y="457929"/>
                    <a:pt x="935485" y="462220"/>
                  </a:cubicBezTo>
                  <a:cubicBezTo>
                    <a:pt x="949780" y="478670"/>
                    <a:pt x="960501" y="496551"/>
                    <a:pt x="969078" y="515147"/>
                  </a:cubicBezTo>
                  <a:cubicBezTo>
                    <a:pt x="996952" y="577371"/>
                    <a:pt x="996952" y="648893"/>
                    <a:pt x="969078" y="711117"/>
                  </a:cubicBezTo>
                  <a:cubicBezTo>
                    <a:pt x="961215" y="728282"/>
                    <a:pt x="951209" y="745448"/>
                    <a:pt x="938344" y="761182"/>
                  </a:cubicBezTo>
                  <a:cubicBezTo>
                    <a:pt x="937629" y="761898"/>
                    <a:pt x="936914" y="763328"/>
                    <a:pt x="935485" y="764043"/>
                  </a:cubicBezTo>
                  <a:cubicBezTo>
                    <a:pt x="930482" y="770480"/>
                    <a:pt x="924764" y="776917"/>
                    <a:pt x="918331" y="782639"/>
                  </a:cubicBezTo>
                  <a:cubicBezTo>
                    <a:pt x="911184" y="789791"/>
                    <a:pt x="904751" y="794798"/>
                    <a:pt x="899748" y="799089"/>
                  </a:cubicBezTo>
                  <a:cubicBezTo>
                    <a:pt x="899748" y="799089"/>
                    <a:pt x="899748" y="799089"/>
                    <a:pt x="898319" y="799804"/>
                  </a:cubicBezTo>
                  <a:cubicBezTo>
                    <a:pt x="857579" y="831274"/>
                    <a:pt x="807547" y="847724"/>
                    <a:pt x="756086" y="847724"/>
                  </a:cubicBezTo>
                  <a:cubicBezTo>
                    <a:pt x="729641" y="847724"/>
                    <a:pt x="705340" y="843433"/>
                    <a:pt x="681039" y="836281"/>
                  </a:cubicBezTo>
                  <a:cubicBezTo>
                    <a:pt x="681039" y="836281"/>
                    <a:pt x="681039" y="836281"/>
                    <a:pt x="681039" y="389983"/>
                  </a:cubicBezTo>
                  <a:cubicBezTo>
                    <a:pt x="705340" y="382115"/>
                    <a:pt x="729641" y="377824"/>
                    <a:pt x="756086" y="377824"/>
                  </a:cubicBezTo>
                  <a:close/>
                  <a:moveTo>
                    <a:pt x="735688" y="345914"/>
                  </a:moveTo>
                  <a:cubicBezTo>
                    <a:pt x="675796" y="350908"/>
                    <a:pt x="617330" y="375165"/>
                    <a:pt x="570986" y="418685"/>
                  </a:cubicBezTo>
                  <a:cubicBezTo>
                    <a:pt x="549596" y="439374"/>
                    <a:pt x="532484" y="463631"/>
                    <a:pt x="519650" y="488601"/>
                  </a:cubicBezTo>
                  <a:cubicBezTo>
                    <a:pt x="468314" y="587769"/>
                    <a:pt x="482574" y="713334"/>
                    <a:pt x="563856" y="797519"/>
                  </a:cubicBezTo>
                  <a:cubicBezTo>
                    <a:pt x="585246" y="819636"/>
                    <a:pt x="609488" y="836758"/>
                    <a:pt x="635155" y="849600"/>
                  </a:cubicBezTo>
                  <a:cubicBezTo>
                    <a:pt x="697186" y="881705"/>
                    <a:pt x="770625" y="887412"/>
                    <a:pt x="836933" y="866722"/>
                  </a:cubicBezTo>
                  <a:cubicBezTo>
                    <a:pt x="866166" y="858161"/>
                    <a:pt x="894686" y="843179"/>
                    <a:pt x="920354" y="823916"/>
                  </a:cubicBezTo>
                  <a:cubicBezTo>
                    <a:pt x="926771" y="819636"/>
                    <a:pt x="932475" y="814642"/>
                    <a:pt x="937466" y="809648"/>
                  </a:cubicBezTo>
                  <a:cubicBezTo>
                    <a:pt x="939605" y="807507"/>
                    <a:pt x="941031" y="806080"/>
                    <a:pt x="943170" y="804654"/>
                  </a:cubicBezTo>
                  <a:cubicBezTo>
                    <a:pt x="951013" y="796806"/>
                    <a:pt x="958856" y="788958"/>
                    <a:pt x="965986" y="780397"/>
                  </a:cubicBezTo>
                  <a:cubicBezTo>
                    <a:pt x="967412" y="777543"/>
                    <a:pt x="969551" y="775403"/>
                    <a:pt x="970977" y="773262"/>
                  </a:cubicBezTo>
                  <a:cubicBezTo>
                    <a:pt x="1042276" y="679089"/>
                    <a:pt x="1042989" y="546390"/>
                    <a:pt x="970977" y="450789"/>
                  </a:cubicBezTo>
                  <a:cubicBezTo>
                    <a:pt x="964560" y="442228"/>
                    <a:pt x="957430" y="434380"/>
                    <a:pt x="950300" y="425819"/>
                  </a:cubicBezTo>
                  <a:cubicBezTo>
                    <a:pt x="946022" y="422252"/>
                    <a:pt x="941744" y="417971"/>
                    <a:pt x="937466" y="414404"/>
                  </a:cubicBezTo>
                  <a:cubicBezTo>
                    <a:pt x="917502" y="395855"/>
                    <a:pt x="895399" y="381586"/>
                    <a:pt x="871157" y="370884"/>
                  </a:cubicBezTo>
                  <a:cubicBezTo>
                    <a:pt x="846915" y="359469"/>
                    <a:pt x="821247" y="351621"/>
                    <a:pt x="794867" y="348054"/>
                  </a:cubicBezTo>
                  <a:cubicBezTo>
                    <a:pt x="774903" y="345201"/>
                    <a:pt x="754939" y="344487"/>
                    <a:pt x="735688" y="345914"/>
                  </a:cubicBezTo>
                  <a:close/>
                  <a:moveTo>
                    <a:pt x="382366" y="339724"/>
                  </a:moveTo>
                  <a:cubicBezTo>
                    <a:pt x="382366" y="339724"/>
                    <a:pt x="382366" y="339724"/>
                    <a:pt x="558802" y="339724"/>
                  </a:cubicBezTo>
                  <a:cubicBezTo>
                    <a:pt x="546708" y="348296"/>
                    <a:pt x="534613" y="358298"/>
                    <a:pt x="523942" y="369013"/>
                  </a:cubicBezTo>
                  <a:cubicBezTo>
                    <a:pt x="523942" y="369013"/>
                    <a:pt x="523942" y="369013"/>
                    <a:pt x="523230" y="369013"/>
                  </a:cubicBezTo>
                  <a:cubicBezTo>
                    <a:pt x="491927" y="400446"/>
                    <a:pt x="467027" y="436165"/>
                    <a:pt x="449241" y="476884"/>
                  </a:cubicBezTo>
                  <a:cubicBezTo>
                    <a:pt x="422918" y="537606"/>
                    <a:pt x="415092" y="604043"/>
                    <a:pt x="425764" y="669766"/>
                  </a:cubicBezTo>
                  <a:cubicBezTo>
                    <a:pt x="437147" y="736917"/>
                    <a:pt x="467738" y="798353"/>
                    <a:pt x="513982" y="846931"/>
                  </a:cubicBezTo>
                  <a:cubicBezTo>
                    <a:pt x="513982" y="846931"/>
                    <a:pt x="513982" y="846931"/>
                    <a:pt x="513982" y="847645"/>
                  </a:cubicBezTo>
                  <a:lnTo>
                    <a:pt x="514693" y="847645"/>
                  </a:lnTo>
                  <a:cubicBezTo>
                    <a:pt x="521808" y="855503"/>
                    <a:pt x="529633" y="861933"/>
                    <a:pt x="536748" y="868362"/>
                  </a:cubicBezTo>
                  <a:cubicBezTo>
                    <a:pt x="502599" y="868362"/>
                    <a:pt x="452798" y="868362"/>
                    <a:pt x="382366" y="868362"/>
                  </a:cubicBezTo>
                  <a:cubicBezTo>
                    <a:pt x="373829" y="868362"/>
                    <a:pt x="366714" y="861933"/>
                    <a:pt x="366714" y="852646"/>
                  </a:cubicBezTo>
                  <a:cubicBezTo>
                    <a:pt x="366714" y="852646"/>
                    <a:pt x="366714" y="596899"/>
                    <a:pt x="366714" y="356155"/>
                  </a:cubicBezTo>
                  <a:cubicBezTo>
                    <a:pt x="366714" y="346868"/>
                    <a:pt x="373829" y="339724"/>
                    <a:pt x="382366" y="339724"/>
                  </a:cubicBezTo>
                  <a:close/>
                  <a:moveTo>
                    <a:pt x="759346" y="307100"/>
                  </a:moveTo>
                  <a:cubicBezTo>
                    <a:pt x="835573" y="307813"/>
                    <a:pt x="912513" y="336327"/>
                    <a:pt x="970930" y="394069"/>
                  </a:cubicBezTo>
                  <a:cubicBezTo>
                    <a:pt x="973067" y="396208"/>
                    <a:pt x="975917" y="398347"/>
                    <a:pt x="978054" y="400485"/>
                  </a:cubicBezTo>
                  <a:cubicBezTo>
                    <a:pt x="1082065" y="508128"/>
                    <a:pt x="1090614" y="672799"/>
                    <a:pt x="1005838" y="790422"/>
                  </a:cubicBezTo>
                  <a:cubicBezTo>
                    <a:pt x="1078503" y="865273"/>
                    <a:pt x="1078503" y="865273"/>
                    <a:pt x="1078503" y="865273"/>
                  </a:cubicBezTo>
                  <a:cubicBezTo>
                    <a:pt x="1079216" y="865986"/>
                    <a:pt x="1079928" y="866699"/>
                    <a:pt x="1079928" y="867412"/>
                  </a:cubicBezTo>
                  <a:cubicBezTo>
                    <a:pt x="1081353" y="870263"/>
                    <a:pt x="1081353" y="873114"/>
                    <a:pt x="1079928" y="875253"/>
                  </a:cubicBezTo>
                  <a:cubicBezTo>
                    <a:pt x="1079928" y="875253"/>
                    <a:pt x="1079928" y="875253"/>
                    <a:pt x="1054282" y="898778"/>
                  </a:cubicBezTo>
                  <a:cubicBezTo>
                    <a:pt x="1054282" y="898778"/>
                    <a:pt x="1054282" y="898778"/>
                    <a:pt x="1052857" y="900203"/>
                  </a:cubicBezTo>
                  <a:cubicBezTo>
                    <a:pt x="1037184" y="915886"/>
                    <a:pt x="1027210" y="925154"/>
                    <a:pt x="1021511" y="930144"/>
                  </a:cubicBezTo>
                  <a:cubicBezTo>
                    <a:pt x="1012250" y="939411"/>
                    <a:pt x="1012250" y="939411"/>
                    <a:pt x="1012250" y="939411"/>
                  </a:cubicBezTo>
                  <a:cubicBezTo>
                    <a:pt x="1009400" y="942975"/>
                    <a:pt x="1003701" y="942975"/>
                    <a:pt x="1000851" y="939411"/>
                  </a:cubicBezTo>
                  <a:cubicBezTo>
                    <a:pt x="997289" y="936559"/>
                    <a:pt x="994439" y="932995"/>
                    <a:pt x="991590" y="930144"/>
                  </a:cubicBezTo>
                  <a:cubicBezTo>
                    <a:pt x="979479" y="918025"/>
                    <a:pt x="969505" y="907332"/>
                    <a:pt x="961669" y="898778"/>
                  </a:cubicBezTo>
                  <a:cubicBezTo>
                    <a:pt x="938159" y="874540"/>
                    <a:pt x="931035" y="868124"/>
                    <a:pt x="929611" y="865986"/>
                  </a:cubicBezTo>
                  <a:cubicBezTo>
                    <a:pt x="928898" y="865273"/>
                    <a:pt x="928898" y="865273"/>
                    <a:pt x="928898" y="865273"/>
                  </a:cubicBezTo>
                  <a:cubicBezTo>
                    <a:pt x="927473" y="865986"/>
                    <a:pt x="926049" y="866699"/>
                    <a:pt x="925336" y="867412"/>
                  </a:cubicBezTo>
                  <a:cubicBezTo>
                    <a:pt x="905389" y="880243"/>
                    <a:pt x="884017" y="890936"/>
                    <a:pt x="862644" y="898778"/>
                  </a:cubicBezTo>
                  <a:cubicBezTo>
                    <a:pt x="794254" y="924441"/>
                    <a:pt x="719451" y="924441"/>
                    <a:pt x="651060" y="898778"/>
                  </a:cubicBezTo>
                  <a:cubicBezTo>
                    <a:pt x="629688" y="890936"/>
                    <a:pt x="609028" y="880956"/>
                    <a:pt x="589081" y="867412"/>
                  </a:cubicBezTo>
                  <a:cubicBezTo>
                    <a:pt x="570558" y="855293"/>
                    <a:pt x="553460" y="841036"/>
                    <a:pt x="537075" y="824640"/>
                  </a:cubicBezTo>
                  <a:cubicBezTo>
                    <a:pt x="449449" y="732680"/>
                    <a:pt x="430214" y="599374"/>
                    <a:pt x="477945" y="489593"/>
                  </a:cubicBezTo>
                  <a:cubicBezTo>
                    <a:pt x="493618" y="453950"/>
                    <a:pt x="516415" y="420445"/>
                    <a:pt x="545624" y="391931"/>
                  </a:cubicBezTo>
                  <a:cubicBezTo>
                    <a:pt x="605466" y="334902"/>
                    <a:pt x="682406" y="306387"/>
                    <a:pt x="759346" y="307100"/>
                  </a:cubicBezTo>
                  <a:close/>
                  <a:moveTo>
                    <a:pt x="698324" y="200024"/>
                  </a:moveTo>
                  <a:cubicBezTo>
                    <a:pt x="698324" y="200024"/>
                    <a:pt x="698324" y="200024"/>
                    <a:pt x="935217" y="200024"/>
                  </a:cubicBezTo>
                  <a:cubicBezTo>
                    <a:pt x="943779" y="200024"/>
                    <a:pt x="950914" y="207209"/>
                    <a:pt x="950914" y="216551"/>
                  </a:cubicBezTo>
                  <a:cubicBezTo>
                    <a:pt x="950914" y="216551"/>
                    <a:pt x="950914" y="259664"/>
                    <a:pt x="950914" y="336549"/>
                  </a:cubicBezTo>
                  <a:cubicBezTo>
                    <a:pt x="894545" y="297028"/>
                    <a:pt x="828187" y="276190"/>
                    <a:pt x="758974" y="275472"/>
                  </a:cubicBezTo>
                  <a:cubicBezTo>
                    <a:pt x="758974" y="275472"/>
                    <a:pt x="758974" y="275472"/>
                    <a:pt x="756834" y="275472"/>
                  </a:cubicBezTo>
                  <a:cubicBezTo>
                    <a:pt x="731860" y="275472"/>
                    <a:pt x="706886" y="278346"/>
                    <a:pt x="682626" y="283376"/>
                  </a:cubicBezTo>
                  <a:cubicBezTo>
                    <a:pt x="682626" y="262538"/>
                    <a:pt x="682626" y="239544"/>
                    <a:pt x="682626" y="216551"/>
                  </a:cubicBezTo>
                  <a:cubicBezTo>
                    <a:pt x="682626" y="207209"/>
                    <a:pt x="689762" y="200024"/>
                    <a:pt x="698324" y="200024"/>
                  </a:cubicBezTo>
                  <a:close/>
                  <a:moveTo>
                    <a:pt x="984125" y="66674"/>
                  </a:moveTo>
                  <a:cubicBezTo>
                    <a:pt x="984125" y="66674"/>
                    <a:pt x="984125" y="66674"/>
                    <a:pt x="1222503" y="66674"/>
                  </a:cubicBezTo>
                  <a:cubicBezTo>
                    <a:pt x="1231093" y="66674"/>
                    <a:pt x="1238251" y="73819"/>
                    <a:pt x="1238251" y="82393"/>
                  </a:cubicBezTo>
                  <a:cubicBezTo>
                    <a:pt x="1238251" y="82393"/>
                    <a:pt x="1238251" y="233156"/>
                    <a:pt x="1238251" y="852643"/>
                  </a:cubicBezTo>
                  <a:cubicBezTo>
                    <a:pt x="1238251" y="861932"/>
                    <a:pt x="1231093" y="868362"/>
                    <a:pt x="1222503" y="868362"/>
                  </a:cubicBezTo>
                  <a:cubicBezTo>
                    <a:pt x="1222503" y="868362"/>
                    <a:pt x="1222503" y="868362"/>
                    <a:pt x="1156644" y="868362"/>
                  </a:cubicBezTo>
                  <a:cubicBezTo>
                    <a:pt x="1156644" y="868362"/>
                    <a:pt x="1156644" y="868362"/>
                    <a:pt x="1154497" y="866219"/>
                  </a:cubicBezTo>
                  <a:cubicBezTo>
                    <a:pt x="1147338" y="859073"/>
                    <a:pt x="1137317" y="854072"/>
                    <a:pt x="1126579" y="852643"/>
                  </a:cubicBezTo>
                  <a:cubicBezTo>
                    <a:pt x="1126579" y="852643"/>
                    <a:pt x="1126579" y="852643"/>
                    <a:pt x="1123715" y="851928"/>
                  </a:cubicBezTo>
                  <a:cubicBezTo>
                    <a:pt x="1123715" y="851928"/>
                    <a:pt x="1123715" y="851928"/>
                    <a:pt x="1121568" y="851928"/>
                  </a:cubicBezTo>
                  <a:cubicBezTo>
                    <a:pt x="1115841" y="851928"/>
                    <a:pt x="1110830" y="852643"/>
                    <a:pt x="1105819" y="854786"/>
                  </a:cubicBezTo>
                  <a:cubicBezTo>
                    <a:pt x="1103672" y="851214"/>
                    <a:pt x="1100808" y="847641"/>
                    <a:pt x="1097945" y="844783"/>
                  </a:cubicBezTo>
                  <a:cubicBezTo>
                    <a:pt x="1097945" y="844783"/>
                    <a:pt x="1097945" y="844783"/>
                    <a:pt x="1043540" y="789051"/>
                  </a:cubicBezTo>
                  <a:cubicBezTo>
                    <a:pt x="1122284" y="659009"/>
                    <a:pt x="1104388" y="491097"/>
                    <a:pt x="997726" y="380347"/>
                  </a:cubicBezTo>
                  <a:cubicBezTo>
                    <a:pt x="988420" y="370344"/>
                    <a:pt x="979114" y="361769"/>
                    <a:pt x="968376" y="353195"/>
                  </a:cubicBezTo>
                  <a:cubicBezTo>
                    <a:pt x="968376" y="353195"/>
                    <a:pt x="968376" y="201718"/>
                    <a:pt x="968376" y="82393"/>
                  </a:cubicBezTo>
                  <a:cubicBezTo>
                    <a:pt x="968376" y="73819"/>
                    <a:pt x="975535" y="66674"/>
                    <a:pt x="984125" y="66674"/>
                  </a:cubicBezTo>
                  <a:close/>
                  <a:moveTo>
                    <a:pt x="15701" y="0"/>
                  </a:moveTo>
                  <a:cubicBezTo>
                    <a:pt x="15701" y="0"/>
                    <a:pt x="15701" y="0"/>
                    <a:pt x="1286049" y="0"/>
                  </a:cubicBezTo>
                  <a:cubicBezTo>
                    <a:pt x="1294613" y="0"/>
                    <a:pt x="1301750" y="6419"/>
                    <a:pt x="1301750" y="15692"/>
                  </a:cubicBezTo>
                  <a:cubicBezTo>
                    <a:pt x="1301750" y="15692"/>
                    <a:pt x="1301750" y="15692"/>
                    <a:pt x="1301750" y="912996"/>
                  </a:cubicBezTo>
                  <a:cubicBezTo>
                    <a:pt x="1301750" y="922269"/>
                    <a:pt x="1294613" y="928688"/>
                    <a:pt x="1286049" y="928688"/>
                  </a:cubicBezTo>
                  <a:cubicBezTo>
                    <a:pt x="1286049" y="928688"/>
                    <a:pt x="1286049" y="928688"/>
                    <a:pt x="1217536" y="928688"/>
                  </a:cubicBezTo>
                  <a:cubicBezTo>
                    <a:pt x="1217536" y="928688"/>
                    <a:pt x="1217536" y="928688"/>
                    <a:pt x="1187562" y="897304"/>
                  </a:cubicBezTo>
                  <a:cubicBezTo>
                    <a:pt x="1270348" y="897304"/>
                    <a:pt x="1270348" y="897304"/>
                    <a:pt x="1270348" y="897304"/>
                  </a:cubicBezTo>
                  <a:cubicBezTo>
                    <a:pt x="1270348" y="31384"/>
                    <a:pt x="1270348" y="31384"/>
                    <a:pt x="1270348" y="31384"/>
                  </a:cubicBezTo>
                  <a:cubicBezTo>
                    <a:pt x="31402" y="31384"/>
                    <a:pt x="31402" y="31384"/>
                    <a:pt x="31402" y="31384"/>
                  </a:cubicBezTo>
                  <a:cubicBezTo>
                    <a:pt x="31402" y="897304"/>
                    <a:pt x="31402" y="897304"/>
                    <a:pt x="31402" y="897304"/>
                  </a:cubicBezTo>
                  <a:cubicBezTo>
                    <a:pt x="250501" y="897304"/>
                    <a:pt x="429634" y="897304"/>
                    <a:pt x="578080" y="897304"/>
                  </a:cubicBezTo>
                  <a:cubicBezTo>
                    <a:pt x="598776" y="910143"/>
                    <a:pt x="620900" y="920842"/>
                    <a:pt x="643738" y="928688"/>
                  </a:cubicBezTo>
                  <a:cubicBezTo>
                    <a:pt x="643738" y="928688"/>
                    <a:pt x="643738" y="928688"/>
                    <a:pt x="15701" y="928688"/>
                  </a:cubicBezTo>
                  <a:cubicBezTo>
                    <a:pt x="7137" y="928688"/>
                    <a:pt x="0" y="922269"/>
                    <a:pt x="0" y="912996"/>
                  </a:cubicBezTo>
                  <a:cubicBezTo>
                    <a:pt x="0" y="912996"/>
                    <a:pt x="0" y="912996"/>
                    <a:pt x="0" y="15692"/>
                  </a:cubicBezTo>
                  <a:cubicBezTo>
                    <a:pt x="0" y="6419"/>
                    <a:pt x="7137" y="0"/>
                    <a:pt x="1570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1" name="Group 10"/>
          <p:cNvGrpSpPr>
            <a:grpSpLocks noChangeAspect="1"/>
          </p:cNvGrpSpPr>
          <p:nvPr/>
        </p:nvGrpSpPr>
        <p:grpSpPr>
          <a:xfrm>
            <a:off x="9913657" y="2022305"/>
            <a:ext cx="1511580" cy="1511580"/>
            <a:chOff x="5273675" y="2606675"/>
            <a:chExt cx="1644650" cy="1644650"/>
          </a:xfrm>
        </p:grpSpPr>
        <p:sp>
          <p:nvSpPr>
            <p:cNvPr id="12"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335588" y="2770188"/>
              <a:ext cx="1517650"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9108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48725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22"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204371" y="0"/>
            <a:ext cx="2692968"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Whilst CT decreased -5% Q4 year-over-year, the annual average in 2021 is 86%, a high score for this cohort &amp; very close to the 2020 annual average of 87%</a:t>
            </a:r>
          </a:p>
        </p:txBody>
      </p:sp>
      <p:sp>
        <p:nvSpPr>
          <p:cNvPr id="3" name="Title 2"/>
          <p:cNvSpPr>
            <a:spLocks noGrp="1"/>
          </p:cNvSpPr>
          <p:nvPr>
            <p:ph type="title"/>
          </p:nvPr>
        </p:nvSpPr>
        <p:spPr/>
        <p:txBody>
          <a:bodyPr vert="horz"/>
          <a:lstStyle/>
          <a:p>
            <a:r>
              <a:rPr lang="en-US" dirty="0">
                <a:solidFill>
                  <a:srgbClr val="295E7E"/>
                </a:solidFill>
              </a:rPr>
              <a:t>Overall IT Support</a:t>
            </a:r>
          </a:p>
        </p:txBody>
      </p:sp>
      <p:graphicFrame>
        <p:nvGraphicFramePr>
          <p:cNvPr id="62" name="Chart 61">
            <a:extLst>
              <a:ext uri="{FF2B5EF4-FFF2-40B4-BE49-F238E27FC236}">
                <a16:creationId xmlns:a16="http://schemas.microsoft.com/office/drawing/2014/main" id="{061D5E9D-8A50-466F-B420-6DA8F44C3903}"/>
              </a:ext>
            </a:extLst>
          </p:cNvPr>
          <p:cNvGraphicFramePr/>
          <p:nvPr>
            <p:custDataLst>
              <p:tags r:id="rId5"/>
            </p:custDataLst>
            <p:extLst>
              <p:ext uri="{D42A27DB-BD31-4B8C-83A1-F6EECF244321}">
                <p14:modId xmlns:p14="http://schemas.microsoft.com/office/powerpoint/2010/main" val="4215780191"/>
              </p:ext>
            </p:extLst>
          </p:nvPr>
        </p:nvGraphicFramePr>
        <p:xfrm>
          <a:off x="1114425" y="3316288"/>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55" name="Text Placeholder 3"/>
          <p:cNvSpPr>
            <a:spLocks noGrp="1"/>
          </p:cNvSpPr>
          <p:nvPr>
            <p:custDataLst>
              <p:tags r:id="rId6"/>
            </p:custDataLst>
          </p:nvPr>
        </p:nvSpPr>
        <p:spPr bwMode="gray">
          <a:xfrm>
            <a:off x="1649413" y="5332413"/>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B8CB9B1-6A22-4D7E-9232-16DA49FF9146}" type="datetime'''''''''''''''''''4''''''''5'''">
              <a:rPr lang="en-US" altLang="en-US" smtClean="0">
                <a:solidFill>
                  <a:schemeClr val="bg1"/>
                </a:solidFill>
              </a:rPr>
              <a:pPr/>
              <a:t>45</a:t>
            </a:fld>
            <a:r>
              <a:rPr lang="en-US" altLang="en-US">
                <a:solidFill>
                  <a:schemeClr val="bg1"/>
                </a:solidFill>
                <a:sym typeface="+mn-lt"/>
              </a:rPr>
              <a:t>%</a:t>
            </a:r>
            <a:endParaRPr lang="en-US" dirty="0">
              <a:solidFill>
                <a:schemeClr val="bg1"/>
              </a:solidFill>
              <a:sym typeface="+mn-lt"/>
            </a:endParaRPr>
          </a:p>
        </p:txBody>
      </p:sp>
      <p:sp>
        <p:nvSpPr>
          <p:cNvPr id="73" name="Text Placeholder 3"/>
          <p:cNvSpPr>
            <a:spLocks noGrp="1"/>
          </p:cNvSpPr>
          <p:nvPr>
            <p:custDataLst>
              <p:tags r:id="rId7"/>
            </p:custDataLst>
          </p:nvPr>
        </p:nvSpPr>
        <p:spPr bwMode="gray">
          <a:xfrm>
            <a:off x="3206750" y="410845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F8E3BF3-159D-40AE-8BEA-AF647DD41B1A}" type="datetime'''''''''''''''''''''''''''''''''''''3''''''''''''''''''8'''''">
              <a:rPr lang="en-US" altLang="en-US" smtClean="0">
                <a:solidFill>
                  <a:schemeClr val="bg1"/>
                </a:solidFill>
              </a:rPr>
              <a:pPr/>
              <a:t>38</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8"/>
            </p:custDataLst>
          </p:nvPr>
        </p:nvSpPr>
        <p:spPr bwMode="gray">
          <a:xfrm>
            <a:off x="1587500" y="371316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239FB15-12FC-4A6E-976B-15331C9C2568}" type="datetime'''''''''''''''''''''1''''''''''''''3'''''''''''''''''''''">
              <a:rPr lang="en-US" altLang="en-US" smtClean="0"/>
              <a:pPr/>
              <a:t>13</a:t>
            </a:fld>
            <a:r>
              <a:rPr lang="en-US" altLang="en-US">
                <a:sym typeface="+mn-lt"/>
              </a:rPr>
              <a:t>%</a:t>
            </a:r>
            <a:endParaRPr lang="en-US" dirty="0">
              <a:sym typeface="+mn-lt"/>
            </a:endParaRPr>
          </a:p>
        </p:txBody>
      </p:sp>
      <p:sp>
        <p:nvSpPr>
          <p:cNvPr id="50" name="Text Placeholder 3"/>
          <p:cNvSpPr>
            <a:spLocks noGrp="1"/>
          </p:cNvSpPr>
          <p:nvPr>
            <p:custDataLst>
              <p:tags r:id="rId9"/>
            </p:custDataLst>
          </p:nvPr>
        </p:nvSpPr>
        <p:spPr bwMode="gray">
          <a:xfrm>
            <a:off x="2087563" y="3446463"/>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7FFC087-DEC4-46B4-A05B-4A268DD788B7}" type="datetime'''''''''''''''''''''''''''''''''''''''''''''''3'''">
              <a:rPr lang="en-US" altLang="en-US" smtClean="0">
                <a:solidFill>
                  <a:schemeClr val="bg1"/>
                </a:solidFill>
              </a:rPr>
              <a:pPr/>
              <a:t>3</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10"/>
            </p:custDataLst>
          </p:nvPr>
        </p:nvSpPr>
        <p:spPr bwMode="gray">
          <a:xfrm>
            <a:off x="2249488" y="364807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1E8D8F4-0EDB-4411-8559-204F00F638F6}"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47" name="Rectangle 46"/>
          <p:cNvSpPr/>
          <p:nvPr>
            <p:custDataLst>
              <p:tags r:id="rId11"/>
            </p:custDataLst>
          </p:nvPr>
        </p:nvSpPr>
        <p:spPr bwMode="gray">
          <a:xfrm>
            <a:off x="4079875" y="61642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2"/>
            </p:custDataLst>
          </p:nvPr>
        </p:nvSpPr>
        <p:spPr bwMode="gray">
          <a:xfrm>
            <a:off x="1839913" y="61642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3"/>
            </p:custDataLst>
          </p:nvPr>
        </p:nvSpPr>
        <p:spPr bwMode="gray">
          <a:xfrm>
            <a:off x="3130550" y="61642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4"/>
            </p:custDataLst>
          </p:nvPr>
        </p:nvSpPr>
        <p:spPr bwMode="gray">
          <a:xfrm>
            <a:off x="4951413" y="61642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6088063" y="61642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2105025" y="614521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7"/>
            </p:custDataLst>
          </p:nvPr>
        </p:nvSpPr>
        <p:spPr bwMode="gray">
          <a:xfrm>
            <a:off x="3395663" y="61452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18"/>
            </p:custDataLst>
          </p:nvPr>
        </p:nvSpPr>
        <p:spPr bwMode="gray">
          <a:xfrm>
            <a:off x="6353175" y="61452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9" name="Text Placeholder 3"/>
          <p:cNvSpPr>
            <a:spLocks noGrp="1"/>
          </p:cNvSpPr>
          <p:nvPr>
            <p:custDataLst>
              <p:tags r:id="rId19"/>
            </p:custDataLst>
          </p:nvPr>
        </p:nvSpPr>
        <p:spPr bwMode="gray">
          <a:xfrm>
            <a:off x="4344988" y="61452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0" name="Text Placeholder 3"/>
          <p:cNvSpPr>
            <a:spLocks noGrp="1"/>
          </p:cNvSpPr>
          <p:nvPr>
            <p:custDataLst>
              <p:tags r:id="rId20"/>
            </p:custDataLst>
          </p:nvPr>
        </p:nvSpPr>
        <p:spPr bwMode="gray">
          <a:xfrm>
            <a:off x="5216525" y="61452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69" name="Chart 68">
            <a:extLst>
              <a:ext uri="{FF2B5EF4-FFF2-40B4-BE49-F238E27FC236}">
                <a16:creationId xmlns:a16="http://schemas.microsoft.com/office/drawing/2014/main" id="{576A48DA-75C5-42FA-AD1E-52A2A17279B4}"/>
              </a:ext>
            </a:extLst>
          </p:cNvPr>
          <p:cNvGraphicFramePr/>
          <p:nvPr>
            <p:custDataLst>
              <p:tags r:id="rId21"/>
            </p:custDataLst>
            <p:extLst>
              <p:ext uri="{D42A27DB-BD31-4B8C-83A1-F6EECF244321}">
                <p14:modId xmlns:p14="http://schemas.microsoft.com/office/powerpoint/2010/main" val="547564928"/>
              </p:ext>
            </p:extLst>
          </p:nvPr>
        </p:nvGraphicFramePr>
        <p:xfrm>
          <a:off x="5438775" y="3316288"/>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33" name="Text Placeholder 3"/>
          <p:cNvSpPr>
            <a:spLocks noGrp="1"/>
          </p:cNvSpPr>
          <p:nvPr>
            <p:custDataLst>
              <p:tags r:id="rId22"/>
            </p:custDataLst>
          </p:nvPr>
        </p:nvSpPr>
        <p:spPr bwMode="gray">
          <a:xfrm>
            <a:off x="6523038" y="3424238"/>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C0E4723-F75A-42EE-988E-4509F0A563DD}"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31" name="Text Placeholder 3"/>
          <p:cNvSpPr>
            <a:spLocks noGrp="1"/>
          </p:cNvSpPr>
          <p:nvPr>
            <p:custDataLst>
              <p:tags r:id="rId23"/>
            </p:custDataLst>
          </p:nvPr>
        </p:nvSpPr>
        <p:spPr bwMode="gray">
          <a:xfrm>
            <a:off x="5862638" y="523398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2784D8A-B5C6-4E8C-893E-3D2F03ACA08C}" type="datetime'''''''''4''''''''''''8'''">
              <a:rPr lang="en-US" altLang="en-US" smtClean="0">
                <a:solidFill>
                  <a:schemeClr val="bg1"/>
                </a:solidFill>
              </a:rPr>
              <a:pPr/>
              <a:t>48</a:t>
            </a:fld>
            <a:r>
              <a:rPr lang="en-US" altLang="en-US">
                <a:solidFill>
                  <a:schemeClr val="bg1"/>
                </a:solidFill>
                <a:sym typeface="+mn-lt"/>
              </a:rPr>
              <a:t>%</a:t>
            </a:r>
            <a:endParaRPr lang="en-US" dirty="0">
              <a:solidFill>
                <a:schemeClr val="bg1"/>
              </a:solidFill>
              <a:sym typeface="+mn-lt"/>
            </a:endParaRPr>
          </a:p>
        </p:txBody>
      </p:sp>
      <p:sp>
        <p:nvSpPr>
          <p:cNvPr id="29" name="Text Placeholder 3"/>
          <p:cNvSpPr>
            <a:spLocks noGrp="1"/>
          </p:cNvSpPr>
          <p:nvPr>
            <p:custDataLst>
              <p:tags r:id="rId24"/>
            </p:custDataLst>
          </p:nvPr>
        </p:nvSpPr>
        <p:spPr bwMode="gray">
          <a:xfrm>
            <a:off x="7537450" y="4124325"/>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39B8BE7-E66C-49A9-9E12-8D461FE847EC}" type="datetime'''''''''''''''3''''''''''''''''''''''''''''''''''''8'''''''''">
              <a:rPr lang="en-US" altLang="en-US" smtClean="0">
                <a:solidFill>
                  <a:schemeClr val="bg1"/>
                </a:solidFill>
              </a:rPr>
              <a:pPr/>
              <a:t>38</a:t>
            </a:fld>
            <a:r>
              <a:rPr lang="en-US" altLang="en-US">
                <a:solidFill>
                  <a:schemeClr val="bg1"/>
                </a:solidFill>
                <a:sym typeface="+mn-lt"/>
              </a:rPr>
              <a:t>%</a:t>
            </a:r>
            <a:endParaRPr lang="en-US" dirty="0">
              <a:solidFill>
                <a:schemeClr val="bg1"/>
              </a:solidFill>
              <a:sym typeface="+mn-lt"/>
            </a:endParaRPr>
          </a:p>
        </p:txBody>
      </p:sp>
      <p:sp>
        <p:nvSpPr>
          <p:cNvPr id="32" name="Text Placeholder 3"/>
          <p:cNvSpPr>
            <a:spLocks noGrp="1"/>
          </p:cNvSpPr>
          <p:nvPr>
            <p:custDataLst>
              <p:tags r:id="rId25"/>
            </p:custDataLst>
          </p:nvPr>
        </p:nvSpPr>
        <p:spPr bwMode="gray">
          <a:xfrm>
            <a:off x="6067425" y="359410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B094D4A-B487-401C-8DC2-A6AE99EDBE0E}" type="datetime'''''''''''''''''''1''''''''''''''''''''''''1'''''''">
              <a:rPr lang="en-US" altLang="en-US" smtClean="0"/>
              <a:pPr/>
              <a:t>11</a:t>
            </a:fld>
            <a:r>
              <a:rPr lang="en-US" altLang="en-US">
                <a:sym typeface="+mn-lt"/>
              </a:rPr>
              <a:t>%</a:t>
            </a:r>
            <a:endParaRPr lang="en-US" dirty="0">
              <a:sym typeface="+mn-lt"/>
            </a:endParaRPr>
          </a:p>
        </p:txBody>
      </p:sp>
      <p:sp>
        <p:nvSpPr>
          <p:cNvPr id="30" name="Text Placeholder 3"/>
          <p:cNvSpPr>
            <a:spLocks noGrp="1"/>
          </p:cNvSpPr>
          <p:nvPr>
            <p:custDataLst>
              <p:tags r:id="rId26"/>
            </p:custDataLst>
          </p:nvPr>
        </p:nvSpPr>
        <p:spPr bwMode="gray">
          <a:xfrm>
            <a:off x="6610350" y="362585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3F8BA35-034C-4B38-9259-ED8C58A83E04}" type="datetime'''''''''''''''''''''''''''''''''0'''''''''''''''''''">
              <a:rPr lang="en-US" altLang="en-US" smtClean="0">
                <a:solidFill>
                  <a:schemeClr val="bg1"/>
                </a:solidFill>
                <a:effectLst/>
              </a:rPr>
              <a:pPr/>
              <a:t>0</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25400" y="1795463"/>
            <a:ext cx="4708525" cy="6064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2% </a:t>
            </a:r>
            <a:r>
              <a:rPr lang="en-US" dirty="0">
                <a:solidFill>
                  <a:srgbClr val="575757"/>
                </a:solidFill>
              </a:rPr>
              <a:t>CT 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3%</a:t>
            </a:r>
            <a:r>
              <a:rPr lang="en-US" sz="1400" dirty="0">
                <a:solidFill>
                  <a:srgbClr val="575757"/>
                </a:solidFill>
              </a:rPr>
              <a:t> vs</a:t>
            </a:r>
            <a:r>
              <a:rPr lang="en-US" sz="1400" dirty="0">
                <a:solidFill>
                  <a:srgbClr val="E71C57"/>
                </a:solidFill>
              </a:rPr>
              <a:t> </a:t>
            </a:r>
            <a:r>
              <a:rPr lang="en-US" sz="1400" dirty="0">
                <a:solidFill>
                  <a:srgbClr val="575757"/>
                </a:solidFill>
              </a:rPr>
              <a:t>Q3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latin typeface="+mj-lt"/>
              </a:rPr>
              <a:t>5</a:t>
            </a:r>
            <a:r>
              <a:rPr lang="en-US" sz="1400" dirty="0">
                <a:solidFill>
                  <a:srgbClr val="575757"/>
                </a:solidFill>
              </a:rPr>
              <a:t>% vs</a:t>
            </a:r>
            <a:r>
              <a:rPr lang="en-US" sz="1400" dirty="0">
                <a:solidFill>
                  <a:srgbClr val="E71C57"/>
                </a:solidFill>
              </a:rPr>
              <a:t> </a:t>
            </a:r>
            <a:r>
              <a:rPr lang="en-US" sz="1400" dirty="0">
                <a:solidFill>
                  <a:srgbClr val="575757"/>
                </a:solidFill>
              </a:rPr>
              <a:t>Q4 '20 </a:t>
            </a: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2%</a:t>
            </a:r>
            <a:r>
              <a:rPr lang="en-US" sz="1400" dirty="0">
                <a:solidFill>
                  <a:srgbClr val="575757"/>
                </a:solidFill>
              </a:rPr>
              <a:t> vs BIC Target</a:t>
            </a:r>
          </a:p>
        </p:txBody>
      </p:sp>
      <p:sp>
        <p:nvSpPr>
          <p:cNvPr id="74" name="Rectangle 73"/>
          <p:cNvSpPr/>
          <p:nvPr/>
        </p:nvSpPr>
        <p:spPr>
          <a:xfrm>
            <a:off x="4619485" y="1800225"/>
            <a:ext cx="4375430" cy="6064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86% </a:t>
            </a:r>
            <a:r>
              <a:rPr lang="en-US" dirty="0">
                <a:solidFill>
                  <a:srgbClr val="575757"/>
                </a:solidFill>
              </a:rPr>
              <a:t>BST satisfied</a:t>
            </a:r>
          </a:p>
          <a:p>
            <a:pPr algn="ctr"/>
            <a:endParaRPr lang="en-US" sz="1000" dirty="0">
              <a:solidFill>
                <a:srgbClr val="575757"/>
              </a:solidFill>
            </a:endParaRPr>
          </a:p>
          <a:p>
            <a:pPr algn="ctr"/>
            <a:r>
              <a:rPr lang="en-US" sz="1400" dirty="0">
                <a:solidFill>
                  <a:schemeClr val="bg2">
                    <a:lumMod val="50000"/>
                  </a:schemeClr>
                </a:solidFill>
                <a:latin typeface="Wingdings 3" panose="05040102010807070707" pitchFamily="18" charset="2"/>
              </a:rPr>
              <a:t>w</a:t>
            </a:r>
            <a:r>
              <a:rPr lang="en-US" sz="1400" dirty="0">
                <a:solidFill>
                  <a:srgbClr val="575757"/>
                </a:solidFill>
              </a:rPr>
              <a:t>0% vs</a:t>
            </a:r>
            <a:r>
              <a:rPr lang="en-US" sz="1400" dirty="0">
                <a:solidFill>
                  <a:srgbClr val="E71C57"/>
                </a:solidFill>
              </a:rPr>
              <a:t> </a:t>
            </a:r>
            <a:r>
              <a:rPr lang="en-US" sz="1400" dirty="0">
                <a:solidFill>
                  <a:srgbClr val="575757"/>
                </a:solidFill>
              </a:rPr>
              <a:t>Q3 '21 | </a:t>
            </a:r>
            <a:r>
              <a:rPr lang="en-US" sz="1400" dirty="0">
                <a:solidFill>
                  <a:schemeClr val="bg2">
                    <a:lumMod val="50000"/>
                  </a:schemeClr>
                </a:solidFill>
                <a:latin typeface="Wingdings 3" panose="05040102010807070707" pitchFamily="18" charset="2"/>
              </a:rPr>
              <a:t>w</a:t>
            </a:r>
            <a:r>
              <a:rPr lang="en-US" sz="1400" dirty="0">
                <a:solidFill>
                  <a:srgbClr val="575757"/>
                </a:solidFill>
              </a:rPr>
              <a:t>0% vs</a:t>
            </a:r>
            <a:r>
              <a:rPr lang="en-US" sz="1400" dirty="0">
                <a:solidFill>
                  <a:srgbClr val="E71C57"/>
                </a:solidFill>
              </a:rPr>
              <a:t> </a:t>
            </a:r>
            <a:r>
              <a:rPr lang="en-US" sz="1400" dirty="0">
                <a:solidFill>
                  <a:srgbClr val="575757"/>
                </a:solidFill>
              </a:rPr>
              <a:t>Q4 '20 </a:t>
            </a:r>
          </a:p>
          <a:p>
            <a:pPr algn="ctr"/>
            <a:r>
              <a:rPr lang="en-US" sz="1400" dirty="0">
                <a:solidFill>
                  <a:srgbClr val="29BA74"/>
                </a:solidFill>
                <a:latin typeface="Wingdings 3" panose="05040102010807070707" pitchFamily="18" charset="2"/>
              </a:rPr>
              <a:t>p</a:t>
            </a:r>
            <a:r>
              <a:rPr lang="en-US" sz="1400" dirty="0">
                <a:solidFill>
                  <a:srgbClr val="575757"/>
                </a:solidFill>
                <a:latin typeface="+mj-lt"/>
              </a:rPr>
              <a:t>6</a:t>
            </a:r>
            <a:r>
              <a:rPr lang="en-US" sz="1400" dirty="0">
                <a:solidFill>
                  <a:srgbClr val="575757"/>
                </a:solidFill>
              </a:rPr>
              <a:t>% vs BIC Target</a:t>
            </a:r>
            <a:endParaRPr lang="en-US" dirty="0">
              <a:solidFill>
                <a:srgbClr val="575757"/>
              </a:solidFill>
            </a:endParaRPr>
          </a:p>
        </p:txBody>
      </p:sp>
      <p:sp>
        <p:nvSpPr>
          <p:cNvPr id="7" name="Rectangle 6"/>
          <p:cNvSpPr/>
          <p:nvPr/>
        </p:nvSpPr>
        <p:spPr>
          <a:xfrm>
            <a:off x="1631950" y="4206875"/>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5964238" y="4216400"/>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cxnSp>
        <p:nvCxnSpPr>
          <p:cNvPr id="48" name="Straight Connector 47"/>
          <p:cNvCxnSpPr/>
          <p:nvPr/>
        </p:nvCxnSpPr>
        <p:spPr>
          <a:xfrm flipH="1" flipV="1">
            <a:off x="655638" y="2576513"/>
            <a:ext cx="7707313" cy="0"/>
          </a:xfrm>
          <a:prstGeom prst="line">
            <a:avLst/>
          </a:prstGeom>
          <a:ln w="19050" cap="rnd">
            <a:solidFill>
              <a:schemeClr val="tx1">
                <a:lumMod val="60000"/>
                <a:lumOff val="40000"/>
              </a:schemeClr>
            </a:solidFill>
            <a:prstDash val="sysDot"/>
          </a:ln>
        </p:spPr>
      </p:cxnSp>
      <p:sp>
        <p:nvSpPr>
          <p:cNvPr id="68" name="Rectangle 67"/>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49" name="Rectangle 48">
            <a:extLst>
              <a:ext uri="{FF2B5EF4-FFF2-40B4-BE49-F238E27FC236}">
                <a16:creationId xmlns:a16="http://schemas.microsoft.com/office/drawing/2014/main" id="{55654E54-584E-4DCF-82C4-3A397798AE36}"/>
              </a:ext>
            </a:extLst>
          </p:cNvPr>
          <p:cNvSpPr/>
          <p:nvPr/>
        </p:nvSpPr>
        <p:spPr>
          <a:xfrm>
            <a:off x="1638300" y="2579688"/>
            <a:ext cx="1519238"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sp>
        <p:nvSpPr>
          <p:cNvPr id="54" name="Rectangle 53">
            <a:extLst>
              <a:ext uri="{FF2B5EF4-FFF2-40B4-BE49-F238E27FC236}">
                <a16:creationId xmlns:a16="http://schemas.microsoft.com/office/drawing/2014/main" id="{57FFFD43-463D-4BE8-AF55-56C5988ADC22}"/>
              </a:ext>
            </a:extLst>
          </p:cNvPr>
          <p:cNvSpPr/>
          <p:nvPr/>
        </p:nvSpPr>
        <p:spPr>
          <a:xfrm>
            <a:off x="6040605" y="2586038"/>
            <a:ext cx="1519238" cy="387350"/>
          </a:xfrm>
          <a:prstGeom prst="rect">
            <a:avLst/>
          </a:prstGeom>
          <a:solidFill>
            <a:srgbClr val="29BA74"/>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ery Good</a:t>
            </a:r>
          </a:p>
        </p:txBody>
      </p:sp>
      <p:grpSp>
        <p:nvGrpSpPr>
          <p:cNvPr id="57" name="Group 56">
            <a:extLst>
              <a:ext uri="{FF2B5EF4-FFF2-40B4-BE49-F238E27FC236}">
                <a16:creationId xmlns:a16="http://schemas.microsoft.com/office/drawing/2014/main" id="{F7FFB5E8-73FB-460E-8A4A-C91E55DCF9D9}"/>
              </a:ext>
            </a:extLst>
          </p:cNvPr>
          <p:cNvGrpSpPr>
            <a:grpSpLocks noChangeAspect="1"/>
          </p:cNvGrpSpPr>
          <p:nvPr/>
        </p:nvGrpSpPr>
        <p:grpSpPr>
          <a:xfrm>
            <a:off x="514429" y="864696"/>
            <a:ext cx="457200" cy="457200"/>
            <a:chOff x="5867400" y="3200400"/>
            <a:chExt cx="457200" cy="457200"/>
          </a:xfrm>
        </p:grpSpPr>
        <p:sp>
          <p:nvSpPr>
            <p:cNvPr id="59" name="AutoShape 43">
              <a:extLst>
                <a:ext uri="{FF2B5EF4-FFF2-40B4-BE49-F238E27FC236}">
                  <a16:creationId xmlns:a16="http://schemas.microsoft.com/office/drawing/2014/main" id="{57A95749-9A19-4EC9-A99B-DB7AEE965684}"/>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7">
              <a:extLst>
                <a:ext uri="{FF2B5EF4-FFF2-40B4-BE49-F238E27FC236}">
                  <a16:creationId xmlns:a16="http://schemas.microsoft.com/office/drawing/2014/main" id="{32526E71-E489-4B2C-81BB-1FED3F43860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211551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6243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251" name="think-cell Slide" r:id="rId47" imgW="473" imgH="473" progId="TCLayout.ActiveDocument.1">
                  <p:embed/>
                </p:oleObj>
              </mc:Choice>
              <mc:Fallback>
                <p:oleObj name="think-cell Slide" r:id="rId47" imgW="473" imgH="473" progId="TCLayout.ActiveDocument.1">
                  <p:embed/>
                  <p:pic>
                    <p:nvPicPr>
                      <p:cNvPr id="5" name="Object 4" hidden="1"/>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34124" y="0"/>
            <a:ext cx="2894478"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cs typeface="Arial" pitchFamily="34" charset="0"/>
            </a:endParaRPr>
          </a:p>
          <a:p>
            <a:r>
              <a:rPr lang="en-GB" dirty="0">
                <a:solidFill>
                  <a:srgbClr val="FFFFFF"/>
                </a:solidFill>
                <a:cs typeface="Arial" pitchFamily="34" charset="0"/>
              </a:rPr>
              <a:t>CEMA has persistently been at the bottom of this ranking, although level with AP in Q4 </a:t>
            </a:r>
          </a:p>
          <a:p>
            <a:r>
              <a:rPr lang="en-GB" sz="1400" i="1" dirty="0">
                <a:solidFill>
                  <a:srgbClr val="FFFFFF"/>
                </a:solidFill>
                <a:cs typeface="Arial" pitchFamily="34" charset="0"/>
              </a:rPr>
              <a:t>(Next slide for more trending)</a:t>
            </a:r>
          </a:p>
        </p:txBody>
      </p:sp>
      <p:sp>
        <p:nvSpPr>
          <p:cNvPr id="3" name="Title 2"/>
          <p:cNvSpPr>
            <a:spLocks noGrp="1"/>
          </p:cNvSpPr>
          <p:nvPr>
            <p:ph type="title"/>
          </p:nvPr>
        </p:nvSpPr>
        <p:spPr/>
        <p:txBody>
          <a:bodyPr vert="horz"/>
          <a:lstStyle/>
          <a:p>
            <a:r>
              <a:rPr lang="en-US" dirty="0">
                <a:solidFill>
                  <a:srgbClr val="295E7E"/>
                </a:solidFill>
              </a:rPr>
              <a:t>Overall IT Support</a:t>
            </a:r>
          </a:p>
        </p:txBody>
      </p:sp>
      <p:graphicFrame>
        <p:nvGraphicFramePr>
          <p:cNvPr id="71" name="Chart 70">
            <a:extLst>
              <a:ext uri="{FF2B5EF4-FFF2-40B4-BE49-F238E27FC236}">
                <a16:creationId xmlns:a16="http://schemas.microsoft.com/office/drawing/2014/main" id="{3B6A24E0-174E-49CB-A109-9322EBFD90DC}"/>
              </a:ext>
            </a:extLst>
          </p:cNvPr>
          <p:cNvGraphicFramePr/>
          <p:nvPr>
            <p:custDataLst>
              <p:tags r:id="rId5"/>
            </p:custDataLst>
            <p:extLst>
              <p:ext uri="{D42A27DB-BD31-4B8C-83A1-F6EECF244321}">
                <p14:modId xmlns:p14="http://schemas.microsoft.com/office/powerpoint/2010/main" val="1706560858"/>
              </p:ext>
            </p:extLst>
          </p:nvPr>
        </p:nvGraphicFramePr>
        <p:xfrm>
          <a:off x="512763" y="3751263"/>
          <a:ext cx="2343150" cy="2343150"/>
        </p:xfrm>
        <a:graphic>
          <a:graphicData uri="http://schemas.openxmlformats.org/drawingml/2006/chart">
            <c:chart xmlns:c="http://schemas.openxmlformats.org/drawingml/2006/chart" xmlns:r="http://schemas.openxmlformats.org/officeDocument/2006/relationships" r:id="rId49"/>
          </a:graphicData>
        </a:graphic>
      </p:graphicFrame>
      <p:sp>
        <p:nvSpPr>
          <p:cNvPr id="18" name="Text Placeholder 3"/>
          <p:cNvSpPr>
            <a:spLocks noGrp="1"/>
          </p:cNvSpPr>
          <p:nvPr>
            <p:custDataLst>
              <p:tags r:id="rId6"/>
            </p:custDataLst>
          </p:nvPr>
        </p:nvSpPr>
        <p:spPr bwMode="gray">
          <a:xfrm>
            <a:off x="2384425" y="445770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E520B48-BB00-483F-8202-7C748BC31C3A}" type="datetime'''''''''''''''''''''3''''''''''''7'''''''''''''''''''">
              <a:rPr lang="en-US" altLang="en-US" smtClean="0">
                <a:solidFill>
                  <a:schemeClr val="bg1"/>
                </a:solidFill>
              </a:rPr>
              <a:pPr/>
              <a:t>37</a:t>
            </a:fld>
            <a:r>
              <a:rPr lang="en-US" altLang="en-US">
                <a:solidFill>
                  <a:schemeClr val="bg1"/>
                </a:solidFill>
                <a:sym typeface="+mn-lt"/>
              </a:rPr>
              <a:t>%</a:t>
            </a:r>
            <a:endParaRPr lang="en-US" dirty="0">
              <a:solidFill>
                <a:schemeClr val="bg1"/>
              </a:solidFill>
              <a:sym typeface="+mn-lt"/>
            </a:endParaRPr>
          </a:p>
        </p:txBody>
      </p:sp>
      <p:sp>
        <p:nvSpPr>
          <p:cNvPr id="19" name="Text Placeholder 3"/>
          <p:cNvSpPr>
            <a:spLocks noGrp="1"/>
          </p:cNvSpPr>
          <p:nvPr>
            <p:custDataLst>
              <p:tags r:id="rId7"/>
            </p:custDataLst>
          </p:nvPr>
        </p:nvSpPr>
        <p:spPr bwMode="gray">
          <a:xfrm>
            <a:off x="976313" y="5548313"/>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DF653F1-3EA7-4EA1-96C1-C7EC27B5EF21}" type="datetime'''''''4''''''''''''''''''''''''7'''''''''''''''''''''">
              <a:rPr lang="en-US" altLang="en-US" smtClean="0">
                <a:solidFill>
                  <a:schemeClr val="bg1"/>
                </a:solidFill>
              </a:rPr>
              <a:pPr/>
              <a:t>47</a:t>
            </a:fld>
            <a:r>
              <a:rPr lang="en-US" altLang="en-US">
                <a:solidFill>
                  <a:schemeClr val="bg1"/>
                </a:solidFill>
                <a:sym typeface="+mn-lt"/>
              </a:rPr>
              <a:t>%</a:t>
            </a:r>
            <a:endParaRPr lang="en-US" dirty="0">
              <a:solidFill>
                <a:schemeClr val="bg1"/>
              </a:solidFill>
              <a:sym typeface="+mn-lt"/>
            </a:endParaRPr>
          </a:p>
        </p:txBody>
      </p:sp>
      <p:sp>
        <p:nvSpPr>
          <p:cNvPr id="21" name="Text Placeholder 3"/>
          <p:cNvSpPr>
            <a:spLocks noGrp="1"/>
          </p:cNvSpPr>
          <p:nvPr>
            <p:custDataLst>
              <p:tags r:id="rId8"/>
            </p:custDataLst>
          </p:nvPr>
        </p:nvSpPr>
        <p:spPr bwMode="gray">
          <a:xfrm>
            <a:off x="1400175" y="3879850"/>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C7724C0-C97A-45CD-BC02-7D26A19BE006}" type="datetime'''''''''''''''''''''''''''''''''''''''''''''''''4'''''''">
              <a:rPr lang="en-US" altLang="en-US" smtClean="0">
                <a:solidFill>
                  <a:schemeClr val="bg1"/>
                </a:solidFill>
                <a:effectLst/>
              </a:rPr>
              <a:pPr/>
              <a:t>4</a:t>
            </a:fld>
            <a:r>
              <a:rPr lang="en-US" altLang="en-US">
                <a:solidFill>
                  <a:schemeClr val="bg1"/>
                </a:solidFill>
                <a:sym typeface="+mn-lt"/>
              </a:rPr>
              <a:t>%</a:t>
            </a:r>
            <a:endParaRPr lang="en-US" dirty="0">
              <a:solidFill>
                <a:schemeClr val="bg1"/>
              </a:solidFill>
              <a:sym typeface="+mn-lt"/>
            </a:endParaRPr>
          </a:p>
        </p:txBody>
      </p:sp>
      <p:sp>
        <p:nvSpPr>
          <p:cNvPr id="20" name="Text Placeholder 3"/>
          <p:cNvSpPr>
            <a:spLocks noGrp="1"/>
          </p:cNvSpPr>
          <p:nvPr>
            <p:custDataLst>
              <p:tags r:id="rId9"/>
            </p:custDataLst>
          </p:nvPr>
        </p:nvSpPr>
        <p:spPr bwMode="gray">
          <a:xfrm>
            <a:off x="976313" y="409575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6D3B4D9-B9B9-4DB6-BC2A-8CDFA3EDF764}" type="datetime'''''''''''''''''''''''''''''''''''''''''''''''1''1'''''''''">
              <a:rPr lang="en-US" altLang="en-US" smtClean="0"/>
              <a:pPr/>
              <a:t>11</a:t>
            </a:fld>
            <a:r>
              <a:rPr lang="en-US" altLang="en-US">
                <a:sym typeface="+mn-lt"/>
              </a:rPr>
              <a:t>%</a:t>
            </a:r>
            <a:endParaRPr lang="en-US" dirty="0">
              <a:sym typeface="+mn-lt"/>
            </a:endParaRPr>
          </a:p>
        </p:txBody>
      </p:sp>
      <p:sp>
        <p:nvSpPr>
          <p:cNvPr id="22" name="Text Placeholder 3"/>
          <p:cNvSpPr>
            <a:spLocks noGrp="1"/>
          </p:cNvSpPr>
          <p:nvPr>
            <p:custDataLst>
              <p:tags r:id="rId10"/>
            </p:custDataLst>
          </p:nvPr>
        </p:nvSpPr>
        <p:spPr bwMode="gray">
          <a:xfrm>
            <a:off x="1555750" y="4081463"/>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DC98B61-3047-4C6D-8D2F-BFA74996F261}"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graphicFrame>
        <p:nvGraphicFramePr>
          <p:cNvPr id="72" name="Chart 71">
            <a:extLst>
              <a:ext uri="{FF2B5EF4-FFF2-40B4-BE49-F238E27FC236}">
                <a16:creationId xmlns:a16="http://schemas.microsoft.com/office/drawing/2014/main" id="{962DB808-F29C-45A5-9551-74831130CC1D}"/>
              </a:ext>
            </a:extLst>
          </p:cNvPr>
          <p:cNvGraphicFramePr/>
          <p:nvPr>
            <p:custDataLst>
              <p:tags r:id="rId11"/>
            </p:custDataLst>
            <p:extLst>
              <p:ext uri="{D42A27DB-BD31-4B8C-83A1-F6EECF244321}">
                <p14:modId xmlns:p14="http://schemas.microsoft.com/office/powerpoint/2010/main" val="3973436297"/>
              </p:ext>
            </p:extLst>
          </p:nvPr>
        </p:nvGraphicFramePr>
        <p:xfrm>
          <a:off x="3508375" y="3751263"/>
          <a:ext cx="2343150" cy="2343150"/>
        </p:xfrm>
        <a:graphic>
          <a:graphicData uri="http://schemas.openxmlformats.org/drawingml/2006/chart">
            <c:chart xmlns:c="http://schemas.openxmlformats.org/drawingml/2006/chart" xmlns:r="http://schemas.openxmlformats.org/officeDocument/2006/relationships" r:id="rId50"/>
          </a:graphicData>
        </a:graphic>
      </p:graphicFrame>
      <p:sp>
        <p:nvSpPr>
          <p:cNvPr id="42" name="Text Placeholder 3"/>
          <p:cNvSpPr>
            <a:spLocks noGrp="1"/>
          </p:cNvSpPr>
          <p:nvPr>
            <p:custDataLst>
              <p:tags r:id="rId12"/>
            </p:custDataLst>
          </p:nvPr>
        </p:nvSpPr>
        <p:spPr bwMode="gray">
          <a:xfrm>
            <a:off x="4467225" y="3863975"/>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E7CEB1B-7893-4478-831F-36EFA4C2C7E4}"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39" name="Text Placeholder 3"/>
          <p:cNvSpPr>
            <a:spLocks noGrp="1"/>
          </p:cNvSpPr>
          <p:nvPr>
            <p:custDataLst>
              <p:tags r:id="rId13"/>
            </p:custDataLst>
          </p:nvPr>
        </p:nvSpPr>
        <p:spPr bwMode="gray">
          <a:xfrm>
            <a:off x="5351463" y="4402138"/>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50C2735-8F8C-47DD-A7F7-06886C9CC2AD}" type="datetime'''''''''''3''''''''''''''5'''''''">
              <a:rPr lang="en-US" altLang="en-US" smtClean="0">
                <a:solidFill>
                  <a:schemeClr val="bg1"/>
                </a:solidFill>
              </a:rPr>
              <a:pPr/>
              <a:t>35</a:t>
            </a:fld>
            <a:r>
              <a:rPr lang="en-US" altLang="en-US">
                <a:solidFill>
                  <a:schemeClr val="bg1"/>
                </a:solidFill>
                <a:sym typeface="+mn-lt"/>
              </a:rPr>
              <a:t>%</a:t>
            </a:r>
            <a:endParaRPr lang="en-US" dirty="0">
              <a:solidFill>
                <a:schemeClr val="bg1"/>
              </a:solidFill>
              <a:sym typeface="+mn-lt"/>
            </a:endParaRPr>
          </a:p>
        </p:txBody>
      </p:sp>
      <p:sp>
        <p:nvSpPr>
          <p:cNvPr id="43" name="Text Placeholder 3"/>
          <p:cNvSpPr>
            <a:spLocks noGrp="1"/>
          </p:cNvSpPr>
          <p:nvPr>
            <p:custDataLst>
              <p:tags r:id="rId14"/>
            </p:custDataLst>
          </p:nvPr>
        </p:nvSpPr>
        <p:spPr bwMode="gray">
          <a:xfrm>
            <a:off x="4559300" y="406558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6476564-0C28-437A-A8AF-CF0FF6623C44}" type="datetime'''''''''''''''''1'''''''''''''''''''''''''''''''''''''''''''''">
              <a:rPr lang="en-US" altLang="en-US" smtClean="0">
                <a:solidFill>
                  <a:schemeClr val="bg1"/>
                </a:solidFill>
              </a:rPr>
              <a:pPr/>
              <a:t>1</a:t>
            </a:fld>
            <a:r>
              <a:rPr lang="en-US" altLang="en-US">
                <a:solidFill>
                  <a:schemeClr val="bg1"/>
                </a:solidFill>
                <a:sym typeface="+mn-lt"/>
              </a:rPr>
              <a:t>%</a:t>
            </a:r>
            <a:endParaRPr lang="en-US" dirty="0">
              <a:solidFill>
                <a:schemeClr val="bg1"/>
              </a:solidFill>
              <a:sym typeface="+mn-lt"/>
            </a:endParaRPr>
          </a:p>
        </p:txBody>
      </p:sp>
      <p:sp>
        <p:nvSpPr>
          <p:cNvPr id="40" name="Text Placeholder 3"/>
          <p:cNvSpPr>
            <a:spLocks noGrp="1"/>
          </p:cNvSpPr>
          <p:nvPr>
            <p:custDataLst>
              <p:tags r:id="rId15"/>
            </p:custDataLst>
          </p:nvPr>
        </p:nvSpPr>
        <p:spPr bwMode="gray">
          <a:xfrm>
            <a:off x="4051300" y="560863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2FD4D99-7879-4849-8346-B0A43FBCE13C}" type="datetime'''''''''''''''''''''''4''''''''8'''''''''''''''''''''''''''''">
              <a:rPr lang="en-US" altLang="en-US" smtClean="0">
                <a:solidFill>
                  <a:schemeClr val="bg1"/>
                </a:solidFill>
              </a:rPr>
              <a:pPr/>
              <a:t>48</a:t>
            </a:fld>
            <a:r>
              <a:rPr lang="en-US" altLang="en-US">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16"/>
            </p:custDataLst>
          </p:nvPr>
        </p:nvSpPr>
        <p:spPr bwMode="gray">
          <a:xfrm>
            <a:off x="3989388" y="408146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58C75EC-FA35-4C79-B1BD-31A8BCB4CC4C}" type="datetime'''1''''''''''''''''''''''''4'''''''''''''''''''''''">
              <a:rPr lang="en-US" altLang="en-US" smtClean="0"/>
              <a:pPr/>
              <a:t>14</a:t>
            </a:fld>
            <a:r>
              <a:rPr lang="en-US" altLang="en-US">
                <a:sym typeface="+mn-lt"/>
              </a:rPr>
              <a:t>%</a:t>
            </a:r>
            <a:endParaRPr lang="en-US" dirty="0">
              <a:sym typeface="+mn-lt"/>
            </a:endParaRPr>
          </a:p>
        </p:txBody>
      </p:sp>
      <p:sp>
        <p:nvSpPr>
          <p:cNvPr id="44" name="Rectangle 43"/>
          <p:cNvSpPr/>
          <p:nvPr>
            <p:custDataLst>
              <p:tags r:id="rId17"/>
            </p:custDataLst>
          </p:nvPr>
        </p:nvSpPr>
        <p:spPr bwMode="gray">
          <a:xfrm>
            <a:off x="4832350" y="6308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8"/>
            </p:custDataLst>
          </p:nvPr>
        </p:nvSpPr>
        <p:spPr bwMode="gray">
          <a:xfrm>
            <a:off x="3011488" y="6308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9"/>
            </p:custDataLst>
          </p:nvPr>
        </p:nvSpPr>
        <p:spPr bwMode="gray">
          <a:xfrm>
            <a:off x="1720850" y="6308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20"/>
            </p:custDataLst>
          </p:nvPr>
        </p:nvSpPr>
        <p:spPr bwMode="gray">
          <a:xfrm>
            <a:off x="3960813" y="6308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8" name="Rectangle 47"/>
          <p:cNvSpPr/>
          <p:nvPr>
            <p:custDataLst>
              <p:tags r:id="rId21"/>
            </p:custDataLst>
          </p:nvPr>
        </p:nvSpPr>
        <p:spPr bwMode="gray">
          <a:xfrm>
            <a:off x="5969000" y="6308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Text Placeholder 3"/>
          <p:cNvSpPr>
            <a:spLocks noGrp="1"/>
          </p:cNvSpPr>
          <p:nvPr>
            <p:custDataLst>
              <p:tags r:id="rId22"/>
            </p:custDataLst>
          </p:nvPr>
        </p:nvSpPr>
        <p:spPr bwMode="gray">
          <a:xfrm>
            <a:off x="1985963" y="6289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04F16A6-8E98-469B-9EA2-A7C8A207D6B3}" type="datetime'''''V''''''''e''r''''y Sa''t''''''''''isf''''''''''i''''ed'">
              <a:rPr lang="en-US" altLang="en-US" smtClean="0">
                <a:sym typeface="+mn-lt"/>
              </a:rPr>
              <a:pPr>
                <a:spcBef>
                  <a:spcPct val="0"/>
                </a:spcBef>
                <a:spcAft>
                  <a:spcPct val="0"/>
                </a:spcAft>
              </a:pPr>
              <a:t>Very Satisfied</a:t>
            </a:fld>
            <a:endParaRPr lang="en-US" dirty="0">
              <a:sym typeface="+mn-lt"/>
            </a:endParaRPr>
          </a:p>
        </p:txBody>
      </p:sp>
      <p:sp>
        <p:nvSpPr>
          <p:cNvPr id="52" name="Text Placeholder 3"/>
          <p:cNvSpPr>
            <a:spLocks noGrp="1"/>
          </p:cNvSpPr>
          <p:nvPr>
            <p:custDataLst>
              <p:tags r:id="rId23"/>
            </p:custDataLst>
          </p:nvPr>
        </p:nvSpPr>
        <p:spPr bwMode="gray">
          <a:xfrm>
            <a:off x="4225925" y="6289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633A211-2CFF-402A-BFB4-879ACDCD6061}" type="datetime'''''N''''e''''u''''''''''tr''''''''''''''al'''''''">
              <a:rPr lang="en-US" altLang="en-US" smtClean="0">
                <a:sym typeface="+mn-lt"/>
              </a:rPr>
              <a:pPr>
                <a:spcBef>
                  <a:spcPct val="0"/>
                </a:spcBef>
                <a:spcAft>
                  <a:spcPct val="0"/>
                </a:spcAft>
              </a:pPr>
              <a:t>Neutral</a:t>
            </a:fld>
            <a:endParaRPr lang="en-US" dirty="0">
              <a:sym typeface="+mn-lt"/>
            </a:endParaRPr>
          </a:p>
        </p:txBody>
      </p:sp>
      <p:sp>
        <p:nvSpPr>
          <p:cNvPr id="50" name="Text Placeholder 3"/>
          <p:cNvSpPr>
            <a:spLocks noGrp="1"/>
          </p:cNvSpPr>
          <p:nvPr>
            <p:custDataLst>
              <p:tags r:id="rId24"/>
            </p:custDataLst>
          </p:nvPr>
        </p:nvSpPr>
        <p:spPr bwMode="gray">
          <a:xfrm>
            <a:off x="3276600" y="6289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DCA53F9-E770-4D2B-A293-7CDA407FE648}" type="datetime'''''Sa''''''''''''t''''''is''''''''''f''''''''''''i''''ed'">
              <a:rPr lang="en-US" altLang="en-US" smtClean="0">
                <a:sym typeface="+mn-lt"/>
              </a:rPr>
              <a:pPr>
                <a:spcBef>
                  <a:spcPct val="0"/>
                </a:spcBef>
                <a:spcAft>
                  <a:spcPct val="0"/>
                </a:spcAft>
              </a:pPr>
              <a:t>Satisfied</a:t>
            </a:fld>
            <a:endParaRPr lang="en-US" dirty="0">
              <a:sym typeface="+mn-lt"/>
            </a:endParaRPr>
          </a:p>
        </p:txBody>
      </p:sp>
      <p:sp>
        <p:nvSpPr>
          <p:cNvPr id="53" name="Text Placeholder 3"/>
          <p:cNvSpPr>
            <a:spLocks noGrp="1"/>
          </p:cNvSpPr>
          <p:nvPr>
            <p:custDataLst>
              <p:tags r:id="rId25"/>
            </p:custDataLst>
          </p:nvPr>
        </p:nvSpPr>
        <p:spPr bwMode="gray">
          <a:xfrm>
            <a:off x="5097463" y="6289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ED6501C-9863-4E25-B601-8BDE7239DC57}" type="datetime'''''''Di''''''s''sa''''''''''''''''t''i''s''fi''''''ed'''''">
              <a:rPr lang="en-US" altLang="en-US" smtClean="0">
                <a:sym typeface="+mn-lt"/>
              </a:rPr>
              <a:pPr>
                <a:spcBef>
                  <a:spcPct val="0"/>
                </a:spcBef>
                <a:spcAft>
                  <a:spcPct val="0"/>
                </a:spcAft>
              </a:pPr>
              <a:t>Dissatisfied</a:t>
            </a:fld>
            <a:endParaRPr lang="en-US" dirty="0">
              <a:sym typeface="+mn-lt"/>
            </a:endParaRPr>
          </a:p>
        </p:txBody>
      </p:sp>
      <p:sp>
        <p:nvSpPr>
          <p:cNvPr id="51" name="Text Placeholder 3"/>
          <p:cNvSpPr>
            <a:spLocks noGrp="1"/>
          </p:cNvSpPr>
          <p:nvPr>
            <p:custDataLst>
              <p:tags r:id="rId26"/>
            </p:custDataLst>
          </p:nvPr>
        </p:nvSpPr>
        <p:spPr bwMode="gray">
          <a:xfrm>
            <a:off x="6234113" y="6289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535FFE8-060D-4AE9-ABE7-31EDD2548CF2}" type="datetime'''V''''''er''''y D''''i''ss''''ati''''''''s''f''''i''ed'''">
              <a:rPr lang="en-US" altLang="en-US" smtClean="0">
                <a:sym typeface="+mn-lt"/>
              </a:rPr>
              <a:pPr>
                <a:spcBef>
                  <a:spcPct val="0"/>
                </a:spcBef>
                <a:spcAft>
                  <a:spcPct val="0"/>
                </a:spcAft>
              </a:pPr>
              <a:t>Very Dissatisfied</a:t>
            </a:fld>
            <a:endParaRPr lang="en-US" dirty="0">
              <a:sym typeface="+mn-lt"/>
            </a:endParaRPr>
          </a:p>
        </p:txBody>
      </p:sp>
      <p:graphicFrame>
        <p:nvGraphicFramePr>
          <p:cNvPr id="73" name="Chart 72">
            <a:extLst>
              <a:ext uri="{FF2B5EF4-FFF2-40B4-BE49-F238E27FC236}">
                <a16:creationId xmlns:a16="http://schemas.microsoft.com/office/drawing/2014/main" id="{72413FB2-8AA2-4D3F-A33B-5F32AABD141A}"/>
              </a:ext>
            </a:extLst>
          </p:cNvPr>
          <p:cNvGraphicFramePr/>
          <p:nvPr>
            <p:custDataLst>
              <p:tags r:id="rId27"/>
            </p:custDataLst>
            <p:extLst>
              <p:ext uri="{D42A27DB-BD31-4B8C-83A1-F6EECF244321}">
                <p14:modId xmlns:p14="http://schemas.microsoft.com/office/powerpoint/2010/main" val="1029199813"/>
              </p:ext>
            </p:extLst>
          </p:nvPr>
        </p:nvGraphicFramePr>
        <p:xfrm>
          <a:off x="3508375" y="1433513"/>
          <a:ext cx="2343150" cy="2343150"/>
        </p:xfrm>
        <a:graphic>
          <a:graphicData uri="http://schemas.openxmlformats.org/drawingml/2006/chart">
            <c:chart xmlns:c="http://schemas.openxmlformats.org/drawingml/2006/chart" xmlns:r="http://schemas.openxmlformats.org/officeDocument/2006/relationships" r:id="rId51"/>
          </a:graphicData>
        </a:graphic>
      </p:graphicFrame>
      <p:sp>
        <p:nvSpPr>
          <p:cNvPr id="57" name="Text Placeholder 3"/>
          <p:cNvSpPr>
            <a:spLocks noGrp="1"/>
          </p:cNvSpPr>
          <p:nvPr>
            <p:custDataLst>
              <p:tags r:id="rId28"/>
            </p:custDataLst>
          </p:nvPr>
        </p:nvSpPr>
        <p:spPr bwMode="gray">
          <a:xfrm>
            <a:off x="5375275" y="2130425"/>
            <a:ext cx="288925" cy="18256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843874BC-1888-4361-9FB5-118782A548B7}" type="datetime'''''''''''''''3''''''''''''''''''''''''''''''''6'''''''''''">
              <a:rPr lang="en-US" altLang="en-US" sz="1200" smtClean="0">
                <a:solidFill>
                  <a:schemeClr val="bg1"/>
                </a:solidFill>
              </a:rPr>
              <a:pPr/>
              <a:t>36</a:t>
            </a:fld>
            <a:r>
              <a:rPr lang="en-US" altLang="en-US" sz="1200">
                <a:solidFill>
                  <a:schemeClr val="bg1"/>
                </a:solidFill>
                <a:sym typeface="+mn-lt"/>
              </a:rPr>
              <a:t>%</a:t>
            </a:r>
            <a:endParaRPr lang="en-US" sz="1200" dirty="0">
              <a:solidFill>
                <a:schemeClr val="bg1"/>
              </a:solidFill>
              <a:sym typeface="+mn-lt"/>
            </a:endParaRPr>
          </a:p>
        </p:txBody>
      </p:sp>
      <p:sp>
        <p:nvSpPr>
          <p:cNvPr id="58" name="Text Placeholder 3"/>
          <p:cNvSpPr>
            <a:spLocks noGrp="1"/>
          </p:cNvSpPr>
          <p:nvPr>
            <p:custDataLst>
              <p:tags r:id="rId29"/>
            </p:custDataLst>
          </p:nvPr>
        </p:nvSpPr>
        <p:spPr bwMode="gray">
          <a:xfrm>
            <a:off x="3984625" y="3259138"/>
            <a:ext cx="288925"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900BC097-90C8-4975-886A-F6A8E9869629}" type="datetime'''''''''''''''4''''''''''''''8'''''''''''''''''">
              <a:rPr lang="en-US" altLang="en-US" sz="1200" smtClean="0">
                <a:solidFill>
                  <a:schemeClr val="bg1"/>
                </a:solidFill>
              </a:rPr>
              <a:pPr/>
              <a:t>48</a:t>
            </a:fld>
            <a:r>
              <a:rPr lang="en-US" altLang="en-US" sz="1200">
                <a:solidFill>
                  <a:schemeClr val="bg1"/>
                </a:solidFill>
                <a:sym typeface="+mn-lt"/>
              </a:rPr>
              <a:t>%</a:t>
            </a:r>
            <a:endParaRPr lang="en-US" sz="1200" dirty="0">
              <a:solidFill>
                <a:schemeClr val="bg1"/>
              </a:solidFill>
              <a:sym typeface="+mn-lt"/>
            </a:endParaRPr>
          </a:p>
        </p:txBody>
      </p:sp>
      <p:sp>
        <p:nvSpPr>
          <p:cNvPr id="59" name="Text Placeholder 3"/>
          <p:cNvSpPr>
            <a:spLocks noGrp="1"/>
          </p:cNvSpPr>
          <p:nvPr>
            <p:custDataLst>
              <p:tags r:id="rId30"/>
            </p:custDataLst>
          </p:nvPr>
        </p:nvSpPr>
        <p:spPr bwMode="gray">
          <a:xfrm>
            <a:off x="3995738" y="1758950"/>
            <a:ext cx="288925" cy="18256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641C3B24-ECA8-4335-9340-A4CE3A5FC23C}" type="datetime'''1''''''''2'''''''">
              <a:rPr lang="en-US" altLang="en-US" sz="1200" smtClean="0"/>
              <a:pPr/>
              <a:t>12</a:t>
            </a:fld>
            <a:r>
              <a:rPr lang="en-US" altLang="en-US" sz="1200">
                <a:sym typeface="+mn-lt"/>
              </a:rPr>
              <a:t>%</a:t>
            </a:r>
            <a:endParaRPr lang="en-US" sz="1200" dirty="0">
              <a:sym typeface="+mn-lt"/>
            </a:endParaRPr>
          </a:p>
        </p:txBody>
      </p:sp>
      <p:sp>
        <p:nvSpPr>
          <p:cNvPr id="60" name="Text Placeholder 3"/>
          <p:cNvSpPr>
            <a:spLocks noGrp="1"/>
          </p:cNvSpPr>
          <p:nvPr>
            <p:custDataLst>
              <p:tags r:id="rId31"/>
            </p:custDataLst>
          </p:nvPr>
        </p:nvSpPr>
        <p:spPr bwMode="gray">
          <a:xfrm>
            <a:off x="4446588" y="1550988"/>
            <a:ext cx="209550" cy="182563"/>
          </a:xfrm>
          <a:prstGeom prst="rect">
            <a:avLst/>
          </a:prstGeom>
          <a:solidFill>
            <a:srgbClr val="ABA8B3"/>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C8AED418-98FF-406D-9A14-AC26FC7E87BF}" type="datetime'''''''''''''3'''''">
              <a:rPr lang="en-US" altLang="en-US" sz="1200" smtClean="0">
                <a:solidFill>
                  <a:schemeClr val="bg1"/>
                </a:solidFill>
                <a:effectLst/>
              </a:rPr>
              <a:pPr/>
              <a:t>3</a:t>
            </a:fld>
            <a:r>
              <a:rPr lang="en-US" altLang="en-US" sz="1200">
                <a:solidFill>
                  <a:schemeClr val="bg1"/>
                </a:solidFill>
                <a:sym typeface="+mn-lt"/>
              </a:rPr>
              <a:t>%</a:t>
            </a:r>
            <a:endParaRPr lang="en-US" sz="1200" dirty="0">
              <a:solidFill>
                <a:schemeClr val="bg1"/>
              </a:solidFill>
              <a:sym typeface="+mn-lt"/>
            </a:endParaRPr>
          </a:p>
        </p:txBody>
      </p:sp>
      <p:sp>
        <p:nvSpPr>
          <p:cNvPr id="61" name="Text Placeholder 3"/>
          <p:cNvSpPr>
            <a:spLocks noGrp="1"/>
          </p:cNvSpPr>
          <p:nvPr>
            <p:custDataLst>
              <p:tags r:id="rId32"/>
            </p:custDataLst>
          </p:nvPr>
        </p:nvSpPr>
        <p:spPr bwMode="gray">
          <a:xfrm>
            <a:off x="4560888" y="1733550"/>
            <a:ext cx="209550" cy="182563"/>
          </a:xfrm>
          <a:prstGeom prst="rect">
            <a:avLst/>
          </a:prstGeom>
          <a:solidFill>
            <a:srgbClr val="837F7F"/>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824A78E9-C9AD-4171-ABB3-C301458B3B46}" type="datetime'''''''''''''1'''''''''''''''''''''''''''''''">
              <a:rPr lang="en-US" altLang="en-US" sz="1200" smtClean="0">
                <a:solidFill>
                  <a:schemeClr val="bg1"/>
                </a:solidFill>
                <a:effectLst/>
              </a:rPr>
              <a:pPr/>
              <a:t>1</a:t>
            </a:fld>
            <a:r>
              <a:rPr lang="en-US" altLang="en-US" sz="1200">
                <a:solidFill>
                  <a:schemeClr val="bg1"/>
                </a:solidFill>
                <a:sym typeface="+mn-lt"/>
              </a:rPr>
              <a:t>%</a:t>
            </a:r>
            <a:endParaRPr lang="en-US" sz="1200" dirty="0">
              <a:solidFill>
                <a:schemeClr val="bg1"/>
              </a:solidFill>
              <a:sym typeface="+mn-lt"/>
            </a:endParaRPr>
          </a:p>
        </p:txBody>
      </p:sp>
      <p:graphicFrame>
        <p:nvGraphicFramePr>
          <p:cNvPr id="74" name="Chart 73">
            <a:extLst>
              <a:ext uri="{FF2B5EF4-FFF2-40B4-BE49-F238E27FC236}">
                <a16:creationId xmlns:a16="http://schemas.microsoft.com/office/drawing/2014/main" id="{5314C8CB-1514-4301-94C0-2D48A7A45E56}"/>
              </a:ext>
            </a:extLst>
          </p:cNvPr>
          <p:cNvGraphicFramePr/>
          <p:nvPr>
            <p:custDataLst>
              <p:tags r:id="rId33"/>
            </p:custDataLst>
            <p:extLst>
              <p:ext uri="{D42A27DB-BD31-4B8C-83A1-F6EECF244321}">
                <p14:modId xmlns:p14="http://schemas.microsoft.com/office/powerpoint/2010/main" val="2427162153"/>
              </p:ext>
            </p:extLst>
          </p:nvPr>
        </p:nvGraphicFramePr>
        <p:xfrm>
          <a:off x="512763" y="1433513"/>
          <a:ext cx="2343150" cy="2343150"/>
        </p:xfrm>
        <a:graphic>
          <a:graphicData uri="http://schemas.openxmlformats.org/drawingml/2006/chart">
            <c:chart xmlns:c="http://schemas.openxmlformats.org/drawingml/2006/chart" xmlns:r="http://schemas.openxmlformats.org/officeDocument/2006/relationships" r:id="rId52"/>
          </a:graphicData>
        </a:graphic>
      </p:graphicFrame>
      <p:sp>
        <p:nvSpPr>
          <p:cNvPr id="83" name="Text Placeholder 3"/>
          <p:cNvSpPr>
            <a:spLocks noGrp="1"/>
          </p:cNvSpPr>
          <p:nvPr>
            <p:custDataLst>
              <p:tags r:id="rId34"/>
            </p:custDataLst>
          </p:nvPr>
        </p:nvSpPr>
        <p:spPr bwMode="gray">
          <a:xfrm>
            <a:off x="1555750" y="1725613"/>
            <a:ext cx="209550" cy="182563"/>
          </a:xfrm>
          <a:prstGeom prst="rect">
            <a:avLst/>
          </a:prstGeom>
          <a:solidFill>
            <a:srgbClr val="837F7F"/>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B12A2BFF-5AD3-44A8-907A-6A944C779802}" type="datetime'''''''1'''''''''''''''''''''''''''''''''''''">
              <a:rPr lang="en-US" altLang="en-US" sz="1200" smtClean="0">
                <a:solidFill>
                  <a:schemeClr val="bg1"/>
                </a:solidFill>
                <a:effectLst/>
              </a:rPr>
              <a:pPr/>
              <a:t>1</a:t>
            </a:fld>
            <a:r>
              <a:rPr lang="en-US" altLang="en-US" sz="1200">
                <a:solidFill>
                  <a:schemeClr val="bg1"/>
                </a:solidFill>
                <a:sym typeface="+mn-lt"/>
              </a:rPr>
              <a:t>%</a:t>
            </a:r>
            <a:endParaRPr lang="en-US" sz="1200" dirty="0">
              <a:solidFill>
                <a:schemeClr val="bg1"/>
              </a:solidFill>
              <a:sym typeface="+mn-lt"/>
            </a:endParaRPr>
          </a:p>
        </p:txBody>
      </p:sp>
      <p:sp>
        <p:nvSpPr>
          <p:cNvPr id="79" name="Text Placeholder 3"/>
          <p:cNvSpPr>
            <a:spLocks noGrp="1"/>
          </p:cNvSpPr>
          <p:nvPr>
            <p:custDataLst>
              <p:tags r:id="rId35"/>
            </p:custDataLst>
          </p:nvPr>
        </p:nvSpPr>
        <p:spPr bwMode="gray">
          <a:xfrm>
            <a:off x="2476500" y="2427288"/>
            <a:ext cx="288925" cy="18256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013FF466-643B-43B7-8521-5C072BDF0D8D}" type="datetime'''''''''''''''''''''''''''''4''''''''''''''7'''''''">
              <a:rPr lang="en-US" altLang="en-US" sz="1200" smtClean="0">
                <a:solidFill>
                  <a:schemeClr val="bg1"/>
                </a:solidFill>
              </a:rPr>
              <a:pPr/>
              <a:t>47</a:t>
            </a:fld>
            <a:r>
              <a:rPr lang="en-US" altLang="en-US" sz="1200">
                <a:solidFill>
                  <a:schemeClr val="bg1"/>
                </a:solidFill>
                <a:sym typeface="+mn-lt"/>
              </a:rPr>
              <a:t>%</a:t>
            </a:r>
            <a:endParaRPr lang="en-US" sz="1200" dirty="0">
              <a:solidFill>
                <a:schemeClr val="bg1"/>
              </a:solidFill>
              <a:sym typeface="+mn-lt"/>
            </a:endParaRPr>
          </a:p>
        </p:txBody>
      </p:sp>
      <p:sp>
        <p:nvSpPr>
          <p:cNvPr id="80" name="Text Placeholder 3"/>
          <p:cNvSpPr>
            <a:spLocks noGrp="1"/>
          </p:cNvSpPr>
          <p:nvPr>
            <p:custDataLst>
              <p:tags r:id="rId36"/>
            </p:custDataLst>
          </p:nvPr>
        </p:nvSpPr>
        <p:spPr bwMode="gray">
          <a:xfrm>
            <a:off x="708025" y="2913063"/>
            <a:ext cx="288925"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97D84B3C-7B36-4E14-8EE7-0853D1D7B482}" type="datetime'''''''''''''''''''''''42'''''''''">
              <a:rPr lang="en-US" altLang="en-US" sz="1200" smtClean="0">
                <a:solidFill>
                  <a:schemeClr val="bg1"/>
                </a:solidFill>
              </a:rPr>
              <a:pPr/>
              <a:t>42</a:t>
            </a:fld>
            <a:r>
              <a:rPr lang="en-US" altLang="en-US" sz="1200">
                <a:solidFill>
                  <a:schemeClr val="bg1"/>
                </a:solidFill>
                <a:sym typeface="+mn-lt"/>
              </a:rPr>
              <a:t>%</a:t>
            </a:r>
            <a:endParaRPr lang="en-US" sz="1200" dirty="0">
              <a:solidFill>
                <a:schemeClr val="bg1"/>
              </a:solidFill>
              <a:sym typeface="+mn-lt"/>
            </a:endParaRPr>
          </a:p>
        </p:txBody>
      </p:sp>
      <p:sp>
        <p:nvSpPr>
          <p:cNvPr id="81" name="Text Placeholder 3"/>
          <p:cNvSpPr>
            <a:spLocks noGrp="1"/>
          </p:cNvSpPr>
          <p:nvPr>
            <p:custDataLst>
              <p:tags r:id="rId37"/>
            </p:custDataLst>
          </p:nvPr>
        </p:nvSpPr>
        <p:spPr bwMode="gray">
          <a:xfrm>
            <a:off x="1192213" y="1638300"/>
            <a:ext cx="209550" cy="18256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EC7781A5-B54E-4019-8FAF-F32788361D6E}" type="datetime'''''''''''''9'''">
              <a:rPr lang="en-US" altLang="en-US" sz="1200" smtClean="0"/>
              <a:pPr/>
              <a:t>9</a:t>
            </a:fld>
            <a:r>
              <a:rPr lang="en-US" altLang="en-US" sz="1200">
                <a:sym typeface="+mn-lt"/>
              </a:rPr>
              <a:t>%</a:t>
            </a:r>
            <a:endParaRPr lang="en-US" sz="1200" dirty="0">
              <a:sym typeface="+mn-lt"/>
            </a:endParaRPr>
          </a:p>
        </p:txBody>
      </p:sp>
      <p:sp>
        <p:nvSpPr>
          <p:cNvPr id="82" name="Text Placeholder 3"/>
          <p:cNvSpPr>
            <a:spLocks noGrp="1"/>
          </p:cNvSpPr>
          <p:nvPr>
            <p:custDataLst>
              <p:tags r:id="rId38"/>
            </p:custDataLst>
          </p:nvPr>
        </p:nvSpPr>
        <p:spPr bwMode="gray">
          <a:xfrm>
            <a:off x="1489075" y="1543050"/>
            <a:ext cx="209550" cy="182563"/>
          </a:xfrm>
          <a:prstGeom prst="rect">
            <a:avLst/>
          </a:prstGeom>
          <a:solidFill>
            <a:srgbClr val="ABA8B3"/>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0172F001-A7B4-4EDF-8CB8-5C9E341FB0D1}" type="datetime'''''''''''''''''''''''''''1'''''''''''''''''''''''''''''''">
              <a:rPr lang="en-US" altLang="en-US" sz="1200" smtClean="0">
                <a:solidFill>
                  <a:schemeClr val="bg1"/>
                </a:solidFill>
              </a:rPr>
              <a:pPr/>
              <a:t>1</a:t>
            </a:fld>
            <a:r>
              <a:rPr lang="en-US" altLang="en-US" sz="1200">
                <a:solidFill>
                  <a:schemeClr val="bg1"/>
                </a:solidFill>
                <a:sym typeface="+mn-lt"/>
              </a:rPr>
              <a:t>%</a:t>
            </a:r>
            <a:endParaRPr lang="en-US" sz="1200" dirty="0">
              <a:solidFill>
                <a:schemeClr val="bg1"/>
              </a:solidFill>
              <a:sym typeface="+mn-lt"/>
            </a:endParaRPr>
          </a:p>
        </p:txBody>
      </p:sp>
      <p:sp>
        <p:nvSpPr>
          <p:cNvPr id="154" name="Rectangle 153"/>
          <p:cNvSpPr/>
          <p:nvPr/>
        </p:nvSpPr>
        <p:spPr>
          <a:xfrm>
            <a:off x="3958597" y="4483100"/>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CEMA</a:t>
            </a:r>
          </a:p>
        </p:txBody>
      </p:sp>
      <p:sp>
        <p:nvSpPr>
          <p:cNvPr id="155" name="Rectangle 154"/>
          <p:cNvSpPr/>
          <p:nvPr/>
        </p:nvSpPr>
        <p:spPr>
          <a:xfrm>
            <a:off x="3972884" y="2146300"/>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NAMR</a:t>
            </a:r>
          </a:p>
        </p:txBody>
      </p:sp>
      <p:sp>
        <p:nvSpPr>
          <p:cNvPr id="54" name="Rectangle 53"/>
          <p:cNvSpPr/>
          <p:nvPr/>
        </p:nvSpPr>
        <p:spPr>
          <a:xfrm>
            <a:off x="4231647" y="2441575"/>
            <a:ext cx="884238"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84%</a:t>
            </a:r>
          </a:p>
        </p:txBody>
      </p:sp>
      <p:sp>
        <p:nvSpPr>
          <p:cNvPr id="55" name="Rectangle 54"/>
          <p:cNvSpPr/>
          <p:nvPr/>
        </p:nvSpPr>
        <p:spPr>
          <a:xfrm>
            <a:off x="4236409" y="4811713"/>
            <a:ext cx="915988"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83%</a:t>
            </a:r>
          </a:p>
        </p:txBody>
      </p:sp>
      <p:sp>
        <p:nvSpPr>
          <p:cNvPr id="84" name="Rectangle 83"/>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a:t>
            </a:r>
          </a:p>
        </p:txBody>
      </p:sp>
      <p:sp>
        <p:nvSpPr>
          <p:cNvPr id="6" name="Rectangle 5">
            <a:extLst>
              <a:ext uri="{FF2B5EF4-FFF2-40B4-BE49-F238E27FC236}">
                <a16:creationId xmlns:a16="http://schemas.microsoft.com/office/drawing/2014/main" id="{09E86525-597B-4100-961A-2352528CE18A}"/>
              </a:ext>
            </a:extLst>
          </p:cNvPr>
          <p:cNvSpPr/>
          <p:nvPr/>
        </p:nvSpPr>
        <p:spPr>
          <a:xfrm>
            <a:off x="4212597" y="2781300"/>
            <a:ext cx="923925" cy="220663"/>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nvGrpSpPr>
          <p:cNvPr id="8" name="Group 7">
            <a:extLst>
              <a:ext uri="{FF2B5EF4-FFF2-40B4-BE49-F238E27FC236}">
                <a16:creationId xmlns:a16="http://schemas.microsoft.com/office/drawing/2014/main" id="{A4DF0931-9635-4B76-BA02-46AE3A9AA956}"/>
              </a:ext>
            </a:extLst>
          </p:cNvPr>
          <p:cNvGrpSpPr/>
          <p:nvPr/>
        </p:nvGrpSpPr>
        <p:grpSpPr>
          <a:xfrm>
            <a:off x="944563" y="4435475"/>
            <a:ext cx="1416050" cy="577850"/>
            <a:chOff x="5434013" y="2266949"/>
            <a:chExt cx="1416050" cy="576726"/>
          </a:xfrm>
        </p:grpSpPr>
        <p:sp>
          <p:nvSpPr>
            <p:cNvPr id="2" name="Rectangle 1"/>
            <p:cNvSpPr/>
            <p:nvPr/>
          </p:nvSpPr>
          <p:spPr>
            <a:xfrm>
              <a:off x="5434013" y="2266949"/>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AP</a:t>
              </a:r>
            </a:p>
          </p:txBody>
        </p:sp>
        <p:sp>
          <p:nvSpPr>
            <p:cNvPr id="56" name="Rectangle 55"/>
            <p:cNvSpPr/>
            <p:nvPr/>
          </p:nvSpPr>
          <p:spPr>
            <a:xfrm>
              <a:off x="5716490" y="2563389"/>
              <a:ext cx="884238" cy="2802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84%</a:t>
              </a:r>
            </a:p>
          </p:txBody>
        </p:sp>
      </p:grpSp>
      <p:grpSp>
        <p:nvGrpSpPr>
          <p:cNvPr id="7" name="Group 6">
            <a:extLst>
              <a:ext uri="{FF2B5EF4-FFF2-40B4-BE49-F238E27FC236}">
                <a16:creationId xmlns:a16="http://schemas.microsoft.com/office/drawing/2014/main" id="{D0BC6900-675A-433D-92DF-BB1CC804E9CE}"/>
              </a:ext>
            </a:extLst>
          </p:cNvPr>
          <p:cNvGrpSpPr/>
          <p:nvPr/>
        </p:nvGrpSpPr>
        <p:grpSpPr>
          <a:xfrm>
            <a:off x="963613" y="2146300"/>
            <a:ext cx="1416050" cy="947738"/>
            <a:chOff x="2232025" y="4665662"/>
            <a:chExt cx="1416050" cy="947704"/>
          </a:xfrm>
        </p:grpSpPr>
        <p:sp>
          <p:nvSpPr>
            <p:cNvPr id="157" name="Rectangle 156"/>
            <p:cNvSpPr/>
            <p:nvPr/>
          </p:nvSpPr>
          <p:spPr>
            <a:xfrm>
              <a:off x="2232025" y="4665662"/>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WESA</a:t>
              </a:r>
            </a:p>
          </p:txBody>
        </p:sp>
        <p:sp>
          <p:nvSpPr>
            <p:cNvPr id="62" name="Rectangle 61"/>
            <p:cNvSpPr/>
            <p:nvPr/>
          </p:nvSpPr>
          <p:spPr>
            <a:xfrm>
              <a:off x="2513013" y="4975911"/>
              <a:ext cx="884238"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89%</a:t>
              </a:r>
            </a:p>
          </p:txBody>
        </p:sp>
        <p:sp>
          <p:nvSpPr>
            <p:cNvPr id="102" name="Rectangle 101">
              <a:extLst>
                <a:ext uri="{FF2B5EF4-FFF2-40B4-BE49-F238E27FC236}">
                  <a16:creationId xmlns:a16="http://schemas.microsoft.com/office/drawing/2014/main" id="{058E0607-3638-4FEF-9EF6-6B17D7216E17}"/>
                </a:ext>
              </a:extLst>
            </p:cNvPr>
            <p:cNvSpPr/>
            <p:nvPr/>
          </p:nvSpPr>
          <p:spPr>
            <a:xfrm>
              <a:off x="2460625" y="5392410"/>
              <a:ext cx="924203" cy="220956"/>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sp>
        <p:nvSpPr>
          <p:cNvPr id="103" name="Rectangle 102">
            <a:extLst>
              <a:ext uri="{FF2B5EF4-FFF2-40B4-BE49-F238E27FC236}">
                <a16:creationId xmlns:a16="http://schemas.microsoft.com/office/drawing/2014/main" id="{6FF16B40-5541-4557-BAB8-EF7B98AF9D23}"/>
              </a:ext>
            </a:extLst>
          </p:cNvPr>
          <p:cNvSpPr/>
          <p:nvPr/>
        </p:nvSpPr>
        <p:spPr>
          <a:xfrm>
            <a:off x="4231647" y="5187950"/>
            <a:ext cx="923925" cy="220663"/>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nvGrpSpPr>
          <p:cNvPr id="67" name="Group 66">
            <a:extLst>
              <a:ext uri="{FF2B5EF4-FFF2-40B4-BE49-F238E27FC236}">
                <a16:creationId xmlns:a16="http://schemas.microsoft.com/office/drawing/2014/main" id="{2A1442CD-5BDE-4B59-BB13-860EFF0BB16E}"/>
              </a:ext>
            </a:extLst>
          </p:cNvPr>
          <p:cNvGrpSpPr>
            <a:grpSpLocks noChangeAspect="1"/>
          </p:cNvGrpSpPr>
          <p:nvPr/>
        </p:nvGrpSpPr>
        <p:grpSpPr>
          <a:xfrm>
            <a:off x="514429" y="864696"/>
            <a:ext cx="457200" cy="457200"/>
            <a:chOff x="5867400" y="3200400"/>
            <a:chExt cx="457200" cy="457200"/>
          </a:xfrm>
        </p:grpSpPr>
        <p:sp>
          <p:nvSpPr>
            <p:cNvPr id="68" name="AutoShape 43">
              <a:extLst>
                <a:ext uri="{FF2B5EF4-FFF2-40B4-BE49-F238E27FC236}">
                  <a16:creationId xmlns:a16="http://schemas.microsoft.com/office/drawing/2014/main" id="{99FC7193-A909-4733-8996-9C3846EB5F0D}"/>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7">
              <a:extLst>
                <a:ext uri="{FF2B5EF4-FFF2-40B4-BE49-F238E27FC236}">
                  <a16:creationId xmlns:a16="http://schemas.microsoft.com/office/drawing/2014/main" id="{6011F0FE-C0A3-44E3-8E77-734204C5B713}"/>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63" name="Rectangle 62">
            <a:extLst>
              <a:ext uri="{FF2B5EF4-FFF2-40B4-BE49-F238E27FC236}">
                <a16:creationId xmlns:a16="http://schemas.microsoft.com/office/drawing/2014/main" id="{8521176A-540D-4D28-8E0F-4E16A0CA335F}"/>
              </a:ext>
            </a:extLst>
          </p:cNvPr>
          <p:cNvSpPr/>
          <p:nvPr/>
        </p:nvSpPr>
        <p:spPr>
          <a:xfrm>
            <a:off x="1206500" y="5121275"/>
            <a:ext cx="925513" cy="220663"/>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aphicFrame>
        <p:nvGraphicFramePr>
          <p:cNvPr id="75" name="Chart 74">
            <a:extLst>
              <a:ext uri="{FF2B5EF4-FFF2-40B4-BE49-F238E27FC236}">
                <a16:creationId xmlns:a16="http://schemas.microsoft.com/office/drawing/2014/main" id="{739D84BB-48B1-4AB0-837B-D17F465CAF63}"/>
              </a:ext>
            </a:extLst>
          </p:cNvPr>
          <p:cNvGraphicFramePr/>
          <p:nvPr>
            <p:custDataLst>
              <p:tags r:id="rId39"/>
            </p:custDataLst>
            <p:extLst>
              <p:ext uri="{D42A27DB-BD31-4B8C-83A1-F6EECF244321}">
                <p14:modId xmlns:p14="http://schemas.microsoft.com/office/powerpoint/2010/main" val="3133622427"/>
              </p:ext>
            </p:extLst>
          </p:nvPr>
        </p:nvGraphicFramePr>
        <p:xfrm>
          <a:off x="6300788" y="2503488"/>
          <a:ext cx="2343150" cy="2343150"/>
        </p:xfrm>
        <a:graphic>
          <a:graphicData uri="http://schemas.openxmlformats.org/drawingml/2006/chart">
            <c:chart xmlns:c="http://schemas.openxmlformats.org/drawingml/2006/chart" xmlns:r="http://schemas.openxmlformats.org/officeDocument/2006/relationships" r:id="rId53"/>
          </a:graphicData>
        </a:graphic>
      </p:graphicFrame>
      <p:sp>
        <p:nvSpPr>
          <p:cNvPr id="65" name="Text Placeholder 3">
            <a:extLst>
              <a:ext uri="{FF2B5EF4-FFF2-40B4-BE49-F238E27FC236}">
                <a16:creationId xmlns:a16="http://schemas.microsoft.com/office/drawing/2014/main" id="{9AAC1D7B-B964-47E0-9314-A7226C7C8D81}"/>
              </a:ext>
            </a:extLst>
          </p:cNvPr>
          <p:cNvSpPr>
            <a:spLocks noGrp="1"/>
          </p:cNvSpPr>
          <p:nvPr>
            <p:custDataLst>
              <p:tags r:id="rId40"/>
            </p:custDataLst>
          </p:nvPr>
        </p:nvSpPr>
        <p:spPr bwMode="gray">
          <a:xfrm>
            <a:off x="8207375" y="328930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01C4770-CFA4-4786-8C85-F0A0BA421C91}" type="datetime'''''''''''''''4''''''''''0'''''''''''''''''''">
              <a:rPr lang="en-US" altLang="en-US" smtClean="0">
                <a:solidFill>
                  <a:schemeClr val="bg1"/>
                </a:solidFill>
              </a:rPr>
              <a:pPr/>
              <a:t>40</a:t>
            </a:fld>
            <a:r>
              <a:rPr lang="en-US" altLang="en-US">
                <a:solidFill>
                  <a:schemeClr val="bg1"/>
                </a:solidFill>
                <a:sym typeface="+mn-lt"/>
              </a:rPr>
              <a:t>%</a:t>
            </a:r>
            <a:endParaRPr lang="en-US" dirty="0">
              <a:solidFill>
                <a:schemeClr val="bg1"/>
              </a:solidFill>
              <a:sym typeface="+mn-lt"/>
            </a:endParaRPr>
          </a:p>
        </p:txBody>
      </p:sp>
      <p:sp>
        <p:nvSpPr>
          <p:cNvPr id="66" name="Text Placeholder 3">
            <a:extLst>
              <a:ext uri="{FF2B5EF4-FFF2-40B4-BE49-F238E27FC236}">
                <a16:creationId xmlns:a16="http://schemas.microsoft.com/office/drawing/2014/main" id="{70099E86-FB4B-429C-B573-F69096321392}"/>
              </a:ext>
            </a:extLst>
          </p:cNvPr>
          <p:cNvSpPr>
            <a:spLocks noGrp="1"/>
          </p:cNvSpPr>
          <p:nvPr>
            <p:custDataLst>
              <p:tags r:id="rId41"/>
            </p:custDataLst>
          </p:nvPr>
        </p:nvSpPr>
        <p:spPr bwMode="gray">
          <a:xfrm>
            <a:off x="6680200" y="422275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6E95672-A30C-40EA-AAD0-FBF27255A1BA}" type="datetime'''''''4''''''''5'''''''''''''''''''''">
              <a:rPr lang="en-US" altLang="en-US" smtClean="0">
                <a:solidFill>
                  <a:schemeClr val="bg1"/>
                </a:solidFill>
              </a:rPr>
              <a:pPr/>
              <a:t>45</a:t>
            </a:fld>
            <a:r>
              <a:rPr lang="en-US" altLang="en-US">
                <a:solidFill>
                  <a:schemeClr val="bg1"/>
                </a:solidFill>
                <a:sym typeface="+mn-lt"/>
              </a:rPr>
              <a:t>%</a:t>
            </a:r>
            <a:endParaRPr lang="en-US" dirty="0">
              <a:solidFill>
                <a:schemeClr val="bg1"/>
              </a:solidFill>
              <a:sym typeface="+mn-lt"/>
            </a:endParaRPr>
          </a:p>
        </p:txBody>
      </p:sp>
      <p:sp>
        <p:nvSpPr>
          <p:cNvPr id="70" name="Text Placeholder 3">
            <a:extLst>
              <a:ext uri="{FF2B5EF4-FFF2-40B4-BE49-F238E27FC236}">
                <a16:creationId xmlns:a16="http://schemas.microsoft.com/office/drawing/2014/main" id="{06DB4510-73B4-4559-8BA8-94E807A29ED2}"/>
              </a:ext>
            </a:extLst>
          </p:cNvPr>
          <p:cNvSpPr>
            <a:spLocks noGrp="1"/>
          </p:cNvSpPr>
          <p:nvPr>
            <p:custDataLst>
              <p:tags r:id="rId42"/>
            </p:custDataLst>
          </p:nvPr>
        </p:nvSpPr>
        <p:spPr bwMode="gray">
          <a:xfrm>
            <a:off x="6832600" y="2795588"/>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6EA9454-D266-4454-97AC-52564D55CA0A}" type="datetime'''''''''''1''''''''''''''''''''''2'''''''''''">
              <a:rPr lang="en-US" altLang="en-US" smtClean="0"/>
              <a:pPr/>
              <a:t>12</a:t>
            </a:fld>
            <a:r>
              <a:rPr lang="en-US" altLang="en-US">
                <a:sym typeface="+mn-lt"/>
              </a:rPr>
              <a:t>%</a:t>
            </a:r>
            <a:endParaRPr lang="en-US" dirty="0">
              <a:sym typeface="+mn-lt"/>
            </a:endParaRPr>
          </a:p>
        </p:txBody>
      </p:sp>
      <p:sp>
        <p:nvSpPr>
          <p:cNvPr id="77" name="Text Placeholder 3">
            <a:extLst>
              <a:ext uri="{FF2B5EF4-FFF2-40B4-BE49-F238E27FC236}">
                <a16:creationId xmlns:a16="http://schemas.microsoft.com/office/drawing/2014/main" id="{DD91840B-83F6-4719-8DE5-A4432F6ECC1B}"/>
              </a:ext>
            </a:extLst>
          </p:cNvPr>
          <p:cNvSpPr>
            <a:spLocks noGrp="1"/>
          </p:cNvSpPr>
          <p:nvPr>
            <p:custDataLst>
              <p:tags r:id="rId43"/>
            </p:custDataLst>
          </p:nvPr>
        </p:nvSpPr>
        <p:spPr bwMode="gray">
          <a:xfrm>
            <a:off x="7246938" y="2619375"/>
            <a:ext cx="209550" cy="201613"/>
          </a:xfrm>
          <a:prstGeom prst="rect">
            <a:avLst/>
          </a:prstGeom>
          <a:solidFill>
            <a:srgbClr val="ABA8B3"/>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8A73A15-C50D-49DA-AD67-30C506DCF8CE}"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78" name="Text Placeholder 3">
            <a:extLst>
              <a:ext uri="{FF2B5EF4-FFF2-40B4-BE49-F238E27FC236}">
                <a16:creationId xmlns:a16="http://schemas.microsoft.com/office/drawing/2014/main" id="{5C5B7AC6-350C-4AB3-AD94-B77742E7CF04}"/>
              </a:ext>
            </a:extLst>
          </p:cNvPr>
          <p:cNvSpPr>
            <a:spLocks noGrp="1"/>
          </p:cNvSpPr>
          <p:nvPr>
            <p:custDataLst>
              <p:tags r:id="rId44"/>
            </p:custDataLst>
          </p:nvPr>
        </p:nvSpPr>
        <p:spPr bwMode="gray">
          <a:xfrm>
            <a:off x="7343775" y="282098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763FFA9-CFC7-4B46-A2CB-CD5513EC9316}" type="datetime'''''''''''''''''''1'''''''''''''''''''''''''''''''''''''''''">
              <a:rPr lang="en-US" altLang="en-US" smtClean="0">
                <a:solidFill>
                  <a:schemeClr val="bg1"/>
                </a:solidFill>
                <a:effectLst/>
              </a:rPr>
              <a:pPr/>
              <a:t>1</a:t>
            </a:fld>
            <a:r>
              <a:rPr lang="en-US" altLang="en-US">
                <a:solidFill>
                  <a:schemeClr val="bg1"/>
                </a:solidFill>
                <a:sym typeface="+mn-lt"/>
              </a:rPr>
              <a:t>%</a:t>
            </a:r>
            <a:endParaRPr lang="en-US" dirty="0">
              <a:solidFill>
                <a:schemeClr val="bg1"/>
              </a:solidFill>
              <a:sym typeface="+mn-lt"/>
            </a:endParaRPr>
          </a:p>
        </p:txBody>
      </p:sp>
      <p:sp>
        <p:nvSpPr>
          <p:cNvPr id="211" name="Rectangle 210">
            <a:extLst>
              <a:ext uri="{FF2B5EF4-FFF2-40B4-BE49-F238E27FC236}">
                <a16:creationId xmlns:a16="http://schemas.microsoft.com/office/drawing/2014/main" id="{D5F26004-76F1-431E-BC0D-5FCE1B29582A}"/>
              </a:ext>
            </a:extLst>
          </p:cNvPr>
          <p:cNvSpPr/>
          <p:nvPr/>
        </p:nvSpPr>
        <p:spPr>
          <a:xfrm>
            <a:off x="6761163" y="3187700"/>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EMESA</a:t>
            </a:r>
          </a:p>
        </p:txBody>
      </p:sp>
      <p:sp>
        <p:nvSpPr>
          <p:cNvPr id="212" name="Rectangle 211">
            <a:extLst>
              <a:ext uri="{FF2B5EF4-FFF2-40B4-BE49-F238E27FC236}">
                <a16:creationId xmlns:a16="http://schemas.microsoft.com/office/drawing/2014/main" id="{17766F1A-9933-47E7-8ACA-DF9BA121AD44}"/>
              </a:ext>
            </a:extLst>
          </p:cNvPr>
          <p:cNvSpPr/>
          <p:nvPr/>
        </p:nvSpPr>
        <p:spPr>
          <a:xfrm>
            <a:off x="7019925" y="3482975"/>
            <a:ext cx="884238"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85%</a:t>
            </a:r>
          </a:p>
        </p:txBody>
      </p:sp>
      <p:sp>
        <p:nvSpPr>
          <p:cNvPr id="213" name="Rectangle 212">
            <a:extLst>
              <a:ext uri="{FF2B5EF4-FFF2-40B4-BE49-F238E27FC236}">
                <a16:creationId xmlns:a16="http://schemas.microsoft.com/office/drawing/2014/main" id="{109DBF78-3AB6-41EA-B273-CA0B92A8E5EE}"/>
              </a:ext>
            </a:extLst>
          </p:cNvPr>
          <p:cNvSpPr/>
          <p:nvPr/>
        </p:nvSpPr>
        <p:spPr>
          <a:xfrm>
            <a:off x="7000875" y="3822700"/>
            <a:ext cx="923925" cy="220663"/>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pic>
        <p:nvPicPr>
          <p:cNvPr id="76" name="Picture 75" descr="A picture containing shape&#10;&#10;Description automatically generated">
            <a:extLst>
              <a:ext uri="{FF2B5EF4-FFF2-40B4-BE49-F238E27FC236}">
                <a16:creationId xmlns:a16="http://schemas.microsoft.com/office/drawing/2014/main" id="{3DBB1C7D-DE01-42C2-AD3A-33BFB8381985}"/>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8164512" y="2419734"/>
            <a:ext cx="422118" cy="422118"/>
          </a:xfrm>
          <a:prstGeom prst="rect">
            <a:avLst/>
          </a:prstGeom>
        </p:spPr>
      </p:pic>
    </p:spTree>
    <p:custDataLst>
      <p:tags r:id="rId2"/>
    </p:custDataLst>
    <p:extLst>
      <p:ext uri="{BB962C8B-B14F-4D97-AF65-F5344CB8AC3E}">
        <p14:creationId xmlns:p14="http://schemas.microsoft.com/office/powerpoint/2010/main" val="3725928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906053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280"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4" name="Title 2">
            <a:extLst>
              <a:ext uri="{FF2B5EF4-FFF2-40B4-BE49-F238E27FC236}">
                <a16:creationId xmlns:a16="http://schemas.microsoft.com/office/drawing/2014/main" id="{3AADEC56-D6B9-4248-943D-7BF6F64E44B4}"/>
              </a:ext>
            </a:extLst>
          </p:cNvPr>
          <p:cNvSpPr>
            <a:spLocks noGrp="1"/>
          </p:cNvSpPr>
          <p:nvPr>
            <p:ph type="title"/>
          </p:nvPr>
        </p:nvSpPr>
        <p:spPr>
          <a:xfrm>
            <a:off x="630003" y="622479"/>
            <a:ext cx="10933350" cy="332399"/>
          </a:xfrm>
        </p:spPr>
        <p:txBody>
          <a:bodyPr vert="horz"/>
          <a:lstStyle/>
          <a:p>
            <a:r>
              <a:rPr lang="en-US" dirty="0">
                <a:solidFill>
                  <a:srgbClr val="295E7E"/>
                </a:solidFill>
              </a:rPr>
              <a:t>IT Support – Satisfaction Overall</a:t>
            </a:r>
          </a:p>
        </p:txBody>
      </p:sp>
      <p:sp>
        <p:nvSpPr>
          <p:cNvPr id="45" name="Rectangle 44">
            <a:extLst>
              <a:ext uri="{FF2B5EF4-FFF2-40B4-BE49-F238E27FC236}">
                <a16:creationId xmlns:a16="http://schemas.microsoft.com/office/drawing/2014/main" id="{6715B265-7E60-4D6E-8428-87C60158F57F}"/>
              </a:ext>
            </a:extLst>
          </p:cNvPr>
          <p:cNvSpPr/>
          <p:nvPr/>
        </p:nvSpPr>
        <p:spPr>
          <a:xfrm>
            <a:off x="997488" y="925006"/>
            <a:ext cx="5913265" cy="3341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 – E-SAT Trending</a:t>
            </a:r>
            <a:endParaRPr lang="en-US" sz="1600" i="1" baseline="30000" dirty="0">
              <a:solidFill>
                <a:srgbClr val="575757"/>
              </a:solidFill>
            </a:endParaRPr>
          </a:p>
        </p:txBody>
      </p:sp>
      <p:graphicFrame>
        <p:nvGraphicFramePr>
          <p:cNvPr id="32" name="table_type_name">
            <a:extLst>
              <a:ext uri="{FF2B5EF4-FFF2-40B4-BE49-F238E27FC236}">
                <a16:creationId xmlns:a16="http://schemas.microsoft.com/office/drawing/2014/main" id="{9190ABF4-3A12-43BA-8062-8230676776F2}"/>
              </a:ext>
            </a:extLst>
          </p:cNvPr>
          <p:cNvGraphicFramePr>
            <a:graphicFrameLocks noGrp="1"/>
          </p:cNvGraphicFramePr>
          <p:nvPr>
            <p:extLst>
              <p:ext uri="{D42A27DB-BD31-4B8C-83A1-F6EECF244321}">
                <p14:modId xmlns:p14="http://schemas.microsoft.com/office/powerpoint/2010/main" val="3421006538"/>
              </p:ext>
            </p:extLst>
          </p:nvPr>
        </p:nvGraphicFramePr>
        <p:xfrm>
          <a:off x="630003" y="1600317"/>
          <a:ext cx="10840507" cy="3350937"/>
        </p:xfrm>
        <a:graphic>
          <a:graphicData uri="http://schemas.openxmlformats.org/drawingml/2006/table">
            <a:tbl>
              <a:tblPr/>
              <a:tblGrid>
                <a:gridCol w="1350437">
                  <a:extLst>
                    <a:ext uri="{9D8B030D-6E8A-4147-A177-3AD203B41FA5}">
                      <a16:colId xmlns:a16="http://schemas.microsoft.com/office/drawing/2014/main" val="20001"/>
                    </a:ext>
                  </a:extLst>
                </a:gridCol>
                <a:gridCol w="949007">
                  <a:extLst>
                    <a:ext uri="{9D8B030D-6E8A-4147-A177-3AD203B41FA5}">
                      <a16:colId xmlns:a16="http://schemas.microsoft.com/office/drawing/2014/main" val="20002"/>
                    </a:ext>
                  </a:extLst>
                </a:gridCol>
                <a:gridCol w="949007">
                  <a:extLst>
                    <a:ext uri="{9D8B030D-6E8A-4147-A177-3AD203B41FA5}">
                      <a16:colId xmlns:a16="http://schemas.microsoft.com/office/drawing/2014/main" val="3842293675"/>
                    </a:ext>
                  </a:extLst>
                </a:gridCol>
                <a:gridCol w="949007">
                  <a:extLst>
                    <a:ext uri="{9D8B030D-6E8A-4147-A177-3AD203B41FA5}">
                      <a16:colId xmlns:a16="http://schemas.microsoft.com/office/drawing/2014/main" val="20010"/>
                    </a:ext>
                  </a:extLst>
                </a:gridCol>
                <a:gridCol w="949007">
                  <a:extLst>
                    <a:ext uri="{9D8B030D-6E8A-4147-A177-3AD203B41FA5}">
                      <a16:colId xmlns:a16="http://schemas.microsoft.com/office/drawing/2014/main" val="2573640445"/>
                    </a:ext>
                  </a:extLst>
                </a:gridCol>
                <a:gridCol w="949007">
                  <a:extLst>
                    <a:ext uri="{9D8B030D-6E8A-4147-A177-3AD203B41FA5}">
                      <a16:colId xmlns:a16="http://schemas.microsoft.com/office/drawing/2014/main" val="3996561566"/>
                    </a:ext>
                  </a:extLst>
                </a:gridCol>
                <a:gridCol w="949007">
                  <a:extLst>
                    <a:ext uri="{9D8B030D-6E8A-4147-A177-3AD203B41FA5}">
                      <a16:colId xmlns:a16="http://schemas.microsoft.com/office/drawing/2014/main" val="594317581"/>
                    </a:ext>
                  </a:extLst>
                </a:gridCol>
                <a:gridCol w="949007">
                  <a:extLst>
                    <a:ext uri="{9D8B030D-6E8A-4147-A177-3AD203B41FA5}">
                      <a16:colId xmlns:a16="http://schemas.microsoft.com/office/drawing/2014/main" val="2333847993"/>
                    </a:ext>
                  </a:extLst>
                </a:gridCol>
                <a:gridCol w="949007">
                  <a:extLst>
                    <a:ext uri="{9D8B030D-6E8A-4147-A177-3AD203B41FA5}">
                      <a16:colId xmlns:a16="http://schemas.microsoft.com/office/drawing/2014/main" val="593319267"/>
                    </a:ext>
                  </a:extLst>
                </a:gridCol>
                <a:gridCol w="949007">
                  <a:extLst>
                    <a:ext uri="{9D8B030D-6E8A-4147-A177-3AD203B41FA5}">
                      <a16:colId xmlns:a16="http://schemas.microsoft.com/office/drawing/2014/main" val="1928289383"/>
                    </a:ext>
                  </a:extLst>
                </a:gridCol>
                <a:gridCol w="949007">
                  <a:extLst>
                    <a:ext uri="{9D8B030D-6E8A-4147-A177-3AD203B41FA5}">
                      <a16:colId xmlns:a16="http://schemas.microsoft.com/office/drawing/2014/main" val="4240126271"/>
                    </a:ext>
                  </a:extLst>
                </a:gridCol>
              </a:tblGrid>
              <a:tr h="91304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vs 2019 Average</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a:t>
                      </a: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0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063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295E7E"/>
                          </a:solidFill>
                          <a:effectLst/>
                          <a:latin typeface="+mn-lt"/>
                          <a:ea typeface="+mn-ea"/>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954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WESA</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9</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8%</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36357802"/>
                  </a:ext>
                </a:extLst>
              </a:tr>
              <a:tr h="33954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NAMR</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8</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7</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8</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200" dirty="0">
                          <a:solidFill>
                            <a:schemeClr val="bg2">
                              <a:lumMod val="50000"/>
                            </a:schemeClr>
                          </a:solidFill>
                          <a:latin typeface="Wingdings 3" panose="05040102010807070707" pitchFamily="18" charset="2"/>
                        </a:rPr>
                        <a:t>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1</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7%</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78032217"/>
                  </a:ext>
                </a:extLst>
              </a:tr>
              <a:tr h="33954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P</a:t>
                      </a:r>
                      <a:endPar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5</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7%</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2</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6%</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71388814"/>
                  </a:ext>
                </a:extLst>
              </a:tr>
              <a:tr h="33954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IT Support Overall</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6</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5%</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19698962"/>
                  </a:ext>
                </a:extLst>
              </a:tr>
              <a:tr h="33954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EMESA</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chemeClr val="bg1"/>
                          </a:solidFill>
                          <a:effectLst/>
                          <a:latin typeface="+mn-lt"/>
                          <a:ea typeface="+mn-ea"/>
                          <a:cs typeface="Arial" charset="0"/>
                          <a:sym typeface="Trebuchet MS" panose="020B0603020202020204" pitchFamily="34" charset="0"/>
                        </a:rPr>
                        <a:t>86</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bg1"/>
                          </a:solidFill>
                          <a:effectLst/>
                          <a:latin typeface="+mn-lt"/>
                          <a:ea typeface="+mn-ea"/>
                          <a:cs typeface="Arial" charset="0"/>
                        </a:rPr>
                        <a:t>8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 </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bg1"/>
                          </a:solidFill>
                          <a:effectLst/>
                          <a:latin typeface="+mn-lt"/>
                          <a:ea typeface="+mn-ea"/>
                          <a:cs typeface="Arial" charset="0"/>
                        </a:rPr>
                        <a:t>8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 </a:t>
                      </a:r>
                      <a:r>
                        <a:rPr lang="en-US" sz="1200" kern="1200" dirty="0">
                          <a:solidFill>
                            <a:srgbClr val="575757"/>
                          </a:solidFill>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07815773"/>
                  </a:ext>
                </a:extLst>
              </a:tr>
              <a:tr h="339543">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CEMA</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83</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1</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bg1"/>
                          </a:solidFill>
                          <a:effectLst/>
                          <a:latin typeface="+mn-lt"/>
                          <a:ea typeface="+mn-ea"/>
                          <a:cs typeface="Arial" charset="0"/>
                        </a:rPr>
                        <a:t>8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575757"/>
                          </a:solidFill>
                          <a:latin typeface="+mn-lt"/>
                          <a:ea typeface="+mn-ea"/>
                          <a:cs typeface="+mn-cs"/>
                        </a:rPr>
                        <a:t>1%</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41600775"/>
                  </a:ext>
                </a:extLst>
              </a:tr>
            </a:tbl>
          </a:graphicData>
        </a:graphic>
      </p:graphicFrame>
      <p:sp>
        <p:nvSpPr>
          <p:cNvPr id="33" name="Rectangle 32">
            <a:extLst>
              <a:ext uri="{FF2B5EF4-FFF2-40B4-BE49-F238E27FC236}">
                <a16:creationId xmlns:a16="http://schemas.microsoft.com/office/drawing/2014/main" id="{09D2984C-75B9-4BE6-A9E3-283540A41798}"/>
              </a:ext>
            </a:extLst>
          </p:cNvPr>
          <p:cNvSpPr/>
          <p:nvPr/>
        </p:nvSpPr>
        <p:spPr>
          <a:xfrm>
            <a:off x="0" y="6644542"/>
            <a:ext cx="4360127" cy="2134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000" i="1" dirty="0">
              <a:solidFill>
                <a:srgbClr val="575757"/>
              </a:solidFill>
            </a:endParaRPr>
          </a:p>
        </p:txBody>
      </p:sp>
      <p:sp>
        <p:nvSpPr>
          <p:cNvPr id="50" name="Rectangle 49">
            <a:extLst>
              <a:ext uri="{FF2B5EF4-FFF2-40B4-BE49-F238E27FC236}">
                <a16:creationId xmlns:a16="http://schemas.microsoft.com/office/drawing/2014/main" id="{647DBFD0-9D4E-4859-92D1-064AA8DD1876}"/>
              </a:ext>
            </a:extLst>
          </p:cNvPr>
          <p:cNvSpPr/>
          <p:nvPr/>
        </p:nvSpPr>
        <p:spPr>
          <a:xfrm>
            <a:off x="0" y="6207763"/>
            <a:ext cx="12192000" cy="656068"/>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a:extLst>
              <a:ext uri="{FF2B5EF4-FFF2-40B4-BE49-F238E27FC236}">
                <a16:creationId xmlns:a16="http://schemas.microsoft.com/office/drawing/2014/main" id="{C30E3C7E-3D9F-4038-841D-466B6DA2D008}"/>
              </a:ext>
            </a:extLst>
          </p:cNvPr>
          <p:cNvSpPr/>
          <p:nvPr/>
        </p:nvSpPr>
        <p:spPr>
          <a:xfrm>
            <a:off x="341646" y="6207763"/>
            <a:ext cx="11431254" cy="65023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Except NAMR, which decreased -1%, all regions are currently maintaining or exceeding their 2020 averages.</a:t>
            </a:r>
            <a:endParaRPr lang="en-US" dirty="0">
              <a:solidFill>
                <a:schemeClr val="tx1"/>
              </a:solidFill>
            </a:endParaRPr>
          </a:p>
        </p:txBody>
      </p:sp>
      <p:grpSp>
        <p:nvGrpSpPr>
          <p:cNvPr id="21" name="Group 20">
            <a:extLst>
              <a:ext uri="{FF2B5EF4-FFF2-40B4-BE49-F238E27FC236}">
                <a16:creationId xmlns:a16="http://schemas.microsoft.com/office/drawing/2014/main" id="{78C7221C-B4EF-4FA8-98FF-68E563FDCD32}"/>
              </a:ext>
            </a:extLst>
          </p:cNvPr>
          <p:cNvGrpSpPr/>
          <p:nvPr/>
        </p:nvGrpSpPr>
        <p:grpSpPr>
          <a:xfrm>
            <a:off x="543689" y="5158834"/>
            <a:ext cx="6155997" cy="444350"/>
            <a:chOff x="753111" y="3331233"/>
            <a:chExt cx="6155997" cy="444350"/>
          </a:xfrm>
        </p:grpSpPr>
        <p:grpSp>
          <p:nvGrpSpPr>
            <p:cNvPr id="23" name="Group 22">
              <a:extLst>
                <a:ext uri="{FF2B5EF4-FFF2-40B4-BE49-F238E27FC236}">
                  <a16:creationId xmlns:a16="http://schemas.microsoft.com/office/drawing/2014/main" id="{5542C8C0-DB86-424F-8893-667F51C71278}"/>
                </a:ext>
              </a:extLst>
            </p:cNvPr>
            <p:cNvGrpSpPr/>
            <p:nvPr/>
          </p:nvGrpSpPr>
          <p:grpSpPr>
            <a:xfrm>
              <a:off x="753111" y="3331233"/>
              <a:ext cx="6155997" cy="220957"/>
              <a:chOff x="753111" y="3331233"/>
              <a:chExt cx="6155997" cy="220957"/>
            </a:xfrm>
          </p:grpSpPr>
          <p:sp>
            <p:nvSpPr>
              <p:cNvPr id="31" name="Rectangle 30">
                <a:extLst>
                  <a:ext uri="{FF2B5EF4-FFF2-40B4-BE49-F238E27FC236}">
                    <a16:creationId xmlns:a16="http://schemas.microsoft.com/office/drawing/2014/main" id="{4E4C5F24-291C-4D27-80D1-FFEFA8A6B2DB}"/>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4" name="Rectangle 33">
                <a:extLst>
                  <a:ext uri="{FF2B5EF4-FFF2-40B4-BE49-F238E27FC236}">
                    <a16:creationId xmlns:a16="http://schemas.microsoft.com/office/drawing/2014/main" id="{0CE72BE4-F39C-4C2F-AD54-5468CFE32836}"/>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8" name="Rectangle 37">
                <a:extLst>
                  <a:ext uri="{FF2B5EF4-FFF2-40B4-BE49-F238E27FC236}">
                    <a16:creationId xmlns:a16="http://schemas.microsoft.com/office/drawing/2014/main" id="{736C076C-E303-4A88-8710-31F2B1EC961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9" name="Rectangle 38">
                <a:extLst>
                  <a:ext uri="{FF2B5EF4-FFF2-40B4-BE49-F238E27FC236}">
                    <a16:creationId xmlns:a16="http://schemas.microsoft.com/office/drawing/2014/main" id="{7393E3F7-52A2-40AF-9D8F-9AF9FE732B24}"/>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40" name="Rectangle 39">
                <a:extLst>
                  <a:ext uri="{FF2B5EF4-FFF2-40B4-BE49-F238E27FC236}">
                    <a16:creationId xmlns:a16="http://schemas.microsoft.com/office/drawing/2014/main" id="{940D172A-916A-459A-8F2D-549C447F084E}"/>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1" name="Rectangle 40">
                <a:extLst>
                  <a:ext uri="{FF2B5EF4-FFF2-40B4-BE49-F238E27FC236}">
                    <a16:creationId xmlns:a16="http://schemas.microsoft.com/office/drawing/2014/main" id="{B147F129-373B-4B0A-AE97-CAFA50B9A26A}"/>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4" name="Rectangle 23">
              <a:extLst>
                <a:ext uri="{FF2B5EF4-FFF2-40B4-BE49-F238E27FC236}">
                  <a16:creationId xmlns:a16="http://schemas.microsoft.com/office/drawing/2014/main" id="{4CEDFB4E-AC3D-4A6A-B984-8ED8F5443AAB}"/>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5" name="Rectangle 24">
              <a:extLst>
                <a:ext uri="{FF2B5EF4-FFF2-40B4-BE49-F238E27FC236}">
                  <a16:creationId xmlns:a16="http://schemas.microsoft.com/office/drawing/2014/main" id="{45C2D00D-C335-4DB5-B7BC-9B090FF45333}"/>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6" name="Rectangle 25">
              <a:extLst>
                <a:ext uri="{FF2B5EF4-FFF2-40B4-BE49-F238E27FC236}">
                  <a16:creationId xmlns:a16="http://schemas.microsoft.com/office/drawing/2014/main" id="{55392FB1-520E-41AA-A743-33CA8488C42E}"/>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7" name="Rectangle 26">
              <a:extLst>
                <a:ext uri="{FF2B5EF4-FFF2-40B4-BE49-F238E27FC236}">
                  <a16:creationId xmlns:a16="http://schemas.microsoft.com/office/drawing/2014/main" id="{F8322C09-53E2-4356-A603-C7436F7C4D95}"/>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8" name="Rectangle 27">
              <a:extLst>
                <a:ext uri="{FF2B5EF4-FFF2-40B4-BE49-F238E27FC236}">
                  <a16:creationId xmlns:a16="http://schemas.microsoft.com/office/drawing/2014/main" id="{A8C5564E-9C45-4336-804A-F6E4E4A26120}"/>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30" name="Rectangle 29">
              <a:extLst>
                <a:ext uri="{FF2B5EF4-FFF2-40B4-BE49-F238E27FC236}">
                  <a16:creationId xmlns:a16="http://schemas.microsoft.com/office/drawing/2014/main" id="{743E1988-AEC2-440D-9812-6DF8785B4176}"/>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29" name="Group 28">
            <a:extLst>
              <a:ext uri="{FF2B5EF4-FFF2-40B4-BE49-F238E27FC236}">
                <a16:creationId xmlns:a16="http://schemas.microsoft.com/office/drawing/2014/main" id="{C2ED2BC5-5979-434E-89F1-CC396AEAC7B1}"/>
              </a:ext>
            </a:extLst>
          </p:cNvPr>
          <p:cNvGrpSpPr>
            <a:grpSpLocks noChangeAspect="1"/>
          </p:cNvGrpSpPr>
          <p:nvPr/>
        </p:nvGrpSpPr>
        <p:grpSpPr>
          <a:xfrm>
            <a:off x="514429" y="864696"/>
            <a:ext cx="457200" cy="457200"/>
            <a:chOff x="5867400" y="3200400"/>
            <a:chExt cx="457200" cy="457200"/>
          </a:xfrm>
        </p:grpSpPr>
        <p:sp>
          <p:nvSpPr>
            <p:cNvPr id="35" name="AutoShape 43">
              <a:extLst>
                <a:ext uri="{FF2B5EF4-FFF2-40B4-BE49-F238E27FC236}">
                  <a16:creationId xmlns:a16="http://schemas.microsoft.com/office/drawing/2014/main" id="{2D4A7753-D5D4-45F9-8E50-927B70D3E551}"/>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7">
              <a:extLst>
                <a:ext uri="{FF2B5EF4-FFF2-40B4-BE49-F238E27FC236}">
                  <a16:creationId xmlns:a16="http://schemas.microsoft.com/office/drawing/2014/main" id="{1FE6C727-0546-41DB-A853-3147BD60A28A}"/>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6" name="Oval 20">
            <a:extLst>
              <a:ext uri="{FF2B5EF4-FFF2-40B4-BE49-F238E27FC236}">
                <a16:creationId xmlns:a16="http://schemas.microsoft.com/office/drawing/2014/main" id="{E448C614-ECA5-4946-9E96-90DEA249CD72}"/>
              </a:ext>
            </a:extLst>
          </p:cNvPr>
          <p:cNvSpPr>
            <a:spLocks noChangeAspect="1" noChangeArrowheads="1"/>
          </p:cNvSpPr>
          <p:nvPr/>
        </p:nvSpPr>
        <p:spPr bwMode="auto">
          <a:xfrm>
            <a:off x="10618093" y="3053991"/>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7" name="Oval 20">
            <a:extLst>
              <a:ext uri="{FF2B5EF4-FFF2-40B4-BE49-F238E27FC236}">
                <a16:creationId xmlns:a16="http://schemas.microsoft.com/office/drawing/2014/main" id="{07562D6B-7FBC-4DEC-BBC5-3AF38354974A}"/>
              </a:ext>
            </a:extLst>
          </p:cNvPr>
          <p:cNvSpPr>
            <a:spLocks noChangeAspect="1" noChangeArrowheads="1"/>
          </p:cNvSpPr>
          <p:nvPr/>
        </p:nvSpPr>
        <p:spPr bwMode="auto">
          <a:xfrm>
            <a:off x="10628484" y="3395870"/>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95977F14-0AA9-4C8D-A0F5-9D331D7DEA44}"/>
              </a:ext>
            </a:extLst>
          </p:cNvPr>
          <p:cNvSpPr>
            <a:spLocks noChangeAspect="1" noChangeArrowheads="1"/>
          </p:cNvSpPr>
          <p:nvPr/>
        </p:nvSpPr>
        <p:spPr bwMode="auto">
          <a:xfrm>
            <a:off x="10621438" y="3724246"/>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2" name="Rectangle 41">
            <a:extLst>
              <a:ext uri="{FF2B5EF4-FFF2-40B4-BE49-F238E27FC236}">
                <a16:creationId xmlns:a16="http://schemas.microsoft.com/office/drawing/2014/main" id="{03AA67AE-5896-4389-82EA-C0671118E1CB}"/>
              </a:ext>
            </a:extLst>
          </p:cNvPr>
          <p:cNvSpPr/>
          <p:nvPr/>
        </p:nvSpPr>
        <p:spPr>
          <a:xfrm flipH="1">
            <a:off x="7656653" y="1614923"/>
            <a:ext cx="1922748" cy="3342822"/>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Rectangle 53">
            <a:extLst>
              <a:ext uri="{FF2B5EF4-FFF2-40B4-BE49-F238E27FC236}">
                <a16:creationId xmlns:a16="http://schemas.microsoft.com/office/drawing/2014/main" id="{18DBEA79-5300-42DD-B0FC-1A27EEC065DC}"/>
              </a:ext>
            </a:extLst>
          </p:cNvPr>
          <p:cNvSpPr/>
          <p:nvPr/>
        </p:nvSpPr>
        <p:spPr>
          <a:xfrm>
            <a:off x="6660335" y="5016450"/>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43" name="Group 42">
            <a:extLst>
              <a:ext uri="{FF2B5EF4-FFF2-40B4-BE49-F238E27FC236}">
                <a16:creationId xmlns:a16="http://schemas.microsoft.com/office/drawing/2014/main" id="{ED29CB8F-DC08-4474-AA4F-F87CE371666A}"/>
              </a:ext>
            </a:extLst>
          </p:cNvPr>
          <p:cNvGrpSpPr/>
          <p:nvPr/>
        </p:nvGrpSpPr>
        <p:grpSpPr>
          <a:xfrm>
            <a:off x="9579305" y="5171511"/>
            <a:ext cx="2116895" cy="591304"/>
            <a:chOff x="9751525" y="5356845"/>
            <a:chExt cx="2116895" cy="591304"/>
          </a:xfrm>
        </p:grpSpPr>
        <p:sp>
          <p:nvSpPr>
            <p:cNvPr id="52" name="Oval 20">
              <a:extLst>
                <a:ext uri="{FF2B5EF4-FFF2-40B4-BE49-F238E27FC236}">
                  <a16:creationId xmlns:a16="http://schemas.microsoft.com/office/drawing/2014/main" id="{92ACA80A-7BF1-48A7-A5A0-983CB265A74B}"/>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3" name="Rectangle 52">
              <a:extLst>
                <a:ext uri="{FF2B5EF4-FFF2-40B4-BE49-F238E27FC236}">
                  <a16:creationId xmlns:a16="http://schemas.microsoft.com/office/drawing/2014/main" id="{60431DF1-15F0-4E9A-B0C2-8B74A3C9EB80}"/>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55" name="Oval 20">
              <a:extLst>
                <a:ext uri="{FF2B5EF4-FFF2-40B4-BE49-F238E27FC236}">
                  <a16:creationId xmlns:a16="http://schemas.microsoft.com/office/drawing/2014/main" id="{08A6A511-0E61-478C-9E2D-FCC2F93A7155}"/>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Oval 20">
              <a:extLst>
                <a:ext uri="{FF2B5EF4-FFF2-40B4-BE49-F238E27FC236}">
                  <a16:creationId xmlns:a16="http://schemas.microsoft.com/office/drawing/2014/main" id="{32677464-FDC5-4832-9B4F-3C581187E367}"/>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7" name="Rectangle 56">
              <a:extLst>
                <a:ext uri="{FF2B5EF4-FFF2-40B4-BE49-F238E27FC236}">
                  <a16:creationId xmlns:a16="http://schemas.microsoft.com/office/drawing/2014/main" id="{AEE3861C-6136-459C-82DA-ABCE612CA88F}"/>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59" name="Rectangle 58">
              <a:extLst>
                <a:ext uri="{FF2B5EF4-FFF2-40B4-BE49-F238E27FC236}">
                  <a16:creationId xmlns:a16="http://schemas.microsoft.com/office/drawing/2014/main" id="{7727C803-B663-4478-B425-FD3509FDC960}"/>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63" name="Oval 20">
            <a:extLst>
              <a:ext uri="{FF2B5EF4-FFF2-40B4-BE49-F238E27FC236}">
                <a16:creationId xmlns:a16="http://schemas.microsoft.com/office/drawing/2014/main" id="{952BB872-522E-454F-A4C8-55CF54A78E13}"/>
              </a:ext>
            </a:extLst>
          </p:cNvPr>
          <p:cNvSpPr>
            <a:spLocks noChangeAspect="1" noChangeArrowheads="1"/>
          </p:cNvSpPr>
          <p:nvPr/>
        </p:nvSpPr>
        <p:spPr bwMode="auto">
          <a:xfrm>
            <a:off x="10621438" y="4386590"/>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7" name="Oval 20">
            <a:extLst>
              <a:ext uri="{FF2B5EF4-FFF2-40B4-BE49-F238E27FC236}">
                <a16:creationId xmlns:a16="http://schemas.microsoft.com/office/drawing/2014/main" id="{34A23C63-D96C-49AD-99D7-9F1BCB823AE2}"/>
              </a:ext>
            </a:extLst>
          </p:cNvPr>
          <p:cNvSpPr>
            <a:spLocks noChangeAspect="1" noChangeArrowheads="1"/>
          </p:cNvSpPr>
          <p:nvPr/>
        </p:nvSpPr>
        <p:spPr bwMode="auto">
          <a:xfrm>
            <a:off x="10618093" y="4690414"/>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8" name="Oval 20">
            <a:extLst>
              <a:ext uri="{FF2B5EF4-FFF2-40B4-BE49-F238E27FC236}">
                <a16:creationId xmlns:a16="http://schemas.microsoft.com/office/drawing/2014/main" id="{F996BFFD-A897-4BD9-8A1A-2C662294C282}"/>
              </a:ext>
            </a:extLst>
          </p:cNvPr>
          <p:cNvSpPr>
            <a:spLocks noChangeAspect="1" noChangeArrowheads="1"/>
          </p:cNvSpPr>
          <p:nvPr/>
        </p:nvSpPr>
        <p:spPr bwMode="auto">
          <a:xfrm>
            <a:off x="10618093" y="40646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pic>
        <p:nvPicPr>
          <p:cNvPr id="60" name="Picture 59" descr="A picture containing shape&#10;&#10;Description automatically generated">
            <a:extLst>
              <a:ext uri="{FF2B5EF4-FFF2-40B4-BE49-F238E27FC236}">
                <a16:creationId xmlns:a16="http://schemas.microsoft.com/office/drawing/2014/main" id="{ED210BC1-ACD3-465F-A26E-76827D72F9A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9642" y="4267173"/>
            <a:ext cx="422118" cy="422118"/>
          </a:xfrm>
          <a:prstGeom prst="rect">
            <a:avLst/>
          </a:prstGeom>
        </p:spPr>
      </p:pic>
      <p:sp>
        <p:nvSpPr>
          <p:cNvPr id="62" name="Left Bracket 61">
            <a:extLst>
              <a:ext uri="{FF2B5EF4-FFF2-40B4-BE49-F238E27FC236}">
                <a16:creationId xmlns:a16="http://schemas.microsoft.com/office/drawing/2014/main" id="{F60F3D4F-7E61-4B98-BDBB-EBC146353777}"/>
              </a:ext>
            </a:extLst>
          </p:cNvPr>
          <p:cNvSpPr/>
          <p:nvPr/>
        </p:nvSpPr>
        <p:spPr>
          <a:xfrm rot="5400000">
            <a:off x="8504114" y="68342"/>
            <a:ext cx="198896" cy="2865052"/>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1373933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445466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415" name="think-cell Slide" r:id="rId23" imgW="473" imgH="473" progId="TCLayout.ActiveDocument.1">
                  <p:embed/>
                </p:oleObj>
              </mc:Choice>
              <mc:Fallback>
                <p:oleObj name="think-cell Slide" r:id="rId23" imgW="473" imgH="473" progId="TCLayout.ActiveDocument.1">
                  <p:embed/>
                  <p:pic>
                    <p:nvPicPr>
                      <p:cNvPr id="5" name="Object 4"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66226" y="0"/>
            <a:ext cx="285952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Satisfaction with the IT Service Center is down </a:t>
            </a:r>
          </a:p>
          <a:p>
            <a:r>
              <a:rPr lang="en-GB" dirty="0">
                <a:solidFill>
                  <a:srgbClr val="FFFFFF"/>
                </a:solidFill>
                <a:cs typeface="Arial" pitchFamily="34" charset="0"/>
              </a:rPr>
              <a:t>-2% Q4 year-over-year</a:t>
            </a:r>
          </a:p>
          <a:p>
            <a:endParaRPr lang="en-GB" dirty="0">
              <a:solidFill>
                <a:srgbClr val="FFFFFF"/>
              </a:solidFill>
              <a:cs typeface="Arial" pitchFamily="34" charset="0"/>
            </a:endParaRPr>
          </a:p>
          <a:p>
            <a:r>
              <a:rPr lang="en-GB" dirty="0">
                <a:solidFill>
                  <a:srgbClr val="FFFFFF"/>
                </a:solidFill>
                <a:cs typeface="Arial" pitchFamily="34" charset="0"/>
              </a:rPr>
              <a:t>The annual average in 2021 is 74%, +1% better than the 2020 average of 73%</a:t>
            </a:r>
          </a:p>
        </p:txBody>
      </p:sp>
      <p:sp>
        <p:nvSpPr>
          <p:cNvPr id="3" name="Title 2"/>
          <p:cNvSpPr>
            <a:spLocks noGrp="1"/>
          </p:cNvSpPr>
          <p:nvPr>
            <p:ph type="title"/>
          </p:nvPr>
        </p:nvSpPr>
        <p:spPr/>
        <p:txBody>
          <a:bodyPr vert="horz"/>
          <a:lstStyle/>
          <a:p>
            <a:r>
              <a:rPr lang="en-US" dirty="0">
                <a:solidFill>
                  <a:srgbClr val="295E7E"/>
                </a:solidFill>
              </a:rPr>
              <a:t>IT Support – Service Center Satisfaction Overall</a:t>
            </a:r>
          </a:p>
        </p:txBody>
      </p:sp>
      <p:graphicFrame>
        <p:nvGraphicFramePr>
          <p:cNvPr id="49" name="Chart 48">
            <a:extLst>
              <a:ext uri="{FF2B5EF4-FFF2-40B4-BE49-F238E27FC236}">
                <a16:creationId xmlns:a16="http://schemas.microsoft.com/office/drawing/2014/main" id="{A937B157-F802-42A7-B6C5-431800A44910}"/>
              </a:ext>
            </a:extLst>
          </p:cNvPr>
          <p:cNvGraphicFramePr/>
          <p:nvPr>
            <p:custDataLst>
              <p:tags r:id="rId5"/>
            </p:custDataLst>
            <p:extLst>
              <p:ext uri="{D42A27DB-BD31-4B8C-83A1-F6EECF244321}">
                <p14:modId xmlns:p14="http://schemas.microsoft.com/office/powerpoint/2010/main" val="213750564"/>
              </p:ext>
            </p:extLst>
          </p:nvPr>
        </p:nvGraphicFramePr>
        <p:xfrm>
          <a:off x="2744788" y="2481263"/>
          <a:ext cx="3400425" cy="3400425"/>
        </p:xfrm>
        <a:graphic>
          <a:graphicData uri="http://schemas.openxmlformats.org/drawingml/2006/chart">
            <c:chart xmlns:c="http://schemas.openxmlformats.org/drawingml/2006/chart" xmlns:r="http://schemas.openxmlformats.org/officeDocument/2006/relationships" r:id="rId25"/>
          </a:graphicData>
        </a:graphic>
      </p:graphicFrame>
      <p:sp>
        <p:nvSpPr>
          <p:cNvPr id="50" name="Text Placeholder 3"/>
          <p:cNvSpPr>
            <a:spLocks noGrp="1"/>
          </p:cNvSpPr>
          <p:nvPr>
            <p:custDataLst>
              <p:tags r:id="rId6"/>
            </p:custDataLst>
          </p:nvPr>
        </p:nvSpPr>
        <p:spPr bwMode="gray">
          <a:xfrm>
            <a:off x="3902075" y="2663825"/>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0070FBB-E02D-4DB3-8586-3267A2A201FB}" type="datetime'''''''''''''''''''''''''''''''''''5'''''''''''">
              <a:rPr lang="en-US" altLang="en-US" smtClean="0">
                <a:solidFill>
                  <a:schemeClr val="bg1"/>
                </a:solidFill>
              </a:rPr>
              <a:pPr/>
              <a:t>5</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7"/>
            </p:custDataLst>
          </p:nvPr>
        </p:nvSpPr>
        <p:spPr bwMode="gray">
          <a:xfrm>
            <a:off x="3011488" y="34226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A5058A4-A170-41A5-B436-AEF092F37A97}" type="datetime'''''''''''''''''''''''''''''''2''''''''0'''''''''''''''''">
              <a:rPr lang="en-US" altLang="en-US" smtClean="0"/>
              <a:pPr/>
              <a:t>20</a:t>
            </a:fld>
            <a:r>
              <a:rPr lang="en-US" altLang="en-US">
                <a:sym typeface="+mn-lt"/>
              </a:rPr>
              <a:t>%</a:t>
            </a:r>
            <a:endParaRPr lang="en-US" dirty="0">
              <a:sym typeface="+mn-lt"/>
            </a:endParaRPr>
          </a:p>
        </p:txBody>
      </p:sp>
      <p:sp>
        <p:nvSpPr>
          <p:cNvPr id="73" name="Text Placeholder 3"/>
          <p:cNvSpPr>
            <a:spLocks noGrp="1"/>
          </p:cNvSpPr>
          <p:nvPr>
            <p:custDataLst>
              <p:tags r:id="rId8"/>
            </p:custDataLst>
          </p:nvPr>
        </p:nvSpPr>
        <p:spPr bwMode="gray">
          <a:xfrm>
            <a:off x="5365750" y="3105150"/>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0571846-CAAF-4FF1-A757-8EAA145999CA}" type="datetime'''''''''''26'''''''''''''''''''''">
              <a:rPr lang="en-US" altLang="en-US" smtClean="0">
                <a:solidFill>
                  <a:schemeClr val="bg1"/>
                </a:solidFill>
              </a:rPr>
              <a:pPr/>
              <a:t>26</a:t>
            </a:fld>
            <a:r>
              <a:rPr lang="en-US" altLang="en-US" dirty="0">
                <a:solidFill>
                  <a:schemeClr val="bg1"/>
                </a:solidFill>
                <a:sym typeface="+mn-lt"/>
              </a:rPr>
              <a:t>%</a:t>
            </a:r>
            <a:endParaRPr lang="en-US" dirty="0">
              <a:solidFill>
                <a:schemeClr val="bg1"/>
              </a:solidFill>
              <a:sym typeface="+mn-lt"/>
            </a:endParaRPr>
          </a:p>
        </p:txBody>
      </p:sp>
      <p:sp>
        <p:nvSpPr>
          <p:cNvPr id="41" name="Text Placeholder 3"/>
          <p:cNvSpPr>
            <a:spLocks noGrp="1"/>
          </p:cNvSpPr>
          <p:nvPr>
            <p:custDataLst>
              <p:tags r:id="rId9"/>
            </p:custDataLst>
          </p:nvPr>
        </p:nvSpPr>
        <p:spPr bwMode="gray">
          <a:xfrm>
            <a:off x="4233863" y="2587625"/>
            <a:ext cx="209550" cy="201613"/>
          </a:xfrm>
          <a:prstGeom prst="rect">
            <a:avLst/>
          </a:prstGeom>
          <a:noFill/>
          <a:ln>
            <a:noFill/>
          </a:ln>
          <a:extLst>
            <a:ext uri="{909E8E84-426E-40DD-AFC4-6F175D3DCCD1}">
              <a14:hiddenFill xmlns:a14="http://schemas.microsoft.com/office/drawing/2010/main">
                <a:solidFill>
                  <a:srgbClr val="837F7F"/>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DC3CA84-E6B4-47AF-B870-947040309547}"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10"/>
            </p:custDataLst>
          </p:nvPr>
        </p:nvSpPr>
        <p:spPr bwMode="gray">
          <a:xfrm>
            <a:off x="4360863" y="5573713"/>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80D917B-FB8C-47C3-9E99-4DAC8740F006}" type="datetime'''''''''4''''''''''''''''''''''6'''''''''''''''''''''">
              <a:rPr lang="en-US" altLang="en-US" smtClean="0">
                <a:solidFill>
                  <a:schemeClr val="bg1"/>
                </a:solidFill>
              </a:rPr>
              <a:pPr/>
              <a:t>46</a:t>
            </a:fld>
            <a:r>
              <a:rPr lang="en-US" altLang="en-US">
                <a:solidFill>
                  <a:schemeClr val="bg1"/>
                </a:solidFill>
                <a:sym typeface="+mn-lt"/>
              </a:rPr>
              <a:t>%</a:t>
            </a:r>
            <a:endParaRPr lang="en-US" dirty="0">
              <a:solidFill>
                <a:schemeClr val="bg1"/>
              </a:solidFill>
              <a:sym typeface="+mn-lt"/>
            </a:endParaRPr>
          </a:p>
        </p:txBody>
      </p:sp>
      <p:sp>
        <p:nvSpPr>
          <p:cNvPr id="45" name="Rectangle 44"/>
          <p:cNvSpPr/>
          <p:nvPr>
            <p:custDataLst>
              <p:tags r:id="rId11"/>
            </p:custDataLst>
          </p:nvPr>
        </p:nvSpPr>
        <p:spPr bwMode="gray">
          <a:xfrm>
            <a:off x="1662113" y="6054725"/>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2952750" y="60547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3"/>
            </p:custDataLst>
          </p:nvPr>
        </p:nvSpPr>
        <p:spPr bwMode="gray">
          <a:xfrm>
            <a:off x="3902075" y="6054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custDataLst>
              <p:tags r:id="rId14"/>
            </p:custDataLst>
          </p:nvPr>
        </p:nvSpPr>
        <p:spPr bwMode="gray">
          <a:xfrm>
            <a:off x="4773613" y="6054725"/>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10263" y="6054725"/>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1927225" y="6035675"/>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9" name="Text Placeholder 3"/>
          <p:cNvSpPr>
            <a:spLocks noGrp="1"/>
          </p:cNvSpPr>
          <p:nvPr>
            <p:custDataLst>
              <p:tags r:id="rId17"/>
            </p:custDataLst>
          </p:nvPr>
        </p:nvSpPr>
        <p:spPr bwMode="gray">
          <a:xfrm>
            <a:off x="4167188" y="6035675"/>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38" name="Text Placeholder 3"/>
          <p:cNvSpPr>
            <a:spLocks noGrp="1"/>
          </p:cNvSpPr>
          <p:nvPr>
            <p:custDataLst>
              <p:tags r:id="rId18"/>
            </p:custDataLst>
          </p:nvPr>
        </p:nvSpPr>
        <p:spPr bwMode="gray">
          <a:xfrm>
            <a:off x="3217863" y="6035675"/>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42" name="Text Placeholder 3"/>
          <p:cNvSpPr>
            <a:spLocks noGrp="1"/>
          </p:cNvSpPr>
          <p:nvPr>
            <p:custDataLst>
              <p:tags r:id="rId19"/>
            </p:custDataLst>
          </p:nvPr>
        </p:nvSpPr>
        <p:spPr bwMode="gray">
          <a:xfrm>
            <a:off x="6175375" y="6035675"/>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20"/>
            </p:custDataLst>
          </p:nvPr>
        </p:nvSpPr>
        <p:spPr bwMode="gray">
          <a:xfrm>
            <a:off x="5038725" y="6035675"/>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sp>
        <p:nvSpPr>
          <p:cNvPr id="96" name="Rectangle 95"/>
          <p:cNvSpPr/>
          <p:nvPr/>
        </p:nvSpPr>
        <p:spPr>
          <a:xfrm>
            <a:off x="3068512" y="1392248"/>
            <a:ext cx="5268664" cy="6602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2% </a:t>
            </a:r>
            <a:r>
              <a:rPr lang="en-US" dirty="0">
                <a:solidFill>
                  <a:srgbClr val="575757"/>
                </a:solidFill>
              </a:rPr>
              <a:t>satisfied</a:t>
            </a:r>
          </a:p>
          <a:p>
            <a:pPr algn="ctr"/>
            <a:endParaRPr lang="en-US" sz="1000" dirty="0">
              <a:solidFill>
                <a:srgbClr val="575757"/>
              </a:solidFill>
            </a:endParaRPr>
          </a:p>
          <a:p>
            <a:pPr algn="ctr"/>
            <a:r>
              <a:rPr lang="en-US" dirty="0">
                <a:solidFill>
                  <a:srgbClr val="575757"/>
                </a:solidFill>
              </a:rPr>
              <a:t> </a:t>
            </a:r>
            <a:r>
              <a:rPr lang="en-US" sz="1400" dirty="0">
                <a:solidFill>
                  <a:srgbClr val="29BA74"/>
                </a:solidFill>
                <a:latin typeface="Wingdings 3" panose="05040102010807070707" pitchFamily="18" charset="2"/>
              </a:rPr>
              <a:t>p</a:t>
            </a:r>
            <a:r>
              <a:rPr lang="en-US" sz="1400" dirty="0">
                <a:solidFill>
                  <a:srgbClr val="575757"/>
                </a:solidFill>
              </a:rPr>
              <a:t>1% vs Q3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2% vs Q4 '20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8% vs BIC target</a:t>
            </a:r>
          </a:p>
        </p:txBody>
      </p:sp>
      <p:sp>
        <p:nvSpPr>
          <p:cNvPr id="43" name="Rectangle 42"/>
          <p:cNvSpPr/>
          <p:nvPr/>
        </p:nvSpPr>
        <p:spPr>
          <a:xfrm>
            <a:off x="585644" y="1445698"/>
            <a:ext cx="963851" cy="5914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rgbClr val="575757"/>
                </a:solidFill>
              </a:rPr>
              <a:t>Grade</a:t>
            </a:r>
          </a:p>
        </p:txBody>
      </p:sp>
      <p:cxnSp>
        <p:nvCxnSpPr>
          <p:cNvPr id="56" name="Straight Connector 55"/>
          <p:cNvCxnSpPr/>
          <p:nvPr/>
        </p:nvCxnSpPr>
        <p:spPr>
          <a:xfrm flipH="1" flipV="1">
            <a:off x="630000" y="2075732"/>
            <a:ext cx="7707176" cy="494"/>
          </a:xfrm>
          <a:prstGeom prst="line">
            <a:avLst/>
          </a:prstGeom>
          <a:ln w="19050" cap="rnd">
            <a:solidFill>
              <a:schemeClr val="tx1">
                <a:lumMod val="60000"/>
                <a:lumOff val="40000"/>
              </a:schemeClr>
            </a:solidFill>
            <a:prstDash val="sysDot"/>
          </a:ln>
        </p:spPr>
      </p:cxnSp>
      <p:sp>
        <p:nvSpPr>
          <p:cNvPr id="32" name="Rectangle 31"/>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sp>
        <p:nvSpPr>
          <p:cNvPr id="30" name="Rectangle 29">
            <a:extLst>
              <a:ext uri="{FF2B5EF4-FFF2-40B4-BE49-F238E27FC236}">
                <a16:creationId xmlns:a16="http://schemas.microsoft.com/office/drawing/2014/main" id="{0E3CF204-49D9-455E-9C6A-5C3A916ED732}"/>
              </a:ext>
            </a:extLst>
          </p:cNvPr>
          <p:cNvSpPr/>
          <p:nvPr/>
        </p:nvSpPr>
        <p:spPr>
          <a:xfrm>
            <a:off x="1443131" y="1392248"/>
            <a:ext cx="1301658" cy="60649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31" name="Group 30">
            <a:extLst>
              <a:ext uri="{FF2B5EF4-FFF2-40B4-BE49-F238E27FC236}">
                <a16:creationId xmlns:a16="http://schemas.microsoft.com/office/drawing/2014/main" id="{41603CDB-E2B2-43EE-83D2-F4E109434C07}"/>
              </a:ext>
            </a:extLst>
          </p:cNvPr>
          <p:cNvGrpSpPr>
            <a:grpSpLocks noChangeAspect="1"/>
          </p:cNvGrpSpPr>
          <p:nvPr/>
        </p:nvGrpSpPr>
        <p:grpSpPr>
          <a:xfrm>
            <a:off x="514429" y="864696"/>
            <a:ext cx="457200" cy="457200"/>
            <a:chOff x="5867400" y="3200400"/>
            <a:chExt cx="457200" cy="457200"/>
          </a:xfrm>
        </p:grpSpPr>
        <p:sp>
          <p:nvSpPr>
            <p:cNvPr id="37" name="AutoShape 43">
              <a:extLst>
                <a:ext uri="{FF2B5EF4-FFF2-40B4-BE49-F238E27FC236}">
                  <a16:creationId xmlns:a16="http://schemas.microsoft.com/office/drawing/2014/main" id="{182E81A8-40DD-4895-9ED7-4424C079933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A975DBA5-77CD-4303-90C8-1078F32DAC36}"/>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1617573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39"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56" name="Rectangle 155"/>
          <p:cNvSpPr/>
          <p:nvPr/>
        </p:nvSpPr>
        <p:spPr>
          <a:xfrm>
            <a:off x="9134124" y="0"/>
            <a:ext cx="2910392"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For CT, there has been a reduction of -4% Q4 year-over-year, whilst the 2021 average remains the same as 2020, at 74% </a:t>
            </a:r>
          </a:p>
        </p:txBody>
      </p:sp>
      <p:sp>
        <p:nvSpPr>
          <p:cNvPr id="3" name="Title 2"/>
          <p:cNvSpPr>
            <a:spLocks noGrp="1"/>
          </p:cNvSpPr>
          <p:nvPr>
            <p:ph type="title"/>
          </p:nvPr>
        </p:nvSpPr>
        <p:spPr/>
        <p:txBody>
          <a:bodyPr vert="horz"/>
          <a:lstStyle/>
          <a:p>
            <a:r>
              <a:rPr lang="en-US" dirty="0">
                <a:solidFill>
                  <a:srgbClr val="295E7E"/>
                </a:solidFill>
              </a:rPr>
              <a:t>IT Support – Service Center Satisfaction Overall</a:t>
            </a:r>
          </a:p>
        </p:txBody>
      </p:sp>
      <p:graphicFrame>
        <p:nvGraphicFramePr>
          <p:cNvPr id="64" name="Chart 63">
            <a:extLst>
              <a:ext uri="{FF2B5EF4-FFF2-40B4-BE49-F238E27FC236}">
                <a16:creationId xmlns:a16="http://schemas.microsoft.com/office/drawing/2014/main" id="{2EF220EA-A64A-402F-8287-D43A88079A87}"/>
              </a:ext>
            </a:extLst>
          </p:cNvPr>
          <p:cNvGraphicFramePr/>
          <p:nvPr>
            <p:custDataLst>
              <p:tags r:id="rId5"/>
            </p:custDataLst>
          </p:nvPr>
        </p:nvGraphicFramePr>
        <p:xfrm>
          <a:off x="5486400" y="3309938"/>
          <a:ext cx="2562225" cy="2562225"/>
        </p:xfrm>
        <a:graphic>
          <a:graphicData uri="http://schemas.openxmlformats.org/drawingml/2006/chart">
            <c:chart xmlns:c="http://schemas.openxmlformats.org/drawingml/2006/chart" xmlns:r="http://schemas.openxmlformats.org/officeDocument/2006/relationships" r:id="rId31"/>
          </a:graphicData>
        </a:graphic>
      </p:graphicFrame>
      <p:sp>
        <p:nvSpPr>
          <p:cNvPr id="41" name="Text Placeholder 3"/>
          <p:cNvSpPr>
            <a:spLocks noGrp="1"/>
          </p:cNvSpPr>
          <p:nvPr>
            <p:custDataLst>
              <p:tags r:id="rId6"/>
            </p:custDataLst>
          </p:nvPr>
        </p:nvSpPr>
        <p:spPr bwMode="gray">
          <a:xfrm>
            <a:off x="6594475" y="3414713"/>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30DC017-E293-4615-8840-AF0D71FBA8C0}"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73" name="Text Placeholder 3"/>
          <p:cNvSpPr>
            <a:spLocks noGrp="1"/>
          </p:cNvSpPr>
          <p:nvPr>
            <p:custDataLst>
              <p:tags r:id="rId7"/>
            </p:custDataLst>
          </p:nvPr>
        </p:nvSpPr>
        <p:spPr bwMode="gray">
          <a:xfrm>
            <a:off x="7331075" y="3748088"/>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3E6A2D1-2982-4708-B35C-BEBD45F400D3}" type="datetime'2''''''''''''''''''''''''4'''''">
              <a:rPr lang="en-US" altLang="en-US" smtClean="0">
                <a:solidFill>
                  <a:schemeClr val="bg1"/>
                </a:solidFill>
              </a:rPr>
              <a:pPr/>
              <a:t>24</a:t>
            </a:fld>
            <a:r>
              <a:rPr lang="en-US" altLang="en-US">
                <a:solidFill>
                  <a:schemeClr val="bg1"/>
                </a:solidFill>
                <a:sym typeface="+mn-lt"/>
              </a:rPr>
              <a:t>%</a:t>
            </a:r>
            <a:endParaRPr lang="en-US" dirty="0">
              <a:solidFill>
                <a:schemeClr val="bg1"/>
              </a:solidFill>
              <a:sym typeface="+mn-lt"/>
            </a:endParaRPr>
          </a:p>
        </p:txBody>
      </p:sp>
      <p:sp>
        <p:nvSpPr>
          <p:cNvPr id="55" name="Text Placeholder 3"/>
          <p:cNvSpPr>
            <a:spLocks noGrp="1"/>
          </p:cNvSpPr>
          <p:nvPr>
            <p:custDataLst>
              <p:tags r:id="rId8"/>
            </p:custDataLst>
          </p:nvPr>
        </p:nvSpPr>
        <p:spPr bwMode="gray">
          <a:xfrm>
            <a:off x="6656388" y="556418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34533ED-FDDF-4039-9EEA-AB3B64273A53}" type="datetime'''''5''0'''''">
              <a:rPr lang="en-US" altLang="en-US" smtClean="0">
                <a:solidFill>
                  <a:schemeClr val="bg1"/>
                </a:solidFill>
              </a:rPr>
              <a:pPr/>
              <a:t>50</a:t>
            </a:fld>
            <a:r>
              <a:rPr lang="en-US" altLang="en-US">
                <a:solidFill>
                  <a:schemeClr val="bg1"/>
                </a:solidFill>
                <a:sym typeface="+mn-lt"/>
              </a:rPr>
              <a:t>%</a:t>
            </a:r>
            <a:endParaRPr lang="en-US" dirty="0">
              <a:solidFill>
                <a:schemeClr val="bg1"/>
              </a:solidFill>
              <a:sym typeface="+mn-lt"/>
            </a:endParaRPr>
          </a:p>
        </p:txBody>
      </p:sp>
      <p:sp>
        <p:nvSpPr>
          <p:cNvPr id="53" name="Text Placeholder 3"/>
          <p:cNvSpPr>
            <a:spLocks noGrp="1"/>
          </p:cNvSpPr>
          <p:nvPr>
            <p:custDataLst>
              <p:tags r:id="rId9"/>
            </p:custDataLst>
          </p:nvPr>
        </p:nvSpPr>
        <p:spPr bwMode="gray">
          <a:xfrm>
            <a:off x="5751513" y="394970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2C85218-8B96-4A37-9077-890E6ED25932}" type="datetime'''''''''''''''''1''''''''''''''''''''''''''''8'">
              <a:rPr lang="en-US" altLang="en-US" smtClean="0"/>
              <a:pPr/>
              <a:t>18</a:t>
            </a:fld>
            <a:r>
              <a:rPr lang="en-US" altLang="en-US">
                <a:sym typeface="+mn-lt"/>
              </a:rPr>
              <a:t>%</a:t>
            </a:r>
            <a:endParaRPr lang="en-US" dirty="0">
              <a:sym typeface="+mn-lt"/>
            </a:endParaRPr>
          </a:p>
        </p:txBody>
      </p:sp>
      <p:sp>
        <p:nvSpPr>
          <p:cNvPr id="50" name="Text Placeholder 3"/>
          <p:cNvSpPr>
            <a:spLocks noGrp="1"/>
          </p:cNvSpPr>
          <p:nvPr>
            <p:custDataLst>
              <p:tags r:id="rId10"/>
            </p:custDataLst>
          </p:nvPr>
        </p:nvSpPr>
        <p:spPr bwMode="gray">
          <a:xfrm>
            <a:off x="6362700" y="3470275"/>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66931DC-0673-47EB-830A-E50EF67B9C3F}" type="datetime'''''5'''''''''''''">
              <a:rPr lang="en-US" altLang="en-US" smtClean="0">
                <a:solidFill>
                  <a:schemeClr val="bg1"/>
                </a:solidFill>
              </a:rPr>
              <a:pPr/>
              <a:t>5</a:t>
            </a:fld>
            <a:r>
              <a:rPr lang="en-US" altLang="en-US">
                <a:solidFill>
                  <a:schemeClr val="bg1"/>
                </a:solidFill>
                <a:sym typeface="+mn-lt"/>
              </a:rPr>
              <a:t>%</a:t>
            </a:r>
            <a:endParaRPr lang="en-US" dirty="0">
              <a:solidFill>
                <a:schemeClr val="bg1"/>
              </a:solidFill>
              <a:sym typeface="+mn-lt"/>
            </a:endParaRPr>
          </a:p>
        </p:txBody>
      </p:sp>
      <p:sp>
        <p:nvSpPr>
          <p:cNvPr id="51" name="Rectangle 50"/>
          <p:cNvSpPr/>
          <p:nvPr>
            <p:custDataLst>
              <p:tags r:id="rId11"/>
            </p:custDataLst>
          </p:nvPr>
        </p:nvSpPr>
        <p:spPr bwMode="gray">
          <a:xfrm>
            <a:off x="4827588" y="616426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Rectangle 45"/>
          <p:cNvSpPr/>
          <p:nvPr>
            <p:custDataLst>
              <p:tags r:id="rId12"/>
            </p:custDataLst>
          </p:nvPr>
        </p:nvSpPr>
        <p:spPr bwMode="gray">
          <a:xfrm>
            <a:off x="3006725" y="616426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Rectangle 44"/>
          <p:cNvSpPr/>
          <p:nvPr>
            <p:custDataLst>
              <p:tags r:id="rId13"/>
            </p:custDataLst>
          </p:nvPr>
        </p:nvSpPr>
        <p:spPr bwMode="gray">
          <a:xfrm>
            <a:off x="1716088" y="616426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custDataLst>
              <p:tags r:id="rId14"/>
            </p:custDataLst>
          </p:nvPr>
        </p:nvSpPr>
        <p:spPr bwMode="gray">
          <a:xfrm>
            <a:off x="3956050" y="616426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Rectangle 57"/>
          <p:cNvSpPr/>
          <p:nvPr>
            <p:custDataLst>
              <p:tags r:id="rId15"/>
            </p:custDataLst>
          </p:nvPr>
        </p:nvSpPr>
        <p:spPr bwMode="gray">
          <a:xfrm>
            <a:off x="5964238" y="616426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Text Placeholder 3"/>
          <p:cNvSpPr>
            <a:spLocks noGrp="1"/>
          </p:cNvSpPr>
          <p:nvPr>
            <p:custDataLst>
              <p:tags r:id="rId16"/>
            </p:custDataLst>
          </p:nvPr>
        </p:nvSpPr>
        <p:spPr bwMode="gray">
          <a:xfrm>
            <a:off x="1981200" y="614521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D18C423-3936-4678-8D69-EB50FEEB4EBF}" type="datetime'''''Ve''''r''''y'''' ''Sa''''''''ti''''''''''''''sfi''ed'">
              <a:rPr lang="en-US" altLang="en-US" smtClean="0">
                <a:sym typeface="+mn-lt"/>
              </a:rPr>
              <a:pPr>
                <a:spcBef>
                  <a:spcPct val="0"/>
                </a:spcBef>
                <a:spcAft>
                  <a:spcPct val="0"/>
                </a:spcAft>
              </a:pPr>
              <a:t>Very Satisfied</a:t>
            </a:fld>
            <a:endParaRPr lang="en-US" dirty="0">
              <a:sym typeface="+mn-lt"/>
            </a:endParaRPr>
          </a:p>
        </p:txBody>
      </p:sp>
      <p:sp>
        <p:nvSpPr>
          <p:cNvPr id="38" name="Text Placeholder 3"/>
          <p:cNvSpPr>
            <a:spLocks noGrp="1"/>
          </p:cNvSpPr>
          <p:nvPr>
            <p:custDataLst>
              <p:tags r:id="rId17"/>
            </p:custDataLst>
          </p:nvPr>
        </p:nvSpPr>
        <p:spPr bwMode="gray">
          <a:xfrm>
            <a:off x="3271838" y="614521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6F89EE3-8ED3-4DC4-A448-130CC42FCABF}" type="datetime'S''''''a''''t''i''s''''''''f''''''ied'''''''''''''">
              <a:rPr lang="en-US" altLang="en-US" smtClean="0">
                <a:sym typeface="+mn-lt"/>
              </a:rPr>
              <a:pPr>
                <a:spcBef>
                  <a:spcPct val="0"/>
                </a:spcBef>
                <a:spcAft>
                  <a:spcPct val="0"/>
                </a:spcAft>
              </a:pPr>
              <a:t>Satisfied</a:t>
            </a:fld>
            <a:endParaRPr lang="en-US" dirty="0">
              <a:sym typeface="+mn-lt"/>
            </a:endParaRPr>
          </a:p>
        </p:txBody>
      </p:sp>
      <p:sp>
        <p:nvSpPr>
          <p:cNvPr id="39" name="Text Placeholder 3"/>
          <p:cNvSpPr>
            <a:spLocks noGrp="1"/>
          </p:cNvSpPr>
          <p:nvPr>
            <p:custDataLst>
              <p:tags r:id="rId18"/>
            </p:custDataLst>
          </p:nvPr>
        </p:nvSpPr>
        <p:spPr bwMode="gray">
          <a:xfrm>
            <a:off x="4221163" y="614521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172AEC-7BE0-4805-BE4C-EBCC3FBF3CB0}" type="datetime'''''''''''''''''''''''''''''''''''''''''''N''e''ut''ra''''l'''">
              <a:rPr lang="en-US" altLang="en-US" smtClean="0">
                <a:sym typeface="+mn-lt"/>
              </a:rPr>
              <a:pPr>
                <a:spcBef>
                  <a:spcPct val="0"/>
                </a:spcBef>
                <a:spcAft>
                  <a:spcPct val="0"/>
                </a:spcAft>
              </a:pPr>
              <a:t>Neutral</a:t>
            </a:fld>
            <a:endParaRPr lang="en-US" dirty="0">
              <a:sym typeface="+mn-lt"/>
            </a:endParaRPr>
          </a:p>
        </p:txBody>
      </p:sp>
      <p:sp>
        <p:nvSpPr>
          <p:cNvPr id="42" name="Text Placeholder 3"/>
          <p:cNvSpPr>
            <a:spLocks noGrp="1"/>
          </p:cNvSpPr>
          <p:nvPr>
            <p:custDataLst>
              <p:tags r:id="rId19"/>
            </p:custDataLst>
          </p:nvPr>
        </p:nvSpPr>
        <p:spPr bwMode="gray">
          <a:xfrm>
            <a:off x="6229350" y="614521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C170BB-CAEB-4536-B17F-0CAD75E509AD}" type="datetime'Ve''''''''r''''y'''''''' D''''''is''''''sat''i''s''''fi''ed'">
              <a:rPr lang="en-US" altLang="en-US" smtClean="0">
                <a:sym typeface="+mn-lt"/>
              </a:rPr>
              <a:pPr>
                <a:spcBef>
                  <a:spcPct val="0"/>
                </a:spcBef>
                <a:spcAft>
                  <a:spcPct val="0"/>
                </a:spcAft>
              </a:pPr>
              <a:t>Very Dissatisfied</a:t>
            </a:fld>
            <a:endParaRPr lang="en-US" dirty="0">
              <a:sym typeface="+mn-lt"/>
            </a:endParaRPr>
          </a:p>
        </p:txBody>
      </p:sp>
      <p:sp>
        <p:nvSpPr>
          <p:cNvPr id="40" name="Text Placeholder 3"/>
          <p:cNvSpPr>
            <a:spLocks noGrp="1"/>
          </p:cNvSpPr>
          <p:nvPr>
            <p:custDataLst>
              <p:tags r:id="rId20"/>
            </p:custDataLst>
          </p:nvPr>
        </p:nvSpPr>
        <p:spPr bwMode="gray">
          <a:xfrm>
            <a:off x="5092700" y="614521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807089C-9D0F-4F9C-8A1C-016D5EF33B1E}"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52" name="Chart 51">
            <a:extLst>
              <a:ext uri="{FF2B5EF4-FFF2-40B4-BE49-F238E27FC236}">
                <a16:creationId xmlns:a16="http://schemas.microsoft.com/office/drawing/2014/main" id="{CDDB109B-5E14-4E85-9A59-FC9F2C9CA236}"/>
              </a:ext>
            </a:extLst>
          </p:cNvPr>
          <p:cNvGraphicFramePr/>
          <p:nvPr>
            <p:custDataLst>
              <p:tags r:id="rId21"/>
            </p:custDataLst>
          </p:nvPr>
        </p:nvGraphicFramePr>
        <p:xfrm>
          <a:off x="963613" y="3309938"/>
          <a:ext cx="2562225" cy="2562225"/>
        </p:xfrm>
        <a:graphic>
          <a:graphicData uri="http://schemas.openxmlformats.org/drawingml/2006/chart">
            <c:chart xmlns:c="http://schemas.openxmlformats.org/drawingml/2006/chart" xmlns:r="http://schemas.openxmlformats.org/officeDocument/2006/relationships" r:id="rId32"/>
          </a:graphicData>
        </a:graphic>
      </p:graphicFrame>
      <p:sp>
        <p:nvSpPr>
          <p:cNvPr id="29" name="Text Placeholder 3"/>
          <p:cNvSpPr>
            <a:spLocks noGrp="1"/>
          </p:cNvSpPr>
          <p:nvPr>
            <p:custDataLst>
              <p:tags r:id="rId22"/>
            </p:custDataLst>
          </p:nvPr>
        </p:nvSpPr>
        <p:spPr bwMode="gray">
          <a:xfrm>
            <a:off x="2908300" y="386080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590EF6B-66CB-4F62-89D8-5C1829E757B4}" type="datetime'''2''''''''''''''''''''''''''''''9'''''''''''''''''''''''">
              <a:rPr lang="en-US" altLang="en-US" smtClean="0">
                <a:solidFill>
                  <a:schemeClr val="bg1"/>
                </a:solidFill>
              </a:rPr>
              <a:pPr/>
              <a:t>29</a:t>
            </a:fld>
            <a:r>
              <a:rPr lang="en-US" altLang="en-US">
                <a:solidFill>
                  <a:schemeClr val="bg1"/>
                </a:solidFill>
                <a:sym typeface="+mn-lt"/>
              </a:rPr>
              <a:t>%</a:t>
            </a:r>
            <a:endParaRPr lang="en-US" dirty="0">
              <a:solidFill>
                <a:schemeClr val="bg1"/>
              </a:solidFill>
              <a:sym typeface="+mn-lt"/>
            </a:endParaRPr>
          </a:p>
        </p:txBody>
      </p:sp>
      <p:sp>
        <p:nvSpPr>
          <p:cNvPr id="31" name="Text Placeholder 3"/>
          <p:cNvSpPr>
            <a:spLocks noGrp="1"/>
          </p:cNvSpPr>
          <p:nvPr>
            <p:custDataLst>
              <p:tags r:id="rId23"/>
            </p:custDataLst>
          </p:nvPr>
        </p:nvSpPr>
        <p:spPr bwMode="gray">
          <a:xfrm>
            <a:off x="2144713" y="556260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AE87076-C98F-45F7-AF9E-4D5FE81E9EE4}" type="datetime'''''''4''''''''''''''''''''''''''''''1'''">
              <a:rPr lang="en-US" altLang="en-US" smtClean="0">
                <a:solidFill>
                  <a:schemeClr val="bg1"/>
                </a:solidFill>
              </a:rPr>
              <a:pPr/>
              <a:t>41</a:t>
            </a:fld>
            <a:r>
              <a:rPr lang="en-US" altLang="en-US">
                <a:solidFill>
                  <a:schemeClr val="bg1"/>
                </a:solidFill>
                <a:sym typeface="+mn-lt"/>
              </a:rPr>
              <a:t>%</a:t>
            </a:r>
            <a:endParaRPr lang="en-US" dirty="0">
              <a:solidFill>
                <a:schemeClr val="bg1"/>
              </a:solidFill>
              <a:sym typeface="+mn-lt"/>
            </a:endParaRPr>
          </a:p>
        </p:txBody>
      </p:sp>
      <p:sp>
        <p:nvSpPr>
          <p:cNvPr id="32" name="Text Placeholder 3"/>
          <p:cNvSpPr>
            <a:spLocks noGrp="1"/>
          </p:cNvSpPr>
          <p:nvPr>
            <p:custDataLst>
              <p:tags r:id="rId24"/>
            </p:custDataLst>
          </p:nvPr>
        </p:nvSpPr>
        <p:spPr bwMode="gray">
          <a:xfrm>
            <a:off x="1147763" y="4097338"/>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E285274-488E-4AEF-AEDF-7E33A31ED67E}" type="datetime'''''''''''''''''''''''''''''''''''''''''''2''''''''''3'''''''">
              <a:rPr lang="en-US" altLang="en-US" smtClean="0"/>
              <a:pPr/>
              <a:t>23</a:t>
            </a:fld>
            <a:r>
              <a:rPr lang="en-US" altLang="en-US">
                <a:sym typeface="+mn-lt"/>
              </a:rPr>
              <a:t>%</a:t>
            </a:r>
            <a:endParaRPr lang="en-US" dirty="0">
              <a:sym typeface="+mn-lt"/>
            </a:endParaRPr>
          </a:p>
        </p:txBody>
      </p:sp>
      <p:sp>
        <p:nvSpPr>
          <p:cNvPr id="30" name="Text Placeholder 3"/>
          <p:cNvSpPr>
            <a:spLocks noGrp="1"/>
          </p:cNvSpPr>
          <p:nvPr>
            <p:custDataLst>
              <p:tags r:id="rId25"/>
            </p:custDataLst>
          </p:nvPr>
        </p:nvSpPr>
        <p:spPr bwMode="gray">
          <a:xfrm>
            <a:off x="2062163" y="341630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C729960-1957-4F91-9326-7164BBED4B0C}"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33" name="Text Placeholder 3"/>
          <p:cNvSpPr>
            <a:spLocks noGrp="1"/>
          </p:cNvSpPr>
          <p:nvPr>
            <p:custDataLst>
              <p:tags r:id="rId26"/>
            </p:custDataLst>
          </p:nvPr>
        </p:nvSpPr>
        <p:spPr bwMode="gray">
          <a:xfrm>
            <a:off x="1822450" y="3475038"/>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441ABE0-CBA4-4909-B9E9-963E4AB811CA}" type="datetime'''''5'''''''''''''''''''''''''''''''''''''''''''''''">
              <a:rPr lang="en-US" altLang="en-US" smtClean="0">
                <a:solidFill>
                  <a:schemeClr val="bg1"/>
                </a:solidFill>
              </a:rPr>
              <a:pPr/>
              <a:t>5</a:t>
            </a:fld>
            <a:r>
              <a:rPr lang="en-US" altLang="en-US">
                <a:solidFill>
                  <a:schemeClr val="bg1"/>
                </a:solidFill>
                <a:sym typeface="+mn-lt"/>
              </a:rPr>
              <a:t>%</a:t>
            </a:r>
            <a:endParaRPr lang="en-US" dirty="0">
              <a:solidFill>
                <a:schemeClr val="bg1"/>
              </a:solidFill>
              <a:sym typeface="+mn-lt"/>
            </a:endParaRPr>
          </a:p>
        </p:txBody>
      </p:sp>
      <p:sp>
        <p:nvSpPr>
          <p:cNvPr id="72" name="Rectangle 71"/>
          <p:cNvSpPr/>
          <p:nvPr/>
        </p:nvSpPr>
        <p:spPr>
          <a:xfrm>
            <a:off x="242888" y="1643063"/>
            <a:ext cx="4068763" cy="88423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0% </a:t>
            </a:r>
            <a:r>
              <a:rPr lang="en-US" dirty="0">
                <a:solidFill>
                  <a:srgbClr val="575757"/>
                </a:solidFill>
              </a:rPr>
              <a:t>CT satisfied</a:t>
            </a:r>
          </a:p>
          <a:p>
            <a:pPr algn="ctr"/>
            <a:endParaRPr lang="en-US" sz="1000" dirty="0">
              <a:solidFill>
                <a:srgbClr val="575757"/>
              </a:solidFill>
            </a:endParaRPr>
          </a:p>
          <a:p>
            <a:pPr algn="ctr"/>
            <a:r>
              <a:rPr lang="en-US" sz="1400" dirty="0">
                <a:solidFill>
                  <a:schemeClr val="bg2">
                    <a:lumMod val="50000"/>
                  </a:schemeClr>
                </a:solidFill>
                <a:latin typeface="Wingdings 3" panose="05040102010807070707" pitchFamily="18" charset="2"/>
              </a:rPr>
              <a:t>w</a:t>
            </a:r>
            <a:r>
              <a:rPr lang="en-US" sz="1400" dirty="0">
                <a:solidFill>
                  <a:srgbClr val="575757"/>
                </a:solidFill>
              </a:rPr>
              <a:t>0% vs Q3 '21  | </a:t>
            </a: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4% vs Q4 '20 </a:t>
            </a: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10% vs BIC Target</a:t>
            </a:r>
          </a:p>
        </p:txBody>
      </p:sp>
      <p:sp>
        <p:nvSpPr>
          <p:cNvPr id="74" name="Rectangle 73"/>
          <p:cNvSpPr/>
          <p:nvPr/>
        </p:nvSpPr>
        <p:spPr>
          <a:xfrm>
            <a:off x="4664075" y="1643063"/>
            <a:ext cx="4067175" cy="8842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74% </a:t>
            </a:r>
            <a:r>
              <a:rPr lang="en-US" dirty="0">
                <a:solidFill>
                  <a:srgbClr val="575757"/>
                </a:solidFill>
              </a:rPr>
              <a:t>BST satisfied</a:t>
            </a:r>
          </a:p>
          <a:p>
            <a:pPr algn="ctr"/>
            <a:endParaRPr lang="en-US" sz="1000" dirty="0">
              <a:solidFill>
                <a:srgbClr val="575757"/>
              </a:solidFill>
            </a:endParaRPr>
          </a:p>
          <a:p>
            <a:pPr algn="ctr"/>
            <a:r>
              <a:rPr lang="en-US" sz="1400" dirty="0">
                <a:solidFill>
                  <a:srgbClr val="29BA74"/>
                </a:solidFill>
                <a:latin typeface="Wingdings 3" panose="05040102010807070707" pitchFamily="18" charset="2"/>
              </a:rPr>
              <a:t>p</a:t>
            </a:r>
            <a:r>
              <a:rPr lang="en-US" sz="1400" dirty="0">
                <a:solidFill>
                  <a:srgbClr val="575757"/>
                </a:solidFill>
              </a:rPr>
              <a:t>1% vs Q3 '21  | </a:t>
            </a:r>
            <a:r>
              <a:rPr lang="en-US" sz="1400" dirty="0">
                <a:solidFill>
                  <a:schemeClr val="bg2">
                    <a:lumMod val="50000"/>
                  </a:schemeClr>
                </a:solidFill>
                <a:latin typeface="Wingdings 3" panose="05040102010807070707" pitchFamily="18" charset="2"/>
              </a:rPr>
              <a:t>w</a:t>
            </a:r>
            <a:r>
              <a:rPr lang="en-US" sz="1400" dirty="0">
                <a:solidFill>
                  <a:srgbClr val="575757"/>
                </a:solidFill>
              </a:rPr>
              <a:t>0% vs Q4 '20 </a:t>
            </a:r>
          </a:p>
          <a:p>
            <a:pPr algn="ctr"/>
            <a:r>
              <a:rPr kumimoji="0" lang="en-US" sz="14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400" dirty="0">
                <a:solidFill>
                  <a:srgbClr val="575757"/>
                </a:solidFill>
              </a:rPr>
              <a:t>6% vs BIC Target</a:t>
            </a:r>
          </a:p>
        </p:txBody>
      </p:sp>
      <p:sp>
        <p:nvSpPr>
          <p:cNvPr id="7" name="Rectangle 6"/>
          <p:cNvSpPr/>
          <p:nvPr/>
        </p:nvSpPr>
        <p:spPr>
          <a:xfrm>
            <a:off x="1482759" y="425291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T</a:t>
            </a:r>
          </a:p>
        </p:txBody>
      </p:sp>
      <p:sp>
        <p:nvSpPr>
          <p:cNvPr id="77" name="Rectangle 76"/>
          <p:cNvSpPr/>
          <p:nvPr/>
        </p:nvSpPr>
        <p:spPr>
          <a:xfrm>
            <a:off x="6003925" y="4252913"/>
            <a:ext cx="1509713" cy="7445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BST</a:t>
            </a:r>
          </a:p>
        </p:txBody>
      </p:sp>
      <p:cxnSp>
        <p:nvCxnSpPr>
          <p:cNvPr id="35" name="Straight Connector 34"/>
          <p:cNvCxnSpPr/>
          <p:nvPr/>
        </p:nvCxnSpPr>
        <p:spPr>
          <a:xfrm flipH="1" flipV="1">
            <a:off x="712788" y="2527300"/>
            <a:ext cx="7707313" cy="0"/>
          </a:xfrm>
          <a:prstGeom prst="line">
            <a:avLst/>
          </a:prstGeom>
          <a:ln w="19050" cap="rnd">
            <a:solidFill>
              <a:schemeClr val="tx1">
                <a:lumMod val="60000"/>
                <a:lumOff val="40000"/>
              </a:schemeClr>
            </a:solidFill>
            <a:prstDash val="sysDot"/>
          </a:ln>
        </p:spPr>
      </p:cxnSp>
      <p:sp>
        <p:nvSpPr>
          <p:cNvPr id="57" name="Rectangle 56"/>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Cohort</a:t>
            </a:r>
          </a:p>
        </p:txBody>
      </p:sp>
      <p:sp>
        <p:nvSpPr>
          <p:cNvPr id="48" name="Rectangle 47">
            <a:extLst>
              <a:ext uri="{FF2B5EF4-FFF2-40B4-BE49-F238E27FC236}">
                <a16:creationId xmlns:a16="http://schemas.microsoft.com/office/drawing/2014/main" id="{CA4D6412-9321-4DAE-B3A7-0DCA9BFB92F4}"/>
              </a:ext>
            </a:extLst>
          </p:cNvPr>
          <p:cNvSpPr/>
          <p:nvPr/>
        </p:nvSpPr>
        <p:spPr>
          <a:xfrm>
            <a:off x="1514475" y="2531269"/>
            <a:ext cx="1517650"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sp>
        <p:nvSpPr>
          <p:cNvPr id="54" name="Rectangle 53">
            <a:extLst>
              <a:ext uri="{FF2B5EF4-FFF2-40B4-BE49-F238E27FC236}">
                <a16:creationId xmlns:a16="http://schemas.microsoft.com/office/drawing/2014/main" id="{054227F7-ACEB-49CD-A86E-8330416FDA7F}"/>
              </a:ext>
            </a:extLst>
          </p:cNvPr>
          <p:cNvSpPr/>
          <p:nvPr/>
        </p:nvSpPr>
        <p:spPr>
          <a:xfrm>
            <a:off x="5938043" y="2536923"/>
            <a:ext cx="1519238" cy="387350"/>
          </a:xfrm>
          <a:prstGeom prst="rect">
            <a:avLst/>
          </a:prstGeom>
          <a:solidFill>
            <a:srgbClr val="C9E7CA"/>
          </a:solidFill>
          <a:ln w="9525" cap="rnd" cmpd="sng" algn="ctr">
            <a:solidFill>
              <a:schemeClr val="bg1">
                <a:lumMod val="9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ood</a:t>
            </a:r>
          </a:p>
        </p:txBody>
      </p:sp>
      <p:grpSp>
        <p:nvGrpSpPr>
          <p:cNvPr id="75" name="Group 74">
            <a:extLst>
              <a:ext uri="{FF2B5EF4-FFF2-40B4-BE49-F238E27FC236}">
                <a16:creationId xmlns:a16="http://schemas.microsoft.com/office/drawing/2014/main" id="{66046C25-5619-4758-94B8-36BC0A621116}"/>
              </a:ext>
            </a:extLst>
          </p:cNvPr>
          <p:cNvGrpSpPr>
            <a:grpSpLocks noChangeAspect="1"/>
          </p:cNvGrpSpPr>
          <p:nvPr/>
        </p:nvGrpSpPr>
        <p:grpSpPr>
          <a:xfrm>
            <a:off x="514429" y="864696"/>
            <a:ext cx="457200" cy="457200"/>
            <a:chOff x="5867400" y="3200400"/>
            <a:chExt cx="457200" cy="457200"/>
          </a:xfrm>
        </p:grpSpPr>
        <p:sp>
          <p:nvSpPr>
            <p:cNvPr id="76" name="AutoShape 43">
              <a:extLst>
                <a:ext uri="{FF2B5EF4-FFF2-40B4-BE49-F238E27FC236}">
                  <a16:creationId xmlns:a16="http://schemas.microsoft.com/office/drawing/2014/main" id="{F2BD5B82-E119-4DA8-9FC3-00279A6C72B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7">
              <a:extLst>
                <a:ext uri="{FF2B5EF4-FFF2-40B4-BE49-F238E27FC236}">
                  <a16:creationId xmlns:a16="http://schemas.microsoft.com/office/drawing/2014/main" id="{E5D6201C-C976-4EBD-B811-A15DF22135E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3574207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0046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469" name="think-cell Slide" r:id="rId47" imgW="473" imgH="473" progId="TCLayout.ActiveDocument.1">
                  <p:embed/>
                </p:oleObj>
              </mc:Choice>
              <mc:Fallback>
                <p:oleObj name="think-cell Slide" r:id="rId47" imgW="473" imgH="473" progId="TCLayout.ActiveDocument.1">
                  <p:embed/>
                  <p:pic>
                    <p:nvPicPr>
                      <p:cNvPr id="5" name="Object 4" hidden="1"/>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dirty="0">
                <a:solidFill>
                  <a:srgbClr val="295E7E"/>
                </a:solidFill>
              </a:rPr>
              <a:t>IT Support – Service Center Satisfaction Overall</a:t>
            </a:r>
          </a:p>
        </p:txBody>
      </p:sp>
      <p:graphicFrame>
        <p:nvGraphicFramePr>
          <p:cNvPr id="89" name="Chart 88">
            <a:extLst>
              <a:ext uri="{FF2B5EF4-FFF2-40B4-BE49-F238E27FC236}">
                <a16:creationId xmlns:a16="http://schemas.microsoft.com/office/drawing/2014/main" id="{F35EF02D-581F-4E3C-BB30-120A634DC0CB}"/>
              </a:ext>
            </a:extLst>
          </p:cNvPr>
          <p:cNvGraphicFramePr/>
          <p:nvPr>
            <p:custDataLst>
              <p:tags r:id="rId5"/>
            </p:custDataLst>
            <p:extLst>
              <p:ext uri="{D42A27DB-BD31-4B8C-83A1-F6EECF244321}">
                <p14:modId xmlns:p14="http://schemas.microsoft.com/office/powerpoint/2010/main" val="975581634"/>
              </p:ext>
            </p:extLst>
          </p:nvPr>
        </p:nvGraphicFramePr>
        <p:xfrm>
          <a:off x="3579813" y="1298575"/>
          <a:ext cx="2343150" cy="2343150"/>
        </p:xfrm>
        <a:graphic>
          <a:graphicData uri="http://schemas.openxmlformats.org/drawingml/2006/chart">
            <c:chart xmlns:c="http://schemas.openxmlformats.org/drawingml/2006/chart" xmlns:r="http://schemas.openxmlformats.org/officeDocument/2006/relationships" r:id="rId49"/>
          </a:graphicData>
        </a:graphic>
      </p:graphicFrame>
      <p:sp>
        <p:nvSpPr>
          <p:cNvPr id="13" name="Text Placeholder 3"/>
          <p:cNvSpPr>
            <a:spLocks noGrp="1"/>
          </p:cNvSpPr>
          <p:nvPr>
            <p:custDataLst>
              <p:tags r:id="rId6"/>
            </p:custDataLst>
          </p:nvPr>
        </p:nvSpPr>
        <p:spPr bwMode="gray">
          <a:xfrm>
            <a:off x="4379913" y="1452563"/>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399E3B2-A86C-4925-8E2E-F3D50C62B2F3}" type="datetime'''''''''''''''''''''''''''''''''''''''''4'''''''''">
              <a:rPr lang="en-US" altLang="en-US" smtClean="0">
                <a:solidFill>
                  <a:schemeClr val="bg1"/>
                </a:solidFill>
                <a:effectLst/>
              </a:rPr>
              <a:pPr/>
              <a:t>4</a:t>
            </a:fld>
            <a:r>
              <a:rPr lang="en-US" altLang="en-US">
                <a:solidFill>
                  <a:schemeClr val="bg1"/>
                </a:solidFill>
                <a:sym typeface="+mn-lt"/>
              </a:rPr>
              <a:t>%</a:t>
            </a:r>
            <a:endParaRPr lang="en-US" dirty="0">
              <a:solidFill>
                <a:schemeClr val="bg1"/>
              </a:solidFill>
              <a:sym typeface="+mn-lt"/>
            </a:endParaRPr>
          </a:p>
        </p:txBody>
      </p:sp>
      <p:sp>
        <p:nvSpPr>
          <p:cNvPr id="10" name="Text Placeholder 3"/>
          <p:cNvSpPr>
            <a:spLocks noGrp="1"/>
          </p:cNvSpPr>
          <p:nvPr>
            <p:custDataLst>
              <p:tags r:id="rId7"/>
            </p:custDataLst>
          </p:nvPr>
        </p:nvSpPr>
        <p:spPr bwMode="gray">
          <a:xfrm>
            <a:off x="5257800" y="1724025"/>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80E32F1-82B9-4CFA-A090-6C887A398A73}" type="datetime'25'''''''''''''''''''''''''''''''''''''''''''''''''''''">
              <a:rPr lang="en-US" altLang="en-US" smtClean="0">
                <a:solidFill>
                  <a:schemeClr val="bg1"/>
                </a:solidFill>
              </a:rPr>
              <a:pPr/>
              <a:t>25</a:t>
            </a:fld>
            <a:r>
              <a:rPr lang="en-US" altLang="en-US">
                <a:solidFill>
                  <a:schemeClr val="bg1"/>
                </a:solidFill>
                <a:sym typeface="+mn-lt"/>
              </a:rPr>
              <a:t>%</a:t>
            </a:r>
            <a:endParaRPr lang="en-US" dirty="0">
              <a:solidFill>
                <a:schemeClr val="bg1"/>
              </a:solidFill>
              <a:sym typeface="+mn-lt"/>
            </a:endParaRPr>
          </a:p>
        </p:txBody>
      </p:sp>
      <p:sp>
        <p:nvSpPr>
          <p:cNvPr id="11" name="Text Placeholder 3"/>
          <p:cNvSpPr>
            <a:spLocks noGrp="1"/>
          </p:cNvSpPr>
          <p:nvPr>
            <p:custDataLst>
              <p:tags r:id="rId8"/>
            </p:custDataLst>
          </p:nvPr>
        </p:nvSpPr>
        <p:spPr bwMode="gray">
          <a:xfrm>
            <a:off x="4560888" y="3330575"/>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3427328-24F5-4EE1-8521-B50FA58F67DF}" type="datetime'''''''5''''''''''''''''''1'''''''''''''''''''''">
              <a:rPr lang="en-US" altLang="en-US" smtClean="0">
                <a:solidFill>
                  <a:schemeClr val="bg1"/>
                </a:solidFill>
              </a:rPr>
              <a:pPr/>
              <a:t>51</a:t>
            </a:fld>
            <a:r>
              <a:rPr lang="en-US" altLang="en-US">
                <a:solidFill>
                  <a:schemeClr val="bg1"/>
                </a:solidFill>
                <a:sym typeface="+mn-lt"/>
              </a:rPr>
              <a:t>%</a:t>
            </a:r>
            <a:endParaRPr lang="en-US" dirty="0">
              <a:solidFill>
                <a:schemeClr val="bg1"/>
              </a:solidFill>
              <a:sym typeface="+mn-lt"/>
            </a:endParaRPr>
          </a:p>
        </p:txBody>
      </p:sp>
      <p:sp>
        <p:nvSpPr>
          <p:cNvPr id="12" name="Text Placeholder 3"/>
          <p:cNvSpPr>
            <a:spLocks noGrp="1"/>
          </p:cNvSpPr>
          <p:nvPr>
            <p:custDataLst>
              <p:tags r:id="rId9"/>
            </p:custDataLst>
          </p:nvPr>
        </p:nvSpPr>
        <p:spPr bwMode="gray">
          <a:xfrm>
            <a:off x="3863975" y="1833563"/>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C97A3A8-C10F-4E40-BBCD-34605FAB1BA0}" type="datetime'''''''''''''''''''''''''''''1''''''''''''''''7'''''''''''">
              <a:rPr lang="en-US" altLang="en-US" smtClean="0"/>
              <a:pPr/>
              <a:t>17</a:t>
            </a:fld>
            <a:r>
              <a:rPr lang="en-US" altLang="en-US">
                <a:sym typeface="+mn-lt"/>
              </a:rPr>
              <a:t>%</a:t>
            </a:r>
            <a:endParaRPr lang="en-US" dirty="0">
              <a:sym typeface="+mn-lt"/>
            </a:endParaRPr>
          </a:p>
        </p:txBody>
      </p:sp>
      <p:sp>
        <p:nvSpPr>
          <p:cNvPr id="14" name="Text Placeholder 3"/>
          <p:cNvSpPr>
            <a:spLocks noGrp="1"/>
          </p:cNvSpPr>
          <p:nvPr>
            <p:custDataLst>
              <p:tags r:id="rId10"/>
            </p:custDataLst>
          </p:nvPr>
        </p:nvSpPr>
        <p:spPr bwMode="gray">
          <a:xfrm>
            <a:off x="4572000" y="1406525"/>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4CD1E86-6BF5-4AD5-8556-D7B1082510C7}"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graphicFrame>
        <p:nvGraphicFramePr>
          <p:cNvPr id="95" name="Chart 94">
            <a:extLst>
              <a:ext uri="{FF2B5EF4-FFF2-40B4-BE49-F238E27FC236}">
                <a16:creationId xmlns:a16="http://schemas.microsoft.com/office/drawing/2014/main" id="{3F4ED750-EE16-44D1-A6F4-F31625AA629A}"/>
              </a:ext>
            </a:extLst>
          </p:cNvPr>
          <p:cNvGraphicFramePr/>
          <p:nvPr>
            <p:custDataLst>
              <p:tags r:id="rId11"/>
            </p:custDataLst>
            <p:extLst>
              <p:ext uri="{D42A27DB-BD31-4B8C-83A1-F6EECF244321}">
                <p14:modId xmlns:p14="http://schemas.microsoft.com/office/powerpoint/2010/main" val="3018287195"/>
              </p:ext>
            </p:extLst>
          </p:nvPr>
        </p:nvGraphicFramePr>
        <p:xfrm>
          <a:off x="3579813" y="3865563"/>
          <a:ext cx="2343150" cy="2343150"/>
        </p:xfrm>
        <a:graphic>
          <a:graphicData uri="http://schemas.openxmlformats.org/drawingml/2006/chart">
            <c:chart xmlns:c="http://schemas.openxmlformats.org/drawingml/2006/chart" xmlns:r="http://schemas.openxmlformats.org/officeDocument/2006/relationships" r:id="rId50"/>
          </a:graphicData>
        </a:graphic>
      </p:graphicFrame>
      <p:sp>
        <p:nvSpPr>
          <p:cNvPr id="17" name="Text Placeholder 3"/>
          <p:cNvSpPr>
            <a:spLocks noGrp="1"/>
          </p:cNvSpPr>
          <p:nvPr>
            <p:custDataLst>
              <p:tags r:id="rId12"/>
            </p:custDataLst>
          </p:nvPr>
        </p:nvSpPr>
        <p:spPr bwMode="gray">
          <a:xfrm>
            <a:off x="5170488" y="421005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3C2D9C8-3C80-475F-B205-3A49FCBEE42A}" type="datetime'''''''''''''''''''''''''2''''''''''''''''''''''1'''''''''''''">
              <a:rPr lang="en-US" altLang="en-US" smtClean="0">
                <a:solidFill>
                  <a:schemeClr val="bg1"/>
                </a:solidFill>
              </a:rPr>
              <a:pPr/>
              <a:t>21</a:t>
            </a:fld>
            <a:r>
              <a:rPr lang="en-US" altLang="en-US">
                <a:solidFill>
                  <a:schemeClr val="bg1"/>
                </a:solidFill>
                <a:sym typeface="+mn-lt"/>
              </a:rPr>
              <a:t>%</a:t>
            </a:r>
            <a:endParaRPr lang="en-US" dirty="0">
              <a:solidFill>
                <a:schemeClr val="bg1"/>
              </a:solidFill>
              <a:sym typeface="+mn-lt"/>
            </a:endParaRPr>
          </a:p>
        </p:txBody>
      </p:sp>
      <p:sp>
        <p:nvSpPr>
          <p:cNvPr id="18" name="Text Placeholder 3"/>
          <p:cNvSpPr>
            <a:spLocks noGrp="1"/>
          </p:cNvSpPr>
          <p:nvPr>
            <p:custDataLst>
              <p:tags r:id="rId13"/>
            </p:custDataLst>
          </p:nvPr>
        </p:nvSpPr>
        <p:spPr bwMode="gray">
          <a:xfrm>
            <a:off x="5053013" y="5748338"/>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BA5F06-92A1-4220-BDC4-1CE08E273E5D}" type="datetime'''''''''''''''4''''''''''2'''''''''''''''''''''''">
              <a:rPr lang="en-US" altLang="en-US" smtClean="0">
                <a:solidFill>
                  <a:schemeClr val="bg1"/>
                </a:solidFill>
              </a:rPr>
              <a:pPr/>
              <a:t>42</a:t>
            </a:fld>
            <a:r>
              <a:rPr lang="en-US" altLang="en-US">
                <a:solidFill>
                  <a:schemeClr val="bg1"/>
                </a:solidFill>
                <a:sym typeface="+mn-lt"/>
              </a:rPr>
              <a:t>%</a:t>
            </a:r>
            <a:endParaRPr lang="en-US" dirty="0">
              <a:solidFill>
                <a:schemeClr val="bg1"/>
              </a:solidFill>
              <a:sym typeface="+mn-lt"/>
            </a:endParaRPr>
          </a:p>
        </p:txBody>
      </p:sp>
      <p:sp>
        <p:nvSpPr>
          <p:cNvPr id="19" name="Text Placeholder 3"/>
          <p:cNvSpPr>
            <a:spLocks noGrp="1"/>
          </p:cNvSpPr>
          <p:nvPr>
            <p:custDataLst>
              <p:tags r:id="rId14"/>
            </p:custDataLst>
          </p:nvPr>
        </p:nvSpPr>
        <p:spPr bwMode="gray">
          <a:xfrm>
            <a:off x="3678238" y="4819650"/>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248EAEE-D748-4684-BE23-D91C7248FF6C}" type="datetime'''2''''''''''''''''''''''''''''''''''''''''''''8'">
              <a:rPr lang="en-US" altLang="en-US" smtClean="0"/>
              <a:pPr/>
              <a:t>28</a:t>
            </a:fld>
            <a:r>
              <a:rPr lang="en-US" altLang="en-US">
                <a:sym typeface="+mn-lt"/>
              </a:rPr>
              <a:t>%</a:t>
            </a:r>
            <a:endParaRPr lang="en-US" dirty="0">
              <a:sym typeface="+mn-lt"/>
            </a:endParaRPr>
          </a:p>
        </p:txBody>
      </p:sp>
      <p:sp>
        <p:nvSpPr>
          <p:cNvPr id="20" name="Text Placeholder 3"/>
          <p:cNvSpPr>
            <a:spLocks noGrp="1"/>
          </p:cNvSpPr>
          <p:nvPr>
            <p:custDataLst>
              <p:tags r:id="rId15"/>
            </p:custDataLst>
          </p:nvPr>
        </p:nvSpPr>
        <p:spPr bwMode="gray">
          <a:xfrm>
            <a:off x="4324350" y="4041775"/>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41CCA02-DE54-4516-976D-F697672EDBE2}" type="datetime'''''''7'''''''''''''''''''">
              <a:rPr lang="en-US" altLang="en-US" smtClean="0">
                <a:solidFill>
                  <a:schemeClr val="bg1"/>
                </a:solidFill>
              </a:rPr>
              <a:pPr/>
              <a:t>7</a:t>
            </a:fld>
            <a:r>
              <a:rPr lang="en-US" altLang="en-US">
                <a:solidFill>
                  <a:schemeClr val="bg1"/>
                </a:solidFill>
                <a:sym typeface="+mn-lt"/>
              </a:rPr>
              <a:t>%</a:t>
            </a:r>
            <a:endParaRPr lang="en-US" dirty="0">
              <a:solidFill>
                <a:schemeClr val="bg1"/>
              </a:solidFill>
              <a:sym typeface="+mn-lt"/>
            </a:endParaRPr>
          </a:p>
        </p:txBody>
      </p:sp>
      <p:sp>
        <p:nvSpPr>
          <p:cNvPr id="16" name="Text Placeholder 3"/>
          <p:cNvSpPr>
            <a:spLocks noGrp="1"/>
          </p:cNvSpPr>
          <p:nvPr>
            <p:custDataLst>
              <p:tags r:id="rId16"/>
            </p:custDataLst>
          </p:nvPr>
        </p:nvSpPr>
        <p:spPr bwMode="gray">
          <a:xfrm>
            <a:off x="4586288" y="3970338"/>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0031333-8ECD-419D-98F3-81BF56BF7AB0}" type="datetime'''''''''''''''''''''''''''''''''''''''2'''''''''''''">
              <a:rPr lang="en-US" altLang="en-US" smtClean="0">
                <a:solidFill>
                  <a:schemeClr val="bg1"/>
                </a:solidFill>
              </a:rPr>
              <a:pPr/>
              <a:t>2</a:t>
            </a:fld>
            <a:r>
              <a:rPr lang="en-US" altLang="en-US">
                <a:solidFill>
                  <a:schemeClr val="bg1"/>
                </a:solidFill>
                <a:sym typeface="+mn-lt"/>
              </a:rPr>
              <a:t>%</a:t>
            </a:r>
            <a:endParaRPr lang="en-US" dirty="0">
              <a:solidFill>
                <a:schemeClr val="bg1"/>
              </a:solidFill>
              <a:sym typeface="+mn-lt"/>
            </a:endParaRPr>
          </a:p>
        </p:txBody>
      </p:sp>
      <p:sp>
        <p:nvSpPr>
          <p:cNvPr id="22" name="Rectangle 21"/>
          <p:cNvSpPr/>
          <p:nvPr>
            <p:custDataLst>
              <p:tags r:id="rId17"/>
            </p:custDataLst>
          </p:nvPr>
        </p:nvSpPr>
        <p:spPr bwMode="gray">
          <a:xfrm>
            <a:off x="1730375" y="6470650"/>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p:cNvSpPr/>
          <p:nvPr>
            <p:custDataLst>
              <p:tags r:id="rId18"/>
            </p:custDataLst>
          </p:nvPr>
        </p:nvSpPr>
        <p:spPr bwMode="gray">
          <a:xfrm>
            <a:off x="3021013" y="6470650"/>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ectangle 23"/>
          <p:cNvSpPr/>
          <p:nvPr>
            <p:custDataLst>
              <p:tags r:id="rId19"/>
            </p:custDataLst>
          </p:nvPr>
        </p:nvSpPr>
        <p:spPr bwMode="gray">
          <a:xfrm>
            <a:off x="3970338" y="64706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Rectangle 20"/>
          <p:cNvSpPr/>
          <p:nvPr>
            <p:custDataLst>
              <p:tags r:id="rId20"/>
            </p:custDataLst>
          </p:nvPr>
        </p:nvSpPr>
        <p:spPr bwMode="gray">
          <a:xfrm>
            <a:off x="4841875" y="6470650"/>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Rectangle 24"/>
          <p:cNvSpPr/>
          <p:nvPr>
            <p:custDataLst>
              <p:tags r:id="rId21"/>
            </p:custDataLst>
          </p:nvPr>
        </p:nvSpPr>
        <p:spPr bwMode="gray">
          <a:xfrm>
            <a:off x="5978525" y="64706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8" name="Text Placeholder 3"/>
          <p:cNvSpPr>
            <a:spLocks noGrp="1"/>
          </p:cNvSpPr>
          <p:nvPr>
            <p:custDataLst>
              <p:tags r:id="rId22"/>
            </p:custDataLst>
          </p:nvPr>
        </p:nvSpPr>
        <p:spPr bwMode="gray">
          <a:xfrm>
            <a:off x="1995488" y="6451600"/>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3390AA5-3CC3-409C-92D9-986BA2E4FE37}" type="datetime'''''Ve''r''''''''''''''''''''y S''a''t''is''''''''''''''fied'">
              <a:rPr lang="en-US" altLang="en-US" smtClean="0">
                <a:sym typeface="+mn-lt"/>
              </a:rPr>
              <a:pPr>
                <a:spcBef>
                  <a:spcPct val="0"/>
                </a:spcBef>
                <a:spcAft>
                  <a:spcPct val="0"/>
                </a:spcAft>
              </a:pPr>
              <a:t>Very Satisfied</a:t>
            </a:fld>
            <a:endParaRPr lang="en-US" dirty="0">
              <a:sym typeface="+mn-lt"/>
            </a:endParaRPr>
          </a:p>
        </p:txBody>
      </p:sp>
      <p:sp>
        <p:nvSpPr>
          <p:cNvPr id="31" name="Text Placeholder 3"/>
          <p:cNvSpPr>
            <a:spLocks noGrp="1"/>
          </p:cNvSpPr>
          <p:nvPr>
            <p:custDataLst>
              <p:tags r:id="rId23"/>
            </p:custDataLst>
          </p:nvPr>
        </p:nvSpPr>
        <p:spPr bwMode="gray">
          <a:xfrm>
            <a:off x="4235450" y="6451600"/>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B2F4D4E-CBED-4FD7-BA31-EA36610252A9}" type="datetime'N''''e''''''''u''''t''''''r''''''a''l'''''''''''''''''''''''''">
              <a:rPr lang="en-US" altLang="en-US" smtClean="0">
                <a:sym typeface="+mn-lt"/>
              </a:rPr>
              <a:pPr>
                <a:spcBef>
                  <a:spcPct val="0"/>
                </a:spcBef>
                <a:spcAft>
                  <a:spcPct val="0"/>
                </a:spcAft>
              </a:pPr>
              <a:t>Neutral</a:t>
            </a:fld>
            <a:endParaRPr lang="en-US" dirty="0">
              <a:sym typeface="+mn-lt"/>
            </a:endParaRPr>
          </a:p>
        </p:txBody>
      </p:sp>
      <p:sp>
        <p:nvSpPr>
          <p:cNvPr id="29" name="Text Placeholder 3"/>
          <p:cNvSpPr>
            <a:spLocks noGrp="1"/>
          </p:cNvSpPr>
          <p:nvPr>
            <p:custDataLst>
              <p:tags r:id="rId24"/>
            </p:custDataLst>
          </p:nvPr>
        </p:nvSpPr>
        <p:spPr bwMode="gray">
          <a:xfrm>
            <a:off x="3286125" y="6451600"/>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3952AA6-6B90-4B47-8366-25FF1D6C0129}" type="datetime'''''''S''''''a''''''''''tisf''''''''''ie''''''''d'''''''''''">
              <a:rPr lang="en-US" altLang="en-US" smtClean="0">
                <a:sym typeface="+mn-lt"/>
              </a:rPr>
              <a:pPr>
                <a:spcBef>
                  <a:spcPct val="0"/>
                </a:spcBef>
                <a:spcAft>
                  <a:spcPct val="0"/>
                </a:spcAft>
              </a:pPr>
              <a:t>Satisfied</a:t>
            </a:fld>
            <a:endParaRPr lang="en-US" dirty="0">
              <a:sym typeface="+mn-lt"/>
            </a:endParaRPr>
          </a:p>
        </p:txBody>
      </p:sp>
      <p:sp>
        <p:nvSpPr>
          <p:cNvPr id="26" name="Text Placeholder 3"/>
          <p:cNvSpPr>
            <a:spLocks noGrp="1"/>
          </p:cNvSpPr>
          <p:nvPr>
            <p:custDataLst>
              <p:tags r:id="rId25"/>
            </p:custDataLst>
          </p:nvPr>
        </p:nvSpPr>
        <p:spPr bwMode="gray">
          <a:xfrm>
            <a:off x="6243638" y="6451600"/>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7127AA9-197D-4F8E-A26E-91D5801781A3}" type="datetime'V''ery'' D''''i''''''''''s''''sati''''''''''sfie''d'''''''''''">
              <a:rPr lang="en-US" altLang="en-US" smtClean="0">
                <a:sym typeface="+mn-lt"/>
              </a:rPr>
              <a:pPr>
                <a:spcBef>
                  <a:spcPct val="0"/>
                </a:spcBef>
                <a:spcAft>
                  <a:spcPct val="0"/>
                </a:spcAft>
              </a:pPr>
              <a:t>Very Dissatisfied</a:t>
            </a:fld>
            <a:endParaRPr lang="en-US" dirty="0">
              <a:sym typeface="+mn-lt"/>
            </a:endParaRPr>
          </a:p>
        </p:txBody>
      </p:sp>
      <p:sp>
        <p:nvSpPr>
          <p:cNvPr id="30" name="Text Placeholder 3"/>
          <p:cNvSpPr>
            <a:spLocks noGrp="1"/>
          </p:cNvSpPr>
          <p:nvPr>
            <p:custDataLst>
              <p:tags r:id="rId26"/>
            </p:custDataLst>
          </p:nvPr>
        </p:nvSpPr>
        <p:spPr bwMode="gray">
          <a:xfrm>
            <a:off x="5106988" y="6451600"/>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39F735C-7765-4275-BFAA-872C309FA421}" type="datetime'''''''''''''Di''''''''''''''''ssat''''i''''sfi''e''''''''d'''">
              <a:rPr lang="en-US" altLang="en-US" smtClean="0">
                <a:sym typeface="+mn-lt"/>
              </a:rPr>
              <a:pPr>
                <a:spcBef>
                  <a:spcPct val="0"/>
                </a:spcBef>
                <a:spcAft>
                  <a:spcPct val="0"/>
                </a:spcAft>
              </a:pPr>
              <a:t>Dissatisfied</a:t>
            </a:fld>
            <a:endParaRPr lang="en-US" dirty="0">
              <a:sym typeface="+mn-lt"/>
            </a:endParaRPr>
          </a:p>
        </p:txBody>
      </p:sp>
      <p:graphicFrame>
        <p:nvGraphicFramePr>
          <p:cNvPr id="99" name="Chart 98">
            <a:extLst>
              <a:ext uri="{FF2B5EF4-FFF2-40B4-BE49-F238E27FC236}">
                <a16:creationId xmlns:a16="http://schemas.microsoft.com/office/drawing/2014/main" id="{A8A1EC91-A305-40EC-A1FD-619EBA937DD0}"/>
              </a:ext>
            </a:extLst>
          </p:cNvPr>
          <p:cNvGraphicFramePr/>
          <p:nvPr>
            <p:custDataLst>
              <p:tags r:id="rId27"/>
            </p:custDataLst>
            <p:extLst>
              <p:ext uri="{D42A27DB-BD31-4B8C-83A1-F6EECF244321}">
                <p14:modId xmlns:p14="http://schemas.microsoft.com/office/powerpoint/2010/main" val="752139181"/>
              </p:ext>
            </p:extLst>
          </p:nvPr>
        </p:nvGraphicFramePr>
        <p:xfrm>
          <a:off x="603250" y="3865563"/>
          <a:ext cx="2343150" cy="2343150"/>
        </p:xfrm>
        <a:graphic>
          <a:graphicData uri="http://schemas.openxmlformats.org/drawingml/2006/chart">
            <c:chart xmlns:c="http://schemas.openxmlformats.org/drawingml/2006/chart" xmlns:r="http://schemas.openxmlformats.org/officeDocument/2006/relationships" r:id="rId51"/>
          </a:graphicData>
        </a:graphic>
      </p:graphicFrame>
      <p:sp>
        <p:nvSpPr>
          <p:cNvPr id="34" name="Text Placeholder 3"/>
          <p:cNvSpPr>
            <a:spLocks noGrp="1"/>
          </p:cNvSpPr>
          <p:nvPr>
            <p:custDataLst>
              <p:tags r:id="rId28"/>
            </p:custDataLst>
          </p:nvPr>
        </p:nvSpPr>
        <p:spPr bwMode="gray">
          <a:xfrm>
            <a:off x="1570038" y="5915025"/>
            <a:ext cx="288925"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84427451-0CF7-4DF3-99FC-DF0D46043A98}" type="datetime'''''''''4''''''''''''''''''4'">
              <a:rPr lang="en-US" altLang="en-US" sz="1200" smtClean="0">
                <a:solidFill>
                  <a:schemeClr val="bg1"/>
                </a:solidFill>
              </a:rPr>
              <a:pPr/>
              <a:t>44</a:t>
            </a:fld>
            <a:r>
              <a:rPr lang="en-US" altLang="en-US" sz="1200">
                <a:solidFill>
                  <a:schemeClr val="bg1"/>
                </a:solidFill>
                <a:sym typeface="+mn-lt"/>
              </a:rPr>
              <a:t>%</a:t>
            </a:r>
            <a:endParaRPr lang="en-US" sz="1200" dirty="0">
              <a:solidFill>
                <a:schemeClr val="bg1"/>
              </a:solidFill>
              <a:sym typeface="+mn-lt"/>
            </a:endParaRPr>
          </a:p>
        </p:txBody>
      </p:sp>
      <p:sp>
        <p:nvSpPr>
          <p:cNvPr id="33" name="Text Placeholder 3"/>
          <p:cNvSpPr>
            <a:spLocks noGrp="1"/>
          </p:cNvSpPr>
          <p:nvPr>
            <p:custDataLst>
              <p:tags r:id="rId29"/>
            </p:custDataLst>
          </p:nvPr>
        </p:nvSpPr>
        <p:spPr bwMode="gray">
          <a:xfrm>
            <a:off x="2359025" y="4381500"/>
            <a:ext cx="288925" cy="18256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083C0508-ABC2-4C2C-B4E7-2DFDCDD19100}" type="datetime'2''9'''''''">
              <a:rPr lang="en-US" altLang="en-US" sz="1200" smtClean="0">
                <a:solidFill>
                  <a:schemeClr val="bg1"/>
                </a:solidFill>
              </a:rPr>
              <a:pPr/>
              <a:t>29</a:t>
            </a:fld>
            <a:r>
              <a:rPr lang="en-US" altLang="en-US" sz="1200">
                <a:solidFill>
                  <a:schemeClr val="bg1"/>
                </a:solidFill>
                <a:sym typeface="+mn-lt"/>
              </a:rPr>
              <a:t>%</a:t>
            </a:r>
            <a:endParaRPr lang="en-US" sz="1200" dirty="0">
              <a:solidFill>
                <a:schemeClr val="bg1"/>
              </a:solidFill>
              <a:sym typeface="+mn-lt"/>
            </a:endParaRPr>
          </a:p>
        </p:txBody>
      </p:sp>
      <p:sp>
        <p:nvSpPr>
          <p:cNvPr id="35" name="Text Placeholder 3"/>
          <p:cNvSpPr>
            <a:spLocks noGrp="1"/>
          </p:cNvSpPr>
          <p:nvPr>
            <p:custDataLst>
              <p:tags r:id="rId30"/>
            </p:custDataLst>
          </p:nvPr>
        </p:nvSpPr>
        <p:spPr bwMode="gray">
          <a:xfrm>
            <a:off x="1608138" y="3970338"/>
            <a:ext cx="209550" cy="182563"/>
          </a:xfrm>
          <a:prstGeom prst="rect">
            <a:avLst/>
          </a:prstGeom>
          <a:solidFill>
            <a:srgbClr val="837F7F"/>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DDC934CF-2213-4765-8EB4-CF619C3014C7}" type="datetime'''''''''''2'''''''''''''''''''''''''''''''''''''''''''''''''">
              <a:rPr lang="en-US" altLang="en-US" sz="1200" smtClean="0">
                <a:solidFill>
                  <a:schemeClr val="bg1"/>
                </a:solidFill>
                <a:effectLst/>
              </a:rPr>
              <a:pPr/>
              <a:t>2</a:t>
            </a:fld>
            <a:r>
              <a:rPr lang="en-US" altLang="en-US" sz="1200">
                <a:solidFill>
                  <a:schemeClr val="bg1"/>
                </a:solidFill>
                <a:sym typeface="+mn-lt"/>
              </a:rPr>
              <a:t>%</a:t>
            </a:r>
            <a:endParaRPr lang="en-US" sz="1200" dirty="0">
              <a:solidFill>
                <a:schemeClr val="bg1"/>
              </a:solidFill>
              <a:sym typeface="+mn-lt"/>
            </a:endParaRPr>
          </a:p>
        </p:txBody>
      </p:sp>
      <p:sp>
        <p:nvSpPr>
          <p:cNvPr id="36" name="Text Placeholder 3"/>
          <p:cNvSpPr>
            <a:spLocks noGrp="1"/>
          </p:cNvSpPr>
          <p:nvPr>
            <p:custDataLst>
              <p:tags r:id="rId31"/>
            </p:custDataLst>
          </p:nvPr>
        </p:nvSpPr>
        <p:spPr bwMode="gray">
          <a:xfrm>
            <a:off x="822325" y="4502150"/>
            <a:ext cx="288925" cy="18256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F52B36F5-B1E8-458D-98E7-2D22062E8802}" type="datetime'''''''''''''''''''''''''''''2''''''''''0'''''''''''''">
              <a:rPr lang="en-US" altLang="en-US" sz="1200" smtClean="0"/>
              <a:pPr/>
              <a:t>20</a:t>
            </a:fld>
            <a:r>
              <a:rPr lang="en-US" altLang="en-US" sz="1200">
                <a:sym typeface="+mn-lt"/>
              </a:rPr>
              <a:t>%</a:t>
            </a:r>
            <a:endParaRPr lang="en-US" sz="1200" dirty="0">
              <a:sym typeface="+mn-lt"/>
            </a:endParaRPr>
          </a:p>
        </p:txBody>
      </p:sp>
      <p:sp>
        <p:nvSpPr>
          <p:cNvPr id="37" name="Text Placeholder 3"/>
          <p:cNvSpPr>
            <a:spLocks noGrp="1"/>
          </p:cNvSpPr>
          <p:nvPr>
            <p:custDataLst>
              <p:tags r:id="rId32"/>
            </p:custDataLst>
          </p:nvPr>
        </p:nvSpPr>
        <p:spPr bwMode="gray">
          <a:xfrm>
            <a:off x="1401763" y="4021138"/>
            <a:ext cx="209550" cy="18256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BE90F175-0009-4EF1-ADF6-58D65AE82A5B}" type="datetime'''''''''''''''5'''''''''''''''''''">
              <a:rPr lang="en-US" altLang="en-US" sz="1200" smtClean="0">
                <a:solidFill>
                  <a:schemeClr val="bg1"/>
                </a:solidFill>
              </a:rPr>
              <a:pPr/>
              <a:t>5</a:t>
            </a:fld>
            <a:r>
              <a:rPr lang="en-US" altLang="en-US" sz="1200">
                <a:solidFill>
                  <a:schemeClr val="bg1"/>
                </a:solidFill>
                <a:sym typeface="+mn-lt"/>
              </a:rPr>
              <a:t>%</a:t>
            </a:r>
            <a:endParaRPr lang="en-US" sz="1200" dirty="0">
              <a:solidFill>
                <a:schemeClr val="bg1"/>
              </a:solidFill>
              <a:sym typeface="+mn-lt"/>
            </a:endParaRPr>
          </a:p>
        </p:txBody>
      </p:sp>
      <p:graphicFrame>
        <p:nvGraphicFramePr>
          <p:cNvPr id="100" name="Chart 99">
            <a:extLst>
              <a:ext uri="{FF2B5EF4-FFF2-40B4-BE49-F238E27FC236}">
                <a16:creationId xmlns:a16="http://schemas.microsoft.com/office/drawing/2014/main" id="{DECFA3FF-6616-4DAA-958D-9905CB1CA6DD}"/>
              </a:ext>
            </a:extLst>
          </p:cNvPr>
          <p:cNvGraphicFramePr/>
          <p:nvPr>
            <p:custDataLst>
              <p:tags r:id="rId33"/>
            </p:custDataLst>
            <p:extLst>
              <p:ext uri="{D42A27DB-BD31-4B8C-83A1-F6EECF244321}">
                <p14:modId xmlns:p14="http://schemas.microsoft.com/office/powerpoint/2010/main" val="1314873849"/>
              </p:ext>
            </p:extLst>
          </p:nvPr>
        </p:nvGraphicFramePr>
        <p:xfrm>
          <a:off x="603250" y="1312863"/>
          <a:ext cx="2343150" cy="2343150"/>
        </p:xfrm>
        <a:graphic>
          <a:graphicData uri="http://schemas.openxmlformats.org/drawingml/2006/chart">
            <c:chart xmlns:c="http://schemas.openxmlformats.org/drawingml/2006/chart" xmlns:r="http://schemas.openxmlformats.org/officeDocument/2006/relationships" r:id="rId52"/>
          </a:graphicData>
        </a:graphic>
      </p:graphicFrame>
      <p:sp>
        <p:nvSpPr>
          <p:cNvPr id="40" name="Text Placeholder 3"/>
          <p:cNvSpPr>
            <a:spLocks noGrp="1"/>
          </p:cNvSpPr>
          <p:nvPr>
            <p:custDataLst>
              <p:tags r:id="rId34"/>
            </p:custDataLst>
          </p:nvPr>
        </p:nvSpPr>
        <p:spPr bwMode="gray">
          <a:xfrm>
            <a:off x="1254125" y="3254375"/>
            <a:ext cx="288925"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33A810AC-9C65-4894-9753-30095E9A83B6}" type="datetime'''''''''''''''''''''''''4''8'''''''''''''">
              <a:rPr lang="en-US" altLang="en-US" sz="1200" smtClean="0">
                <a:solidFill>
                  <a:schemeClr val="bg1"/>
                </a:solidFill>
              </a:rPr>
              <a:pPr/>
              <a:t>48</a:t>
            </a:fld>
            <a:r>
              <a:rPr lang="en-US" altLang="en-US" sz="1200">
                <a:solidFill>
                  <a:schemeClr val="bg1"/>
                </a:solidFill>
                <a:sym typeface="+mn-lt"/>
              </a:rPr>
              <a:t>%</a:t>
            </a:r>
            <a:endParaRPr lang="en-US" sz="1200" dirty="0">
              <a:solidFill>
                <a:schemeClr val="bg1"/>
              </a:solidFill>
              <a:sym typeface="+mn-lt"/>
            </a:endParaRPr>
          </a:p>
        </p:txBody>
      </p:sp>
      <p:sp>
        <p:nvSpPr>
          <p:cNvPr id="39" name="Text Placeholder 3"/>
          <p:cNvSpPr>
            <a:spLocks noGrp="1"/>
          </p:cNvSpPr>
          <p:nvPr>
            <p:custDataLst>
              <p:tags r:id="rId35"/>
            </p:custDataLst>
          </p:nvPr>
        </p:nvSpPr>
        <p:spPr bwMode="gray">
          <a:xfrm>
            <a:off x="2414588" y="1908175"/>
            <a:ext cx="288925" cy="18256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DFBB41E7-67DB-4F0D-959E-D5C3E36B1E4E}" type="datetime'''''''3''''2'''''''''''''''''''">
              <a:rPr lang="en-US" altLang="en-US" sz="1200" smtClean="0">
                <a:solidFill>
                  <a:schemeClr val="bg1"/>
                </a:solidFill>
              </a:rPr>
              <a:pPr/>
              <a:t>32</a:t>
            </a:fld>
            <a:r>
              <a:rPr lang="en-US" altLang="en-US" sz="1200">
                <a:solidFill>
                  <a:schemeClr val="bg1"/>
                </a:solidFill>
                <a:sym typeface="+mn-lt"/>
              </a:rPr>
              <a:t>%</a:t>
            </a:r>
            <a:endParaRPr lang="en-US" sz="1200" dirty="0">
              <a:solidFill>
                <a:schemeClr val="bg1"/>
              </a:solidFill>
              <a:sym typeface="+mn-lt"/>
            </a:endParaRPr>
          </a:p>
        </p:txBody>
      </p:sp>
      <p:sp>
        <p:nvSpPr>
          <p:cNvPr id="42" name="Text Placeholder 3"/>
          <p:cNvSpPr>
            <a:spLocks noGrp="1"/>
          </p:cNvSpPr>
          <p:nvPr>
            <p:custDataLst>
              <p:tags r:id="rId36"/>
            </p:custDataLst>
          </p:nvPr>
        </p:nvSpPr>
        <p:spPr bwMode="gray">
          <a:xfrm>
            <a:off x="1014413" y="1704975"/>
            <a:ext cx="288925" cy="18256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A5431231-1739-4C6E-8ABC-14D1E7696E31}" type="datetime'''''''''''''''''''''''''''''''1''''''5'''''''''''''''''''''">
              <a:rPr lang="en-US" altLang="en-US" sz="1200" smtClean="0"/>
              <a:pPr/>
              <a:t>15</a:t>
            </a:fld>
            <a:r>
              <a:rPr lang="en-US" altLang="en-US" sz="1200">
                <a:sym typeface="+mn-lt"/>
              </a:rPr>
              <a:t>%</a:t>
            </a:r>
            <a:endParaRPr lang="en-US" sz="1200" dirty="0">
              <a:sym typeface="+mn-lt"/>
            </a:endParaRPr>
          </a:p>
        </p:txBody>
      </p:sp>
      <p:sp>
        <p:nvSpPr>
          <p:cNvPr id="43" name="Text Placeholder 3"/>
          <p:cNvSpPr>
            <a:spLocks noGrp="1"/>
          </p:cNvSpPr>
          <p:nvPr>
            <p:custDataLst>
              <p:tags r:id="rId37"/>
            </p:custDataLst>
          </p:nvPr>
        </p:nvSpPr>
        <p:spPr bwMode="gray">
          <a:xfrm>
            <a:off x="1485900" y="1443038"/>
            <a:ext cx="209550" cy="182563"/>
          </a:xfrm>
          <a:prstGeom prst="rect">
            <a:avLst/>
          </a:prstGeom>
          <a:solidFill>
            <a:srgbClr val="ABA8B3"/>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FFF5CA38-E692-45FE-AE85-7FA4CDBCB716}" type="datetime'''''''''''''''''''''''''''2'''''''''">
              <a:rPr lang="en-US" altLang="en-US" sz="1200" smtClean="0">
                <a:solidFill>
                  <a:schemeClr val="bg1"/>
                </a:solidFill>
              </a:rPr>
              <a:pPr/>
              <a:t>2</a:t>
            </a:fld>
            <a:r>
              <a:rPr lang="en-US" altLang="en-US" sz="1200">
                <a:solidFill>
                  <a:schemeClr val="bg1"/>
                </a:solidFill>
                <a:sym typeface="+mn-lt"/>
              </a:rPr>
              <a:t>%</a:t>
            </a:r>
            <a:endParaRPr lang="en-US" sz="1200" dirty="0">
              <a:solidFill>
                <a:schemeClr val="bg1"/>
              </a:solidFill>
              <a:sym typeface="+mn-lt"/>
            </a:endParaRPr>
          </a:p>
        </p:txBody>
      </p:sp>
      <p:sp>
        <p:nvSpPr>
          <p:cNvPr id="41" name="Text Placeholder 3"/>
          <p:cNvSpPr>
            <a:spLocks noGrp="1"/>
          </p:cNvSpPr>
          <p:nvPr>
            <p:custDataLst>
              <p:tags r:id="rId38"/>
            </p:custDataLst>
          </p:nvPr>
        </p:nvSpPr>
        <p:spPr bwMode="gray">
          <a:xfrm>
            <a:off x="1620838" y="1625600"/>
            <a:ext cx="209550" cy="182563"/>
          </a:xfrm>
          <a:prstGeom prst="rect">
            <a:avLst/>
          </a:prstGeom>
          <a:solidFill>
            <a:srgbClr val="837F7F"/>
          </a:solidFill>
          <a:ln>
            <a:noFill/>
          </a:ln>
        </p:spPr>
        <p:txBody>
          <a:bodyPr vert="horz" wrap="none" lIns="19050" tIns="0" rIns="1905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4F586963-7521-4AC4-98BB-4B1F8FDB5B67}" type="datetime'''''''''''''''2'''">
              <a:rPr lang="en-US" altLang="en-US" sz="1200" smtClean="0">
                <a:solidFill>
                  <a:schemeClr val="bg1"/>
                </a:solidFill>
              </a:rPr>
              <a:pPr/>
              <a:t>2</a:t>
            </a:fld>
            <a:r>
              <a:rPr lang="en-US" altLang="en-US" sz="1200">
                <a:solidFill>
                  <a:schemeClr val="bg1"/>
                </a:solidFill>
                <a:sym typeface="+mn-lt"/>
              </a:rPr>
              <a:t>%</a:t>
            </a:r>
            <a:endParaRPr lang="en-US" sz="1200" dirty="0">
              <a:solidFill>
                <a:schemeClr val="bg1"/>
              </a:solidFill>
              <a:sym typeface="+mn-lt"/>
            </a:endParaRPr>
          </a:p>
        </p:txBody>
      </p:sp>
      <p:sp>
        <p:nvSpPr>
          <p:cNvPr id="68" name="Rectangle 67"/>
          <p:cNvSpPr/>
          <p:nvPr/>
        </p:nvSpPr>
        <p:spPr>
          <a:xfrm>
            <a:off x="9170988" y="0"/>
            <a:ext cx="2834200"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CEMA historically remains the lowest region</a:t>
            </a:r>
          </a:p>
          <a:p>
            <a:r>
              <a:rPr lang="en-GB" sz="1400" i="1" dirty="0">
                <a:solidFill>
                  <a:srgbClr val="FFFFFF"/>
                </a:solidFill>
                <a:cs typeface="Arial" pitchFamily="34" charset="0"/>
              </a:rPr>
              <a:t>(More trending on next slide)</a:t>
            </a:r>
          </a:p>
        </p:txBody>
      </p:sp>
      <p:sp>
        <p:nvSpPr>
          <p:cNvPr id="56" name="Rectangle 55"/>
          <p:cNvSpPr/>
          <p:nvPr/>
        </p:nvSpPr>
        <p:spPr>
          <a:xfrm>
            <a:off x="4025900" y="2058988"/>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AP</a:t>
            </a:r>
          </a:p>
        </p:txBody>
      </p:sp>
      <p:sp>
        <p:nvSpPr>
          <p:cNvPr id="57" name="Rectangle 56"/>
          <p:cNvSpPr/>
          <p:nvPr/>
        </p:nvSpPr>
        <p:spPr>
          <a:xfrm>
            <a:off x="4046538" y="4565649"/>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CEMA</a:t>
            </a:r>
          </a:p>
        </p:txBody>
      </p:sp>
      <p:sp>
        <p:nvSpPr>
          <p:cNvPr id="59" name="Rectangle 58"/>
          <p:cNvSpPr/>
          <p:nvPr/>
        </p:nvSpPr>
        <p:spPr>
          <a:xfrm>
            <a:off x="1062038" y="4474369"/>
            <a:ext cx="1416050" cy="28098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NAMR</a:t>
            </a:r>
          </a:p>
        </p:txBody>
      </p:sp>
      <p:sp>
        <p:nvSpPr>
          <p:cNvPr id="60" name="Rectangle 59"/>
          <p:cNvSpPr/>
          <p:nvPr/>
        </p:nvSpPr>
        <p:spPr>
          <a:xfrm>
            <a:off x="1057275" y="2065338"/>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WESA</a:t>
            </a:r>
          </a:p>
        </p:txBody>
      </p:sp>
      <p:sp>
        <p:nvSpPr>
          <p:cNvPr id="61" name="Rectangle 60"/>
          <p:cNvSpPr/>
          <p:nvPr/>
        </p:nvSpPr>
        <p:spPr>
          <a:xfrm>
            <a:off x="1347788" y="4653500"/>
            <a:ext cx="884238" cy="6344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73%</a:t>
            </a:r>
          </a:p>
        </p:txBody>
      </p:sp>
      <p:sp>
        <p:nvSpPr>
          <p:cNvPr id="62" name="Rectangle 61"/>
          <p:cNvSpPr/>
          <p:nvPr/>
        </p:nvSpPr>
        <p:spPr>
          <a:xfrm>
            <a:off x="4338638" y="4700589"/>
            <a:ext cx="884238" cy="635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63%</a:t>
            </a:r>
          </a:p>
        </p:txBody>
      </p:sp>
      <p:sp>
        <p:nvSpPr>
          <p:cNvPr id="63" name="Rectangle 62"/>
          <p:cNvSpPr/>
          <p:nvPr/>
        </p:nvSpPr>
        <p:spPr>
          <a:xfrm>
            <a:off x="4313238" y="2120900"/>
            <a:ext cx="885825" cy="6334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77%</a:t>
            </a:r>
          </a:p>
        </p:txBody>
      </p:sp>
      <p:sp>
        <p:nvSpPr>
          <p:cNvPr id="64" name="Rectangle 63"/>
          <p:cNvSpPr/>
          <p:nvPr/>
        </p:nvSpPr>
        <p:spPr>
          <a:xfrm>
            <a:off x="1347788" y="2206625"/>
            <a:ext cx="884238" cy="635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80%</a:t>
            </a:r>
          </a:p>
        </p:txBody>
      </p:sp>
      <p:sp>
        <p:nvSpPr>
          <p:cNvPr id="49" name="Rectangle 48"/>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a:t>
            </a:r>
          </a:p>
        </p:txBody>
      </p:sp>
      <p:sp>
        <p:nvSpPr>
          <p:cNvPr id="82" name="Rectangle 81">
            <a:extLst>
              <a:ext uri="{FF2B5EF4-FFF2-40B4-BE49-F238E27FC236}">
                <a16:creationId xmlns:a16="http://schemas.microsoft.com/office/drawing/2014/main" id="{0410D865-B6FC-48DE-B10B-A0F7698A0399}"/>
              </a:ext>
            </a:extLst>
          </p:cNvPr>
          <p:cNvSpPr/>
          <p:nvPr/>
        </p:nvSpPr>
        <p:spPr>
          <a:xfrm>
            <a:off x="1327150" y="2759075"/>
            <a:ext cx="925513" cy="220663"/>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Very Good</a:t>
            </a:r>
          </a:p>
        </p:txBody>
      </p:sp>
      <p:sp>
        <p:nvSpPr>
          <p:cNvPr id="83" name="Rectangle 82">
            <a:extLst>
              <a:ext uri="{FF2B5EF4-FFF2-40B4-BE49-F238E27FC236}">
                <a16:creationId xmlns:a16="http://schemas.microsoft.com/office/drawing/2014/main" id="{B465C06E-23B3-449C-BFD2-385C61314287}"/>
              </a:ext>
            </a:extLst>
          </p:cNvPr>
          <p:cNvSpPr/>
          <p:nvPr/>
        </p:nvSpPr>
        <p:spPr>
          <a:xfrm>
            <a:off x="1263650" y="5225111"/>
            <a:ext cx="925513" cy="220956"/>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84" name="Rectangle 83">
            <a:extLst>
              <a:ext uri="{FF2B5EF4-FFF2-40B4-BE49-F238E27FC236}">
                <a16:creationId xmlns:a16="http://schemas.microsoft.com/office/drawing/2014/main" id="{773A7454-5689-4255-933D-FED55B230F8C}"/>
              </a:ext>
            </a:extLst>
          </p:cNvPr>
          <p:cNvSpPr/>
          <p:nvPr/>
        </p:nvSpPr>
        <p:spPr>
          <a:xfrm>
            <a:off x="4276725" y="2719388"/>
            <a:ext cx="923925" cy="222250"/>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85" name="Rectangle 84">
            <a:extLst>
              <a:ext uri="{FF2B5EF4-FFF2-40B4-BE49-F238E27FC236}">
                <a16:creationId xmlns:a16="http://schemas.microsoft.com/office/drawing/2014/main" id="{8F7E8F39-40EA-4ECC-A4F5-1D61B5C975B0}"/>
              </a:ext>
            </a:extLst>
          </p:cNvPr>
          <p:cNvSpPr/>
          <p:nvPr/>
        </p:nvSpPr>
        <p:spPr>
          <a:xfrm>
            <a:off x="4314825" y="5227499"/>
            <a:ext cx="925513" cy="220956"/>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verage</a:t>
            </a:r>
          </a:p>
        </p:txBody>
      </p:sp>
      <p:grpSp>
        <p:nvGrpSpPr>
          <p:cNvPr id="58" name="Group 57">
            <a:extLst>
              <a:ext uri="{FF2B5EF4-FFF2-40B4-BE49-F238E27FC236}">
                <a16:creationId xmlns:a16="http://schemas.microsoft.com/office/drawing/2014/main" id="{1BABAA9A-63F4-4E64-9064-C2E01B8015A9}"/>
              </a:ext>
            </a:extLst>
          </p:cNvPr>
          <p:cNvGrpSpPr>
            <a:grpSpLocks noChangeAspect="1"/>
          </p:cNvGrpSpPr>
          <p:nvPr/>
        </p:nvGrpSpPr>
        <p:grpSpPr>
          <a:xfrm>
            <a:off x="514429" y="864696"/>
            <a:ext cx="457200" cy="457200"/>
            <a:chOff x="5867400" y="3200400"/>
            <a:chExt cx="457200" cy="457200"/>
          </a:xfrm>
        </p:grpSpPr>
        <p:sp>
          <p:nvSpPr>
            <p:cNvPr id="65" name="AutoShape 43">
              <a:extLst>
                <a:ext uri="{FF2B5EF4-FFF2-40B4-BE49-F238E27FC236}">
                  <a16:creationId xmlns:a16="http://schemas.microsoft.com/office/drawing/2014/main" id="{504A466E-36AA-4CEF-85F5-B128BFF2E76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7">
              <a:extLst>
                <a:ext uri="{FF2B5EF4-FFF2-40B4-BE49-F238E27FC236}">
                  <a16:creationId xmlns:a16="http://schemas.microsoft.com/office/drawing/2014/main" id="{A77067F7-7852-41F9-B1DF-634396494E7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aphicFrame>
        <p:nvGraphicFramePr>
          <p:cNvPr id="101" name="Chart 100">
            <a:extLst>
              <a:ext uri="{FF2B5EF4-FFF2-40B4-BE49-F238E27FC236}">
                <a16:creationId xmlns:a16="http://schemas.microsoft.com/office/drawing/2014/main" id="{D26F4F59-D180-42EA-B847-DFC0665A8E7A}"/>
              </a:ext>
            </a:extLst>
          </p:cNvPr>
          <p:cNvGraphicFramePr/>
          <p:nvPr>
            <p:custDataLst>
              <p:tags r:id="rId39"/>
            </p:custDataLst>
            <p:extLst>
              <p:ext uri="{D42A27DB-BD31-4B8C-83A1-F6EECF244321}">
                <p14:modId xmlns:p14="http://schemas.microsoft.com/office/powerpoint/2010/main" val="1477289516"/>
              </p:ext>
            </p:extLst>
          </p:nvPr>
        </p:nvGraphicFramePr>
        <p:xfrm>
          <a:off x="6384925" y="2517775"/>
          <a:ext cx="2343150" cy="2343150"/>
        </p:xfrm>
        <a:graphic>
          <a:graphicData uri="http://schemas.openxmlformats.org/drawingml/2006/chart">
            <c:chart xmlns:c="http://schemas.openxmlformats.org/drawingml/2006/chart" xmlns:r="http://schemas.openxmlformats.org/officeDocument/2006/relationships" r:id="rId53"/>
          </a:graphicData>
        </a:graphic>
      </p:graphicFrame>
      <p:sp>
        <p:nvSpPr>
          <p:cNvPr id="91" name="Text Placeholder 3">
            <a:extLst>
              <a:ext uri="{FF2B5EF4-FFF2-40B4-BE49-F238E27FC236}">
                <a16:creationId xmlns:a16="http://schemas.microsoft.com/office/drawing/2014/main" id="{A790559E-B969-443D-92D1-60BEE09DAE3C}"/>
              </a:ext>
            </a:extLst>
          </p:cNvPr>
          <p:cNvSpPr>
            <a:spLocks noGrp="1"/>
          </p:cNvSpPr>
          <p:nvPr>
            <p:custDataLst>
              <p:tags r:id="rId40"/>
            </p:custDataLst>
          </p:nvPr>
        </p:nvSpPr>
        <p:spPr bwMode="gray">
          <a:xfrm>
            <a:off x="6562725" y="3233738"/>
            <a:ext cx="288925"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A5593D3-F4BA-4210-9E49-20A8571EEABC}" type="datetime'''''''''''''''''''''''''''''''''''''''2''''''''''''''3'">
              <a:rPr lang="en-US" altLang="en-US" smtClean="0"/>
              <a:pPr/>
              <a:t>23</a:t>
            </a:fld>
            <a:r>
              <a:rPr lang="en-US" altLang="en-US">
                <a:sym typeface="+mn-lt"/>
              </a:rPr>
              <a:t>%</a:t>
            </a:r>
            <a:endParaRPr lang="en-US" dirty="0">
              <a:sym typeface="+mn-lt"/>
            </a:endParaRPr>
          </a:p>
        </p:txBody>
      </p:sp>
      <p:sp>
        <p:nvSpPr>
          <p:cNvPr id="92" name="Text Placeholder 3">
            <a:extLst>
              <a:ext uri="{FF2B5EF4-FFF2-40B4-BE49-F238E27FC236}">
                <a16:creationId xmlns:a16="http://schemas.microsoft.com/office/drawing/2014/main" id="{3BAB3473-CA89-4B6A-9DD9-9D4878A65BB1}"/>
              </a:ext>
            </a:extLst>
          </p:cNvPr>
          <p:cNvSpPr>
            <a:spLocks noGrp="1"/>
          </p:cNvSpPr>
          <p:nvPr>
            <p:custDataLst>
              <p:tags r:id="rId41"/>
            </p:custDataLst>
          </p:nvPr>
        </p:nvSpPr>
        <p:spPr bwMode="gray">
          <a:xfrm>
            <a:off x="7562850" y="4527550"/>
            <a:ext cx="288925" cy="20161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1A0240B-95C7-4FF7-8615-921415C89D1D}" type="datetime'''''4''''''''''''''''''''''''4'''''''''''''''''''''''''''''''">
              <a:rPr lang="en-US" altLang="en-US" smtClean="0">
                <a:solidFill>
                  <a:schemeClr val="bg1"/>
                </a:solidFill>
              </a:rPr>
              <a:pPr/>
              <a:t>44</a:t>
            </a:fld>
            <a:r>
              <a:rPr lang="en-US" altLang="en-US">
                <a:solidFill>
                  <a:schemeClr val="bg1"/>
                </a:solidFill>
                <a:sym typeface="+mn-lt"/>
              </a:rPr>
              <a:t>%</a:t>
            </a:r>
            <a:endParaRPr lang="en-US" dirty="0">
              <a:solidFill>
                <a:schemeClr val="bg1"/>
              </a:solidFill>
              <a:sym typeface="+mn-lt"/>
            </a:endParaRPr>
          </a:p>
        </p:txBody>
      </p:sp>
      <p:sp>
        <p:nvSpPr>
          <p:cNvPr id="90" name="Text Placeholder 3">
            <a:extLst>
              <a:ext uri="{FF2B5EF4-FFF2-40B4-BE49-F238E27FC236}">
                <a16:creationId xmlns:a16="http://schemas.microsoft.com/office/drawing/2014/main" id="{74A41726-84F9-4EE8-A325-90B7982ABC15}"/>
              </a:ext>
            </a:extLst>
          </p:cNvPr>
          <p:cNvSpPr>
            <a:spLocks noGrp="1"/>
          </p:cNvSpPr>
          <p:nvPr>
            <p:custDataLst>
              <p:tags r:id="rId42"/>
            </p:custDataLst>
          </p:nvPr>
        </p:nvSpPr>
        <p:spPr bwMode="gray">
          <a:xfrm>
            <a:off x="8066088" y="2946400"/>
            <a:ext cx="288925" cy="201613"/>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E10CCC2-A5C1-4045-BFCC-5890AC39DCFD}" type="datetime'''''''''2''''''''''''''''''''''''''''''''''''''''''''''''5'''">
              <a:rPr lang="en-US" altLang="en-US" smtClean="0">
                <a:solidFill>
                  <a:schemeClr val="bg1"/>
                </a:solidFill>
              </a:rPr>
              <a:pPr/>
              <a:t>25</a:t>
            </a:fld>
            <a:r>
              <a:rPr lang="en-US" altLang="en-US">
                <a:solidFill>
                  <a:schemeClr val="bg1"/>
                </a:solidFill>
                <a:sym typeface="+mn-lt"/>
              </a:rPr>
              <a:t>%</a:t>
            </a:r>
            <a:endParaRPr lang="en-US" dirty="0">
              <a:solidFill>
                <a:schemeClr val="bg1"/>
              </a:solidFill>
              <a:sym typeface="+mn-lt"/>
            </a:endParaRPr>
          </a:p>
        </p:txBody>
      </p:sp>
      <p:sp>
        <p:nvSpPr>
          <p:cNvPr id="93" name="Text Placeholder 3">
            <a:extLst>
              <a:ext uri="{FF2B5EF4-FFF2-40B4-BE49-F238E27FC236}">
                <a16:creationId xmlns:a16="http://schemas.microsoft.com/office/drawing/2014/main" id="{0634E1DC-D87D-4D26-BEA3-0BF31349CC53}"/>
              </a:ext>
            </a:extLst>
          </p:cNvPr>
          <p:cNvSpPr>
            <a:spLocks noGrp="1"/>
          </p:cNvSpPr>
          <p:nvPr>
            <p:custDataLst>
              <p:tags r:id="rId43"/>
            </p:custDataLst>
          </p:nvPr>
        </p:nvSpPr>
        <p:spPr bwMode="gray">
          <a:xfrm>
            <a:off x="7183438" y="2673350"/>
            <a:ext cx="209550" cy="201613"/>
          </a:xfrm>
          <a:prstGeom prst="rect">
            <a:avLst/>
          </a:prstGeom>
          <a:noFill/>
          <a:ln>
            <a:noFill/>
          </a:ln>
          <a:extLst>
            <a:ext uri="{909E8E84-426E-40DD-AFC4-6F175D3DCCD1}">
              <a14:hiddenFill xmlns:a14="http://schemas.microsoft.com/office/drawing/2010/main">
                <a:solidFill>
                  <a:srgbClr val="ABA8B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86AB660-FD0F-45BD-8C50-D9DAE3390DC4}" type="datetime'''''''''''''''''''5'''''''''''''''''''''''''''''''''''''''">
              <a:rPr lang="en-US" altLang="en-US" smtClean="0">
                <a:solidFill>
                  <a:schemeClr val="bg1"/>
                </a:solidFill>
                <a:effectLst/>
              </a:rPr>
              <a:pPr/>
              <a:t>5</a:t>
            </a:fld>
            <a:r>
              <a:rPr lang="en-US" altLang="en-US">
                <a:solidFill>
                  <a:schemeClr val="bg1"/>
                </a:solidFill>
                <a:sym typeface="+mn-lt"/>
              </a:rPr>
              <a:t>%</a:t>
            </a:r>
            <a:endParaRPr lang="en-US" dirty="0">
              <a:solidFill>
                <a:schemeClr val="bg1"/>
              </a:solidFill>
              <a:sym typeface="+mn-lt"/>
            </a:endParaRPr>
          </a:p>
        </p:txBody>
      </p:sp>
      <p:sp>
        <p:nvSpPr>
          <p:cNvPr id="94" name="Text Placeholder 3">
            <a:extLst>
              <a:ext uri="{FF2B5EF4-FFF2-40B4-BE49-F238E27FC236}">
                <a16:creationId xmlns:a16="http://schemas.microsoft.com/office/drawing/2014/main" id="{68C78486-4E71-480D-809F-45229291CDCD}"/>
              </a:ext>
            </a:extLst>
          </p:cNvPr>
          <p:cNvSpPr>
            <a:spLocks noGrp="1"/>
          </p:cNvSpPr>
          <p:nvPr>
            <p:custDataLst>
              <p:tags r:id="rId44"/>
            </p:custDataLst>
          </p:nvPr>
        </p:nvSpPr>
        <p:spPr bwMode="gray">
          <a:xfrm>
            <a:off x="7389813" y="2622550"/>
            <a:ext cx="209550"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3483B1E-ABB7-4F5D-A526-21B273547554}" type="datetime'''''''''''''''''''''''''''''''2'''''''">
              <a:rPr lang="en-US" altLang="en-US" smtClean="0">
                <a:solidFill>
                  <a:schemeClr val="bg1"/>
                </a:solidFill>
                <a:effectLst/>
              </a:rPr>
              <a:pPr/>
              <a:t>2</a:t>
            </a:fld>
            <a:r>
              <a:rPr lang="en-US" altLang="en-US">
                <a:solidFill>
                  <a:schemeClr val="bg1"/>
                </a:solidFill>
                <a:sym typeface="+mn-lt"/>
              </a:rPr>
              <a:t>%</a:t>
            </a:r>
            <a:endParaRPr lang="en-US" dirty="0">
              <a:solidFill>
                <a:schemeClr val="bg1"/>
              </a:solidFill>
              <a:sym typeface="+mn-lt"/>
            </a:endParaRPr>
          </a:p>
        </p:txBody>
      </p:sp>
      <p:sp>
        <p:nvSpPr>
          <p:cNvPr id="96" name="Rectangle 95">
            <a:extLst>
              <a:ext uri="{FF2B5EF4-FFF2-40B4-BE49-F238E27FC236}">
                <a16:creationId xmlns:a16="http://schemas.microsoft.com/office/drawing/2014/main" id="{81DC1C4D-2C7D-4D00-BA34-F26F32021421}"/>
              </a:ext>
            </a:extLst>
          </p:cNvPr>
          <p:cNvSpPr/>
          <p:nvPr/>
        </p:nvSpPr>
        <p:spPr>
          <a:xfrm>
            <a:off x="6829425" y="3278188"/>
            <a:ext cx="1416050"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575757"/>
                </a:solidFill>
              </a:rPr>
              <a:t>EMESA</a:t>
            </a:r>
          </a:p>
        </p:txBody>
      </p:sp>
      <p:sp>
        <p:nvSpPr>
          <p:cNvPr id="97" name="Rectangle 96">
            <a:extLst>
              <a:ext uri="{FF2B5EF4-FFF2-40B4-BE49-F238E27FC236}">
                <a16:creationId xmlns:a16="http://schemas.microsoft.com/office/drawing/2014/main" id="{2B3F0CF5-3191-4445-9808-AD6EFE715DA3}"/>
              </a:ext>
            </a:extLst>
          </p:cNvPr>
          <p:cNvSpPr/>
          <p:nvPr/>
        </p:nvSpPr>
        <p:spPr>
          <a:xfrm>
            <a:off x="7088188" y="3573463"/>
            <a:ext cx="884238" cy="28098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70%</a:t>
            </a:r>
          </a:p>
        </p:txBody>
      </p:sp>
      <p:sp>
        <p:nvSpPr>
          <p:cNvPr id="98" name="Rectangle 97">
            <a:extLst>
              <a:ext uri="{FF2B5EF4-FFF2-40B4-BE49-F238E27FC236}">
                <a16:creationId xmlns:a16="http://schemas.microsoft.com/office/drawing/2014/main" id="{791F55EE-0BEB-42EC-9ED1-0AC7133091F0}"/>
              </a:ext>
            </a:extLst>
          </p:cNvPr>
          <p:cNvSpPr/>
          <p:nvPr/>
        </p:nvSpPr>
        <p:spPr>
          <a:xfrm>
            <a:off x="7069138" y="3913188"/>
            <a:ext cx="923925" cy="220663"/>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pic>
        <p:nvPicPr>
          <p:cNvPr id="102" name="Picture 101" descr="A picture containing shape&#10;&#10;Description automatically generated">
            <a:extLst>
              <a:ext uri="{FF2B5EF4-FFF2-40B4-BE49-F238E27FC236}">
                <a16:creationId xmlns:a16="http://schemas.microsoft.com/office/drawing/2014/main" id="{B43C2709-8719-4526-9057-3A9FD4B613C9}"/>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8071007" y="2264805"/>
            <a:ext cx="422118" cy="422118"/>
          </a:xfrm>
          <a:prstGeom prst="rect">
            <a:avLst/>
          </a:prstGeom>
        </p:spPr>
      </p:pic>
    </p:spTree>
    <p:custDataLst>
      <p:tags r:id="rId2"/>
    </p:custDataLst>
    <p:extLst>
      <p:ext uri="{BB962C8B-B14F-4D97-AF65-F5344CB8AC3E}">
        <p14:creationId xmlns:p14="http://schemas.microsoft.com/office/powerpoint/2010/main" val="3270114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4159014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492"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41" name="table_type_name">
            <a:extLst>
              <a:ext uri="{FF2B5EF4-FFF2-40B4-BE49-F238E27FC236}">
                <a16:creationId xmlns:a16="http://schemas.microsoft.com/office/drawing/2014/main" id="{4E5A8285-CBEC-4B7A-A8AC-1EB160DA9BFF}"/>
              </a:ext>
            </a:extLst>
          </p:cNvPr>
          <p:cNvGraphicFramePr>
            <a:graphicFrameLocks noGrp="1"/>
          </p:cNvGraphicFramePr>
          <p:nvPr>
            <p:extLst>
              <p:ext uri="{D42A27DB-BD31-4B8C-83A1-F6EECF244321}">
                <p14:modId xmlns:p14="http://schemas.microsoft.com/office/powerpoint/2010/main" val="2071194170"/>
              </p:ext>
            </p:extLst>
          </p:nvPr>
        </p:nvGraphicFramePr>
        <p:xfrm>
          <a:off x="629998" y="1599131"/>
          <a:ext cx="10892602" cy="3649641"/>
        </p:xfrm>
        <a:graphic>
          <a:graphicData uri="http://schemas.openxmlformats.org/drawingml/2006/table">
            <a:tbl>
              <a:tblPr/>
              <a:tblGrid>
                <a:gridCol w="1190902">
                  <a:extLst>
                    <a:ext uri="{9D8B030D-6E8A-4147-A177-3AD203B41FA5}">
                      <a16:colId xmlns:a16="http://schemas.microsoft.com/office/drawing/2014/main" val="20001"/>
                    </a:ext>
                  </a:extLst>
                </a:gridCol>
                <a:gridCol w="970170">
                  <a:extLst>
                    <a:ext uri="{9D8B030D-6E8A-4147-A177-3AD203B41FA5}">
                      <a16:colId xmlns:a16="http://schemas.microsoft.com/office/drawing/2014/main" val="20002"/>
                    </a:ext>
                  </a:extLst>
                </a:gridCol>
                <a:gridCol w="970170">
                  <a:extLst>
                    <a:ext uri="{9D8B030D-6E8A-4147-A177-3AD203B41FA5}">
                      <a16:colId xmlns:a16="http://schemas.microsoft.com/office/drawing/2014/main" val="3842293675"/>
                    </a:ext>
                  </a:extLst>
                </a:gridCol>
                <a:gridCol w="970170">
                  <a:extLst>
                    <a:ext uri="{9D8B030D-6E8A-4147-A177-3AD203B41FA5}">
                      <a16:colId xmlns:a16="http://schemas.microsoft.com/office/drawing/2014/main" val="20010"/>
                    </a:ext>
                  </a:extLst>
                </a:gridCol>
                <a:gridCol w="970170">
                  <a:extLst>
                    <a:ext uri="{9D8B030D-6E8A-4147-A177-3AD203B41FA5}">
                      <a16:colId xmlns:a16="http://schemas.microsoft.com/office/drawing/2014/main" val="3430657989"/>
                    </a:ext>
                  </a:extLst>
                </a:gridCol>
                <a:gridCol w="970170">
                  <a:extLst>
                    <a:ext uri="{9D8B030D-6E8A-4147-A177-3AD203B41FA5}">
                      <a16:colId xmlns:a16="http://schemas.microsoft.com/office/drawing/2014/main" val="3996561566"/>
                    </a:ext>
                  </a:extLst>
                </a:gridCol>
                <a:gridCol w="970170">
                  <a:extLst>
                    <a:ext uri="{9D8B030D-6E8A-4147-A177-3AD203B41FA5}">
                      <a16:colId xmlns:a16="http://schemas.microsoft.com/office/drawing/2014/main" val="594317581"/>
                    </a:ext>
                  </a:extLst>
                </a:gridCol>
                <a:gridCol w="970170">
                  <a:extLst>
                    <a:ext uri="{9D8B030D-6E8A-4147-A177-3AD203B41FA5}">
                      <a16:colId xmlns:a16="http://schemas.microsoft.com/office/drawing/2014/main" val="74337414"/>
                    </a:ext>
                  </a:extLst>
                </a:gridCol>
                <a:gridCol w="970170">
                  <a:extLst>
                    <a:ext uri="{9D8B030D-6E8A-4147-A177-3AD203B41FA5}">
                      <a16:colId xmlns:a16="http://schemas.microsoft.com/office/drawing/2014/main" val="593319267"/>
                    </a:ext>
                  </a:extLst>
                </a:gridCol>
                <a:gridCol w="970170">
                  <a:extLst>
                    <a:ext uri="{9D8B030D-6E8A-4147-A177-3AD203B41FA5}">
                      <a16:colId xmlns:a16="http://schemas.microsoft.com/office/drawing/2014/main" val="1928289383"/>
                    </a:ext>
                  </a:extLst>
                </a:gridCol>
                <a:gridCol w="970170">
                  <a:extLst>
                    <a:ext uri="{9D8B030D-6E8A-4147-A177-3AD203B41FA5}">
                      <a16:colId xmlns:a16="http://schemas.microsoft.com/office/drawing/2014/main" val="4240126271"/>
                    </a:ext>
                  </a:extLst>
                </a:gridCol>
              </a:tblGrid>
              <a:tr h="79704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Over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vs 2019 Average</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est-in Clas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Targe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chieved</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7549">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295E7E"/>
                          </a:solidFill>
                          <a:effectLst/>
                          <a:latin typeface="+mn-lt"/>
                          <a:ea typeface="+mn-ea"/>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754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WESA</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chemeClr val="bg1"/>
                          </a:solidFill>
                          <a:effectLst/>
                          <a:latin typeface="+mn-lt"/>
                          <a:ea typeface="+mn-ea"/>
                          <a:cs typeface="Arial" charset="0"/>
                          <a:sym typeface="Trebuchet MS" panose="020B0603020202020204" pitchFamily="34" charset="0"/>
                        </a:rPr>
                        <a:t>82</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bg1"/>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5%</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53167482"/>
                  </a:ext>
                </a:extLst>
              </a:tr>
              <a:tr h="37754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P</a:t>
                      </a:r>
                      <a:endPar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7</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5%</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6263622"/>
                  </a:ext>
                </a:extLst>
              </a:tr>
              <a:tr h="37754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NAMR</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5</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8</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7%</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5%</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38352197"/>
                  </a:ext>
                </a:extLst>
              </a:tr>
              <a:tr h="58729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Service Center - Overall</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4</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9</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7%</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6547011"/>
                  </a:ext>
                </a:extLst>
              </a:tr>
              <a:tr h="37754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EMESA</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72</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8</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0%</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9%</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6681852"/>
                  </a:ext>
                </a:extLst>
              </a:tr>
              <a:tr h="37754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CEMA</a:t>
                      </a: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65</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2%</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3</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6</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EE8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575757"/>
                          </a:solidFill>
                          <a:effectLst/>
                          <a:uLnTx/>
                          <a:uFillTx/>
                          <a:latin typeface="+mn-lt"/>
                          <a:ea typeface="+mn-ea"/>
                          <a:cs typeface="+mn-cs"/>
                        </a:rPr>
                        <a:t>14%</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733610"/>
                  </a:ext>
                </a:extLst>
              </a:tr>
            </a:tbl>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9" name="Title 2">
            <a:extLst>
              <a:ext uri="{FF2B5EF4-FFF2-40B4-BE49-F238E27FC236}">
                <a16:creationId xmlns:a16="http://schemas.microsoft.com/office/drawing/2014/main" id="{6DC4D9DD-DB06-420D-8142-A841D3A28ABB}"/>
              </a:ext>
            </a:extLst>
          </p:cNvPr>
          <p:cNvSpPr>
            <a:spLocks noGrp="1"/>
          </p:cNvSpPr>
          <p:nvPr>
            <p:ph type="title"/>
          </p:nvPr>
        </p:nvSpPr>
        <p:spPr/>
        <p:txBody>
          <a:bodyPr vert="horz"/>
          <a:lstStyle/>
          <a:p>
            <a:r>
              <a:rPr lang="en-US" dirty="0">
                <a:solidFill>
                  <a:srgbClr val="295E7E"/>
                </a:solidFill>
              </a:rPr>
              <a:t>IT Support – Service Center Satisfaction Overall</a:t>
            </a:r>
          </a:p>
        </p:txBody>
      </p:sp>
      <p:sp>
        <p:nvSpPr>
          <p:cNvPr id="50" name="Rectangle 49">
            <a:extLst>
              <a:ext uri="{FF2B5EF4-FFF2-40B4-BE49-F238E27FC236}">
                <a16:creationId xmlns:a16="http://schemas.microsoft.com/office/drawing/2014/main" id="{DE688F5F-D754-4E72-9A1E-D185202CECE2}"/>
              </a:ext>
            </a:extLst>
          </p:cNvPr>
          <p:cNvSpPr/>
          <p:nvPr/>
        </p:nvSpPr>
        <p:spPr>
          <a:xfrm>
            <a:off x="997488" y="925006"/>
            <a:ext cx="5895681" cy="3622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By Region – E-SAT Trending</a:t>
            </a:r>
            <a:endParaRPr lang="en-US" sz="1600" i="1" baseline="30000" dirty="0">
              <a:solidFill>
                <a:srgbClr val="575757"/>
              </a:solidFill>
            </a:endParaRPr>
          </a:p>
        </p:txBody>
      </p:sp>
      <p:sp>
        <p:nvSpPr>
          <p:cNvPr id="32" name="Rectangle 31">
            <a:extLst>
              <a:ext uri="{FF2B5EF4-FFF2-40B4-BE49-F238E27FC236}">
                <a16:creationId xmlns:a16="http://schemas.microsoft.com/office/drawing/2014/main" id="{A277DE92-14C5-4347-8065-27F2E139BFA4}"/>
              </a:ext>
            </a:extLst>
          </p:cNvPr>
          <p:cNvSpPr/>
          <p:nvPr/>
        </p:nvSpPr>
        <p:spPr>
          <a:xfrm>
            <a:off x="2773" y="6250322"/>
            <a:ext cx="12192000" cy="607678"/>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0" name="Group 19">
            <a:extLst>
              <a:ext uri="{FF2B5EF4-FFF2-40B4-BE49-F238E27FC236}">
                <a16:creationId xmlns:a16="http://schemas.microsoft.com/office/drawing/2014/main" id="{9E3B693A-BFE4-47C2-AEC7-D706773DC099}"/>
              </a:ext>
            </a:extLst>
          </p:cNvPr>
          <p:cNvGrpSpPr/>
          <p:nvPr/>
        </p:nvGrpSpPr>
        <p:grpSpPr>
          <a:xfrm>
            <a:off x="629998" y="5611260"/>
            <a:ext cx="6155997" cy="444350"/>
            <a:chOff x="753111" y="3331233"/>
            <a:chExt cx="6155997" cy="444350"/>
          </a:xfrm>
        </p:grpSpPr>
        <p:grpSp>
          <p:nvGrpSpPr>
            <p:cNvPr id="21" name="Group 20">
              <a:extLst>
                <a:ext uri="{FF2B5EF4-FFF2-40B4-BE49-F238E27FC236}">
                  <a16:creationId xmlns:a16="http://schemas.microsoft.com/office/drawing/2014/main" id="{3511A2CC-89CD-45A4-994C-D42188FCBE49}"/>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F1C2312B-1209-4C1D-9800-D2F3A0B09809}"/>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1" name="Rectangle 30">
                <a:extLst>
                  <a:ext uri="{FF2B5EF4-FFF2-40B4-BE49-F238E27FC236}">
                    <a16:creationId xmlns:a16="http://schemas.microsoft.com/office/drawing/2014/main" id="{917962D2-5BF1-42C8-BB6E-B063F31BA5DF}"/>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4" name="Rectangle 33">
                <a:extLst>
                  <a:ext uri="{FF2B5EF4-FFF2-40B4-BE49-F238E27FC236}">
                    <a16:creationId xmlns:a16="http://schemas.microsoft.com/office/drawing/2014/main" id="{C8010C68-9F4C-46EC-B770-5CF841337A04}"/>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8" name="Rectangle 37">
                <a:extLst>
                  <a:ext uri="{FF2B5EF4-FFF2-40B4-BE49-F238E27FC236}">
                    <a16:creationId xmlns:a16="http://schemas.microsoft.com/office/drawing/2014/main" id="{B03B63DA-DEFE-480B-B8F6-1DAD514B4EA3}"/>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9" name="Rectangle 38">
                <a:extLst>
                  <a:ext uri="{FF2B5EF4-FFF2-40B4-BE49-F238E27FC236}">
                    <a16:creationId xmlns:a16="http://schemas.microsoft.com/office/drawing/2014/main" id="{D6640AA3-2136-4505-836D-00B554E2ADA5}"/>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0" name="Rectangle 39">
                <a:extLst>
                  <a:ext uri="{FF2B5EF4-FFF2-40B4-BE49-F238E27FC236}">
                    <a16:creationId xmlns:a16="http://schemas.microsoft.com/office/drawing/2014/main" id="{E27DA0D6-CC40-43E3-8E3D-F748A5B4A5EA}"/>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D6C78385-4362-406D-850F-DFEADC7C38A5}"/>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1B83E4D6-3674-45A7-938A-4674152D7EC2}"/>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F47271EA-980F-4BCB-8FDD-7BA1CD4BB310}"/>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176FAE55-7294-4B04-8977-E54E282867D5}"/>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06970E1B-D998-407D-8B74-04C505EEA8D6}"/>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D6F5FB73-A509-4BB5-8281-B6A79A3B3FCE}"/>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29" name="Group 28">
            <a:extLst>
              <a:ext uri="{FF2B5EF4-FFF2-40B4-BE49-F238E27FC236}">
                <a16:creationId xmlns:a16="http://schemas.microsoft.com/office/drawing/2014/main" id="{528BF448-7E53-4699-A495-BA45B614EC93}"/>
              </a:ext>
            </a:extLst>
          </p:cNvPr>
          <p:cNvGrpSpPr>
            <a:grpSpLocks noChangeAspect="1"/>
          </p:cNvGrpSpPr>
          <p:nvPr/>
        </p:nvGrpSpPr>
        <p:grpSpPr>
          <a:xfrm>
            <a:off x="514429" y="864696"/>
            <a:ext cx="457200" cy="457200"/>
            <a:chOff x="5867400" y="3200400"/>
            <a:chExt cx="457200" cy="457200"/>
          </a:xfrm>
        </p:grpSpPr>
        <p:sp>
          <p:nvSpPr>
            <p:cNvPr id="35" name="AutoShape 43">
              <a:extLst>
                <a:ext uri="{FF2B5EF4-FFF2-40B4-BE49-F238E27FC236}">
                  <a16:creationId xmlns:a16="http://schemas.microsoft.com/office/drawing/2014/main" id="{78CFC858-6AFB-44F1-94A4-2B23AB585DA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7">
              <a:extLst>
                <a:ext uri="{FF2B5EF4-FFF2-40B4-BE49-F238E27FC236}">
                  <a16:creationId xmlns:a16="http://schemas.microsoft.com/office/drawing/2014/main" id="{4FEE7254-B4BF-44A3-9307-5D44609BFAC4}"/>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2" name="Rectangle 41">
            <a:extLst>
              <a:ext uri="{FF2B5EF4-FFF2-40B4-BE49-F238E27FC236}">
                <a16:creationId xmlns:a16="http://schemas.microsoft.com/office/drawing/2014/main" id="{D857EBC4-2084-4B89-A26D-6F240497AD10}"/>
              </a:ext>
            </a:extLst>
          </p:cNvPr>
          <p:cNvSpPr/>
          <p:nvPr/>
        </p:nvSpPr>
        <p:spPr>
          <a:xfrm flipH="1">
            <a:off x="7639556" y="1609227"/>
            <a:ext cx="1932708" cy="3639545"/>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2" name="Oval 20">
            <a:extLst>
              <a:ext uri="{FF2B5EF4-FFF2-40B4-BE49-F238E27FC236}">
                <a16:creationId xmlns:a16="http://schemas.microsoft.com/office/drawing/2014/main" id="{19C0082F-FC8C-48DA-B9B6-D0244E28D93F}"/>
              </a:ext>
            </a:extLst>
          </p:cNvPr>
          <p:cNvSpPr>
            <a:spLocks noChangeAspect="1" noChangeArrowheads="1"/>
          </p:cNvSpPr>
          <p:nvPr/>
        </p:nvSpPr>
        <p:spPr bwMode="auto">
          <a:xfrm>
            <a:off x="10626304" y="3268076"/>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3" name="Oval 20">
            <a:extLst>
              <a:ext uri="{FF2B5EF4-FFF2-40B4-BE49-F238E27FC236}">
                <a16:creationId xmlns:a16="http://schemas.microsoft.com/office/drawing/2014/main" id="{D7C251AC-A22D-4E31-827C-E4AD5B0C15AF}"/>
              </a:ext>
            </a:extLst>
          </p:cNvPr>
          <p:cNvSpPr>
            <a:spLocks noChangeAspect="1" noChangeArrowheads="1"/>
          </p:cNvSpPr>
          <p:nvPr/>
        </p:nvSpPr>
        <p:spPr bwMode="auto">
          <a:xfrm>
            <a:off x="10626304" y="3637173"/>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4" name="Oval 20">
            <a:extLst>
              <a:ext uri="{FF2B5EF4-FFF2-40B4-BE49-F238E27FC236}">
                <a16:creationId xmlns:a16="http://schemas.microsoft.com/office/drawing/2014/main" id="{22590A55-2027-419A-B860-167C46A21CEF}"/>
              </a:ext>
            </a:extLst>
          </p:cNvPr>
          <p:cNvSpPr>
            <a:spLocks noChangeAspect="1" noChangeArrowheads="1"/>
          </p:cNvSpPr>
          <p:nvPr/>
        </p:nvSpPr>
        <p:spPr bwMode="auto">
          <a:xfrm>
            <a:off x="10626304" y="495222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6" name="Rectangle 45">
            <a:extLst>
              <a:ext uri="{FF2B5EF4-FFF2-40B4-BE49-F238E27FC236}">
                <a16:creationId xmlns:a16="http://schemas.microsoft.com/office/drawing/2014/main" id="{8B3CFECA-5DBC-4281-934C-D0E4AA2C5242}"/>
              </a:ext>
            </a:extLst>
          </p:cNvPr>
          <p:cNvSpPr/>
          <p:nvPr/>
        </p:nvSpPr>
        <p:spPr>
          <a:xfrm>
            <a:off x="6632079" y="5315665"/>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43" name="Group 42">
            <a:extLst>
              <a:ext uri="{FF2B5EF4-FFF2-40B4-BE49-F238E27FC236}">
                <a16:creationId xmlns:a16="http://schemas.microsoft.com/office/drawing/2014/main" id="{57F34A96-D893-4B7F-A15A-2084E75D7B6D}"/>
              </a:ext>
            </a:extLst>
          </p:cNvPr>
          <p:cNvGrpSpPr/>
          <p:nvPr/>
        </p:nvGrpSpPr>
        <p:grpSpPr>
          <a:xfrm>
            <a:off x="9656270" y="5306030"/>
            <a:ext cx="2116895" cy="591304"/>
            <a:chOff x="9751525" y="5356845"/>
            <a:chExt cx="2116895" cy="591304"/>
          </a:xfrm>
        </p:grpSpPr>
        <p:sp>
          <p:nvSpPr>
            <p:cNvPr id="44" name="Oval 20">
              <a:extLst>
                <a:ext uri="{FF2B5EF4-FFF2-40B4-BE49-F238E27FC236}">
                  <a16:creationId xmlns:a16="http://schemas.microsoft.com/office/drawing/2014/main" id="{BF858A8F-9243-4702-93DF-1224DA956094}"/>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5" name="Rectangle 44">
              <a:extLst>
                <a:ext uri="{FF2B5EF4-FFF2-40B4-BE49-F238E27FC236}">
                  <a16:creationId xmlns:a16="http://schemas.microsoft.com/office/drawing/2014/main" id="{3633D223-1C55-455C-999E-14CF7FBD8F7A}"/>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47" name="Oval 20">
              <a:extLst>
                <a:ext uri="{FF2B5EF4-FFF2-40B4-BE49-F238E27FC236}">
                  <a16:creationId xmlns:a16="http://schemas.microsoft.com/office/drawing/2014/main" id="{B0DF2FE9-C92A-40C9-9EFF-0D1856130C80}"/>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Oval 20">
              <a:extLst>
                <a:ext uri="{FF2B5EF4-FFF2-40B4-BE49-F238E27FC236}">
                  <a16:creationId xmlns:a16="http://schemas.microsoft.com/office/drawing/2014/main" id="{8C85BF36-27BB-4B1A-B82A-1F07B459C8D8}"/>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1" name="Rectangle 50">
              <a:extLst>
                <a:ext uri="{FF2B5EF4-FFF2-40B4-BE49-F238E27FC236}">
                  <a16:creationId xmlns:a16="http://schemas.microsoft.com/office/drawing/2014/main" id="{743FD301-34EB-487B-868A-53AD9292DCD2}"/>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52" name="Rectangle 51">
              <a:extLst>
                <a:ext uri="{FF2B5EF4-FFF2-40B4-BE49-F238E27FC236}">
                  <a16:creationId xmlns:a16="http://schemas.microsoft.com/office/drawing/2014/main" id="{A52A295D-82D0-4307-9581-E5EB807DA070}"/>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7" name="Oval 20">
            <a:extLst>
              <a:ext uri="{FF2B5EF4-FFF2-40B4-BE49-F238E27FC236}">
                <a16:creationId xmlns:a16="http://schemas.microsoft.com/office/drawing/2014/main" id="{C0D3A322-3392-4A2A-AA3D-B0D6E8ADF50D}"/>
              </a:ext>
            </a:extLst>
          </p:cNvPr>
          <p:cNvSpPr>
            <a:spLocks noChangeAspect="1" noChangeArrowheads="1"/>
          </p:cNvSpPr>
          <p:nvPr/>
        </p:nvSpPr>
        <p:spPr bwMode="auto">
          <a:xfrm>
            <a:off x="10626304" y="289282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3" name="Oval 20">
            <a:extLst>
              <a:ext uri="{FF2B5EF4-FFF2-40B4-BE49-F238E27FC236}">
                <a16:creationId xmlns:a16="http://schemas.microsoft.com/office/drawing/2014/main" id="{9F91B087-2B20-46A4-977F-2106A317A791}"/>
              </a:ext>
            </a:extLst>
          </p:cNvPr>
          <p:cNvSpPr>
            <a:spLocks noChangeAspect="1" noChangeArrowheads="1"/>
          </p:cNvSpPr>
          <p:nvPr/>
        </p:nvSpPr>
        <p:spPr bwMode="auto">
          <a:xfrm>
            <a:off x="10626304" y="4102491"/>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1" name="Oval 20">
            <a:extLst>
              <a:ext uri="{FF2B5EF4-FFF2-40B4-BE49-F238E27FC236}">
                <a16:creationId xmlns:a16="http://schemas.microsoft.com/office/drawing/2014/main" id="{D47D9C40-6CAB-432C-9479-184A6DE24E39}"/>
              </a:ext>
            </a:extLst>
          </p:cNvPr>
          <p:cNvSpPr>
            <a:spLocks noChangeAspect="1" noChangeArrowheads="1"/>
          </p:cNvSpPr>
          <p:nvPr/>
        </p:nvSpPr>
        <p:spPr bwMode="auto">
          <a:xfrm>
            <a:off x="10626304" y="4577754"/>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pic>
        <p:nvPicPr>
          <p:cNvPr id="66" name="Picture 65" descr="A picture containing shape&#10;&#10;Description automatically generated">
            <a:extLst>
              <a:ext uri="{FF2B5EF4-FFF2-40B4-BE49-F238E27FC236}">
                <a16:creationId xmlns:a16="http://schemas.microsoft.com/office/drawing/2014/main" id="{21432413-F223-4033-93A8-BE88D485B12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9642" y="4505841"/>
            <a:ext cx="422118" cy="422118"/>
          </a:xfrm>
          <a:prstGeom prst="rect">
            <a:avLst/>
          </a:prstGeom>
        </p:spPr>
      </p:pic>
      <p:sp>
        <p:nvSpPr>
          <p:cNvPr id="54" name="Left Bracket 53">
            <a:extLst>
              <a:ext uri="{FF2B5EF4-FFF2-40B4-BE49-F238E27FC236}">
                <a16:creationId xmlns:a16="http://schemas.microsoft.com/office/drawing/2014/main" id="{B862A69B-8A6F-466B-B652-582186C73C22}"/>
              </a:ext>
            </a:extLst>
          </p:cNvPr>
          <p:cNvSpPr/>
          <p:nvPr/>
        </p:nvSpPr>
        <p:spPr>
          <a:xfrm rot="5400000">
            <a:off x="8461116" y="36887"/>
            <a:ext cx="163131" cy="2971801"/>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Rectangle 55">
            <a:extLst>
              <a:ext uri="{FF2B5EF4-FFF2-40B4-BE49-F238E27FC236}">
                <a16:creationId xmlns:a16="http://schemas.microsoft.com/office/drawing/2014/main" id="{88B57076-CBB1-41D5-9B51-D9D96CF2C306}"/>
              </a:ext>
            </a:extLst>
          </p:cNvPr>
          <p:cNvSpPr/>
          <p:nvPr/>
        </p:nvSpPr>
        <p:spPr>
          <a:xfrm>
            <a:off x="341646" y="6264423"/>
            <a:ext cx="11431254" cy="5935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Except WESA, that trended down -1%, all regions are currently maintaining or exceeding their 2020 averages.</a:t>
            </a:r>
            <a:endParaRPr lang="en-US" dirty="0">
              <a:solidFill>
                <a:schemeClr val="tx1"/>
              </a:solidFill>
            </a:endParaRPr>
          </a:p>
        </p:txBody>
      </p:sp>
    </p:spTree>
    <p:custDataLst>
      <p:tags r:id="rId2"/>
    </p:custDataLst>
    <p:extLst>
      <p:ext uri="{BB962C8B-B14F-4D97-AF65-F5344CB8AC3E}">
        <p14:creationId xmlns:p14="http://schemas.microsoft.com/office/powerpoint/2010/main" val="2737768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185240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654" name="think-cell Slide" r:id="rId20" imgW="473" imgH="473" progId="TCLayout.ActiveDocument.1">
                  <p:embed/>
                </p:oleObj>
              </mc:Choice>
              <mc:Fallback>
                <p:oleObj name="think-cell Slide" r:id="rId20" imgW="473" imgH="473" progId="TCLayout.ActiveDocument.1">
                  <p:embed/>
                  <p:pic>
                    <p:nvPicPr>
                      <p:cNvPr id="5" name="Object 4"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olidFill>
                <a:srgbClr val="FFFFFF"/>
              </a:solidFill>
              <a:sym typeface="+mn-lt"/>
            </a:endParaRPr>
          </a:p>
        </p:txBody>
      </p:sp>
      <p:sp>
        <p:nvSpPr>
          <p:cNvPr id="39" name="Text Placeholder 3"/>
          <p:cNvSpPr>
            <a:spLocks noGrp="1"/>
          </p:cNvSpPr>
          <p:nvPr>
            <p:custDataLst>
              <p:tags r:id="rId5"/>
            </p:custDataLst>
          </p:nvPr>
        </p:nvSpPr>
        <p:spPr bwMode="gray">
          <a:xfrm>
            <a:off x="7767638" y="534670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endParaRPr lang="en-US" sz="1400" dirty="0">
              <a:sym typeface="+mn-lt"/>
            </a:endParaRPr>
          </a:p>
        </p:txBody>
      </p:sp>
      <p:sp>
        <p:nvSpPr>
          <p:cNvPr id="156" name="Rectangle 155"/>
          <p:cNvSpPr/>
          <p:nvPr/>
        </p:nvSpPr>
        <p:spPr>
          <a:xfrm>
            <a:off x="9113838" y="0"/>
            <a:ext cx="2925762" cy="6858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In terms of use, Local IT &amp; Service Center - Email have remained in the same position since we started Pulse in 2019. Phone was in 3</a:t>
            </a:r>
            <a:r>
              <a:rPr lang="en-GB" baseline="30000" dirty="0">
                <a:solidFill>
                  <a:srgbClr val="FFFFFF"/>
                </a:solidFill>
                <a:cs typeface="Arial" pitchFamily="34" charset="0"/>
              </a:rPr>
              <a:t>rd</a:t>
            </a:r>
            <a:r>
              <a:rPr lang="en-GB" dirty="0">
                <a:solidFill>
                  <a:srgbClr val="FFFFFF"/>
                </a:solidFill>
                <a:cs typeface="Arial" pitchFamily="34" charset="0"/>
              </a:rPr>
              <a:t> position until Q4 2020, and as of this quarter drops to 5</a:t>
            </a:r>
            <a:r>
              <a:rPr lang="en-GB" baseline="30000" dirty="0">
                <a:solidFill>
                  <a:srgbClr val="FFFFFF"/>
                </a:solidFill>
                <a:cs typeface="Arial" pitchFamily="34" charset="0"/>
              </a:rPr>
              <a:t>th</a:t>
            </a:r>
          </a:p>
          <a:p>
            <a:endParaRPr lang="en-GB" dirty="0">
              <a:solidFill>
                <a:srgbClr val="FFFFFF"/>
              </a:solidFill>
              <a:cs typeface="Arial" pitchFamily="34" charset="0"/>
            </a:endParaRPr>
          </a:p>
          <a:p>
            <a:r>
              <a:rPr lang="en-GB" dirty="0">
                <a:solidFill>
                  <a:srgbClr val="FFFFFF"/>
                </a:solidFill>
                <a:cs typeface="Arial" pitchFamily="34" charset="0"/>
              </a:rPr>
              <a:t>For IT Connect, 20% of employees report they don't use the tool &amp; 13% are unaware of it - these are the lowest %'s seen across 2020 &amp; 2021, suggesting adoption could be increasing</a:t>
            </a:r>
          </a:p>
        </p:txBody>
      </p:sp>
      <p:sp>
        <p:nvSpPr>
          <p:cNvPr id="3" name="Title 2"/>
          <p:cNvSpPr>
            <a:spLocks noGrp="1"/>
          </p:cNvSpPr>
          <p:nvPr>
            <p:ph type="title"/>
          </p:nvPr>
        </p:nvSpPr>
        <p:spPr/>
        <p:txBody>
          <a:bodyPr vert="horz"/>
          <a:lstStyle/>
          <a:p>
            <a:r>
              <a:rPr lang="en-US" dirty="0">
                <a:solidFill>
                  <a:srgbClr val="295E7E"/>
                </a:solidFill>
              </a:rPr>
              <a:t>IT Support – Specific Channel Use</a:t>
            </a:r>
          </a:p>
        </p:txBody>
      </p:sp>
      <p:sp>
        <p:nvSpPr>
          <p:cNvPr id="132" name="Rectangle 131"/>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a:t>
            </a:r>
          </a:p>
        </p:txBody>
      </p:sp>
      <p:graphicFrame>
        <p:nvGraphicFramePr>
          <p:cNvPr id="69" name="Chart 68">
            <a:extLst>
              <a:ext uri="{FF2B5EF4-FFF2-40B4-BE49-F238E27FC236}">
                <a16:creationId xmlns:a16="http://schemas.microsoft.com/office/drawing/2014/main" id="{D53F70A5-FC97-44AD-995C-6803BECC413D}"/>
              </a:ext>
            </a:extLst>
          </p:cNvPr>
          <p:cNvGraphicFramePr/>
          <p:nvPr>
            <p:custDataLst>
              <p:tags r:id="rId6"/>
            </p:custDataLst>
          </p:nvPr>
        </p:nvGraphicFramePr>
        <p:xfrm>
          <a:off x="2063750" y="2174875"/>
          <a:ext cx="6357938" cy="3303588"/>
        </p:xfrm>
        <a:graphic>
          <a:graphicData uri="http://schemas.openxmlformats.org/drawingml/2006/chart">
            <c:chart xmlns:c="http://schemas.openxmlformats.org/drawingml/2006/chart" xmlns:r="http://schemas.openxmlformats.org/officeDocument/2006/relationships" r:id="rId22"/>
          </a:graphicData>
        </a:graphic>
      </p:graphicFrame>
      <p:sp>
        <p:nvSpPr>
          <p:cNvPr id="34" name="Text Placeholder 3"/>
          <p:cNvSpPr>
            <a:spLocks noGrp="1"/>
          </p:cNvSpPr>
          <p:nvPr>
            <p:custDataLst>
              <p:tags r:id="rId7"/>
            </p:custDataLst>
          </p:nvPr>
        </p:nvSpPr>
        <p:spPr bwMode="gray">
          <a:xfrm>
            <a:off x="712788" y="3024188"/>
            <a:ext cx="15160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469EAE5-99C7-4CF0-9630-3D7368A77818}" type="datetime'S''e''rv''ice ''C''''''''''e''n''ter'' - E''''''''m''''a''il'">
              <a:rPr lang="en-US" altLang="en-US" smtClean="0"/>
              <a:pPr/>
              <a:t>Service Center - Email</a:t>
            </a:fld>
            <a:endParaRPr lang="en-US" dirty="0">
              <a:sym typeface="+mn-lt"/>
            </a:endParaRPr>
          </a:p>
        </p:txBody>
      </p:sp>
      <p:sp>
        <p:nvSpPr>
          <p:cNvPr id="32" name="Text Placeholder 3"/>
          <p:cNvSpPr>
            <a:spLocks noGrp="1"/>
          </p:cNvSpPr>
          <p:nvPr>
            <p:custDataLst>
              <p:tags r:id="rId8"/>
            </p:custDataLst>
          </p:nvPr>
        </p:nvSpPr>
        <p:spPr bwMode="gray">
          <a:xfrm>
            <a:off x="1690688" y="2446338"/>
            <a:ext cx="5381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58B9801-4A41-4F5D-83CD-E412BCBD750C}" type="datetime'L''''''''''''''''''''''o''''''c''''''''''a''''l ''''IT'''''''">
              <a:rPr lang="en-US" altLang="en-US" smtClean="0">
                <a:sym typeface="+mn-lt"/>
              </a:rPr>
              <a:pPr algn="r">
                <a:spcBef>
                  <a:spcPct val="0"/>
                </a:spcBef>
                <a:spcAft>
                  <a:spcPct val="0"/>
                </a:spcAft>
              </a:pPr>
              <a:t>Local IT</a:t>
            </a:fld>
            <a:endParaRPr lang="en-US" dirty="0">
              <a:sym typeface="+mn-lt"/>
            </a:endParaRPr>
          </a:p>
        </p:txBody>
      </p:sp>
      <p:sp>
        <p:nvSpPr>
          <p:cNvPr id="63" name="Text Placeholder 3">
            <a:extLst>
              <a:ext uri="{FF2B5EF4-FFF2-40B4-BE49-F238E27FC236}">
                <a16:creationId xmlns:a16="http://schemas.microsoft.com/office/drawing/2014/main" id="{F7965049-1878-4566-8BFD-78E07A08944A}"/>
              </a:ext>
            </a:extLst>
          </p:cNvPr>
          <p:cNvSpPr>
            <a:spLocks noGrp="1"/>
          </p:cNvSpPr>
          <p:nvPr>
            <p:custDataLst>
              <p:tags r:id="rId9"/>
            </p:custDataLst>
          </p:nvPr>
        </p:nvSpPr>
        <p:spPr bwMode="gray">
          <a:xfrm>
            <a:off x="1497013" y="4181475"/>
            <a:ext cx="731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4EEF9A7-A376-4813-9D08-CCB266E4DF22}" type="datetime'''''''''''''''''''''I''''''''''T ''''''Co''n''n''''ect'''''">
              <a:rPr lang="en-US" altLang="en-US" smtClean="0"/>
              <a:pPr/>
              <a:t>IT Connect</a:t>
            </a:fld>
            <a:endParaRPr lang="en-US" dirty="0">
              <a:sym typeface="+mn-lt"/>
            </a:endParaRPr>
          </a:p>
        </p:txBody>
      </p:sp>
      <p:sp>
        <p:nvSpPr>
          <p:cNvPr id="47" name="Text Placeholder 3"/>
          <p:cNvSpPr>
            <a:spLocks noGrp="1"/>
          </p:cNvSpPr>
          <p:nvPr>
            <p:custDataLst>
              <p:tags r:id="rId10"/>
            </p:custDataLst>
          </p:nvPr>
        </p:nvSpPr>
        <p:spPr bwMode="gray">
          <a:xfrm>
            <a:off x="774700" y="3603625"/>
            <a:ext cx="14541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4C93BCF-A872-45B9-A2EB-C0B33EE9E1F0}" type="datetime'S''er''''v''ice C''e''''nt''''''''''er -'''''' ''C''''ha''t'">
              <a:rPr lang="en-US" altLang="en-US" smtClean="0"/>
              <a:pPr/>
              <a:t>Service Center - Chat</a:t>
            </a:fld>
            <a:endParaRPr lang="en-US" dirty="0">
              <a:sym typeface="+mn-lt"/>
            </a:endParaRPr>
          </a:p>
        </p:txBody>
      </p:sp>
      <p:sp>
        <p:nvSpPr>
          <p:cNvPr id="44" name="Text Placeholder 3">
            <a:extLst>
              <a:ext uri="{FF2B5EF4-FFF2-40B4-BE49-F238E27FC236}">
                <a16:creationId xmlns:a16="http://schemas.microsoft.com/office/drawing/2014/main" id="{42C37DB9-0B68-47B1-ABB4-4834293CE075}"/>
              </a:ext>
            </a:extLst>
          </p:cNvPr>
          <p:cNvSpPr>
            <a:spLocks noGrp="1"/>
          </p:cNvSpPr>
          <p:nvPr>
            <p:custDataLst>
              <p:tags r:id="rId11"/>
            </p:custDataLst>
          </p:nvPr>
        </p:nvSpPr>
        <p:spPr bwMode="gray">
          <a:xfrm>
            <a:off x="677863" y="4760913"/>
            <a:ext cx="1550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F626D80-C539-48EF-AFEA-FAF72D42CAEE}" type="datetime'''S''erv''ice'' C''ent''''e''r -'''' ''P''ho''n''''''''''e'">
              <a:rPr lang="en-US" altLang="en-US" smtClean="0"/>
              <a:pPr/>
              <a:t>Service Center - Phone</a:t>
            </a:fld>
            <a:endParaRPr lang="en-US" dirty="0">
              <a:sym typeface="+mn-lt"/>
            </a:endParaRPr>
          </a:p>
        </p:txBody>
      </p:sp>
      <p:sp>
        <p:nvSpPr>
          <p:cNvPr id="18" name="Rectangle 17"/>
          <p:cNvSpPr/>
          <p:nvPr>
            <p:custDataLst>
              <p:tags r:id="rId12"/>
            </p:custDataLst>
          </p:nvPr>
        </p:nvSpPr>
        <p:spPr bwMode="gray">
          <a:xfrm>
            <a:off x="4252913" y="5570538"/>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Rectangle 16"/>
          <p:cNvSpPr/>
          <p:nvPr>
            <p:custDataLst>
              <p:tags r:id="rId13"/>
            </p:custDataLst>
          </p:nvPr>
        </p:nvSpPr>
        <p:spPr bwMode="gray">
          <a:xfrm>
            <a:off x="3222625" y="5570538"/>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Rectangle 12"/>
          <p:cNvSpPr/>
          <p:nvPr>
            <p:custDataLst>
              <p:tags r:id="rId14"/>
            </p:custDataLst>
          </p:nvPr>
        </p:nvSpPr>
        <p:spPr bwMode="gray">
          <a:xfrm>
            <a:off x="2390775" y="5570538"/>
            <a:ext cx="214313" cy="160338"/>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Text Placeholder 3"/>
          <p:cNvSpPr>
            <a:spLocks noGrp="1"/>
          </p:cNvSpPr>
          <p:nvPr>
            <p:custDataLst>
              <p:tags r:id="rId15"/>
            </p:custDataLst>
          </p:nvPr>
        </p:nvSpPr>
        <p:spPr bwMode="gray">
          <a:xfrm>
            <a:off x="4518025" y="5551488"/>
            <a:ext cx="16256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D684BA9-512D-44AD-A168-B494DCF9776E}" type="datetime'''Un''a''war''''''e'' ''of'''' t''he'''' c''''''h''a''''nnel'">
              <a:rPr lang="en-US" altLang="en-US" smtClean="0"/>
              <a:pPr/>
              <a:t>Unaware of the channel</a:t>
            </a:fld>
            <a:endParaRPr lang="en-US" dirty="0">
              <a:sym typeface="+mn-lt"/>
            </a:endParaRPr>
          </a:p>
        </p:txBody>
      </p:sp>
      <p:sp>
        <p:nvSpPr>
          <p:cNvPr id="72" name="Text Placeholder 3"/>
          <p:cNvSpPr>
            <a:spLocks noGrp="1"/>
          </p:cNvSpPr>
          <p:nvPr>
            <p:custDataLst>
              <p:tags r:id="rId16"/>
            </p:custDataLst>
          </p:nvPr>
        </p:nvSpPr>
        <p:spPr bwMode="gray">
          <a:xfrm>
            <a:off x="2655888" y="5551488"/>
            <a:ext cx="465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01CB2BF-13CC-4936-8282-90BB18FC72CB}" type="datetime'''''''D''''''''''''''''''o ''''U''''''''''s''e'''''''''''''">
              <a:rPr lang="en-US" altLang="en-US" smtClean="0">
                <a:sym typeface="+mn-lt"/>
              </a:rPr>
              <a:pPr>
                <a:spcBef>
                  <a:spcPct val="0"/>
                </a:spcBef>
                <a:spcAft>
                  <a:spcPct val="0"/>
                </a:spcAft>
              </a:pPr>
              <a:t>Do Use</a:t>
            </a:fld>
            <a:endParaRPr lang="en-US" dirty="0">
              <a:sym typeface="+mn-lt"/>
            </a:endParaRPr>
          </a:p>
        </p:txBody>
      </p:sp>
      <p:sp>
        <p:nvSpPr>
          <p:cNvPr id="71" name="Text Placeholder 3"/>
          <p:cNvSpPr>
            <a:spLocks noGrp="1"/>
          </p:cNvSpPr>
          <p:nvPr>
            <p:custDataLst>
              <p:tags r:id="rId17"/>
            </p:custDataLst>
          </p:nvPr>
        </p:nvSpPr>
        <p:spPr bwMode="gray">
          <a:xfrm>
            <a:off x="3487738" y="5551488"/>
            <a:ext cx="6635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D1D354A-906D-4820-9653-769450DFB339}" type="datetime'''''D''''on''''''''''’''t ''U''''''''s''''''''e'''''''''''''''">
              <a:rPr lang="en-US" altLang="en-US" smtClean="0">
                <a:sym typeface="+mn-lt"/>
              </a:rPr>
              <a:pPr>
                <a:spcBef>
                  <a:spcPct val="0"/>
                </a:spcBef>
                <a:spcAft>
                  <a:spcPct val="0"/>
                </a:spcAft>
              </a:pPr>
              <a:t>Don’t Use</a:t>
            </a:fld>
            <a:endParaRPr lang="en-US" dirty="0">
              <a:sym typeface="+mn-lt"/>
            </a:endParaRPr>
          </a:p>
        </p:txBody>
      </p:sp>
      <p:grpSp>
        <p:nvGrpSpPr>
          <p:cNvPr id="23" name="Group 22">
            <a:extLst>
              <a:ext uri="{FF2B5EF4-FFF2-40B4-BE49-F238E27FC236}">
                <a16:creationId xmlns:a16="http://schemas.microsoft.com/office/drawing/2014/main" id="{391C54B4-DEF4-4A61-BB1B-1CBB4AEB61B5}"/>
              </a:ext>
            </a:extLst>
          </p:cNvPr>
          <p:cNvGrpSpPr>
            <a:grpSpLocks noChangeAspect="1"/>
          </p:cNvGrpSpPr>
          <p:nvPr/>
        </p:nvGrpSpPr>
        <p:grpSpPr>
          <a:xfrm>
            <a:off x="514429" y="864696"/>
            <a:ext cx="457200" cy="457200"/>
            <a:chOff x="5867400" y="3200400"/>
            <a:chExt cx="457200" cy="457200"/>
          </a:xfrm>
        </p:grpSpPr>
        <p:sp>
          <p:nvSpPr>
            <p:cNvPr id="24" name="AutoShape 43">
              <a:extLst>
                <a:ext uri="{FF2B5EF4-FFF2-40B4-BE49-F238E27FC236}">
                  <a16:creationId xmlns:a16="http://schemas.microsoft.com/office/drawing/2014/main" id="{77FC5C5B-70EF-48DB-A54D-CED355A7AEB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7">
              <a:extLst>
                <a:ext uri="{FF2B5EF4-FFF2-40B4-BE49-F238E27FC236}">
                  <a16:creationId xmlns:a16="http://schemas.microsoft.com/office/drawing/2014/main" id="{7F797104-A79E-48BF-B594-5F897C92230D}"/>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 name="Rectangle 1" hidden="1">
            <a:extLst>
              <a:ext uri="{FF2B5EF4-FFF2-40B4-BE49-F238E27FC236}">
                <a16:creationId xmlns:a16="http://schemas.microsoft.com/office/drawing/2014/main" id="{755FAB22-9E2F-4718-8E73-F3B121F31A1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29" name="Rectangle 28">
            <a:extLst>
              <a:ext uri="{FF2B5EF4-FFF2-40B4-BE49-F238E27FC236}">
                <a16:creationId xmlns:a16="http://schemas.microsoft.com/office/drawing/2014/main" id="{A0E293C4-06F1-4750-B6E7-1848BCAE92DA}"/>
              </a:ext>
            </a:extLst>
          </p:cNvPr>
          <p:cNvSpPr/>
          <p:nvPr/>
        </p:nvSpPr>
        <p:spPr>
          <a:xfrm>
            <a:off x="8283575" y="5161332"/>
            <a:ext cx="271463"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7" name="Rectangle 6" hidden="1">
            <a:extLst>
              <a:ext uri="{FF2B5EF4-FFF2-40B4-BE49-F238E27FC236}">
                <a16:creationId xmlns:a16="http://schemas.microsoft.com/office/drawing/2014/main" id="{BF367E42-BB27-4356-923D-E78AC739DB6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Tree>
    <p:custDataLst>
      <p:tags r:id="rId2"/>
    </p:custDataLst>
    <p:extLst>
      <p:ext uri="{BB962C8B-B14F-4D97-AF65-F5344CB8AC3E}">
        <p14:creationId xmlns:p14="http://schemas.microsoft.com/office/powerpoint/2010/main" val="3774297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957715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543" name="think-cell Slide" r:id="rId27" imgW="473" imgH="473" progId="TCLayout.ActiveDocument.1">
                  <p:embed/>
                </p:oleObj>
              </mc:Choice>
              <mc:Fallback>
                <p:oleObj name="think-cell Slide" r:id="rId27" imgW="473" imgH="473" progId="TCLayout.ActiveDocument.1">
                  <p:embed/>
                  <p:pic>
                    <p:nvPicPr>
                      <p:cNvPr id="5" name="Object 4"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6" name="Rectangle 155"/>
          <p:cNvSpPr/>
          <p:nvPr/>
        </p:nvSpPr>
        <p:spPr>
          <a:xfrm>
            <a:off x="9178026" y="0"/>
            <a:ext cx="2770881" cy="6808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cs typeface="Arial" pitchFamily="34" charset="0"/>
              </a:rPr>
              <a:t>Local IT persistently remains top of this list, with a significantly higher portion of 'Very Satisfied' respondents than other channels</a:t>
            </a:r>
          </a:p>
          <a:p>
            <a:endParaRPr lang="en-GB" dirty="0">
              <a:solidFill>
                <a:srgbClr val="FFFFFF"/>
              </a:solidFill>
              <a:cs typeface="Arial" pitchFamily="34" charset="0"/>
            </a:endParaRPr>
          </a:p>
          <a:p>
            <a:r>
              <a:rPr lang="en-GB" dirty="0">
                <a:solidFill>
                  <a:srgbClr val="FFFFFF"/>
                </a:solidFill>
                <a:cs typeface="Arial" pitchFamily="34" charset="0"/>
              </a:rPr>
              <a:t>Local IT maintains it’s all time high score of 93%, </a:t>
            </a:r>
            <a:r>
              <a:rPr lang="en-GB" sz="1400" i="1" dirty="0">
                <a:solidFill>
                  <a:srgbClr val="FFFFFF"/>
                </a:solidFill>
                <a:cs typeface="Arial" pitchFamily="34" charset="0"/>
              </a:rPr>
              <a:t>(More trending on next slide)</a:t>
            </a:r>
          </a:p>
        </p:txBody>
      </p:sp>
      <p:sp>
        <p:nvSpPr>
          <p:cNvPr id="3" name="Title 2"/>
          <p:cNvSpPr>
            <a:spLocks noGrp="1"/>
          </p:cNvSpPr>
          <p:nvPr>
            <p:ph type="title"/>
          </p:nvPr>
        </p:nvSpPr>
        <p:spPr/>
        <p:txBody>
          <a:bodyPr vert="horz"/>
          <a:lstStyle/>
          <a:p>
            <a:r>
              <a:rPr lang="en-US" dirty="0">
                <a:solidFill>
                  <a:srgbClr val="295E7E"/>
                </a:solidFill>
              </a:rPr>
              <a:t>IT Support – Specific Channel Satisfaction</a:t>
            </a:r>
          </a:p>
        </p:txBody>
      </p:sp>
      <p:graphicFrame>
        <p:nvGraphicFramePr>
          <p:cNvPr id="51" name="Chart 50">
            <a:extLst>
              <a:ext uri="{FF2B5EF4-FFF2-40B4-BE49-F238E27FC236}">
                <a16:creationId xmlns:a16="http://schemas.microsoft.com/office/drawing/2014/main" id="{C2F841BB-F823-4BFF-8A8F-8C188F7E23D4}"/>
              </a:ext>
            </a:extLst>
          </p:cNvPr>
          <p:cNvGraphicFramePr/>
          <p:nvPr>
            <p:custDataLst>
              <p:tags r:id="rId5"/>
            </p:custDataLst>
            <p:extLst>
              <p:ext uri="{D42A27DB-BD31-4B8C-83A1-F6EECF244321}">
                <p14:modId xmlns:p14="http://schemas.microsoft.com/office/powerpoint/2010/main" val="2159681770"/>
              </p:ext>
            </p:extLst>
          </p:nvPr>
        </p:nvGraphicFramePr>
        <p:xfrm>
          <a:off x="2000250" y="2000250"/>
          <a:ext cx="5699125" cy="3341688"/>
        </p:xfrm>
        <a:graphic>
          <a:graphicData uri="http://schemas.openxmlformats.org/drawingml/2006/chart">
            <c:chart xmlns:c="http://schemas.openxmlformats.org/drawingml/2006/chart" xmlns:r="http://schemas.openxmlformats.org/officeDocument/2006/relationships" r:id="rId29"/>
          </a:graphicData>
        </a:graphic>
      </p:graphicFrame>
      <p:cxnSp>
        <p:nvCxnSpPr>
          <p:cNvPr id="12" name="Straight Connector 11">
            <a:extLst>
              <a:ext uri="{FF2B5EF4-FFF2-40B4-BE49-F238E27FC236}">
                <a16:creationId xmlns:a16="http://schemas.microsoft.com/office/drawing/2014/main" id="{6F564CE6-83EA-43DB-B92C-928D3DB27EB2}"/>
              </a:ext>
            </a:extLst>
          </p:cNvPr>
          <p:cNvCxnSpPr/>
          <p:nvPr>
            <p:custDataLst>
              <p:tags r:id="rId6"/>
            </p:custDataLst>
          </p:nvPr>
        </p:nvCxnSpPr>
        <p:spPr bwMode="gray">
          <a:xfrm flipH="1">
            <a:off x="7354888" y="2527300"/>
            <a:ext cx="1285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Text Placeholder 3"/>
          <p:cNvSpPr>
            <a:spLocks noGrp="1"/>
          </p:cNvSpPr>
          <p:nvPr>
            <p:custDataLst>
              <p:tags r:id="rId7"/>
            </p:custDataLst>
          </p:nvPr>
        </p:nvSpPr>
        <p:spPr bwMode="gray">
          <a:xfrm>
            <a:off x="614363" y="4033838"/>
            <a:ext cx="15509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76C67E0-F693-4F45-959D-81D766BFE246}" type="datetime'''S''er''vi''c''''''e'''''''''' ''Cente''''r - P''h''o''''ne'">
              <a:rPr lang="en-US" altLang="en-US" smtClean="0"/>
              <a:pPr/>
              <a:t>Service Center - Phone</a:t>
            </a:fld>
            <a:endParaRPr lang="en-US" dirty="0">
              <a:sym typeface="+mn-lt"/>
            </a:endParaRPr>
          </a:p>
        </p:txBody>
      </p:sp>
      <p:sp>
        <p:nvSpPr>
          <p:cNvPr id="177" name="Text Placeholder 3">
            <a:extLst>
              <a:ext uri="{FF2B5EF4-FFF2-40B4-BE49-F238E27FC236}">
                <a16:creationId xmlns:a16="http://schemas.microsoft.com/office/drawing/2014/main" id="{DAA16F7A-98B6-43AD-90FB-3BB396027F28}"/>
              </a:ext>
            </a:extLst>
          </p:cNvPr>
          <p:cNvSpPr>
            <a:spLocks noGrp="1"/>
          </p:cNvSpPr>
          <p:nvPr>
            <p:custDataLst>
              <p:tags r:id="rId8"/>
            </p:custDataLst>
          </p:nvPr>
        </p:nvSpPr>
        <p:spPr bwMode="gray">
          <a:xfrm>
            <a:off x="7346950" y="2274888"/>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B29E9CF-187D-47F9-BDEF-7F7C3E8DB06C}" type="datetime'''''''1'''''''''''''''''''''''''''''''''''''''''''''''''''''">
              <a:rPr lang="en-US" altLang="en-US" smtClean="0">
                <a:solidFill>
                  <a:schemeClr val="bg1"/>
                </a:solidFill>
                <a:effectLst/>
              </a:rPr>
              <a:pPr/>
              <a:t>1</a:t>
            </a:fld>
            <a:endParaRPr lang="en-US" dirty="0">
              <a:solidFill>
                <a:schemeClr val="bg1"/>
              </a:solidFill>
              <a:sym typeface="+mn-lt"/>
            </a:endParaRPr>
          </a:p>
        </p:txBody>
      </p:sp>
      <p:sp>
        <p:nvSpPr>
          <p:cNvPr id="58" name="Text Placeholder 3"/>
          <p:cNvSpPr>
            <a:spLocks noGrp="1"/>
          </p:cNvSpPr>
          <p:nvPr>
            <p:custDataLst>
              <p:tags r:id="rId9"/>
            </p:custDataLst>
          </p:nvPr>
        </p:nvSpPr>
        <p:spPr bwMode="gray">
          <a:xfrm>
            <a:off x="1433513" y="2860675"/>
            <a:ext cx="731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F8B5EA0-126D-4640-AD31-5AD4EE279B12}" type="datetime'''I''''''''''''T ''C''''o''''''''n''''nec''''''t'''">
              <a:rPr lang="en-US" altLang="en-US" smtClean="0"/>
              <a:pPr/>
              <a:t>IT Connect</a:t>
            </a:fld>
            <a:endParaRPr lang="en-US" dirty="0">
              <a:sym typeface="+mn-lt"/>
            </a:endParaRPr>
          </a:p>
        </p:txBody>
      </p:sp>
      <p:sp>
        <p:nvSpPr>
          <p:cNvPr id="33" name="Text Placeholder 3"/>
          <p:cNvSpPr>
            <a:spLocks noGrp="1"/>
          </p:cNvSpPr>
          <p:nvPr>
            <p:custDataLst>
              <p:tags r:id="rId10"/>
            </p:custDataLst>
          </p:nvPr>
        </p:nvSpPr>
        <p:spPr bwMode="gray">
          <a:xfrm>
            <a:off x="1627188" y="2274888"/>
            <a:ext cx="5381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BD637AA-8A12-45BC-8987-68D76D5D7E55}" type="datetime'''''''L''''''''''''''o''''c''''''''a''''l'' I''''''''''T'''">
              <a:rPr lang="en-US" altLang="en-US" smtClean="0"/>
              <a:pPr algn="r">
                <a:spcBef>
                  <a:spcPct val="0"/>
                </a:spcBef>
                <a:spcAft>
                  <a:spcPct val="0"/>
                </a:spcAft>
              </a:pPr>
              <a:t>Local IT</a:t>
            </a:fld>
            <a:endParaRPr lang="en-US" dirty="0">
              <a:sym typeface="+mn-lt"/>
            </a:endParaRPr>
          </a:p>
        </p:txBody>
      </p:sp>
      <p:sp>
        <p:nvSpPr>
          <p:cNvPr id="62" name="Text Placeholder 3">
            <a:extLst>
              <a:ext uri="{FF2B5EF4-FFF2-40B4-BE49-F238E27FC236}">
                <a16:creationId xmlns:a16="http://schemas.microsoft.com/office/drawing/2014/main" id="{7C3ACA61-5AF0-44DF-8752-0740586688D1}"/>
              </a:ext>
            </a:extLst>
          </p:cNvPr>
          <p:cNvSpPr>
            <a:spLocks noGrp="1"/>
          </p:cNvSpPr>
          <p:nvPr>
            <p:custDataLst>
              <p:tags r:id="rId11"/>
            </p:custDataLst>
          </p:nvPr>
        </p:nvSpPr>
        <p:spPr bwMode="gray">
          <a:xfrm>
            <a:off x="7346950" y="2860676"/>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569915D-310C-4D85-AAA2-4777717C854B}" type="datetime'''''''''''''''''''''''''''''''''''''''1'''''''''''''''''''''''">
              <a:rPr lang="en-US" altLang="en-US" smtClean="0">
                <a:solidFill>
                  <a:schemeClr val="bg1"/>
                </a:solidFill>
                <a:effectLst/>
                <a:sym typeface="+mn-lt"/>
              </a:rPr>
              <a:pPr algn="ctr">
                <a:spcBef>
                  <a:spcPct val="0"/>
                </a:spcBef>
                <a:spcAft>
                  <a:spcPct val="0"/>
                </a:spcAft>
              </a:pPr>
              <a:t>1</a:t>
            </a:fld>
            <a:endParaRPr lang="en-US" dirty="0">
              <a:solidFill>
                <a:schemeClr val="bg1"/>
              </a:solidFill>
              <a:sym typeface="+mn-lt"/>
            </a:endParaRPr>
          </a:p>
        </p:txBody>
      </p:sp>
      <p:sp>
        <p:nvSpPr>
          <p:cNvPr id="35" name="Text Placeholder 3"/>
          <p:cNvSpPr>
            <a:spLocks noGrp="1"/>
          </p:cNvSpPr>
          <p:nvPr>
            <p:custDataLst>
              <p:tags r:id="rId12"/>
            </p:custDataLst>
          </p:nvPr>
        </p:nvSpPr>
        <p:spPr bwMode="gray">
          <a:xfrm>
            <a:off x="711200" y="3448050"/>
            <a:ext cx="14541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145CDCE-771E-443B-A328-CE538C14227E}" type="datetime'S''''e''''''''rvi''''c''e C''''e''''nte''r - C''''''h''at'''''">
              <a:rPr lang="en-US" altLang="en-US" smtClean="0"/>
              <a:pPr/>
              <a:t>Service Center - Chat</a:t>
            </a:fld>
            <a:endParaRPr lang="en-US" dirty="0">
              <a:sym typeface="+mn-lt"/>
            </a:endParaRPr>
          </a:p>
        </p:txBody>
      </p:sp>
      <p:sp>
        <p:nvSpPr>
          <p:cNvPr id="64" name="Text Placeholder 3">
            <a:extLst>
              <a:ext uri="{FF2B5EF4-FFF2-40B4-BE49-F238E27FC236}">
                <a16:creationId xmlns:a16="http://schemas.microsoft.com/office/drawing/2014/main" id="{76C9A25B-23DF-490B-910F-0AAF29169A4F}"/>
              </a:ext>
            </a:extLst>
          </p:cNvPr>
          <p:cNvSpPr>
            <a:spLocks noGrp="1"/>
          </p:cNvSpPr>
          <p:nvPr>
            <p:custDataLst>
              <p:tags r:id="rId13"/>
            </p:custDataLst>
          </p:nvPr>
        </p:nvSpPr>
        <p:spPr bwMode="gray">
          <a:xfrm>
            <a:off x="7346950" y="4033839"/>
            <a:ext cx="117475" cy="201613"/>
          </a:xfrm>
          <a:prstGeom prst="rect">
            <a:avLst/>
          </a:prstGeom>
          <a:solidFill>
            <a:srgbClr val="837F7F"/>
          </a:solidFill>
          <a:ln>
            <a:noFill/>
          </a:ln>
          <a:effec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345F9BA-3683-45DC-A132-A5E3A1B3D490}" type="datetime'''''''''''''''''''''''''''''''''''1'''''''''''''''''">
              <a:rPr lang="en-US" altLang="en-US" smtClean="0">
                <a:solidFill>
                  <a:schemeClr val="bg1"/>
                </a:solidFill>
                <a:effectLst/>
                <a:sym typeface="+mn-lt"/>
              </a:rPr>
              <a:pPr algn="ctr">
                <a:spcBef>
                  <a:spcPct val="0"/>
                </a:spcBef>
                <a:spcAft>
                  <a:spcPct val="0"/>
                </a:spcAft>
              </a:pPr>
              <a:t>1</a:t>
            </a:fld>
            <a:endParaRPr lang="en-US" dirty="0">
              <a:solidFill>
                <a:schemeClr val="bg1"/>
              </a:solidFill>
              <a:sym typeface="+mn-lt"/>
            </a:endParaRPr>
          </a:p>
        </p:txBody>
      </p:sp>
      <p:sp>
        <p:nvSpPr>
          <p:cNvPr id="37" name="Text Placeholder 3"/>
          <p:cNvSpPr>
            <a:spLocks noGrp="1"/>
          </p:cNvSpPr>
          <p:nvPr>
            <p:custDataLst>
              <p:tags r:id="rId14"/>
            </p:custDataLst>
          </p:nvPr>
        </p:nvSpPr>
        <p:spPr bwMode="gray">
          <a:xfrm>
            <a:off x="649288" y="4619625"/>
            <a:ext cx="15160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F92FC02-3629-4A39-84F7-A9C6CBE976DA}" type="datetime'''S''er''v''''''''ic''e'' C''''''e''n''''te''r - Email'''''''">
              <a:rPr lang="en-US" altLang="en-US" smtClean="0"/>
              <a:pPr algn="r">
                <a:spcBef>
                  <a:spcPct val="0"/>
                </a:spcBef>
                <a:spcAft>
                  <a:spcPct val="0"/>
                </a:spcAft>
              </a:pPr>
              <a:t>Service Center - Email</a:t>
            </a:fld>
            <a:endParaRPr lang="en-US" dirty="0">
              <a:sym typeface="+mn-lt"/>
            </a:endParaRPr>
          </a:p>
        </p:txBody>
      </p:sp>
      <p:sp>
        <p:nvSpPr>
          <p:cNvPr id="79" name="Rectangle 78"/>
          <p:cNvSpPr/>
          <p:nvPr>
            <p:custDataLst>
              <p:tags r:id="rId15"/>
            </p:custDataLst>
          </p:nvPr>
        </p:nvSpPr>
        <p:spPr bwMode="gray">
          <a:xfrm>
            <a:off x="4543425" y="5357813"/>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Rectangle 74"/>
          <p:cNvSpPr/>
          <p:nvPr>
            <p:custDataLst>
              <p:tags r:id="rId16"/>
            </p:custDataLst>
          </p:nvPr>
        </p:nvSpPr>
        <p:spPr bwMode="gray">
          <a:xfrm>
            <a:off x="2303463" y="5357813"/>
            <a:ext cx="214313" cy="160338"/>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17"/>
            </p:custDataLst>
          </p:nvPr>
        </p:nvSpPr>
        <p:spPr bwMode="gray">
          <a:xfrm>
            <a:off x="3594100" y="5357813"/>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p:cNvSpPr/>
          <p:nvPr>
            <p:custDataLst>
              <p:tags r:id="rId18"/>
            </p:custDataLst>
          </p:nvPr>
        </p:nvSpPr>
        <p:spPr bwMode="gray">
          <a:xfrm>
            <a:off x="5414963" y="5357813"/>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Rectangle 80"/>
          <p:cNvSpPr/>
          <p:nvPr>
            <p:custDataLst>
              <p:tags r:id="rId19"/>
            </p:custDataLst>
          </p:nvPr>
        </p:nvSpPr>
        <p:spPr bwMode="gray">
          <a:xfrm>
            <a:off x="6551613" y="5357813"/>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Text Placeholder 3"/>
          <p:cNvSpPr>
            <a:spLocks noGrp="1"/>
          </p:cNvSpPr>
          <p:nvPr>
            <p:custDataLst>
              <p:tags r:id="rId20"/>
            </p:custDataLst>
          </p:nvPr>
        </p:nvSpPr>
        <p:spPr bwMode="gray">
          <a:xfrm>
            <a:off x="2568575" y="5338763"/>
            <a:ext cx="923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F9A80EC-A51B-4B06-A411-964777703E07}" type="datetime'''''V''e''r''''y'''''''''' S''''a''''''''ti''sf''i''e''d'''">
              <a:rPr lang="en-US" altLang="en-US" smtClean="0">
                <a:sym typeface="+mn-lt"/>
              </a:rPr>
              <a:pPr>
                <a:spcBef>
                  <a:spcPct val="0"/>
                </a:spcBef>
                <a:spcAft>
                  <a:spcPct val="0"/>
                </a:spcAft>
              </a:pPr>
              <a:t>Very Satisfied</a:t>
            </a:fld>
            <a:endParaRPr lang="en-US" dirty="0">
              <a:sym typeface="+mn-lt"/>
            </a:endParaRPr>
          </a:p>
        </p:txBody>
      </p:sp>
      <p:sp>
        <p:nvSpPr>
          <p:cNvPr id="65" name="Text Placeholder 3"/>
          <p:cNvSpPr>
            <a:spLocks noGrp="1"/>
          </p:cNvSpPr>
          <p:nvPr>
            <p:custDataLst>
              <p:tags r:id="rId21"/>
            </p:custDataLst>
          </p:nvPr>
        </p:nvSpPr>
        <p:spPr bwMode="gray">
          <a:xfrm>
            <a:off x="3859213" y="5338763"/>
            <a:ext cx="5826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0628767-9A43-4058-A74A-F1920B192CAE}" type="datetime'''''''''S''a''''''tis''''''''''fi''''''''''''''''ed'''">
              <a:rPr lang="en-US" altLang="en-US" smtClean="0">
                <a:sym typeface="+mn-lt"/>
              </a:rPr>
              <a:pPr>
                <a:spcBef>
                  <a:spcPct val="0"/>
                </a:spcBef>
                <a:spcAft>
                  <a:spcPct val="0"/>
                </a:spcAft>
              </a:pPr>
              <a:t>Satisfied</a:t>
            </a:fld>
            <a:endParaRPr lang="en-US" dirty="0">
              <a:sym typeface="+mn-lt"/>
            </a:endParaRPr>
          </a:p>
        </p:txBody>
      </p:sp>
      <p:sp>
        <p:nvSpPr>
          <p:cNvPr id="72" name="Text Placeholder 3"/>
          <p:cNvSpPr>
            <a:spLocks noGrp="1"/>
          </p:cNvSpPr>
          <p:nvPr>
            <p:custDataLst>
              <p:tags r:id="rId22"/>
            </p:custDataLst>
          </p:nvPr>
        </p:nvSpPr>
        <p:spPr bwMode="gray">
          <a:xfrm>
            <a:off x="6816725" y="5338763"/>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D9B4F61-C2DA-4116-BF41-4A291F1153E0}" type="datetime'Ver''y ''''D''''''''''''i''''s''''s''at''i''si''''''fed'''">
              <a:rPr lang="en-US" altLang="en-US" smtClean="0">
                <a:sym typeface="+mn-lt"/>
              </a:rPr>
              <a:pPr>
                <a:spcBef>
                  <a:spcPct val="0"/>
                </a:spcBef>
                <a:spcAft>
                  <a:spcPct val="0"/>
                </a:spcAft>
              </a:pPr>
              <a:t>Very Dissatisifed</a:t>
            </a:fld>
            <a:endParaRPr lang="en-US" dirty="0">
              <a:sym typeface="+mn-lt"/>
            </a:endParaRPr>
          </a:p>
        </p:txBody>
      </p:sp>
      <p:sp>
        <p:nvSpPr>
          <p:cNvPr id="68" name="Text Placeholder 3"/>
          <p:cNvSpPr>
            <a:spLocks noGrp="1"/>
          </p:cNvSpPr>
          <p:nvPr>
            <p:custDataLst>
              <p:tags r:id="rId23"/>
            </p:custDataLst>
          </p:nvPr>
        </p:nvSpPr>
        <p:spPr bwMode="gray">
          <a:xfrm>
            <a:off x="4808538" y="5338763"/>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622D474-5FF2-4E97-B12D-7DE2A60FD3E7}" type="datetime'''N''e''''u''''''''tr''a''l'''''''''''''''''''''''''">
              <a:rPr lang="en-US" altLang="en-US" smtClean="0">
                <a:sym typeface="+mn-lt"/>
              </a:rPr>
              <a:pPr>
                <a:spcBef>
                  <a:spcPct val="0"/>
                </a:spcBef>
                <a:spcAft>
                  <a:spcPct val="0"/>
                </a:spcAft>
              </a:pPr>
              <a:t>Neutral</a:t>
            </a:fld>
            <a:endParaRPr lang="en-US" dirty="0">
              <a:sym typeface="+mn-lt"/>
            </a:endParaRPr>
          </a:p>
        </p:txBody>
      </p:sp>
      <p:sp>
        <p:nvSpPr>
          <p:cNvPr id="70" name="Text Placeholder 3"/>
          <p:cNvSpPr>
            <a:spLocks noGrp="1"/>
          </p:cNvSpPr>
          <p:nvPr>
            <p:custDataLst>
              <p:tags r:id="rId24"/>
            </p:custDataLst>
          </p:nvPr>
        </p:nvSpPr>
        <p:spPr bwMode="gray">
          <a:xfrm>
            <a:off x="5680075" y="5338763"/>
            <a:ext cx="769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47D753C-8BF3-45DB-A555-5C186421099D}" type="datetime'''''''D''''''''issa''t''''is''''fi''e''''''''''d'">
              <a:rPr lang="en-US" altLang="en-US" smtClean="0">
                <a:sym typeface="+mn-lt"/>
              </a:rPr>
              <a:pPr>
                <a:spcBef>
                  <a:spcPct val="0"/>
                </a:spcBef>
                <a:spcAft>
                  <a:spcPct val="0"/>
                </a:spcAft>
              </a:pPr>
              <a:t>Dissatisfied</a:t>
            </a:fld>
            <a:endParaRPr lang="en-US" dirty="0">
              <a:sym typeface="+mn-lt"/>
            </a:endParaRPr>
          </a:p>
        </p:txBody>
      </p:sp>
      <p:sp>
        <p:nvSpPr>
          <p:cNvPr id="110" name="Rectangle 109">
            <a:extLst>
              <a:ext uri="{FF2B5EF4-FFF2-40B4-BE49-F238E27FC236}">
                <a16:creationId xmlns:a16="http://schemas.microsoft.com/office/drawing/2014/main" id="{988152C3-F650-465E-AB45-0AB84EF8A7EA}"/>
              </a:ext>
            </a:extLst>
          </p:cNvPr>
          <p:cNvSpPr/>
          <p:nvPr/>
        </p:nvSpPr>
        <p:spPr>
          <a:xfrm>
            <a:off x="621409" y="1567974"/>
            <a:ext cx="6721059" cy="35863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0"/>
              </a:spcBef>
              <a:spcAft>
                <a:spcPct val="0"/>
              </a:spcAft>
            </a:pPr>
            <a:r>
              <a:rPr lang="en-GB" sz="1200" dirty="0">
                <a:solidFill>
                  <a:srgbClr val="295E7E"/>
                </a:solidFill>
              </a:rPr>
              <a:t>% of respondents satisfied with:</a:t>
            </a:r>
            <a:endParaRPr lang="en-GB" sz="1200" b="1" dirty="0">
              <a:solidFill>
                <a:srgbClr val="295E7E"/>
              </a:solidFill>
            </a:endParaRPr>
          </a:p>
        </p:txBody>
      </p:sp>
      <p:sp>
        <p:nvSpPr>
          <p:cNvPr id="107" name="Rectangle 106"/>
          <p:cNvSpPr/>
          <p:nvPr/>
        </p:nvSpPr>
        <p:spPr>
          <a:xfrm>
            <a:off x="7494275" y="2247497"/>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93%</a:t>
            </a:r>
          </a:p>
        </p:txBody>
      </p:sp>
      <p:sp>
        <p:nvSpPr>
          <p:cNvPr id="108" name="Rectangle 107"/>
          <p:cNvSpPr/>
          <p:nvPr/>
        </p:nvSpPr>
        <p:spPr>
          <a:xfrm>
            <a:off x="7433132" y="1904740"/>
            <a:ext cx="581371" cy="2715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E-SAT</a:t>
            </a:r>
          </a:p>
        </p:txBody>
      </p:sp>
      <p:sp>
        <p:nvSpPr>
          <p:cNvPr id="109" name="Rectangle 108"/>
          <p:cNvSpPr/>
          <p:nvPr/>
        </p:nvSpPr>
        <p:spPr>
          <a:xfrm>
            <a:off x="7988308" y="1899313"/>
            <a:ext cx="838923" cy="27699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rade</a:t>
            </a:r>
          </a:p>
        </p:txBody>
      </p:sp>
      <p:sp>
        <p:nvSpPr>
          <p:cNvPr id="111" name="Rectangle 110"/>
          <p:cNvSpPr/>
          <p:nvPr/>
        </p:nvSpPr>
        <p:spPr>
          <a:xfrm>
            <a:off x="8008092" y="2265290"/>
            <a:ext cx="895639" cy="288131"/>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Excellent</a:t>
            </a:r>
          </a:p>
        </p:txBody>
      </p:sp>
      <p:sp>
        <p:nvSpPr>
          <p:cNvPr id="113" name="Rectangle 112"/>
          <p:cNvSpPr/>
          <p:nvPr/>
        </p:nvSpPr>
        <p:spPr>
          <a:xfrm>
            <a:off x="7494275" y="4525115"/>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4%</a:t>
            </a:r>
          </a:p>
        </p:txBody>
      </p:sp>
      <p:sp>
        <p:nvSpPr>
          <p:cNvPr id="114" name="Rectangle 113"/>
          <p:cNvSpPr/>
          <p:nvPr/>
        </p:nvSpPr>
        <p:spPr>
          <a:xfrm>
            <a:off x="8012496" y="4525115"/>
            <a:ext cx="890885" cy="2770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117" name="Rectangle 116"/>
          <p:cNvSpPr/>
          <p:nvPr/>
        </p:nvSpPr>
        <p:spPr>
          <a:xfrm>
            <a:off x="7494275" y="3932026"/>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7%</a:t>
            </a:r>
          </a:p>
        </p:txBody>
      </p:sp>
      <p:sp>
        <p:nvSpPr>
          <p:cNvPr id="118" name="Rectangle 117"/>
          <p:cNvSpPr/>
          <p:nvPr/>
        </p:nvSpPr>
        <p:spPr>
          <a:xfrm>
            <a:off x="8014503" y="3939538"/>
            <a:ext cx="890885" cy="2770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119" name="Rectangle 118"/>
          <p:cNvSpPr/>
          <p:nvPr/>
        </p:nvSpPr>
        <p:spPr>
          <a:xfrm>
            <a:off x="7494275" y="3345703"/>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79%</a:t>
            </a:r>
          </a:p>
        </p:txBody>
      </p:sp>
      <p:sp>
        <p:nvSpPr>
          <p:cNvPr id="120" name="Rectangle 119"/>
          <p:cNvSpPr/>
          <p:nvPr/>
        </p:nvSpPr>
        <p:spPr>
          <a:xfrm>
            <a:off x="8010576" y="3346529"/>
            <a:ext cx="890885" cy="27705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Good</a:t>
            </a:r>
          </a:p>
        </p:txBody>
      </p:sp>
      <p:sp>
        <p:nvSpPr>
          <p:cNvPr id="53" name="Rectangle 52"/>
          <p:cNvSpPr/>
          <p:nvPr/>
        </p:nvSpPr>
        <p:spPr>
          <a:xfrm>
            <a:off x="7513432" y="5012579"/>
            <a:ext cx="271216" cy="2659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575757"/>
                </a:solidFill>
              </a:rPr>
              <a:t>%</a:t>
            </a:r>
          </a:p>
        </p:txBody>
      </p:sp>
      <p:sp>
        <p:nvSpPr>
          <p:cNvPr id="105" name="Rectangle 104"/>
          <p:cNvSpPr/>
          <p:nvPr/>
        </p:nvSpPr>
        <p:spPr>
          <a:xfrm>
            <a:off x="997489" y="925006"/>
            <a:ext cx="2692968" cy="33658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a:t>
            </a:r>
          </a:p>
        </p:txBody>
      </p:sp>
      <p:sp>
        <p:nvSpPr>
          <p:cNvPr id="63" name="Rectangle 62"/>
          <p:cNvSpPr/>
          <p:nvPr/>
        </p:nvSpPr>
        <p:spPr>
          <a:xfrm>
            <a:off x="7494275" y="2765020"/>
            <a:ext cx="543551" cy="2770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82%</a:t>
            </a:r>
          </a:p>
        </p:txBody>
      </p:sp>
      <p:sp>
        <p:nvSpPr>
          <p:cNvPr id="48" name="Rectangle 47"/>
          <p:cNvSpPr/>
          <p:nvPr/>
        </p:nvSpPr>
        <p:spPr>
          <a:xfrm>
            <a:off x="7988308" y="2773088"/>
            <a:ext cx="915073" cy="315800"/>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Very Good</a:t>
            </a:r>
          </a:p>
        </p:txBody>
      </p:sp>
      <p:grpSp>
        <p:nvGrpSpPr>
          <p:cNvPr id="46" name="Group 45">
            <a:extLst>
              <a:ext uri="{FF2B5EF4-FFF2-40B4-BE49-F238E27FC236}">
                <a16:creationId xmlns:a16="http://schemas.microsoft.com/office/drawing/2014/main" id="{774C1659-E734-456B-A149-7FA132494598}"/>
              </a:ext>
            </a:extLst>
          </p:cNvPr>
          <p:cNvGrpSpPr>
            <a:grpSpLocks noChangeAspect="1"/>
          </p:cNvGrpSpPr>
          <p:nvPr/>
        </p:nvGrpSpPr>
        <p:grpSpPr>
          <a:xfrm>
            <a:off x="514429" y="864696"/>
            <a:ext cx="457200" cy="457200"/>
            <a:chOff x="5867400" y="3200400"/>
            <a:chExt cx="457200" cy="457200"/>
          </a:xfrm>
        </p:grpSpPr>
        <p:sp>
          <p:nvSpPr>
            <p:cNvPr id="47" name="AutoShape 43">
              <a:extLst>
                <a:ext uri="{FF2B5EF4-FFF2-40B4-BE49-F238E27FC236}">
                  <a16:creationId xmlns:a16="http://schemas.microsoft.com/office/drawing/2014/main" id="{D5C4417A-A75D-47D5-ACEB-85229C4F723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7">
              <a:extLst>
                <a:ext uri="{FF2B5EF4-FFF2-40B4-BE49-F238E27FC236}">
                  <a16:creationId xmlns:a16="http://schemas.microsoft.com/office/drawing/2014/main" id="{E9849C32-9831-4D07-837C-E8C9891E90B0}"/>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2342807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563"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4" name="Title 2">
            <a:extLst>
              <a:ext uri="{FF2B5EF4-FFF2-40B4-BE49-F238E27FC236}">
                <a16:creationId xmlns:a16="http://schemas.microsoft.com/office/drawing/2014/main" id="{8B679131-4F64-487B-B99B-D6F2444169A7}"/>
              </a:ext>
            </a:extLst>
          </p:cNvPr>
          <p:cNvSpPr>
            <a:spLocks noGrp="1"/>
          </p:cNvSpPr>
          <p:nvPr>
            <p:ph type="title"/>
          </p:nvPr>
        </p:nvSpPr>
        <p:spPr/>
        <p:txBody>
          <a:bodyPr vert="horz"/>
          <a:lstStyle/>
          <a:p>
            <a:r>
              <a:rPr lang="en-US" dirty="0">
                <a:solidFill>
                  <a:srgbClr val="295E7E"/>
                </a:solidFill>
              </a:rPr>
              <a:t>IT Support – Specific Channel Satisfaction</a:t>
            </a:r>
          </a:p>
        </p:txBody>
      </p:sp>
      <p:sp>
        <p:nvSpPr>
          <p:cNvPr id="45" name="Rectangle 44">
            <a:extLst>
              <a:ext uri="{FF2B5EF4-FFF2-40B4-BE49-F238E27FC236}">
                <a16:creationId xmlns:a16="http://schemas.microsoft.com/office/drawing/2014/main" id="{FF229963-0447-413B-B22D-6FFE41581BE0}"/>
              </a:ext>
            </a:extLst>
          </p:cNvPr>
          <p:cNvSpPr/>
          <p:nvPr/>
        </p:nvSpPr>
        <p:spPr>
          <a:xfrm>
            <a:off x="997488" y="925006"/>
            <a:ext cx="6328832" cy="37303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575757"/>
                </a:solidFill>
              </a:rPr>
              <a:t>All Respondents – E-SAT Trending</a:t>
            </a:r>
            <a:endParaRPr lang="en-US" sz="1600" i="1" baseline="30000" dirty="0">
              <a:solidFill>
                <a:srgbClr val="575757"/>
              </a:solidFill>
            </a:endParaRPr>
          </a:p>
        </p:txBody>
      </p:sp>
      <p:graphicFrame>
        <p:nvGraphicFramePr>
          <p:cNvPr id="50" name="table_type_name">
            <a:extLst>
              <a:ext uri="{FF2B5EF4-FFF2-40B4-BE49-F238E27FC236}">
                <a16:creationId xmlns:a16="http://schemas.microsoft.com/office/drawing/2014/main" id="{CE742A81-3EFB-43E3-B45F-43529414CE02}"/>
              </a:ext>
            </a:extLst>
          </p:cNvPr>
          <p:cNvGraphicFramePr>
            <a:graphicFrameLocks noGrp="1"/>
          </p:cNvGraphicFramePr>
          <p:nvPr>
            <p:extLst>
              <p:ext uri="{D42A27DB-BD31-4B8C-83A1-F6EECF244321}">
                <p14:modId xmlns:p14="http://schemas.microsoft.com/office/powerpoint/2010/main" val="3101068189"/>
              </p:ext>
            </p:extLst>
          </p:nvPr>
        </p:nvGraphicFramePr>
        <p:xfrm>
          <a:off x="629996" y="1589981"/>
          <a:ext cx="10979731" cy="3411479"/>
        </p:xfrm>
        <a:graphic>
          <a:graphicData uri="http://schemas.openxmlformats.org/drawingml/2006/table">
            <a:tbl>
              <a:tblPr/>
              <a:tblGrid>
                <a:gridCol w="1485671">
                  <a:extLst>
                    <a:ext uri="{9D8B030D-6E8A-4147-A177-3AD203B41FA5}">
                      <a16:colId xmlns:a16="http://schemas.microsoft.com/office/drawing/2014/main" val="20001"/>
                    </a:ext>
                  </a:extLst>
                </a:gridCol>
                <a:gridCol w="949406">
                  <a:extLst>
                    <a:ext uri="{9D8B030D-6E8A-4147-A177-3AD203B41FA5}">
                      <a16:colId xmlns:a16="http://schemas.microsoft.com/office/drawing/2014/main" val="20002"/>
                    </a:ext>
                  </a:extLst>
                </a:gridCol>
                <a:gridCol w="949406">
                  <a:extLst>
                    <a:ext uri="{9D8B030D-6E8A-4147-A177-3AD203B41FA5}">
                      <a16:colId xmlns:a16="http://schemas.microsoft.com/office/drawing/2014/main" val="1906599647"/>
                    </a:ext>
                  </a:extLst>
                </a:gridCol>
                <a:gridCol w="949406">
                  <a:extLst>
                    <a:ext uri="{9D8B030D-6E8A-4147-A177-3AD203B41FA5}">
                      <a16:colId xmlns:a16="http://schemas.microsoft.com/office/drawing/2014/main" val="20010"/>
                    </a:ext>
                  </a:extLst>
                </a:gridCol>
                <a:gridCol w="949406">
                  <a:extLst>
                    <a:ext uri="{9D8B030D-6E8A-4147-A177-3AD203B41FA5}">
                      <a16:colId xmlns:a16="http://schemas.microsoft.com/office/drawing/2014/main" val="1838064587"/>
                    </a:ext>
                  </a:extLst>
                </a:gridCol>
                <a:gridCol w="949406">
                  <a:extLst>
                    <a:ext uri="{9D8B030D-6E8A-4147-A177-3AD203B41FA5}">
                      <a16:colId xmlns:a16="http://schemas.microsoft.com/office/drawing/2014/main" val="4219600051"/>
                    </a:ext>
                  </a:extLst>
                </a:gridCol>
                <a:gridCol w="949406">
                  <a:extLst>
                    <a:ext uri="{9D8B030D-6E8A-4147-A177-3AD203B41FA5}">
                      <a16:colId xmlns:a16="http://schemas.microsoft.com/office/drawing/2014/main" val="1373276305"/>
                    </a:ext>
                  </a:extLst>
                </a:gridCol>
                <a:gridCol w="949406">
                  <a:extLst>
                    <a:ext uri="{9D8B030D-6E8A-4147-A177-3AD203B41FA5}">
                      <a16:colId xmlns:a16="http://schemas.microsoft.com/office/drawing/2014/main" val="3567851794"/>
                    </a:ext>
                  </a:extLst>
                </a:gridCol>
                <a:gridCol w="949406">
                  <a:extLst>
                    <a:ext uri="{9D8B030D-6E8A-4147-A177-3AD203B41FA5}">
                      <a16:colId xmlns:a16="http://schemas.microsoft.com/office/drawing/2014/main" val="2018593308"/>
                    </a:ext>
                  </a:extLst>
                </a:gridCol>
                <a:gridCol w="949406">
                  <a:extLst>
                    <a:ext uri="{9D8B030D-6E8A-4147-A177-3AD203B41FA5}">
                      <a16:colId xmlns:a16="http://schemas.microsoft.com/office/drawing/2014/main" val="556403955"/>
                    </a:ext>
                  </a:extLst>
                </a:gridCol>
                <a:gridCol w="949406">
                  <a:extLst>
                    <a:ext uri="{9D8B030D-6E8A-4147-A177-3AD203B41FA5}">
                      <a16:colId xmlns:a16="http://schemas.microsoft.com/office/drawing/2014/main" val="1537815838"/>
                    </a:ext>
                  </a:extLst>
                </a:gridCol>
              </a:tblGrid>
              <a:tr h="92395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0</a:t>
                      </a:r>
                    </a:p>
                  </a:txBody>
                  <a:tcPr marL="0" marR="73152" marT="73152" marB="73152"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Q4 '21</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Year-over-Year (vs Q4)</a:t>
                      </a:r>
                    </a:p>
                  </a:txBody>
                  <a:tcPr marL="0" marR="73152" marT="73152" marB="73152"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19</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a:t>
                      </a:r>
                    </a:p>
                  </a:txBody>
                  <a:tcPr marL="0" marR="73152" marT="73152" marB="73152"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0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Average </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vs 2019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Average</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rPr>
                        <a:t>2021 vs 2020 Average</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BIC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2021 Average vs BIC target</a:t>
                      </a:r>
                    </a:p>
                  </a:txBody>
                  <a:tcPr marL="0" marR="73152" marT="73152" marB="7315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14588">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horzOverflow="overflow">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Satisfied</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Status</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14588">
                <a:tc>
                  <a:txBody>
                    <a:bodyPr/>
                    <a:lstStyle/>
                    <a:p>
                      <a:pPr algn="l" fontAlgn="b"/>
                      <a:r>
                        <a:rPr lang="en-GB" sz="1200" b="0" i="0" u="none" strike="noStrike" dirty="0">
                          <a:effectLst/>
                          <a:latin typeface="+mj-lt"/>
                        </a:rPr>
                        <a:t>Local IT</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90</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9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90</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91</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kern="1200" cap="none" normalizeH="0" baseline="0" dirty="0">
                          <a:ln>
                            <a:noFill/>
                          </a:ln>
                          <a:solidFill>
                            <a:srgbClr val="FFFFFF"/>
                          </a:solidFill>
                          <a:effectLst/>
                          <a:latin typeface="+mn-lt"/>
                          <a:ea typeface="+mn-ea"/>
                          <a:cs typeface="Arial" charset="0"/>
                          <a:sym typeface="Trebuchet MS" panose="020B0603020202020204" pitchFamily="34" charset="0"/>
                        </a:rPr>
                        <a:t>9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30C1D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2%</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3%</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14588">
                <a:tc>
                  <a:txBody>
                    <a:bodyPr/>
                    <a:lstStyle/>
                    <a:p>
                      <a:pPr algn="l" fontAlgn="b"/>
                      <a:r>
                        <a:rPr lang="en-GB" sz="1200" b="0" i="0" u="none" strike="noStrike" dirty="0">
                          <a:effectLst/>
                          <a:latin typeface="+mj-lt"/>
                        </a:rPr>
                        <a:t>IT Connect</a:t>
                      </a:r>
                      <a:endParaRPr lang="en-GB" sz="1200" b="0" i="0" u="none" strike="noStrike" baseline="30000" dirty="0">
                        <a:effectLst/>
                        <a:latin typeface="+mj-lt"/>
                      </a:endParaRP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81</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mn-lt"/>
                          <a:ea typeface="+mn-ea"/>
                          <a:cs typeface="+mn-cs"/>
                        </a:rPr>
                        <a:t>3</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2</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9%</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3%</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1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48029278"/>
                  </a:ext>
                </a:extLst>
              </a:tr>
              <a:tr h="414588">
                <a:tc>
                  <a:txBody>
                    <a:bodyPr/>
                    <a:lstStyle/>
                    <a:p>
                      <a:pPr algn="l" fontAlgn="b"/>
                      <a:r>
                        <a:rPr lang="en-GB" sz="1200" b="0" i="0" u="none" strike="noStrike" dirty="0">
                          <a:effectLst/>
                          <a:latin typeface="+mj-lt"/>
                        </a:rPr>
                        <a:t>Service Center - Chat</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9</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lang="en-US" sz="1200" dirty="0">
                          <a:solidFill>
                            <a:srgbClr val="29BA74"/>
                          </a:solidFill>
                          <a:latin typeface="Wingdings 3" panose="05040102010807070707" pitchFamily="18" charset="2"/>
                        </a:rPr>
                        <a:t>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0%</a:t>
                      </a:r>
                      <a:endParaRPr kumimoji="0" lang="en-US" sz="1200" b="0" i="0" u="none" strike="noStrike" kern="1200" cap="none" normalizeH="0" baseline="0" dirty="0">
                        <a:ln>
                          <a:noFill/>
                        </a:ln>
                        <a:solidFill>
                          <a:srgbClr val="575757"/>
                        </a:solidFill>
                        <a:effectLst/>
                        <a:latin typeface="+mn-lt"/>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9</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6%</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4%</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92380857"/>
                  </a:ext>
                </a:extLst>
              </a:tr>
              <a:tr h="414588">
                <a:tc>
                  <a:txBody>
                    <a:bodyPr/>
                    <a:lstStyle/>
                    <a:p>
                      <a:pPr algn="l" fontAlgn="b"/>
                      <a:r>
                        <a:rPr lang="en-GB" sz="1200" b="0" i="0" u="none" strike="noStrike" dirty="0">
                          <a:effectLst/>
                          <a:latin typeface="+mj-lt"/>
                        </a:rPr>
                        <a:t>Service Center - Phone</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8</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6</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7</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1%</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Wingdings 3" panose="05040102010807070707" pitchFamily="18" charset="2"/>
                        </a:rPr>
                        <a:t>w</a:t>
                      </a: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0%</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3%</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14588">
                <a:tc>
                  <a:txBody>
                    <a:bodyPr/>
                    <a:lstStyle/>
                    <a:p>
                      <a:pPr algn="l" fontAlgn="b"/>
                      <a:r>
                        <a:rPr lang="en-GB" sz="1200" b="0" i="0" u="none" strike="noStrike" dirty="0">
                          <a:effectLst/>
                          <a:latin typeface="+mj-lt"/>
                        </a:rPr>
                        <a:t>Service Center - Email</a:t>
                      </a:r>
                    </a:p>
                  </a:txBody>
                  <a:tcPr marL="7620" marR="7620" marT="7620" marB="0" anchor="ctr">
                    <a:lnL cap="flat">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rPr>
                        <a:t>76</a:t>
                      </a:r>
                    </a:p>
                  </a:txBody>
                  <a:tcPr marL="0" marR="73152" marT="73152" marB="73152" anchor="ctr" horzOverflow="overflow">
                    <a:lnL>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4</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a:t>
                      </a:r>
                      <a:r>
                        <a:rPr lang="en-US" sz="1200" dirty="0">
                          <a:solidFill>
                            <a:schemeClr val="bg2">
                              <a:lumMod val="50000"/>
                            </a:schemeClr>
                          </a:solidFill>
                          <a:latin typeface="Wingdings 3" panose="05040102010807070707" pitchFamily="18" charset="2"/>
                        </a:rPr>
                        <a:t> </a:t>
                      </a:r>
                      <a:r>
                        <a:rPr lang="en-US" sz="1200" kern="1200" dirty="0">
                          <a:solidFill>
                            <a:srgbClr val="575757"/>
                          </a:solidFill>
                          <a:latin typeface="+mn-lt"/>
                          <a:ea typeface="+mn-ea"/>
                          <a:cs typeface="+mn-cs"/>
                        </a:rPr>
                        <a:t> 2%</a:t>
                      </a:r>
                      <a:endParaRPr kumimoji="0" lang="en-US" sz="12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68</a:t>
                      </a:r>
                    </a:p>
                  </a:txBody>
                  <a:tcPr marL="0" marR="73152" marT="73152" marB="73152" anchor="ctr" horzOverflow="overflow">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3</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575757"/>
                          </a:solidFill>
                          <a:effectLst/>
                          <a:latin typeface="+mn-lt"/>
                          <a:ea typeface="+mn-ea"/>
                          <a:cs typeface="Arial" charset="0"/>
                        </a:rPr>
                        <a:t>75</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C9E7C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dirty="0">
                          <a:solidFill>
                            <a:srgbClr val="29BA74"/>
                          </a:solidFill>
                          <a:latin typeface="Wingdings 3" panose="05040102010807070707" pitchFamily="18" charset="2"/>
                        </a:rPr>
                        <a:t>p </a:t>
                      </a:r>
                      <a:r>
                        <a:rPr lang="en-US" sz="1200" kern="1200" dirty="0">
                          <a:solidFill>
                            <a:srgbClr val="FFFFFF"/>
                          </a:solidFill>
                          <a:latin typeface="+mn-lt"/>
                          <a:ea typeface="+mn-ea"/>
                          <a:cs typeface="+mn-cs"/>
                        </a:rPr>
                        <a:t>3</a:t>
                      </a:r>
                      <a:r>
                        <a:rPr lang="en-US" sz="1200" kern="1200" dirty="0">
                          <a:solidFill>
                            <a:srgbClr val="575757"/>
                          </a:solidFill>
                          <a:latin typeface="+mn-lt"/>
                          <a:ea typeface="+mn-ea"/>
                          <a:cs typeface="+mn-cs"/>
                        </a:rPr>
                        <a:t>7%</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Wingdings 3" panose="05040102010807070707" pitchFamily="18" charset="2"/>
                          <a:ea typeface="+mn-ea"/>
                          <a:cs typeface="+mn-cs"/>
                        </a:rPr>
                        <a:t>p </a:t>
                      </a:r>
                      <a:r>
                        <a:rPr kumimoji="0" lang="en-US" sz="1200" b="0" i="0" u="none" strike="noStrike" kern="1200" cap="none" spc="0" normalizeH="0" baseline="0" noProof="0" dirty="0">
                          <a:ln>
                            <a:noFill/>
                          </a:ln>
                          <a:solidFill>
                            <a:srgbClr val="FFFFFF"/>
                          </a:solidFill>
                          <a:effectLst/>
                          <a:uLnTx/>
                          <a:uFillTx/>
                          <a:latin typeface="Trebuchet MS"/>
                          <a:ea typeface="+mn-ea"/>
                          <a:cs typeface="+mn-cs"/>
                        </a:rPr>
                        <a:t>3</a:t>
                      </a:r>
                      <a:r>
                        <a:rPr kumimoji="0" lang="en-US" sz="1200" b="0" i="0" u="none" strike="noStrike" kern="1200" cap="none" spc="0" normalizeH="0" baseline="0" noProof="0" dirty="0">
                          <a:ln>
                            <a:noFill/>
                          </a:ln>
                          <a:solidFill>
                            <a:srgbClr val="575757"/>
                          </a:solidFill>
                          <a:effectLst/>
                          <a:uLnTx/>
                          <a:uFillTx/>
                          <a:latin typeface="Trebuchet MS"/>
                          <a:ea typeface="+mn-ea"/>
                          <a:cs typeface="+mn-cs"/>
                        </a:rPr>
                        <a:t>2%</a:t>
                      </a:r>
                      <a:endParaRPr kumimoji="0" lang="en-US" sz="1200" b="0" i="0" u="none" strike="noStrike" kern="1200" cap="none" spc="0" normalizeH="0" baseline="0" noProof="0" dirty="0">
                        <a:ln>
                          <a:noFill/>
                        </a:ln>
                        <a:solidFill>
                          <a:srgbClr val="575757"/>
                        </a:solidFill>
                        <a:effectLst/>
                        <a:uLnTx/>
                        <a:uFillTx/>
                        <a:latin typeface="Trebuchet MS"/>
                        <a:ea typeface="+mn-ea"/>
                        <a:cs typeface="Arial"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FFFFFF"/>
                          </a:solidFill>
                          <a:effectLst/>
                          <a:latin typeface="+mn-lt"/>
                          <a:ea typeface="+mn-ea"/>
                          <a:cs typeface="Arial" charset="0"/>
                        </a:rPr>
                        <a:t>80</a:t>
                      </a: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29BA74"/>
                    </a:solid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1C57"/>
                          </a:solidFill>
                          <a:effectLst/>
                          <a:uLnTx/>
                          <a:uFillTx/>
                          <a:latin typeface="Wingdings 3" panose="05040102010807070707" pitchFamily="18" charset="2"/>
                          <a:ea typeface="+mn-ea"/>
                          <a:cs typeface="+mn-cs"/>
                        </a:rPr>
                        <a:t>q </a:t>
                      </a:r>
                      <a:r>
                        <a:rPr kumimoji="0" lang="en-US" sz="1200" b="0" i="0" u="none" strike="noStrike" kern="1200" cap="none" spc="0" normalizeH="0" baseline="0" noProof="0" dirty="0">
                          <a:ln>
                            <a:noFill/>
                          </a:ln>
                          <a:solidFill>
                            <a:srgbClr val="FFFFFF"/>
                          </a:solidFill>
                          <a:effectLst/>
                          <a:uLnTx/>
                          <a:uFillTx/>
                          <a:latin typeface="+mn-lt"/>
                          <a:ea typeface="+mn-ea"/>
                          <a:cs typeface="+mn-cs"/>
                        </a:rPr>
                        <a:t>1</a:t>
                      </a:r>
                      <a:r>
                        <a:rPr kumimoji="0" lang="en-US" sz="1200" b="0" i="0" u="none" strike="noStrike" kern="1200" cap="none" spc="0" normalizeH="0" baseline="0" noProof="0" dirty="0">
                          <a:ln>
                            <a:noFill/>
                          </a:ln>
                          <a:solidFill>
                            <a:srgbClr val="575757"/>
                          </a:solidFill>
                          <a:effectLst/>
                          <a:uLnTx/>
                          <a:uFillTx/>
                          <a:latin typeface="+mn-lt"/>
                          <a:ea typeface="+mn-ea"/>
                          <a:cs typeface="+mn-cs"/>
                        </a:rPr>
                        <a:t>5%</a:t>
                      </a:r>
                      <a:endParaRPr kumimoji="0" lang="en-US" sz="1200" b="0" i="0" u="none" strike="noStrike" kern="1200" cap="none" spc="0" normalizeH="0" baseline="0" noProof="0" dirty="0">
                        <a:ln>
                          <a:noFill/>
                        </a:ln>
                        <a:solidFill>
                          <a:srgbClr val="575757"/>
                        </a:solidFill>
                        <a:effectLst/>
                        <a:uLnTx/>
                        <a:uFillTx/>
                        <a:latin typeface="+mn-lt"/>
                        <a:ea typeface="+mn-ea"/>
                        <a:cs typeface="Arial" charset="0"/>
                        <a:sym typeface="Trebuchet MS" panose="020B0603020202020204" pitchFamily="34" charset="0"/>
                      </a:endParaRPr>
                    </a:p>
                  </a:txBody>
                  <a:tcPr marL="0" marR="73152" marT="73152" marB="7315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2" name="Rectangle 31">
            <a:extLst>
              <a:ext uri="{FF2B5EF4-FFF2-40B4-BE49-F238E27FC236}">
                <a16:creationId xmlns:a16="http://schemas.microsoft.com/office/drawing/2014/main" id="{67F1BE01-774B-4275-9908-81F3FF345BB0}"/>
              </a:ext>
            </a:extLst>
          </p:cNvPr>
          <p:cNvSpPr/>
          <p:nvPr/>
        </p:nvSpPr>
        <p:spPr>
          <a:xfrm>
            <a:off x="0" y="5964638"/>
            <a:ext cx="12192000" cy="89336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3" name="Rectangle 32">
            <a:extLst>
              <a:ext uri="{FF2B5EF4-FFF2-40B4-BE49-F238E27FC236}">
                <a16:creationId xmlns:a16="http://schemas.microsoft.com/office/drawing/2014/main" id="{3681D39D-338E-4868-8034-55D4442F3161}"/>
              </a:ext>
            </a:extLst>
          </p:cNvPr>
          <p:cNvSpPr/>
          <p:nvPr/>
        </p:nvSpPr>
        <p:spPr>
          <a:xfrm>
            <a:off x="341646" y="5980209"/>
            <a:ext cx="11604548" cy="8777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mparing 2021 against the 2020 annual average, all areas have improved (except the Service Center – </a:t>
            </a:r>
          </a:p>
          <a:p>
            <a:pPr algn="ctr"/>
            <a:r>
              <a:rPr lang="en-US" dirty="0">
                <a:solidFill>
                  <a:srgbClr val="575757"/>
                </a:solidFill>
              </a:rPr>
              <a:t>Phone, which trended flat). Most significantly, chat has improved +4% to 79% E-SAT, &amp; IT Connect </a:t>
            </a:r>
          </a:p>
          <a:p>
            <a:pPr algn="ctr"/>
            <a:r>
              <a:rPr lang="en-US" dirty="0">
                <a:solidFill>
                  <a:srgbClr val="575757"/>
                </a:solidFill>
              </a:rPr>
              <a:t>moves from a 'Good' to 'Very Good' grade.</a:t>
            </a:r>
            <a:endParaRPr lang="en-US" dirty="0">
              <a:solidFill>
                <a:schemeClr val="tx1"/>
              </a:solidFill>
            </a:endParaRPr>
          </a:p>
        </p:txBody>
      </p:sp>
      <p:grpSp>
        <p:nvGrpSpPr>
          <p:cNvPr id="20" name="Group 19">
            <a:extLst>
              <a:ext uri="{FF2B5EF4-FFF2-40B4-BE49-F238E27FC236}">
                <a16:creationId xmlns:a16="http://schemas.microsoft.com/office/drawing/2014/main" id="{5F4F3F17-049B-4577-B6CD-50B32E2A4FCF}"/>
              </a:ext>
            </a:extLst>
          </p:cNvPr>
          <p:cNvGrpSpPr/>
          <p:nvPr/>
        </p:nvGrpSpPr>
        <p:grpSpPr>
          <a:xfrm>
            <a:off x="630000" y="5290328"/>
            <a:ext cx="6155997" cy="444350"/>
            <a:chOff x="753111" y="3331233"/>
            <a:chExt cx="6155997" cy="444350"/>
          </a:xfrm>
        </p:grpSpPr>
        <p:grpSp>
          <p:nvGrpSpPr>
            <p:cNvPr id="21" name="Group 20">
              <a:extLst>
                <a:ext uri="{FF2B5EF4-FFF2-40B4-BE49-F238E27FC236}">
                  <a16:creationId xmlns:a16="http://schemas.microsoft.com/office/drawing/2014/main" id="{F0B1B1A4-FF7F-439A-9786-29349191E9EE}"/>
                </a:ext>
              </a:extLst>
            </p:cNvPr>
            <p:cNvGrpSpPr/>
            <p:nvPr/>
          </p:nvGrpSpPr>
          <p:grpSpPr>
            <a:xfrm>
              <a:off x="753111" y="3331233"/>
              <a:ext cx="6155997" cy="220957"/>
              <a:chOff x="753111" y="3331233"/>
              <a:chExt cx="6155997" cy="220957"/>
            </a:xfrm>
          </p:grpSpPr>
          <p:sp>
            <p:nvSpPr>
              <p:cNvPr id="30" name="Rectangle 29">
                <a:extLst>
                  <a:ext uri="{FF2B5EF4-FFF2-40B4-BE49-F238E27FC236}">
                    <a16:creationId xmlns:a16="http://schemas.microsoft.com/office/drawing/2014/main" id="{859DBDE8-B9A9-437B-A0D1-3249D67C7B47}"/>
                  </a:ext>
                </a:extLst>
              </p:cNvPr>
              <p:cNvSpPr/>
              <p:nvPr/>
            </p:nvSpPr>
            <p:spPr>
              <a:xfrm>
                <a:off x="753111" y="3338731"/>
                <a:ext cx="979344" cy="213459"/>
              </a:xfrm>
              <a:prstGeom prst="rect">
                <a:avLst/>
              </a:prstGeom>
              <a:solidFill>
                <a:srgbClr val="9A9A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Unacceptable</a:t>
                </a:r>
              </a:p>
            </p:txBody>
          </p:sp>
          <p:sp>
            <p:nvSpPr>
              <p:cNvPr id="31" name="Rectangle 30">
                <a:extLst>
                  <a:ext uri="{FF2B5EF4-FFF2-40B4-BE49-F238E27FC236}">
                    <a16:creationId xmlns:a16="http://schemas.microsoft.com/office/drawing/2014/main" id="{8A5050E0-1874-4FA2-9FAD-D3129069AE40}"/>
                  </a:ext>
                </a:extLst>
              </p:cNvPr>
              <p:cNvSpPr/>
              <p:nvPr/>
            </p:nvSpPr>
            <p:spPr>
              <a:xfrm>
                <a:off x="5929764" y="3337757"/>
                <a:ext cx="979344" cy="213459"/>
              </a:xfrm>
              <a:prstGeom prst="rect">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Excellent</a:t>
                </a:r>
              </a:p>
            </p:txBody>
          </p:sp>
          <p:sp>
            <p:nvSpPr>
              <p:cNvPr id="34" name="Rectangle 33">
                <a:extLst>
                  <a:ext uri="{FF2B5EF4-FFF2-40B4-BE49-F238E27FC236}">
                    <a16:creationId xmlns:a16="http://schemas.microsoft.com/office/drawing/2014/main" id="{16A63E67-1294-4641-873A-A27ED9FBD3C6}"/>
                  </a:ext>
                </a:extLst>
              </p:cNvPr>
              <p:cNvSpPr/>
              <p:nvPr/>
            </p:nvSpPr>
            <p:spPr>
              <a:xfrm>
                <a:off x="4890101" y="3337758"/>
                <a:ext cx="979344" cy="213459"/>
              </a:xfrm>
              <a:prstGeom prst="rect">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Very Good</a:t>
                </a:r>
              </a:p>
            </p:txBody>
          </p:sp>
          <p:sp>
            <p:nvSpPr>
              <p:cNvPr id="38" name="Rectangle 37">
                <a:extLst>
                  <a:ext uri="{FF2B5EF4-FFF2-40B4-BE49-F238E27FC236}">
                    <a16:creationId xmlns:a16="http://schemas.microsoft.com/office/drawing/2014/main" id="{7AEAB5EB-0F65-4A5C-AECF-007ED20F3CDB}"/>
                  </a:ext>
                </a:extLst>
              </p:cNvPr>
              <p:cNvSpPr/>
              <p:nvPr/>
            </p:nvSpPr>
            <p:spPr>
              <a:xfrm>
                <a:off x="2822117" y="3331234"/>
                <a:ext cx="979344" cy="213459"/>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verage</a:t>
                </a:r>
              </a:p>
            </p:txBody>
          </p:sp>
          <p:sp>
            <p:nvSpPr>
              <p:cNvPr id="39" name="Rectangle 38">
                <a:extLst>
                  <a:ext uri="{FF2B5EF4-FFF2-40B4-BE49-F238E27FC236}">
                    <a16:creationId xmlns:a16="http://schemas.microsoft.com/office/drawing/2014/main" id="{87470A6A-6295-4EED-AC16-E7FBD924F345}"/>
                  </a:ext>
                </a:extLst>
              </p:cNvPr>
              <p:cNvSpPr/>
              <p:nvPr/>
            </p:nvSpPr>
            <p:spPr>
              <a:xfrm>
                <a:off x="1793796" y="3331235"/>
                <a:ext cx="979344" cy="213459"/>
              </a:xfrm>
              <a:prstGeom prst="rect">
                <a:avLst/>
              </a:prstGeom>
              <a:solidFill>
                <a:srgbClr val="EBC5D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Poor</a:t>
                </a:r>
              </a:p>
            </p:txBody>
          </p:sp>
          <p:sp>
            <p:nvSpPr>
              <p:cNvPr id="40" name="Rectangle 39">
                <a:extLst>
                  <a:ext uri="{FF2B5EF4-FFF2-40B4-BE49-F238E27FC236}">
                    <a16:creationId xmlns:a16="http://schemas.microsoft.com/office/drawing/2014/main" id="{6F2F0979-D552-44F1-B258-B71F7CA6CDCE}"/>
                  </a:ext>
                </a:extLst>
              </p:cNvPr>
              <p:cNvSpPr/>
              <p:nvPr/>
            </p:nvSpPr>
            <p:spPr>
              <a:xfrm>
                <a:off x="3850438" y="3331233"/>
                <a:ext cx="979344" cy="213459"/>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Good</a:t>
                </a:r>
              </a:p>
            </p:txBody>
          </p:sp>
        </p:grpSp>
        <p:sp>
          <p:nvSpPr>
            <p:cNvPr id="23" name="Rectangle 22">
              <a:extLst>
                <a:ext uri="{FF2B5EF4-FFF2-40B4-BE49-F238E27FC236}">
                  <a16:creationId xmlns:a16="http://schemas.microsoft.com/office/drawing/2014/main" id="{BA5B974B-F03E-4E5D-AA15-CBDDE488DBD1}"/>
                </a:ext>
              </a:extLst>
            </p:cNvPr>
            <p:cNvSpPr/>
            <p:nvPr/>
          </p:nvSpPr>
          <p:spPr>
            <a:xfrm>
              <a:off x="753111" y="3562124"/>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0 - 49</a:t>
              </a:r>
            </a:p>
          </p:txBody>
        </p:sp>
        <p:sp>
          <p:nvSpPr>
            <p:cNvPr id="24" name="Rectangle 23">
              <a:extLst>
                <a:ext uri="{FF2B5EF4-FFF2-40B4-BE49-F238E27FC236}">
                  <a16:creationId xmlns:a16="http://schemas.microsoft.com/office/drawing/2014/main" id="{7E37FB6F-8C1B-43BA-8269-8ABD0606876B}"/>
                </a:ext>
              </a:extLst>
            </p:cNvPr>
            <p:cNvSpPr/>
            <p:nvPr/>
          </p:nvSpPr>
          <p:spPr>
            <a:xfrm>
              <a:off x="5929764" y="3561150"/>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90 - 100</a:t>
              </a:r>
            </a:p>
          </p:txBody>
        </p:sp>
        <p:sp>
          <p:nvSpPr>
            <p:cNvPr id="25" name="Rectangle 24">
              <a:extLst>
                <a:ext uri="{FF2B5EF4-FFF2-40B4-BE49-F238E27FC236}">
                  <a16:creationId xmlns:a16="http://schemas.microsoft.com/office/drawing/2014/main" id="{AB14F330-6B87-4FC6-905E-3DECB9B26E81}"/>
                </a:ext>
              </a:extLst>
            </p:cNvPr>
            <p:cNvSpPr/>
            <p:nvPr/>
          </p:nvSpPr>
          <p:spPr>
            <a:xfrm>
              <a:off x="4890101" y="3561151"/>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80 - 89</a:t>
              </a:r>
            </a:p>
          </p:txBody>
        </p:sp>
        <p:sp>
          <p:nvSpPr>
            <p:cNvPr id="26" name="Rectangle 25">
              <a:extLst>
                <a:ext uri="{FF2B5EF4-FFF2-40B4-BE49-F238E27FC236}">
                  <a16:creationId xmlns:a16="http://schemas.microsoft.com/office/drawing/2014/main" id="{F11CE1E5-658B-47F8-AC47-80BABBA793C1}"/>
                </a:ext>
              </a:extLst>
            </p:cNvPr>
            <p:cNvSpPr/>
            <p:nvPr/>
          </p:nvSpPr>
          <p:spPr>
            <a:xfrm>
              <a:off x="2822117" y="3554627"/>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60 - 69</a:t>
              </a:r>
            </a:p>
          </p:txBody>
        </p:sp>
        <p:sp>
          <p:nvSpPr>
            <p:cNvPr id="27" name="Rectangle 26">
              <a:extLst>
                <a:ext uri="{FF2B5EF4-FFF2-40B4-BE49-F238E27FC236}">
                  <a16:creationId xmlns:a16="http://schemas.microsoft.com/office/drawing/2014/main" id="{67454903-14E0-48C8-AFBC-ED42FA1E56D1}"/>
                </a:ext>
              </a:extLst>
            </p:cNvPr>
            <p:cNvSpPr/>
            <p:nvPr/>
          </p:nvSpPr>
          <p:spPr>
            <a:xfrm>
              <a:off x="1793796" y="3554628"/>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50 - 59</a:t>
              </a:r>
            </a:p>
          </p:txBody>
        </p:sp>
        <p:sp>
          <p:nvSpPr>
            <p:cNvPr id="28" name="Rectangle 27">
              <a:extLst>
                <a:ext uri="{FF2B5EF4-FFF2-40B4-BE49-F238E27FC236}">
                  <a16:creationId xmlns:a16="http://schemas.microsoft.com/office/drawing/2014/main" id="{AABC8569-CDDA-4233-AE71-1DA09D4A138A}"/>
                </a:ext>
              </a:extLst>
            </p:cNvPr>
            <p:cNvSpPr/>
            <p:nvPr/>
          </p:nvSpPr>
          <p:spPr>
            <a:xfrm>
              <a:off x="3850438" y="3554626"/>
              <a:ext cx="979344" cy="21345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70 - 79</a:t>
              </a:r>
            </a:p>
          </p:txBody>
        </p:sp>
      </p:grpSp>
      <p:grpSp>
        <p:nvGrpSpPr>
          <p:cNvPr id="29" name="Group 28">
            <a:extLst>
              <a:ext uri="{FF2B5EF4-FFF2-40B4-BE49-F238E27FC236}">
                <a16:creationId xmlns:a16="http://schemas.microsoft.com/office/drawing/2014/main" id="{DA7225C8-1D3B-4A49-86D5-F953859D2FDA}"/>
              </a:ext>
            </a:extLst>
          </p:cNvPr>
          <p:cNvGrpSpPr>
            <a:grpSpLocks noChangeAspect="1"/>
          </p:cNvGrpSpPr>
          <p:nvPr/>
        </p:nvGrpSpPr>
        <p:grpSpPr>
          <a:xfrm>
            <a:off x="514429" y="864696"/>
            <a:ext cx="457200" cy="457200"/>
            <a:chOff x="5867400" y="3200400"/>
            <a:chExt cx="457200" cy="457200"/>
          </a:xfrm>
        </p:grpSpPr>
        <p:sp>
          <p:nvSpPr>
            <p:cNvPr id="35" name="AutoShape 43">
              <a:extLst>
                <a:ext uri="{FF2B5EF4-FFF2-40B4-BE49-F238E27FC236}">
                  <a16:creationId xmlns:a16="http://schemas.microsoft.com/office/drawing/2014/main" id="{CBE4A73D-6A06-43D7-AA3B-3752FE09EA7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7">
              <a:extLst>
                <a:ext uri="{FF2B5EF4-FFF2-40B4-BE49-F238E27FC236}">
                  <a16:creationId xmlns:a16="http://schemas.microsoft.com/office/drawing/2014/main" id="{FA402DE9-F580-46F9-A18C-9DFD5736132F}"/>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1" name="Oval 20">
            <a:extLst>
              <a:ext uri="{FF2B5EF4-FFF2-40B4-BE49-F238E27FC236}">
                <a16:creationId xmlns:a16="http://schemas.microsoft.com/office/drawing/2014/main" id="{21CA8711-CA50-4A9C-A11B-6BD0213AF695}"/>
              </a:ext>
            </a:extLst>
          </p:cNvPr>
          <p:cNvSpPr>
            <a:spLocks noChangeAspect="1" noChangeArrowheads="1"/>
          </p:cNvSpPr>
          <p:nvPr/>
        </p:nvSpPr>
        <p:spPr bwMode="auto">
          <a:xfrm>
            <a:off x="10746227" y="3099496"/>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2" name="Oval 20">
            <a:extLst>
              <a:ext uri="{FF2B5EF4-FFF2-40B4-BE49-F238E27FC236}">
                <a16:creationId xmlns:a16="http://schemas.microsoft.com/office/drawing/2014/main" id="{09D85DF8-C990-4A98-9C78-AA29493258CA}"/>
              </a:ext>
            </a:extLst>
          </p:cNvPr>
          <p:cNvSpPr>
            <a:spLocks noChangeAspect="1" noChangeArrowheads="1"/>
          </p:cNvSpPr>
          <p:nvPr/>
        </p:nvSpPr>
        <p:spPr bwMode="auto">
          <a:xfrm>
            <a:off x="10746227" y="3513780"/>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9" name="Oval 20">
            <a:extLst>
              <a:ext uri="{FF2B5EF4-FFF2-40B4-BE49-F238E27FC236}">
                <a16:creationId xmlns:a16="http://schemas.microsoft.com/office/drawing/2014/main" id="{89428CD8-FC95-44F2-8A57-13B47C86E27E}"/>
              </a:ext>
            </a:extLst>
          </p:cNvPr>
          <p:cNvSpPr>
            <a:spLocks noChangeAspect="1" noChangeArrowheads="1"/>
          </p:cNvSpPr>
          <p:nvPr/>
        </p:nvSpPr>
        <p:spPr bwMode="auto">
          <a:xfrm>
            <a:off x="10746227" y="4343959"/>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1" name="Oval 20">
            <a:extLst>
              <a:ext uri="{FF2B5EF4-FFF2-40B4-BE49-F238E27FC236}">
                <a16:creationId xmlns:a16="http://schemas.microsoft.com/office/drawing/2014/main" id="{A458D5A5-1E1C-4E02-85FD-A5E26154EF58}"/>
              </a:ext>
            </a:extLst>
          </p:cNvPr>
          <p:cNvSpPr>
            <a:spLocks noChangeAspect="1" noChangeArrowheads="1"/>
          </p:cNvSpPr>
          <p:nvPr/>
        </p:nvSpPr>
        <p:spPr bwMode="auto">
          <a:xfrm>
            <a:off x="10740094" y="4733796"/>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56" name="Rectangle 55">
            <a:extLst>
              <a:ext uri="{FF2B5EF4-FFF2-40B4-BE49-F238E27FC236}">
                <a16:creationId xmlns:a16="http://schemas.microsoft.com/office/drawing/2014/main" id="{23958205-D215-481A-BC1E-37EACD12F7A8}"/>
              </a:ext>
            </a:extLst>
          </p:cNvPr>
          <p:cNvSpPr/>
          <p:nvPr/>
        </p:nvSpPr>
        <p:spPr>
          <a:xfrm flipH="1">
            <a:off x="7826002" y="1602593"/>
            <a:ext cx="1893187" cy="3411479"/>
          </a:xfrm>
          <a:prstGeom prst="rect">
            <a:avLst/>
          </a:pr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1" name="Rectangle 60">
            <a:extLst>
              <a:ext uri="{FF2B5EF4-FFF2-40B4-BE49-F238E27FC236}">
                <a16:creationId xmlns:a16="http://schemas.microsoft.com/office/drawing/2014/main" id="{9AB89779-5A6A-41FD-83DA-30F0BC3A21D1}"/>
              </a:ext>
            </a:extLst>
          </p:cNvPr>
          <p:cNvSpPr/>
          <p:nvPr/>
        </p:nvSpPr>
        <p:spPr>
          <a:xfrm>
            <a:off x="6746845" y="5105718"/>
            <a:ext cx="1158949" cy="2556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Chart ordered by this column</a:t>
            </a:r>
          </a:p>
        </p:txBody>
      </p:sp>
      <p:grpSp>
        <p:nvGrpSpPr>
          <p:cNvPr id="58" name="Group 57">
            <a:extLst>
              <a:ext uri="{FF2B5EF4-FFF2-40B4-BE49-F238E27FC236}">
                <a16:creationId xmlns:a16="http://schemas.microsoft.com/office/drawing/2014/main" id="{064BE358-EF21-4404-96FE-F50A03782DEB}"/>
              </a:ext>
            </a:extLst>
          </p:cNvPr>
          <p:cNvGrpSpPr/>
          <p:nvPr/>
        </p:nvGrpSpPr>
        <p:grpSpPr>
          <a:xfrm>
            <a:off x="9719191" y="5248535"/>
            <a:ext cx="2116895" cy="591304"/>
            <a:chOff x="9751525" y="5356845"/>
            <a:chExt cx="2116895" cy="591304"/>
          </a:xfrm>
        </p:grpSpPr>
        <p:sp>
          <p:nvSpPr>
            <p:cNvPr id="59" name="Oval 20">
              <a:extLst>
                <a:ext uri="{FF2B5EF4-FFF2-40B4-BE49-F238E27FC236}">
                  <a16:creationId xmlns:a16="http://schemas.microsoft.com/office/drawing/2014/main" id="{7282FC39-1001-4788-A2F9-5C3E84493FA2}"/>
                </a:ext>
              </a:extLst>
            </p:cNvPr>
            <p:cNvSpPr>
              <a:spLocks noChangeAspect="1" noChangeArrowheads="1"/>
            </p:cNvSpPr>
            <p:nvPr/>
          </p:nvSpPr>
          <p:spPr bwMode="auto">
            <a:xfrm>
              <a:off x="10031480" y="5356845"/>
              <a:ext cx="176828" cy="176828"/>
            </a:xfrm>
            <a:prstGeom prst="ellipse">
              <a:avLst/>
            </a:prstGeom>
            <a:solidFill>
              <a:srgbClr val="E71C57"/>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0" name="Rectangle 59">
              <a:extLst>
                <a:ext uri="{FF2B5EF4-FFF2-40B4-BE49-F238E27FC236}">
                  <a16:creationId xmlns:a16="http://schemas.microsoft.com/office/drawing/2014/main" id="{0CDF488B-49E2-4B19-97D3-057E851B1AD4}"/>
                </a:ext>
              </a:extLst>
            </p:cNvPr>
            <p:cNvSpPr/>
            <p:nvPr/>
          </p:nvSpPr>
          <p:spPr>
            <a:xfrm>
              <a:off x="9751525" y="5598870"/>
              <a:ext cx="736737" cy="3351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0%+ </a:t>
              </a:r>
            </a:p>
            <a:p>
              <a:pPr algn="ctr"/>
              <a:r>
                <a:rPr lang="en-US" sz="900" dirty="0">
                  <a:solidFill>
                    <a:srgbClr val="575757"/>
                  </a:solidFill>
                </a:rPr>
                <a:t>Off Target</a:t>
              </a:r>
            </a:p>
          </p:txBody>
        </p:sp>
        <p:sp>
          <p:nvSpPr>
            <p:cNvPr id="62" name="Oval 20">
              <a:extLst>
                <a:ext uri="{FF2B5EF4-FFF2-40B4-BE49-F238E27FC236}">
                  <a16:creationId xmlns:a16="http://schemas.microsoft.com/office/drawing/2014/main" id="{FC762F13-9D71-4781-BE40-6AAC4A40AD7F}"/>
                </a:ext>
              </a:extLst>
            </p:cNvPr>
            <p:cNvSpPr>
              <a:spLocks noChangeAspect="1" noChangeArrowheads="1"/>
            </p:cNvSpPr>
            <p:nvPr/>
          </p:nvSpPr>
          <p:spPr bwMode="auto">
            <a:xfrm>
              <a:off x="10705013" y="5359967"/>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3" name="Oval 20">
              <a:extLst>
                <a:ext uri="{FF2B5EF4-FFF2-40B4-BE49-F238E27FC236}">
                  <a16:creationId xmlns:a16="http://schemas.microsoft.com/office/drawing/2014/main" id="{0F0168DE-401E-4342-9032-28FBB32BF561}"/>
                </a:ext>
              </a:extLst>
            </p:cNvPr>
            <p:cNvSpPr>
              <a:spLocks noChangeAspect="1" noChangeArrowheads="1"/>
            </p:cNvSpPr>
            <p:nvPr/>
          </p:nvSpPr>
          <p:spPr bwMode="auto">
            <a:xfrm>
              <a:off x="11378547" y="5359967"/>
              <a:ext cx="176828" cy="176828"/>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64" name="Rectangle 63">
              <a:extLst>
                <a:ext uri="{FF2B5EF4-FFF2-40B4-BE49-F238E27FC236}">
                  <a16:creationId xmlns:a16="http://schemas.microsoft.com/office/drawing/2014/main" id="{76A6539D-F657-41AC-A002-B21D63B93E44}"/>
                </a:ext>
              </a:extLst>
            </p:cNvPr>
            <p:cNvSpPr/>
            <p:nvPr/>
          </p:nvSpPr>
          <p:spPr>
            <a:xfrm>
              <a:off x="10422820" y="5595748"/>
              <a:ext cx="736736"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1-9%</a:t>
              </a:r>
            </a:p>
            <a:p>
              <a:pPr algn="ctr"/>
              <a:r>
                <a:rPr lang="en-US" sz="900" dirty="0">
                  <a:solidFill>
                    <a:srgbClr val="575757"/>
                  </a:solidFill>
                </a:rPr>
                <a:t>Off Target</a:t>
              </a:r>
            </a:p>
          </p:txBody>
        </p:sp>
        <p:sp>
          <p:nvSpPr>
            <p:cNvPr id="65" name="Rectangle 64">
              <a:extLst>
                <a:ext uri="{FF2B5EF4-FFF2-40B4-BE49-F238E27FC236}">
                  <a16:creationId xmlns:a16="http://schemas.microsoft.com/office/drawing/2014/main" id="{678F114D-4FC0-4C40-9DD8-D1E292BD5E52}"/>
                </a:ext>
              </a:extLst>
            </p:cNvPr>
            <p:cNvSpPr/>
            <p:nvPr/>
          </p:nvSpPr>
          <p:spPr>
            <a:xfrm>
              <a:off x="11065501" y="5591106"/>
              <a:ext cx="802919" cy="3524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75757"/>
                  </a:solidFill>
                </a:rPr>
                <a:t>On / Above Target</a:t>
              </a:r>
            </a:p>
          </p:txBody>
        </p:sp>
      </p:grpSp>
      <p:sp>
        <p:nvSpPr>
          <p:cNvPr id="52" name="Oval 20">
            <a:extLst>
              <a:ext uri="{FF2B5EF4-FFF2-40B4-BE49-F238E27FC236}">
                <a16:creationId xmlns:a16="http://schemas.microsoft.com/office/drawing/2014/main" id="{8DB592C9-FE53-4546-A3BA-386CD9A277DD}"/>
              </a:ext>
            </a:extLst>
          </p:cNvPr>
          <p:cNvSpPr>
            <a:spLocks noChangeAspect="1" noChangeArrowheads="1"/>
          </p:cNvSpPr>
          <p:nvPr/>
        </p:nvSpPr>
        <p:spPr bwMode="auto">
          <a:xfrm>
            <a:off x="10746227" y="3922186"/>
            <a:ext cx="176828" cy="176828"/>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endParaRPr lang="en-US" sz="1200" dirty="0">
              <a:solidFill>
                <a:schemeClr val="bg1"/>
              </a:solidFill>
            </a:endParaRPr>
          </a:p>
        </p:txBody>
      </p:sp>
      <p:sp>
        <p:nvSpPr>
          <p:cNvPr id="48" name="Left Bracket 47">
            <a:extLst>
              <a:ext uri="{FF2B5EF4-FFF2-40B4-BE49-F238E27FC236}">
                <a16:creationId xmlns:a16="http://schemas.microsoft.com/office/drawing/2014/main" id="{21A79CE8-46A7-4AFA-BCBB-AA627A79FEC9}"/>
              </a:ext>
            </a:extLst>
          </p:cNvPr>
          <p:cNvSpPr/>
          <p:nvPr/>
        </p:nvSpPr>
        <p:spPr>
          <a:xfrm rot="5400000">
            <a:off x="8461116" y="36887"/>
            <a:ext cx="163131" cy="2971801"/>
          </a:xfrm>
          <a:prstGeom prst="leftBracket">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1917716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7037&quot;&gt;&lt;version val=&quot;30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1.62900000000000000355E+00&quot;&gt;&lt;m_msothmcolidx val=&quot;0&quot;/&gt;&lt;m_rgb r=&quot;C9&quot; g=&quot;6F&quot; b=&quot;73&quot;/&gt;&lt;/elem&gt;&lt;elem m_fUsage=&quot;1.00000000000000000000E+00&quot;&gt;&lt;m_msothmcolidx val=&quot;0&quot;/&gt;&lt;m_rgb r=&quot;00&quot; g=&quot;00&quot; b=&quot;00&quot;/&gt;&lt;/elem&gt;&lt;elem m_fUsage=&quot;8.10000000000000053291E-01&quot;&gt;&lt;m_msothmcolidx val=&quot;0&quot;/&gt;&lt;m_rgb r=&quot;EB&quot; g=&quot;C5&quot; b=&quot;D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RUir4N8RkS8SfCGRyCcp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dHFC7NGPQBiOrnGwx8D6d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IUqA8XQnRcCI_ljfoSAOr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sj9NF6TwTESm7o7EBGj8A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Biy_jhYX244MtQIFKyAro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C04_0ychHcu6zHRTQI_iD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i6IRyCps8SP4gG5NYcxA4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LfhBkIoRqGNYLMhNjs4br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JJ2VHAD1ocpIAXWy9i8lE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i84XgE7cz3.TPyWAfOfOLQ"/>
</p:tagLst>
</file>

<file path=ppt/tags/tag100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a0imXDw.M7t6BiODn_iH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01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RHzdFJ1MG0YYjqx6sWiZi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soF.5HESUWpDDxE78oRe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LPP839eQ.qMvGR87sBZg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03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tjGcHq_L92aKY.0xQ_8k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x9s5n8PTamFor2HiTOrr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7GtIKRxS0SOWmM1VMAcd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eBijettisYz_OtTn3r_SQ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05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qK00qR6kHHjLCg_hgSoCI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teMGmIGTRWtbxHSD7qyWQ"/>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DK4XybhYRRyRIF2xRQQFx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ScGMrKNlSjWYh8Uu..fzz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cgfSQNJYQ.q4Gk65BCLiv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eNuvmy2pQce03nbfJ_H8y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7PvXkMRwTyOZ_K1bffzPP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A8exG1ZzrIc_KeBnFeLJB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CCIVTuaSTv2SFA_0hPfED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wHU0hFkZQ3.ISZ2c0pue6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Y2X5pdfXQP60B8NioCHCmg"/>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kKtizxjtQ4Sn6OaA1xrfO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8XPBGXMRRMSCMsfM8BweBg"/>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Agm1_yC3QhGayR78azQsJ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JHXBdBSJQKW6ogDIvbERt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cmPnY2iGSi.60lsqZ7JpP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B3.vOjxITn.WD9yvqyT2T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MltmW7opQiW4mYhO1t7Ca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FJyip7SDRAuqW2oigWIkj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NnmM2ML_Rk2OeEb9EqtNp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cb9pNWBPRm2lQaol9opri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mHiCmUOJSgqtcWPpjJST6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FSnz9dIETdW90YsQ.4ib7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Ww9hxexS9SITvFRNm0uK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oGQlDjMcTD.aMHmJlzvY2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8ygc.wkdJJbF7y8FND9GI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pfSDocMBSkOQRQAESzJLF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SOO1z62zSSWFX2QN1rANP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B3uPzczwQ0Kfp7gEl9JOJ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cfAI1IyQRgiXyMbE7w2M1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e1uab5XZSaiFgqr40_VOk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0DO9H9l6aah0TkYadyiew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FTibqne0RB6KwnlpC3gp2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VHOzuQuARsaKJchvNWxAA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w5ccJo17YhydAozs1YUu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p2gROGrXTiC.DWoHzfPCc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ePUuvJfoROixyIPsQIIIU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EPbFEPm5QxikGT.lBn_FV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wKHs5veAdCf1ZW7UZDU_u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byX0FECoWC0cALF3v7WZ9g"/>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2RAuwP0mU8fXpNQtiLynN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tkfSZhXaXjW8AO0k2ZvxN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te0tkq5GvyxuGU7KwAKJr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8tw.Ucp70BbhBoQfsR7R2g"/>
</p:tagLst>
</file>

<file path=ppt/tags/tag109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cEUt_3wl1aomhN0NgeBE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0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3nGwTK.iiUB7sUEpoQE1v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pE8iRMH8sXnnwgNX5luaW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I6lCz62ZRMGDi.0Ml0Syv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1e8iuoR.1jG4IxXp1M_ie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f8_HPtW2f6wPmbdPL5D5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WENVj_SaMWyp1DFmOoAD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3nbG243I2qidjJNYMvWl9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IiFgCM_FnycadoxMX9Sv7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xa0hGqm15gM6T16Y0SJph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oSxbXFhsCZUeHPyYoxm.r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yeAicpjs4K0GnsXNaSDan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AIkT3YW0gCtU1TTFQrVdS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7.juptxV9F6GtGytm2ZZ8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gOdF0zXprF0PfSrH.ztoOg"/>
</p:tagLst>
</file>

<file path=ppt/tags/tag111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vnLbRuFQVmfwFNEXhqB.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8_3gHocIxPV8Zl.LhwOeb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783zEyvKE1qrrMknqnRzs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YSm1PQsETqSfSeWogh5ou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EmdJJm0dfK6QBCey3ylKUg"/>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8DioIWe5Qdi7JqAPBSYel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C8A8svtQTwGGLV6YDEXbcg"/>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ldEklTwIdBEoJy3DaiU46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FhnDvI8fQqKQ9TGyrSlNw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oZc87ZP4WuxCOiV7dsHP_Q"/>
</p:tagLst>
</file>

<file path=ppt/tags/tag1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EK8S8v2DQb6EDPnrPTpu_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5fmF0cX.RQySHe5dqMw5_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1pAA0SdTRCa8XjWJZZ9fu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fO5oDzTTQQik8GjFc..FF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zO4lTpDmRq2IltDkkx6jO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SHiUM5PHQNySqgw4xms53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cS1A55taTfed0IFa1wI11Q"/>
</p:tagLst>
</file>

<file path=ppt/tags/tag114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1J3zdZDJFrQsEDVoSSuxR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TPfZw9H6t3OzsWnlaZ1uz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155.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vfVtRYiVKqw_RPq5bsQSEg"/>
</p:tagLst>
</file>

<file path=ppt/tags/tag115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44538aAirQbQIg5gWLo.W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qQTwonUaFmZjM3EjsQ7tY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YTWwliJ_TBOB_ciSm0hrk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fWyPfKET7qOmNOZwRoco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177.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GiJk0T3QR6_CbqyHYPms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EFJCQuMrxLy5EFoHWNeaa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_kUSYrV9B7juGf4_VXKK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v00VToE7ue6rfYHSJ414u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YGeI_VmHhZgn2Roq7CAvd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mtJ6tYj_j4.peSHdiENwK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ao7JOA388X_jvmitCqPBLQ"/>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ArjJF8kR0qdaUVL_R2SR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gz7xNXmWxSKVfgtgUo.gv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TjHx6gdH2KAkDrAgNjnll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u4R1nhP9hjM3HI61pNBnr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dBRdE0xQAipCIJOtt4gAw"/>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121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EEz4.zUqqYwsanLlyRXeT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iyBT2dzHt.2LOo9vezpKw"/>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AOua25PPZyGQDZYvwNqarg"/>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Km.Pn6bVgrMIgvGPlccHb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q8NGMhzPqxtTVx7BsJy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ba8ZmFkaWP87pT2FexFYq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XH4APvqaiQVgVmWggGfbS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AVIBO0oSLbSbcGuOzEgJj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VJGkk__tNvPcvK6NWclYG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abxtG4Q_e4D.LE9ejZfX_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vUQy0ZrxadQI86uWtFUJK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xczyEx3I_rXsEXhtMrb_zg"/>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uNwE5hoPhWzIeWQOVphXl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PIowIF9IZheH5T16Kh3.bA"/>
</p:tagLst>
</file>

<file path=ppt/tags/tag122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veSRbFTSC6eEHTThLA1Fw"/>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jJR9WyIVevOvPmkn55QLTg"/>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kLVuxayRam_UcU.nJmwC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4PG7hn3Lz5TwepkqMdjdTw"/>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ryWx9YGSEp8E6kXG9A1.g"/>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25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pH44ckDuS8OYFDUXleCU6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1U8s6MDVSpyhM7kF6cSYHA"/>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W3iMiwfSxaZqUyX3VJPE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27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1AaoridnYPl1sSXV4U4Bf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_3C_qMg5d10Yy2mKKbm6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Ji2Sc3kBTMaYTlG_ccDvA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VuLi2o9lf3G.lvmssJcI6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XTHtuopT56CY5E2_pCjn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5xk740kcxZLjqMV9TVMQA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n.Czqa.FWGHJw_hajx..dg"/>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L7vl2IB30KyX57s1yZ2rQ"/>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131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qpxbOLUrHNHfCM1rmXklk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QjLM2w8tTVQKPppe9wrGw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kYT3QdTA8Awqg1kpkNzaw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i8xqoHPf8UDWAUZM10ltq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LE5XOLAe4.UkZ7hoEp2k9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QS1JBjLH3k6P3EhlvzNja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VGvlx1xhbUEhQZf.tEdbRg"/>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1J1PBqDWTEiJ0ppixQDnj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KiIH1myBTgudbNdbw70H8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TZjrmW95TXewNNz_siGr0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BXBeW7d9TbC_ls88SyoQe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nhWMFx4FTVed0uMzmXnJF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oPASOV0NRv.0iV5l26S.5Q"/>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X9HbHGWcTkOhUX1h2WiErA"/>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QOQR_.N2Si.eKsAPeBVYz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J.WiQl0mRd2MeGVu4OE4L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eMbsU62kixy2OKViShMA"/>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6y.6zZ.gQFOobYM_2GcWIQ"/>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pgD12VkzZwLRPtbLUheTOA"/>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WasqcM0w8U.kwBV3Uz6Ev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134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E65YqlWYpvnZp4Xvt3AOa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gxqXbjm6ESNi9GpmqSeR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36.xml><?xml version="1.0" encoding="utf-8"?>
<p:tagLst xmlns:a="http://schemas.openxmlformats.org/drawingml/2006/main" xmlns:r="http://schemas.openxmlformats.org/officeDocument/2006/relationships" xmlns:p="http://schemas.openxmlformats.org/presentationml/2006/main">
  <p:tag name="BCG_MODE" val="Presentation"/>
  <p:tag name="BCG_DESIGN" val="Green highlight (P)"/>
  <p:tag name="EE4P_LAYOUT_ID" val="K"/>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36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4tSOJ.tWVcWWSQW5YlvGh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RALTrA8mSsWYv7amwFwNRw"/>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FP8oq19NyHk1AsYQ8widV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38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0bgzfJdkAJDQaIpxDD1X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xuXVZPvL9rLO5Et.wEnp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eMhFbNq29o5Bty2tx3GNw"/>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40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n3e6j3xwRk_JA_D2_YV1g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__m9uXJRj2Ivyqu9I7_r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1fT6ka86gMW4Dy2CwLVO8g"/>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HARSnGS2RD2PD9R41jt2ww"/>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7cLMio3QOiW31Cy2R7Bug"/>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pgD12VkzZwLRPtbLUheTOA"/>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MubpwfGdqpS5J1B03x4O2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d3Gm1JlkZ_ijQUVV85GeI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zjd6Henm8FG37FA1xbIxB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_QLrCW3KvZTVD8uPjK96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144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3hc5.yZTRY97EV9sdMIKNw"/>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rDy9V_P.FJme99mqytP6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9U1H1PdqQyiKnrHFyspr.w"/>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46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scFy1zoL3HArbkzyuResg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1kHUciilTwKdyyfAPIwSGw"/>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Vn5ARUsQAK52aPDg7yyIg"/>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FzoV9RvgjvlI3Nm6hu_Se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48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1f6.ejy7TOGv0TepCFPHPw"/>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EaMsdA531swicRlqmZcEF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iDLdLceDImIiH3uEZhbuS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eFoANuYCbVx0nxrGK939Ig"/>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XkLJJ_Iu0wwhQGwHnLp3.w"/>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BuTOfVG0hVzqqO5NTMh3J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jwdiTGrUehnAc8q1KVJdhQ"/>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9QL_dVu_9AGmPPMT6ozdRw"/>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5C2k1LIvUMZBn.sPAO5r2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6A5hh_gxE4_K31Wt3FP57g"/>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NUDmp23Qy.KUIUv.UKlW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ErHBd.nMAGXXgGIbu9cQB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RjTEdLJumCnt_xHstOx1vA"/>
</p:tagLst>
</file>

<file path=ppt/tags/tag150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kE2OgTQ0IDi72FjXphysU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6do2RQzMqPPk0l8bjkz.z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lpjGXT9TnSl_aw2E3D6hQ"/>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zAVhmfMoSE2OM1rgbWAx3Q"/>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152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Pb6BDJI8RDyXOOxgL9E63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aQoHxMpDKYMCRIIMrHtk8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meP.StT9d.VAI.fxgnxSvA"/>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BY4jljGreDPIACi6IfY5Lw"/>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Cke5xKl6dLDyK9eFhz3O_Q"/>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LqyDkBFjvl1JRVCfwkFtl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tfNbUHTjF9Z0.P.N9d7vc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uLkhT2X5PtgrlrHC3YsoBQ"/>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Gb65OBB_2Qrn1.k0oh0HP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Z1UFIhwDj5jFLfjaZ1uxt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cPbYgO9Z4HSSwimE13i3O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O7MOvG.R17XvgJ6J4oA9g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Z.a2mO5xY5pbH1JWQfzdw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Ep8xxeQ_S4CGbymdWxvIwA"/>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K8Sam15fS7WokH0CIXTE8g"/>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aA9ceIz1QayGO6uK0Z6ug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KHUapwRzoXxhN1abXW34FQ"/>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LHripdEKS_2KRTe.TMl7Wg"/>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JegsWQL88U.eBHKY5kgU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OStL_1E0TGu4Zr1OcyEhsg"/>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yejQ3vivT_.Vv5NDGTf.a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aYiSlHLRHqCh7QzJVCK2i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oH64iap_AE9NHBV6WDgkk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IiqzJYE4O9vmEucRpZWYng"/>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EtU9n3ECBWQ9qjbzXhqih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lOCLA.rdFT0w7GSeAhFWm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bqAZHF5EWK6awYfvZ2r5E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8EQnv7MjCLfBhnrgCJDEw"/>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k6b_v4YagVtueoGamhjlOg"/>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aH7O0LNmmTFm4H0iO8XgD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lMycMC5y6AORrmyW1TUYxg"/>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SW5J_A3NR9dbX5iXcx3Jf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n92CC7wbg1XG2yXJrYlobA"/>
</p:tagLst>
</file>

<file path=ppt/tags/tag155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IwDGz.e81ho4mDvUFMLzGQ"/>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QcDvgyhLtNarVujbbpMfr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bokl5YUcvv5PsZpW0uqm1w"/>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ygW0kCDEaRyhzOEZPEKKPw"/>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QagLDNuz4FOA97lV81Kecg"/>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1pAA0SdTRCa8XjWJZZ9fuQ"/>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5fmF0cX.RQySHe5dqMw5_Q"/>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fO5oDzTTQQik8GjFc..FFw"/>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SHiUM5PHQNySqgw4xms53Q"/>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Eg_THnZc1ucGBmJlheiOA"/>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cS1A55taTfed0IFa1wI11Q"/>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zO4lTpDmRq2IltDkkx6jOQ"/>
</p:tagLst>
</file>

<file path=ppt/tags/tag157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LWLCmbDuR5dYvIUeI.36f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DR2mfMveRga5kF6Qo3SrLw"/>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plzqsGQDRxCQpf9_LHS9N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jzMY8Rf5FMTDWpDpPaXuDw"/>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rAnneVm8RVutxbCS6sFN.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CLe0SX37a4N4phs.Xhj9A"/>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7eMX1zEKs1cUA5LSSEyuXA"/>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9YGmAFkAsiLJKPyVzIZ9Uw"/>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L5I5ZEfZSqSFaZ0P9cOPnQ"/>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jYFDP9ZHQnDLZHnoz4iEu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chOmcdEvGa2ihE39PRkRlA"/>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r3U8GdvTNvdGMvpR0nJ1mg"/>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rhO7ofyRE.hDP.qxGix.N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fEq690.iS5qqkwcyVkZWYA"/>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KhGPIMnkTguMgflodglrA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WEwSiNBzTGuFLoKKkc_j3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qH0sr6tGYnTrSdB57WL6vg"/>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Fnp7njGDowCOqUaeTDh.Y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Y_waQa8mdu3xgVqhUFbhSQ"/>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Kii.yze1Q6CU.jAHEFDz0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KKm2BVZlRviYU9F5DCx88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8flDpbMfypMqEQMgPK6uEw"/>
</p:tagLst>
</file>

<file path=ppt/tags/tag159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Tn6tNcmiKpjpCA_xGjoWTQ"/>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kOlZialk_iz8ChXDOoTZ2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T0ItHYp2qbVglmj2WoU0w"/>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161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k03XI9_7a5LuHqNoyG8gTQ"/>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WjtBW557a_sH8h7.DHFg"/>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WNbYWG1D1b0uxQ4Uyxhwg"/>
</p:tagLst>
</file>

<file path=ppt/tags/tag163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E.uPuYNohrV3lrmfQNTmj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_3mZOotJPHqGAWuu0WdJdQ"/>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0j6.I5Gw5UqzxJsic8KbGA"/>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eOIlP1CBM2hiwKwQZczQHA"/>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9ZVqU9FeQhygR1M3p0vqYg"/>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oEBpWojATrKTwoot27E5H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mSdKdVxoQfak.lz.WKFWg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_jXurh2s0iDYyEvUkLPZdQ"/>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dqNaNXRbS5SmXFrkvZrHgA"/>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QEluMNm1ReClTKHyeV6DY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dZmLinIhR_m9IkckGWaIu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peUk5FDmQV.gz0FFjD7P6A"/>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HhyXPX95Sfa.CpgvByqUCg"/>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cXNjXojTRCOrTZ_EVZz4tg"/>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pp.xju_YR42ZC0qiYwHp_w"/>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Q9ELGHSlDuyb9Im8werbS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WHj0Zl_KlVoY5eOFYtxrA"/>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OrJbyI6ZbhUsRJ6xSuPcVg"/>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TQiZGgNbFVk0fMrWFSGC_w"/>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DLwiemUbtDfTjhV5pmepNA"/>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Ebt5XQ6rzmFnU6Lq4pabXQ"/>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rLb89jDm0cpul.IX6gMcJA"/>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wI1LTOAwhztb9a4tdBxZng"/>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165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Ej3R5a30VPP9JegSIseKQ"/>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k03XI9_7a5LuHqNoyG8gTQ"/>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Cjjn5B7iCLx5uz13hzI2g"/>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677.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TCozPYm6tljhzwI8NRY8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SkXx6vMlMckwFkpXkxMnBg"/>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lLO7wUVXr_hiWYAEl4kn2w"/>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L8ZnTvJen1Uk3xx2sIokX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dOKUA5b1SKnVxr.PrUYbQ"/>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170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E.uPuYNohrV3lrmfQNTmjw"/>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0xyOpBnPEg3MtnHYTGPMcQ"/>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Ggp5utsZOSys1QlvGJigCA"/>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tfrXENIGgbHaP.XBsMRylw"/>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xcspFjMG73yZVXGtyF3qQ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4BS53D7tL.MRS1_1WcGW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sNB8adXOztw6erUSyflpKw"/>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sNlm8gBd9i8NwIqGVzrM7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p_Hxzj5CkSu3BUpLRCCkx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_YxG2y_SXR3RWuZ59N3i9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oEBpWojATrKTwoot27E5HQ"/>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dqNaNXRbS5SmXFrkvZrHg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9ZVqU9FeQhygR1M3p0vqYg"/>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mSdKdVxoQfak.lz.WKFWg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QEluMNm1ReClTKHyeV6DY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peUk5FDmQV.gz0FFjD7P6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aE5l3CZWJoMigBQkZ7Jsg"/>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HhyXPX95Sfa.CpgvByqUCg"/>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cXNjXojTRCOrTZ_EVZz4tg"/>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pp.xju_YR42ZC0qiYwHp_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dZmLinIhR_m9IkckGWaIuQ"/>
</p:tagLst>
</file>

<file path=ppt/tags/tag172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8ZTJ2i2Kv0AX.6HCQ5JOQ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Dm9eiUQB3rJw6ChSZ3MdQ"/>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173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YKlc2h1rNyi.A_u6zEw6D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CSZIJO7aGNzPq_br.T1Wt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17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1757.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OvHMcE379Z9KgnXcpWG34A"/>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ViBMF1yXBpH_ZY53KltH9g"/>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wzUGHcxYALPFQXf5Ak6Fjg"/>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FZXNF8dx6DNwYr5GXJBmpA"/>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vNSdSlWzVC.G1MYTNYgdq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lxFXgLMbZy_3007YZGjK_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4odabzhQK_I0sgA5XqKcIQ"/>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177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7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KsEtgjiOAeNCPqgpEVX2zg"/>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LOayribaCtCJrJvPo3WoI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wzUGHcxYALPFQXf5Ak6Fjg"/>
</p:tagLst>
</file>

<file path=ppt/tags/tag17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4odabzhQK_I0sgA5XqKcI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fEFDMO9wm7CSIm2G8kBpzw"/>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FZXNF8dx6DNwYr5GXJBmpA"/>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ViBMF1yXBpH_ZY53KltH9g"/>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84e_rbUEXUM3W78C8CFEiA"/>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DyUt8OUH48QzaWkZwCW1Gg"/>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a87qrWJCMOKMSf3bsF78Aw"/>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5fmF0cX.RQySHe5dqMw5_Q"/>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1pAA0SdTRCa8XjWJZZ9fu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fO5oDzTTQQik8GjFc..FFw"/>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SHiUM5PHQNySqgw4xms53Q"/>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tzO4lTpDmRq2IltDkkx6jOQ"/>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cS1A55taTfed0IFa1wI11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1797.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27kb.hRRoW86dAfVZ0SmQ"/>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Q9ELGHSlDuyb9Im8werbS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OrJbyI6ZbhUsRJ6xSuPcVg"/>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TQiZGgNbFVk0fMrWFSGC_w"/>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DLwiemUbtDfTjhV5pmepNA"/>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Ebt5XQ6rzmFnU6Lq4pabX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rLb89jDm0cpul.IX6gMcJA"/>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wI1LTOAwhztb9a4tdBxZn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GUGLXynYa_ytcKL7bU24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JqzeNbz0qdCWwCVSPuNM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qUYMr6_15WZSdA2PH_EJ9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IavwL0lzLYoUMI7KyQoI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8ejK.JNQ2OpE4YP9fisA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eHG9cICdd_r1ILAiQo3a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fhVClSyU.F712tNTpFwf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eNrqX2xNKT_2kyLey042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yEYYmZKdIe8Wh7qPCIMX4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vkhlpcMlr_Mx.dV54N_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0qPKcl36WYoWyzOs66Tq.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DxiUyJOjX6h1n8PvsNHg.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0zfexKYG97aVAUCKSu4bg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i4XbKAdLzRYKal4qUW2gL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MCOWPQFTvysFCOd_mbL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ir5vteWoNWnzZhf3L.Em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YrDLLYh1EgRLAN7pFT7rO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yiBhIu9.hdv874v9OfWc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EIlT0Il..SXYu_L1FwDkL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errbNNHGBAgN_6HZTI64AA"/>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tWQKHcPwfGL1tcr3EUbA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idsVrJziFXHNcPFLzc8D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2MgQhYTdtqjLLKlRM3za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6nbeTOgJVVrSlF07wyMk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S_1yW6FgufCjM8uPab13j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vfxUoQfgRORU4F13kgv_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Bhz_rhGixemhWVM0vjjc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GUGLXynYa_ytcKL7bU2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neHG9cICdd_r1ILAiQo3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nIavwL0lzLYoUMI7KyQoI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UYMr6_15WZSdA2PH_EJ9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eNrqX2xNKT_2kyLey042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2fhVClSyU.F712tNTpFwf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JqzeNbz0qdCWwCVSPuNM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EYYmZKdIe8Wh7qPCIMX4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2MgQhYTdtqjLLKlRM3za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idsVrJziFXHNcPFLzc8D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z6nbeTOgJVVrSlF07wyMk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S_1yW6FgufCjM8uPab13jg"/>
</p:tagLst>
</file>

<file path=ppt/tags/tag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nvfxUoQfgRORU4F13kgv_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Bhz_rhGixemhWVM0vjjc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xa24OBuRUyT_qgJXcfW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Mxa24OBuRUyT_qgJXcfWU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xa24OBuRUyT_qgJXcfWUg"/>
</p:tagLst>
</file>

<file path=ppt/tags/tag23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4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4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47.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4_aOsB0iRPcmmEi95YZD6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4_aOsB0iRPcmmEi95YZD6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Z27kb.hRRoW86dAfVZ0S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26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SYd7Q3g7D8jmgv_7NC1_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YTWwliJ_TBOB_ciSm0hr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sMS7pipsSZioRuDhYKcTPw"/>
</p:tagLst>
</file>

<file path=ppt/tags/tag27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sMS7pipsSZioRuDhYKcTPw"/>
</p:tagLst>
</file>

<file path=ppt/tags/tag2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S3wKTLhJge6xVDdiISnzq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a4Lk.vrSSy5iLitWCIrT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STKB6OnnHb65pXVkCfP_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Pb6BDJI8RDyXOOxgL9E63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mCiY74nXIVNAS.KfhOIev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oS2GcTHGexbJlQXDH3sH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97sMgjhuCMnG29KTR5JaR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LXjjK0PfHaZwbHoCXtKCS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QNPC64EW6CVf1XIjQx8OS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OG2niaWEtQvyO3WTLEfxd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cnfzkmQqdciyl34vPf_Vb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cTFdZLsXubUMWxyfv8Ptt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_M8qGCDT9k9kiwHN_oSy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gPGCmOdrXSL8IZJRFn3H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OUka7A4OxjMD9SfnR2fKO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_H_KT9d5YCc_zmklkRD8W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oO0gpv.lt3imCLQf_QhAi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2MWt8n4HY0m6DflDWedqJ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XU2RjKHEr9SFGEY5MXvVO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ZoeW9n4_g0wvH_xCzuyc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eDcBc2tbBS3nkJvLbZsm6w"/>
</p:tagLst>
</file>

<file path=ppt/tags/tag32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B7PcYUoEQEsKkUDiifW2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DbQ5nucamXcTbUSsDnx2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21KSEYS2NAhb0k7wloRT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YV4AmaCJsg9zFWSB9DaPa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ciWNaIuL3dyR0.b.XW.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pzUVdN43iqSTNkedYjPp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k7FXJ1gW5eAiHSJTBV5m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4_PhELHO5haxnWcEeT8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a4Lk.vrSSy5iLitWCIrT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YFi4qhbPW.PGx7GlkHHM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_Yrwy_GEUh69Nzo69Uyg0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e97QV_kgcQ3RVgPAXMPNh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5YqEjVxEYWfFopgVMDUYH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jX5SXEp6PbiV7_p4F9cd0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ShnpqibNRPJQW7UXnD4gt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d8Mnyuv_j36jz4Z_iFRuv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O6xYjDyhVYzhj5xLtcvD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2b8QV2f54EQrlCpLejOQ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8dw4frsmHBeXkEZdHet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LJQBlb8_Y_GkyvP4LmV0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K.uKAo_M25_K29m_Xo788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VRwjILQ6nO2pVB._i4Tl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eJd2QEctBkGaJBaCPjqP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87Awh1knsvc1tUt32My3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ZY6LaW7Y2xeGIbA0yXiu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_NbWF7OyHiHDPxoKvsVNi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qGwPlhfFuZUVoLFBLRxW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ALkk7OwIPjpYP3617JBPX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KSXOQdO9k_Y_uUalM3X3D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59cnjzdQgKgx7r1QITv9K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Ap8d2zbrbQLK_vr10lsGL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Y6LaW7Y2xeGIbA0yXiuQ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qGwPlhfFuZUVoLFBLRxWU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ALkk7OwIPjpYP3617JBPX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_NbWF7OyHiHDPxoKvsVNiQ"/>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KSXOQdO9k_Y_uUalM3X3D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59cnjzdQgKgx7r1QITv9K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p8d2zbrbQLK_vr10lsGL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ZY6LaW7Y2xeGIbA0yXiuQ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ALkk7OwIPjpYP3617JBPX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qGwPlhfFuZUVoLFBLRxWU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_NbWF7OyHiHDPxoKvsVNi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KSXOQdO9k_Y_uUalM3X3DA"/>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Ap8d2zbrbQLK_vr10lsGL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9cnjzdQgKgx7r1QITv9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38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Rbdrqk1GVILpcWX.zEOW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0x3KUZRrSri0royJl.mn.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40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SuJt0eWZVm312UdAZWhoz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J9qV06UvrL4VtksVOjJv1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42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1WmxDhmNPBJ7Bux9Ht3ZW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a58S5kkDEoAYR3_cr_kK7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YYQDOz6gjwRxo_wn5BFGa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4Q2fHCn.6sq8._x.eqPg6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nivPAcXTRsoP324OzDgQ.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xgef1_I_L4YfUETwKaRgq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PzyQSrr9.xkEx.AnFjnb1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RO9PIPAe8E7mqDkCJgl1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v9VDIdGUywX2LtRpZxn3b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fCd50JRwm1mWmAEwEmY9y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3OhLs97xLZMPF1ONfvUev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OZF7DTCPlKkNXRdefPVWI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ecqLyhDsfMYElluRgMDDo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ke7TGUPsC7WZb4HDB6Qrn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3vEshJoqiuAgILkfVhXRl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ndi5ERzFs6X_fXMrZAsk5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0AZpqeXXij7QuqPotFdSf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zPonVupn23lk8Tr2w_XNC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eGU1WumvmAffGvnCyJs6uQ"/>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3SHB4X91HCInfqEEq9dFq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gzfQ04CmHP0jmPeJ9szJB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aKSCudqA6p9Vs2s.Hv2gE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51RO_xChbaaFFe5jBYO66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XViZiwYOBJix9oXGEBiOr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zPLDIwiz7bNeNeJgRFmGX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oP.yLVBzffQir8KE6iu1K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SGBD2DeSPuZN3AQNU6J0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d8_43MURQFWyQERFqJrj.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yqy5TqUIS6Cbk1vseD0WwA"/>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PS6pjYMDgOnM34Us5Iu8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I4JfLLGnUQ8dQzyik3EG1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uWEe71h3Mer6wEEr2aiP9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yKL1wnQWGt3zeMuDf0gTU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Aen7FcEb8p9nzDpoCJIB2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E1lzAmKT9mFAVN2EhtFB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S2AOue3hS1WBd2ryRlcu_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uAA.2fjMRyONuU5K25qUm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u.AjxL3JSIOcXAiCi6wHp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Fh083SQXRX20TPRSTnjO1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2iRNMPvQT.dmVX7tJRT.g"/>
</p:tagLst>
</file>

<file path=ppt/tags/tag47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vPHe4IFfSpa_ZXdZxjW6v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_7OG.9WsTvSN1HUjZx84a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EN8jpT9ESfuWQODywhBoF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p99dxFIgTI2BpJoD5agTE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_w5572ryTl6KQ_HbvrnAO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ERmNkuQuSZGQIqjARcQM3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4OKmXD06dZihXrtX.6Yq.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GgVeqV.MXiWEd6H9qwTHA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teSZEpU_rN_qQPHaZ6M4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yVTLXisuSaXmnsX15ElwD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t9tbgNZU0NQDJ52jOoENm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VD30GzT3CMOsJZ6oe_Jgi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guTLtKNhVeCQeBksFKeX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zbGrkrCNPiJU210SC8hsb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b4coHaY2pjOgOKenpVec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wFni6MQv.F66HNRrNX7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QBN274FXJV9RTPHO2p.NZ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LAK8OwYWUbZvYRAfnfZF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UGx5RKTqLs2rI13yMxeVS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8PI.3H2xmWneqC6UQCFi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GSMsw01HScaQujgMo2KE4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rBm5m.GuQF.HpfouuOkfA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pVLz64mJRwam_6rlY9uET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wfEo65i9R.qKp5ghwJeql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CCppQHnIQV2clOgWcEFkh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0StWfAEQ7mshfe1LTW9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2LGPA4xNTiCwHv9aLF.3H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NYVzDoUbTj6yoihf.8LgK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4.rXAW9S_SOtALOnlGm.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7IKw93eSTTamuaxQIIu1Ag"/>
</p:tagLst>
</file>

<file path=ppt/tags/tag50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_yX7up1hmbqDqMbLNeXGU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_ylSI31_nBxtWvwFqPQOw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f48wAsPsTJSdvYHwD9aMqw"/>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YZ6EQ1eHRiyoqq7r81CQT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yXs6qGMznpoalgqMr.Mx2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kl.Beq4zQB8FSnzOMHIN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tQkLp5VJe0jeNI_7J1O9O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yZj9x11cFeCrbRx.8jVUI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WSCtyOhqLm3G3ZdGw6gH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YmQvvsgMJ_J7VyD1VEOqn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wFdXqWtJTPa1._ZcIV.N0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ClSyoHQsQNSjUi8ZfjV41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s4lkN_46fNQs_ACLMjn1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BLCsBkxcGPet9L5ojTm6s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sbasWNP4rfD6qMjTxGFtV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56mpPGLGTTSKQ_54snZLw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DEwdED5oYHBipFdAUSrCl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e2lpngllUm.LfUA5_BWEX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w5oIPg.sTG.lqVpkErd2k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Rct8P8L.StqGDRTK54V2r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afHYB.Bwr8Qil2T4G3tC2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ojlDwFUbfBZjW6VGWqK2q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Rx0lMZPttjcssltebaHkmQ"/>
</p:tagLst>
</file>

<file path=ppt/tags/tag5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yEorGJFKSM2tF.Qns_Cev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g6vZzDSOC.BofDO1p1_Iw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DXj6rKUTAm8kxoPIzj7x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_BBFsv6wihWrniVIveh5u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mzBWEr2LHU8bFTFkvMexDw"/>
</p:tagLst>
</file>

<file path=ppt/tags/tag535.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9Tgq7jm0H5yu0RtBwjK9i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m1XNESnGON1xDxd9GBPml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SGM2XaHJAjs.SRYmrLwMT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NczqdgdOChJEfpzQW5pqH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uhxMGAfkiebbc1tX5.XPr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55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JXWJaTsDUBo8i0Xa1fVzt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0Omtd0eTnNxWMwYhvKIDV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qfVSdOYZ68axl.0mWf6XH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CKr2kFLujy6TSPxW.ho3N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yhbSYjTo7_Qji8VGbQesl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yR5HzHsXt2LEAm.G7cpvH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LS3RigJ25dCUwUAVEulZj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ubXHK6HFIegws8sEU3CI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z0KEVgG.OZBmAhZtslHUo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R6PhcuzhYVgxcZH5l_rbt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PyQNLe4njJwWo2mK4ysLAQ"/>
</p:tagLst>
</file>

<file path=ppt/tags/tag57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vPHe4IFfSpa_ZXdZxjW6v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_7OG.9WsTvSN1HUjZx84a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N8jpT9ESfuWQODywhBoF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p99dxFIgTI2BpJoD5agTEA"/>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_w5572ryTl6KQ_HbvrnAO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ERmNkuQuSZGQIqjARcQM3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4OKmXD06dZihXrtX.6Yq.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QjUB1Hc20V2Lbg0G_5liv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sSi9QH5iVz05qHu3fSs6X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uUrOA086PuwE09FPB8z9B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0p8np.6UTUh4XKbjwGD8H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04xTYLJeLirYipECWb79d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PpGu_2.EifLBfM0pWJc_b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Slvezh53lAFBmg2c90yK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zJoEyxSCdC_fDPmcy5hSN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KyJfXBxA8OanUHm3gyw3Z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FEusExYnjaQgboZu0oo8w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rBm5m.GuQF.HpfouuOkfA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CCppQHnIQV2clOgWcEFkh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pVLz64mJRwam_6rlY9uET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GSMsw01HScaQujgMo2KE4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wfEo65i9R.qKp5ghwJeql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2LGPA4xNTiCwHv9aLF.3H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7IKw93eSTTamuaxQIIu1Ag"/>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NYVzDoUbTj6yoihf.8LgK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4.rXAW9S_SOtALOnlGm.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I0StWfAEQ7mshfe1LTW9CA"/>
</p:tagLst>
</file>

<file path=ppt/tags/tag603.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uhxMGAfkiebbc1tX5.XPr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d.DS7yV1kqO0NzkHdDxO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61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EEz4.zUqqYwsanLlyRXeT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AOua25PPZyGQDZYvwNqar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iyBT2dzHt.2LOo9vezpK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XH4APvqaiQVgVmWggGfbS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Km.Pn6bVgrMIgvGPlccHb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ba8ZmFkaWP87pT2FexFYq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AVIBO0oSLbSbcGuOzEgJj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VJGkk__tNvPcvK6NWclYG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xczyEx3I_rXsEXhtMrb_z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abxtG4Q_e4D.LE9ejZfX_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uNwE5hoPhWzIeWQOVphXl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vUQy0ZrxadQI86uWtFUJK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PIowIF9IZheH5T16Kh3.bA"/>
</p:tagLst>
</file>

<file path=ppt/tags/tag63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SuJt0eWZVm312UdAZWhoz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adLOqvSTuClHoDEukUFY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J9qV06UvrL4VtksVOjJv1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oqpICeBQw6BmtHSOwxBE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uhxMGAfkiebbc1tX5.XPr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6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7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tP3btdGopJpsyAmoXkOf_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6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68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6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m7ng3W0HEwoFsXNXHHJNs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5iPF5m8eC2APkLITws7UU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7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714.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qpxbOLUrHNHfCM1rmXkl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QjLM2w8tTVQKPppe9wrGw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LE5XOLAe4.UkZ7hoEp2k9g"/>
</p:tagLst>
</file>

<file path=ppt/tags/tag7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sUvT2UB1R5mHljTJfkwsW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vVJWoKsEYk8qxNI8ljfMs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T4H8NpJGsvlgN_xDz7KfZ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UfBK.gdx_CVZuk8rgH4sT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5iJTvilAT0eT53t8GCya8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86ZqeM6KK8nNqls1Edtv7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oZ5PgAU1HBsOwJaIhNciM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6Uwp2v7Kd0aTYQS7.UZBH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kkZ02eG81uvH2cuIK9pnq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KiIH1myBTgudbNdbw70H8A"/>
</p:tagLst>
</file>

<file path=ppt/tags/tag7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1J1PBqDWTEiJ0ppixQDnj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TZjrmW95TXewNNz_siGr0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BXBeW7d9TbC_ls88SyoQe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nhWMFx4FTVed0uMzmXnJF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oPASOV0NRv.0iV5l26S.5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QOQR_.N2Si.eKsAPeBVYz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6y.6zZ.gQFOobYM_2GcWI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J.WiQl0mRd2MeGVu4OE4L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X9HbHGWcTkOhUX1h2WiErA"/>
</p:tagLst>
</file>

<file path=ppt/tags/tag73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7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lsWpSwNqTxCbchGyq3Zub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Qph4A34cRWqqRBOP6ttPh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OetXzaCGy2uA5nxAFQMXR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LSCpAxtRNBZwdvyjWACnR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ypCoZuotQi6yPyd84b7MM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x4dslh7STeuM39yFk7R_y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WU.V0VNsMca7b2Z367IPT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_AQFJhkgBzHZcm14gD.aKA"/>
</p:tagLst>
</file>

<file path=ppt/tags/tag7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7VxZ.SmCjGNvuDxcH3Jpl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u9V62JorRu2vmFcMc2fs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V_TLQ228SjqM1wZVVcK.S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NZOUlClISwaxJx5uaNVTO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6cS4V5YIztS5UTFHYtUej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629iv1jFQbO8EPu.tasj1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aM9EPNEjbei1xbZs65nxJ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L33em6s3b.HryUaCu2_Cr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tN3skb9ctAnBjrWu8mUs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dBnQKoWmioqH.O4wnzUhBA"/>
</p:tagLst>
</file>

<file path=ppt/tags/tag7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0Hip3ppaabIlIIY0QUP80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9rkQ1UCpbkMscNzc_asAF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B5d5g2ceb2fCoxp8FXLM2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Nq0a7mQDZojXS5xo8XLtQ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zMBpablKKpfnng3egP0EL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miFbGBeZEVCAeREnJkOGm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I9_Iclaugnuo.ekClIqUD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JUVymwtxQmx.pnsN7dqJnQ"/>
</p:tagLst>
</file>

<file path=ppt/tags/tag768.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77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qpxbOLUrHNHfCM1rmXklk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p3r9pAJXU2d1XM86CD23x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VGvlx1xhbUEhQZf.tEdbR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wSfz0.wA3ITURaueDgQKP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A4dOm3thwWJKsd9qbJT1T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BAhFu9n2uf_ZPSxN.HW0GA"/>
</p:tagLst>
</file>

<file path=ppt/tags/tag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BXBeW7d9TbC_ls88SyoQe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KiIH1myBTgudbNdbw70H8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TZjrmW95TXewNNz_siGr0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1J1PBqDWTEiJ0ppixQDnj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nhWMFx4FTVed0uMzmXnJF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QOQR_.N2Si.eKsAPeBVYz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oPASOV0NRv.0iV5l26S.5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6y.6zZ.gQFOobYM_2GcWI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J.WiQl0mRd2MeGVu4OE4L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X9HbHGWcTkOhUX1h2WiEr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qpxbOLUrHNHfCM1rmXklk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iD5IC8cEVp9o3iOlUzZEH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q.S.EFvrqGVDI5mzrGCn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VGvlx1xhbUEhQZf.tEdbR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A4dOm3thwWJKsd9qbJT1T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i8xqoHPf8UDWAUZM10ltq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ePxqeHdscJ17ZP7qMeeT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27kb.hRRoW86dAfVZ0Sm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L9I4jQHil2lm1O4ZzmnSM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wSfz0.wA3ITURaueDgQKP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BAhFu9n2uf_ZPSxN.HW0G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ESPLkyKWgO1BMS6a4AP1m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oIh.BaYnjkHirh7Tt.gD5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lHIouTNIA8jRj3EDdA7k9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zhRPGR12AimlR2_YIHIzS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BXBeW7d9TbC_ls88SyoQe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KiIH1myBTgudbNdbw70H8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TZjrmW95TXewNNz_siGr0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1J1PBqDWTEiJ0ppixQDnj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nhWMFx4FTVed0uMzmXnJF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oPASOV0NRv.0iV5l26S.5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QOQR_.N2Si.eKsAPeBVYz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X9HbHGWcTkOhUX1h2WiEr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J.WiQl0mRd2MeGVu4OE4L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6y.6zZ.gQFOobYM_2GcWIQ"/>
</p:tagLst>
</file>

<file path=ppt/tags/tag817.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WtRma0FTkK1CjyIkdSBH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pgD12VkzZwLRPtbLUheTO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MubpwfGdqpS5J1B03x4O2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d3Gm1JlkZ_ijQUVV85GeI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bXVIb54l.j4qHd8uvKfr.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mrUhQTihPnEJEURc13Bm7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fhq8jwXPsUXPETLuPBnf5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5hQQERHMXOA7TGIsd_l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KlObMmC4.7zQvuLH6HE0A"/>
</p:tagLst>
</file>

<file path=ppt/tags/tag8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mvMVUBtkdYVEgKY13QZpW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wWHv2QlfTRiGlfKfmpqQ0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834.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vfVtRYiVKqw_RPq5bsQSE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83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Lw3aNyoQCCEz3QgnuNL9I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0GBH.7Z4FitCLYOAKUTEg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dsXNpDvO3MuZbwCmE_Geh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qEMxnCCBOkvTum2hgxpU.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CJTx5GgNWkAySSqNVSgxj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eMYNGLqPGBOzcnfhUsoxy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KheZrkcZEnN6hv3DY0iW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avcEBU3eRzKPepLe8RfNh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5fmF0cX.RQySHe5dqMw5_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LiGYhp_MSxCibNvAxu5_P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1pAA0SdTRCa8XjWJZZ9fu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fO5oDzTTQQik8GjFc..FF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cS1A55taTfed0IFa1wI11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Z9ch9DozQCSZXvnueVNAD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SHiUM5PHQNySqgw4xms53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rKGO6s2gTFSanU.J0znkd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zO4lTpDmRq2IltDkkx6jOQ"/>
</p:tagLst>
</file>

<file path=ppt/tags/tag85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1Dt3yFknl_Ws2BHfHs8W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ypCoZuotQi6yPyd84b7MM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s.klNiD_XgHcRgicDmEFL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OetXzaCGy2uA5nxAFQMXR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x4dslh7STeuM39yFk7R_y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23jNXAxU_fnZDF92fJ6ZB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rzZrOHRQjDTPxq9gcVEZm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AhYGEYhprhtl87a7sADyA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8hWlbfHmB1mfk84QGM18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_AQFJhkgBzHZcm14gD.aK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NZOUlClISwaxJx5uaNVTO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V_TLQ228SjqM1wZVVcK.S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wKS_o8ncb1vVOoWcPjT0n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edk8gDiieLIouUlBzjb3g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y9nuQpx6mNRS2m_MLsUXE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mW291t12WoZxk7Nd_YGSs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WEwSiNBzTGuFLoKKkc_j3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dMaeH6RXy3EOF72tAowHF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DYHF9e_Nqlv4LvHZRLGI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Kii.yze1Q6CU.jAHEFDz0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iLnFeP.Z93Jwuy753wUMA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QRJyKJt7jzJj0KNd42joE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yIsf2KJO3qVJiNTyjGlnH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nFEIDcfnkFEIi21ZZZWMb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6W3NmeegndgLqzDsmIkKE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IkYUIabx51QNI90hCNFNP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gZotVpgWfwZKL0zhH9uzb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vtgdHvh2RlYRMBG3JzPVYg"/>
</p:tagLst>
</file>

<file path=ppt/tags/tag889.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xjSSy5htngBfj5sUlQY_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892.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vfVtRYiVKqw_RPq5bsQSE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jmL5sUUgcTDJbFFaapL_H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pIkV1W6WEbXxszXjwCC1K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n.Czqa.FWGHJw_hajx..d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1DqG1BgYKxWNs3zu5POlE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5dXtCM8HI5qnL2UvK3U_v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pU8PJZ_nyk5DaduMQJrMd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NOT650V0WWPiP84yulmOk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RRH1PXZS4sXQlemM2fYr3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gOrUbTONh.zIHFnhcfhC4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jmL5sUUgcTDJbFFaapL_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xjSSy5htngBfj5sUlQY_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o6NAYD4da65CmA6S0D3PV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pHklG2wFeiowogWIwoAFG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1DqG1BgYKxWNs3zu5POlE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pU8PJZ_nyk5DaduMQJrMd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5dXtCM8HI5qnL2UvK3U_v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RRH1PXZS4sXQlemM2fYr3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gOrUbTONh.zIHFnhcfhC4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NOT650V0WWPiP84yulmOk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JRFjhtz4_Z4YTYyGC.4aQ"/>
</p:tagLst>
</file>

<file path=ppt/tags/tag922.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btqDDJD3YiJHi0.PvjgTg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gFRmMmCdQ1e6O8L8.zolg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3u84aDfPSC2W_KOqhRXhq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Pl6pJGsjTdS58p.NaKDix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ne3xQGiXQ7Gx58q2Ibz.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qlgcBfnaTz.z8Gn_SCjoq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wy3PzHm6QrWjZPtXQMz0f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0fMEn9J9SnO3n41zQ9bE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qpWYjrwERJqFB2bRvDHIM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ERJGMv7aRe6NMTJU85SCE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QZgc8dZRQRidPFh3hMh9v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ZWfIO.aETdismiLlQXPIs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omPE31rGQ2C_J.Kx2v.Bf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KQgnNrt1Sf2Gd6bczBC4e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HXaJI8wRjqlN81ucIgdj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27kb.hRRoW86dAfVZ0Sm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Sq9OFx.yTb.qrFOXNgoQTA"/>
</p:tagLst>
</file>

<file path=ppt/tags/tag941.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vy6RQ6e.ZufR2EPg.xef9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GHBGVrWIQWSU5kvVtivjs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iGVgAj8cRh.C1vWfJ.miX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ArOu8_jWQyaEhHyM8Gknv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ikxZcUXxTa2Vl_DKS8RYc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PdZRo8fXSHyiw8oyrUwC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zTSEby03QiSr2s2Q0_WTM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pBZ5Je7oTaWR8ngT6ukqO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UVXYcDvMQ..0wr5wbRXUm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8GQUsxefQJq5ttDMUYFNW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RuAWBTCgTPq.epcWrCDej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6SVM4xY8QzyDDT6qilxQG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0qOSbW2IRreOuMekYwEjw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4yroQYiCQOmFq95tquh1t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aVbxTn0HTtCMpDRFTdkRX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MmeEtvqDRmO3c_lVecOwE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v24CRsfTlxbxpo3Ww2oAk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8Ta480sTP2tNy71lUn8D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Vs06XyNsQruGt32AhhAKb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BvzbiQSWS4ihCZRlBAh2e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AQj8T.4nRI.Tao85GMiWU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ZFB6bx6qScCsvIJjzV2MkA"/>
</p:tagLst>
</file>

<file path=ppt/tags/tag966.xml><?xml version="1.0" encoding="utf-8"?>
<p:tagLst xmlns:a="http://schemas.openxmlformats.org/drawingml/2006/main" xmlns:r="http://schemas.openxmlformats.org/officeDocument/2006/relationships" xmlns:p="http://schemas.openxmlformats.org/presentationml/2006/main">
  <p:tag name="EE4P_STRETCH" val="1"/>
  <p:tag name="EE4P_LAYOUT_ID" val="D"/>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c.Rpoj3MRdqMlkv3FWcwe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PFBb5PpjzQVqjBKF4AIaD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GxVbf8S8TbC5PIUrtC3hL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BpdGsIWoRTCBBMa8ZzcNA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R7mWLVSERh6_TSL1Yt0Cg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Ea9r3ynlRVaWBQBDm5pkI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lctK8PpoSkexF.T9YQ5eU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lU60LW5vSDeZNAuWGn2.x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FfrtnOdfk.FjRWmJTOB8L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mvKR6xtURl2hN6AML8CHY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JymM4uYsTYyoNF9iWR7XV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FmGLTFaZRtWgoYzmP3VXM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VLoyS5veRlSJQpACjN5h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_ElPS.w9T8K73O0AN6MtG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z5SX6dd6Sfmsc2v0hjjwf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BCItxet1SO2MoPjyDEbg9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KcOp_GFsRcKJkk0zZK7Cx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fcFkQv_Sf.2e0fzrQ7Ob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fIT8TZfkRKGUus4NWRyQT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fI7U5.W7RvGFyi3kfwo7M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Xk.D9YYASS.w6TrXvu6bo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odanIiR4TKipc4HsX0de6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uOMs_x7KQ0SERC7QhuLRG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Mdm1_xofTHGfHCaWgCraG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OrRYjjLvntWGJPVvQGE1C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MChzIhltSseF8Elqa2hUF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XV977tBZQNGstn3WSFrHe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Og.bYByrQ..AVlV6PsF2H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RJW6g5r1QIiEQw0xCILFY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37pJdV4jTTmfwALKHVLdm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uI9s3EVqGMAWZJQYXuFjm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uwiGKb0STGajTUelEGrZR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w3np7xQVQrGvodlos5Os7A"/>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5</TotalTime>
  <Words>23532</Words>
  <Application>Microsoft Office PowerPoint</Application>
  <PresentationFormat>Widescreen</PresentationFormat>
  <Paragraphs>6189</Paragraphs>
  <Slides>151</Slides>
  <Notes>132</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51</vt:i4>
      </vt:variant>
      <vt:variant>
        <vt:lpstr>Custom Shows</vt:lpstr>
      </vt:variant>
      <vt:variant>
        <vt:i4>1</vt:i4>
      </vt:variant>
    </vt:vector>
  </HeadingPairs>
  <TitlesOfParts>
    <vt:vector size="161" baseType="lpstr">
      <vt:lpstr>Arial</vt:lpstr>
      <vt:lpstr>Calibri</vt:lpstr>
      <vt:lpstr>Trebuchet MS</vt:lpstr>
      <vt:lpstr>Trebuchet MS (Body)</vt:lpstr>
      <vt:lpstr>Wingdings</vt:lpstr>
      <vt:lpstr>Wingdings 3</vt:lpstr>
      <vt:lpstr>BCG Grid 16:9</vt:lpstr>
      <vt:lpstr>1_BCG Grid 16:9</vt:lpstr>
      <vt:lpstr>think-cell Slide</vt:lpstr>
      <vt:lpstr>PowerPoint Presentation</vt:lpstr>
      <vt:lpstr>What would you like to view?</vt:lpstr>
      <vt:lpstr>Section 1 - READ ME FIRST  </vt:lpstr>
      <vt:lpstr>What's new this quarter?</vt:lpstr>
      <vt:lpstr>REMINDER - Our Critical &amp; Business Supporting Products &amp; Services</vt:lpstr>
      <vt:lpstr>Considerations for E-SAT Trends</vt:lpstr>
      <vt:lpstr>PowerPoint Presentation</vt:lpstr>
      <vt:lpstr>How to Read E-SAT Trending Slides…</vt:lpstr>
      <vt:lpstr>SECTION 2 –  Response Rates</vt:lpstr>
      <vt:lpstr>PowerPoint Presentation</vt:lpstr>
      <vt:lpstr>2021 Target Employees - Quarterly Summary</vt:lpstr>
      <vt:lpstr>PowerPoint Presentation</vt:lpstr>
      <vt:lpstr>Respondents</vt:lpstr>
      <vt:lpstr>Q4 Response Rates</vt:lpstr>
      <vt:lpstr>Q4 Response Rates</vt:lpstr>
      <vt:lpstr>Response rates</vt:lpstr>
      <vt:lpstr>PowerPoint Presentation</vt:lpstr>
      <vt:lpstr>We provided options for employees to opt-in to be contacted by IT, or for their laptop data to be used in laptop analyses</vt:lpstr>
      <vt:lpstr>SECTION 3 –  Key Takeaways &amp; Summary Charts</vt:lpstr>
      <vt:lpstr>PowerPoint Presentation</vt:lpstr>
      <vt:lpstr>PowerPoint Presentation</vt:lpstr>
      <vt:lpstr>PowerPoint Presentation</vt:lpstr>
      <vt:lpstr>PowerPoint Presentation</vt:lpstr>
      <vt:lpstr>PowerPoint Presentation</vt:lpstr>
      <vt:lpstr>Yearly E-SAT Trends for Repeat Responders from 2019 to 2021 – Critical Products</vt:lpstr>
      <vt:lpstr>Yearly E-SAT Trends for Repeat Responders from 2019 to 2021 – Business Supporting</vt:lpstr>
      <vt:lpstr>E-SAT – Q4 2021 - for Critical Products or Services</vt:lpstr>
      <vt:lpstr>E-SAT – Q4 2021 - for Business Supporting Products or Services</vt:lpstr>
      <vt:lpstr>E-SAT – Q4 2021 - Other Areas Measured  </vt:lpstr>
      <vt:lpstr>PowerPoint Presentation</vt:lpstr>
      <vt:lpstr>PowerPoint Presentation</vt:lpstr>
      <vt:lpstr>PowerPoint Presentation</vt:lpstr>
      <vt:lpstr>PowerPoint Presentation</vt:lpstr>
      <vt:lpstr>PowerPoint Presentation</vt:lpstr>
      <vt:lpstr>PowerPoint Presentation</vt:lpstr>
      <vt:lpstr>E-SAT Trends  Against our Employee Centric Priorities </vt:lpstr>
      <vt:lpstr>E-SAT Trends  Against our Employee Centric Priorities </vt:lpstr>
      <vt:lpstr>SECTION 4 –  Detailed Survey Results</vt:lpstr>
      <vt:lpstr>Overall IT Satisfaction</vt:lpstr>
      <vt:lpstr>IT Satisfaction - Overall</vt:lpstr>
      <vt:lpstr>Overall IT Satisfaction Journey…</vt:lpstr>
      <vt:lpstr>Overall IT Satisfaction Journey…</vt:lpstr>
      <vt:lpstr>IT Satisfaction - Overall</vt:lpstr>
      <vt:lpstr>PowerPoint Presentation</vt:lpstr>
      <vt:lpstr>Satisfaction with tools &amp; services provided for employees to work from - </vt:lpstr>
      <vt:lpstr>Satisfaction with tools &amp; services provided for employees to work from - </vt:lpstr>
      <vt:lpstr>Satisfaction with tools &amp; services provided for employees to work from - </vt:lpstr>
      <vt:lpstr>PowerPoint Presentation</vt:lpstr>
      <vt:lpstr>PowerPoint Presentation</vt:lpstr>
      <vt:lpstr>PowerPoint Presentation</vt:lpstr>
      <vt:lpstr>Personal Productivity</vt:lpstr>
      <vt:lpstr>Laptop Satisfaction - Overall</vt:lpstr>
      <vt:lpstr>Laptop Satisfaction - Overall</vt:lpstr>
      <vt:lpstr>Laptop Satisfaction - Overall</vt:lpstr>
      <vt:lpstr>Laptop &amp; MS Office Satisfaction</vt:lpstr>
      <vt:lpstr>Laptop &amp; MS Office Satisfaction</vt:lpstr>
      <vt:lpstr>Laptop &amp; MS Office Satisfaction</vt:lpstr>
      <vt:lpstr>PowerPoint Presentation</vt:lpstr>
      <vt:lpstr>PowerPoint Presentation</vt:lpstr>
      <vt:lpstr>MS Office Mobile Apps – Reported Level of Use</vt:lpstr>
      <vt:lpstr>MS Office Mobile Apps1 – Satisfaction</vt:lpstr>
      <vt:lpstr>MS Office Mobile Apps1 – Satisfaction</vt:lpstr>
      <vt:lpstr>PowerPoint Presentation</vt:lpstr>
      <vt:lpstr>Browsers</vt:lpstr>
      <vt:lpstr>Browsers Satisfaction - Overall</vt:lpstr>
      <vt:lpstr>Browsers Satisfaction - Overall</vt:lpstr>
      <vt:lpstr>PowerPoint Presentation</vt:lpstr>
      <vt:lpstr>Digital Collaboration</vt:lpstr>
      <vt:lpstr>Digital Collaboration Satisfaction – Overall</vt:lpstr>
      <vt:lpstr>Digital Collaboration Satisfaction – Overall</vt:lpstr>
      <vt:lpstr>Digital Collaboration Tools – Satisfaction</vt:lpstr>
      <vt:lpstr>Digital Collaboration Tools - Satisfaction</vt:lpstr>
      <vt:lpstr>Digital Collaboration Tools - Satisfaction</vt:lpstr>
      <vt:lpstr>Digital Collaboration Tools - OneDrive</vt:lpstr>
      <vt:lpstr>Digital Collaboration Mobile Apps – Satisfaction</vt:lpstr>
      <vt:lpstr>Digital Collaboration Tools – Satisfaction (Mobile Apps)</vt:lpstr>
      <vt:lpstr>PowerPoint Presentation</vt:lpstr>
      <vt:lpstr>Mobile Apps Desired</vt:lpstr>
      <vt:lpstr>Q – What other mobile apps would you like to see prioritized by BCG IT? </vt:lpstr>
      <vt:lpstr>Knowledge &amp; Design</vt:lpstr>
      <vt:lpstr>Knowledge &amp; Design – Tools Satisfaction</vt:lpstr>
      <vt:lpstr>Knowledge &amp; Design – Tools Satisfaction</vt:lpstr>
      <vt:lpstr>Knowledge &amp; Design – Tools Satisfaction</vt:lpstr>
      <vt:lpstr>Q – What would you like us to prioritize to make the overall search experience for BCG-related content more effective?</vt:lpstr>
      <vt:lpstr>PowerPoint Presentation</vt:lpstr>
      <vt:lpstr>PowerPoint Presentation</vt:lpstr>
      <vt:lpstr>IT Service &amp; Business Management</vt:lpstr>
      <vt:lpstr>Service &amp; Technical Portfolios</vt:lpstr>
      <vt:lpstr>IT Services - Overall IT Support</vt:lpstr>
      <vt:lpstr>Overall IT Support</vt:lpstr>
      <vt:lpstr>Overall IT Support</vt:lpstr>
      <vt:lpstr>IT Support – Satisfaction Overall</vt:lpstr>
      <vt:lpstr>IT Support – Service Center Satisfaction Overall</vt:lpstr>
      <vt:lpstr>IT Support – Service Center Satisfaction Overall</vt:lpstr>
      <vt:lpstr>IT Support – Service Center Satisfaction Overall</vt:lpstr>
      <vt:lpstr>IT Support – Service Center Satisfaction Overall</vt:lpstr>
      <vt:lpstr>IT Support – Specific Channel Use</vt:lpstr>
      <vt:lpstr>IT Support – Specific Channel Satisfaction</vt:lpstr>
      <vt:lpstr>IT Support – Specific Channel Satisfaction</vt:lpstr>
      <vt:lpstr>PowerPoint Presentation</vt:lpstr>
      <vt:lpstr>Q – With new Hybrid Way of Working, what additional or different kinds of IT Support do you feel you need now, or may need in the future?</vt:lpstr>
      <vt:lpstr>Right help &amp; support is available to make home set-up productive</vt:lpstr>
      <vt:lpstr>Right help &amp; support is available to make home set-up productive</vt:lpstr>
      <vt:lpstr>PowerPoint Presentation</vt:lpstr>
      <vt:lpstr>VPN</vt:lpstr>
      <vt:lpstr>VPN Satisfaction</vt:lpstr>
      <vt:lpstr>VPN Satisfaction</vt:lpstr>
      <vt:lpstr>IT Tools on VPN – Overall Satisfaction</vt:lpstr>
      <vt:lpstr>IT Tools on VPN – Overall Satisfaction</vt:lpstr>
      <vt:lpstr>PowerPoint Presentation</vt:lpstr>
      <vt:lpstr>Sign-On (OKTA)</vt:lpstr>
      <vt:lpstr>Okta – Satisfaction</vt:lpstr>
      <vt:lpstr>PowerPoint Presentation</vt:lpstr>
      <vt:lpstr>Information Security</vt:lpstr>
      <vt:lpstr>Information Security – Satisfaction Overall</vt:lpstr>
      <vt:lpstr>Information Security – Satisfaction Overall</vt:lpstr>
      <vt:lpstr>Information Security – Satisfaction Finding Security Resources</vt:lpstr>
      <vt:lpstr>Information Security – Satisfaction Finding Security Resources</vt:lpstr>
      <vt:lpstr>PowerPoint Presentation</vt:lpstr>
      <vt:lpstr>HR</vt:lpstr>
      <vt:lpstr>Digital Learning Satisfaction – Overall</vt:lpstr>
      <vt:lpstr>Digital Learning Satisfaction – Overall</vt:lpstr>
      <vt:lpstr>Digital Learning Satisfaction – Detail  </vt:lpstr>
      <vt:lpstr>Digital Learning Satisfaction – Detail</vt:lpstr>
      <vt:lpstr>PowerPoint Presentation</vt:lpstr>
      <vt:lpstr>Q – What IT tools do you most need training on?</vt:lpstr>
      <vt:lpstr>Finance</vt:lpstr>
      <vt:lpstr>Timesheets &amp; Expenses - Reported Level of Use</vt:lpstr>
      <vt:lpstr>Timesheets &amp; Expenses – Satisfaction</vt:lpstr>
      <vt:lpstr>Timesheets &amp; Expenses – Satisfaction</vt:lpstr>
      <vt:lpstr>Timesheets &amp; Expenses - Satisfaction</vt:lpstr>
      <vt:lpstr>PowerPoint Presentation</vt:lpstr>
      <vt:lpstr>Risk</vt:lpstr>
      <vt:lpstr>MyCases – Satisfaction Overall</vt:lpstr>
      <vt:lpstr>MyCases – Satisfaction Detail</vt:lpstr>
      <vt:lpstr>PowerPoint Presentation</vt:lpstr>
      <vt:lpstr>Change &amp; Communications</vt:lpstr>
      <vt:lpstr>IT Communications Satisfaction – Overall</vt:lpstr>
      <vt:lpstr>IT Communications Satisfaction – Overall</vt:lpstr>
      <vt:lpstr>IT Communications Satisfaction – Detail</vt:lpstr>
      <vt:lpstr>IT Communications Satisfaction - Detail</vt:lpstr>
      <vt:lpstr>PowerPoint Presentation</vt:lpstr>
      <vt:lpstr>Consulting Experience</vt:lpstr>
      <vt:lpstr>CT satisfaction with BCG IT Tools when working with clients – overall</vt:lpstr>
      <vt:lpstr>CT satisfaction with BCG IT Tools when working with clients - reported level of use</vt:lpstr>
      <vt:lpstr>CT satisfaction with BCG IT Tools when working with clients – level of use</vt:lpstr>
      <vt:lpstr>CT satisfaction with BCG IT Tools when working with clients</vt:lpstr>
      <vt:lpstr>CT satisfaction with BCG IT Tools when working with clients</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arce.Sal@bcg.com</dc:creator>
  <cp:lastModifiedBy>Jain, Nikhil</cp:lastModifiedBy>
  <cp:revision>6688</cp:revision>
  <cp:lastPrinted>2016-04-06T18:59:25Z</cp:lastPrinted>
  <dcterms:created xsi:type="dcterms:W3CDTF">2018-11-19T14:32:37Z</dcterms:created>
  <dcterms:modified xsi:type="dcterms:W3CDTF">2021-12-16T06:5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11628555</vt:lpwstr>
  </property>
  <property fmtid="{D5CDD505-2E9C-101B-9397-08002B2CF9AE}" pid="4" name="NXPowerLiteSettings">
    <vt:lpwstr>87000AA0054001</vt:lpwstr>
  </property>
  <property fmtid="{D5CDD505-2E9C-101B-9397-08002B2CF9AE}" pid="5" name="NXPowerLiteVersion">
    <vt:lpwstr>D8.0.11</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12-16T06:51:3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7a2ea6d4-d146-47db-b50b-9d9122ff6bdf</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